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ink/ink14.xml" ContentType="application/inkml+xml"/>
  <Override PartName="/ppt/ink/ink15.xml" ContentType="application/inkml+xml"/>
  <Override PartName="/ppt/ink/ink16.xml" ContentType="application/inkml+xml"/>
  <Override PartName="/ppt/ink/ink17.xml" ContentType="application/inkml+xml"/>
  <Override PartName="/ppt/ink/ink18.xml" ContentType="application/inkml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ink/ink19.xml" ContentType="application/inkml+xml"/>
  <Override PartName="/ppt/ink/ink20.xml" ContentType="application/inkml+xml"/>
  <Override PartName="/ppt/ink/ink21.xml" ContentType="application/inkml+xml"/>
  <Override PartName="/ppt/ink/ink22.xml" ContentType="application/inkml+xml"/>
  <Override PartName="/ppt/ink/ink23.xml" ContentType="application/inkml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ink/ink24.xml" ContentType="application/inkml+xml"/>
  <Override PartName="/ppt/ink/ink25.xml" ContentType="application/inkml+xml"/>
  <Override PartName="/ppt/ink/ink26.xml" ContentType="application/inkml+xml"/>
  <Override PartName="/ppt/ink/ink27.xml" ContentType="application/inkml+xml"/>
  <Override PartName="/ppt/ink/ink28.xml" ContentType="application/inkml+xml"/>
  <Override PartName="/ppt/ink/ink29.xml" ContentType="application/inkml+xml"/>
  <Override PartName="/ppt/ink/ink30.xml" ContentType="application/inkml+xml"/>
  <Override PartName="/ppt/ink/ink31.xml" ContentType="application/inkml+xml"/>
  <Override PartName="/ppt/ink/ink32.xml" ContentType="application/inkml+xml"/>
  <Override PartName="/ppt/ink/ink33.xml" ContentType="application/inkml+xml"/>
  <Override PartName="/ppt/ink/ink34.xml" ContentType="application/inkml+xml"/>
  <Override PartName="/ppt/ink/ink35.xml" ContentType="application/inkml+xml"/>
  <Override PartName="/ppt/ink/ink36.xml" ContentType="application/inkml+xml"/>
  <Override PartName="/ppt/ink/ink37.xml" ContentType="application/inkml+xml"/>
  <Override PartName="/ppt/ink/ink38.xml" ContentType="application/inkml+xml"/>
  <Override PartName="/ppt/ink/ink39.xml" ContentType="application/inkml+xml"/>
  <Override PartName="/ppt/ink/ink40.xml" ContentType="application/inkml+xml"/>
  <Override PartName="/ppt/ink/ink41.xml" ContentType="application/inkml+xml"/>
  <Override PartName="/ppt/ink/ink42.xml" ContentType="application/inkml+xml"/>
  <Override PartName="/ppt/ink/ink43.xml" ContentType="application/inkml+xml"/>
  <Override PartName="/ppt/ink/ink44.xml" ContentType="application/inkml+xml"/>
  <Override PartName="/ppt/ink/ink45.xml" ContentType="application/inkml+xml"/>
  <Override PartName="/ppt/ink/ink46.xml" ContentType="application/inkml+xml"/>
  <Override PartName="/ppt/ink/ink47.xml" ContentType="application/inkml+xml"/>
  <Override PartName="/ppt/ink/ink48.xml" ContentType="application/inkml+xml"/>
  <Override PartName="/ppt/ink/ink49.xml" ContentType="application/inkml+xml"/>
  <Override PartName="/ppt/notesSlides/notesSlide9.xml" ContentType="application/vnd.openxmlformats-officedocument.presentationml.notesSlide+xml"/>
  <Override PartName="/ppt/ink/ink50.xml" ContentType="application/inkml+xml"/>
  <Override PartName="/ppt/ink/ink51.xml" ContentType="application/inkml+xml"/>
  <Override PartName="/ppt/ink/ink52.xml" ContentType="application/inkml+xml"/>
  <Override PartName="/ppt/ink/ink53.xml" ContentType="application/inkml+xml"/>
  <Override PartName="/ppt/ink/ink54.xml" ContentType="application/inkml+xml"/>
  <Override PartName="/ppt/ink/ink55.xml" ContentType="application/inkml+xml"/>
  <Override PartName="/ppt/ink/ink56.xml" ContentType="application/inkml+xml"/>
  <Override PartName="/ppt/ink/ink57.xml" ContentType="application/inkml+xml"/>
  <Override PartName="/ppt/ink/ink58.xml" ContentType="application/inkml+xml"/>
  <Override PartName="/ppt/ink/ink59.xml" ContentType="application/inkml+xml"/>
  <Override PartName="/ppt/ink/ink60.xml" ContentType="application/inkml+xml"/>
  <Override PartName="/ppt/ink/ink61.xml" ContentType="application/inkml+xml"/>
  <Override PartName="/ppt/ink/ink62.xml" ContentType="application/inkml+xml"/>
  <Override PartName="/ppt/ink/ink63.xml" ContentType="application/inkml+xml"/>
  <Override PartName="/ppt/ink/ink64.xml" ContentType="application/inkml+xml"/>
  <Override PartName="/ppt/ink/ink65.xml" ContentType="application/inkml+xml"/>
  <Override PartName="/ppt/ink/ink66.xml" ContentType="application/inkml+xml"/>
  <Override PartName="/ppt/ink/ink67.xml" ContentType="application/inkml+xml"/>
  <Override PartName="/ppt/ink/ink68.xml" ContentType="application/inkml+xml"/>
  <Override PartName="/ppt/ink/ink69.xml" ContentType="application/inkml+xml"/>
  <Override PartName="/ppt/ink/ink70.xml" ContentType="application/inkml+xml"/>
  <Override PartName="/ppt/ink/ink71.xml" ContentType="application/inkml+xml"/>
  <Override PartName="/ppt/ink/ink72.xml" ContentType="application/inkml+xml"/>
  <Override PartName="/ppt/ink/ink73.xml" ContentType="application/inkml+xml"/>
  <Override PartName="/ppt/ink/ink74.xml" ContentType="application/inkml+xml"/>
  <Override PartName="/ppt/ink/ink75.xml" ContentType="application/inkml+xml"/>
  <Override PartName="/ppt/ink/ink76.xml" ContentType="application/inkml+xml"/>
  <Override PartName="/ppt/ink/ink77.xml" ContentType="application/inkml+xml"/>
  <Override PartName="/ppt/ink/ink78.xml" ContentType="application/inkml+xml"/>
  <Override PartName="/ppt/ink/ink79.xml" ContentType="application/inkml+xml"/>
  <Override PartName="/ppt/ink/ink80.xml" ContentType="application/inkml+xml"/>
  <Override PartName="/ppt/ink/ink81.xml" ContentType="application/inkml+xml"/>
  <Override PartName="/ppt/ink/ink82.xml" ContentType="application/inkml+xml"/>
  <Override PartName="/ppt/ink/ink83.xml" ContentType="application/inkml+xml"/>
  <Override PartName="/ppt/ink/ink84.xml" ContentType="application/inkml+xml"/>
  <Override PartName="/ppt/ink/ink85.xml" ContentType="application/inkml+xml"/>
  <Override PartName="/ppt/ink/ink86.xml" ContentType="application/inkml+xml"/>
  <Override PartName="/ppt/ink/ink87.xml" ContentType="application/inkml+xml"/>
  <Override PartName="/ppt/ink/ink88.xml" ContentType="application/inkml+xml"/>
  <Override PartName="/ppt/ink/ink89.xml" ContentType="application/inkml+xml"/>
  <Override PartName="/ppt/ink/ink90.xml" ContentType="application/inkml+xml"/>
  <Override PartName="/ppt/ink/ink91.xml" ContentType="application/inkml+xml"/>
  <Override PartName="/ppt/ink/ink92.xml" ContentType="application/inkml+xml"/>
  <Override PartName="/ppt/ink/ink93.xml" ContentType="application/inkml+xml"/>
  <Override PartName="/ppt/ink/ink94.xml" ContentType="application/inkml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ink/ink95.xml" ContentType="application/inkml+xml"/>
  <Override PartName="/ppt/ink/ink96.xml" ContentType="application/inkml+xml"/>
  <Override PartName="/ppt/ink/ink97.xml" ContentType="application/inkml+xml"/>
  <Override PartName="/ppt/ink/ink98.xml" ContentType="application/inkml+xml"/>
  <Override PartName="/ppt/ink/ink99.xml" ContentType="application/inkml+xml"/>
  <Override PartName="/ppt/ink/ink100.xml" ContentType="application/inkml+xml"/>
  <Override PartName="/ppt/ink/ink101.xml" ContentType="application/inkml+xml"/>
  <Override PartName="/ppt/ink/ink102.xml" ContentType="application/inkml+xml"/>
  <Override PartName="/ppt/ink/ink103.xml" ContentType="application/inkml+xml"/>
  <Override PartName="/ppt/ink/ink104.xml" ContentType="application/inkml+xml"/>
  <Override PartName="/ppt/ink/ink105.xml" ContentType="application/inkml+xml"/>
  <Override PartName="/ppt/ink/ink106.xml" ContentType="application/inkml+xml"/>
  <Override PartName="/ppt/ink/ink107.xml" ContentType="application/inkml+xml"/>
  <Override PartName="/ppt/ink/ink108.xml" ContentType="application/inkml+xml"/>
  <Override PartName="/ppt/ink/ink109.xml" ContentType="application/inkml+xml"/>
  <Override PartName="/ppt/ink/ink110.xml" ContentType="application/inkml+xml"/>
  <Override PartName="/ppt/ink/ink111.xml" ContentType="application/inkml+xml"/>
  <Override PartName="/ppt/ink/ink112.xml" ContentType="application/inkml+xml"/>
  <Override PartName="/ppt/ink/ink113.xml" ContentType="application/inkml+xml"/>
  <Override PartName="/ppt/ink/ink114.xml" ContentType="application/inkml+xml"/>
  <Override PartName="/ppt/ink/ink115.xml" ContentType="application/inkml+xml"/>
  <Override PartName="/ppt/ink/ink116.xml" ContentType="application/inkml+xml"/>
  <Override PartName="/ppt/ink/ink117.xml" ContentType="application/inkml+xml"/>
  <Override PartName="/ppt/ink/ink118.xml" ContentType="application/inkml+xml"/>
  <Override PartName="/ppt/ink/ink119.xml" ContentType="application/inkml+xml"/>
  <Override PartName="/ppt/ink/ink120.xml" ContentType="application/inkml+xml"/>
  <Override PartName="/ppt/notesSlides/notesSlide12.xml" ContentType="application/vnd.openxmlformats-officedocument.presentationml.notesSlide+xml"/>
  <Override PartName="/ppt/ink/ink121.xml" ContentType="application/inkml+xml"/>
  <Override PartName="/ppt/ink/ink122.xml" ContentType="application/inkml+xml"/>
  <Override PartName="/ppt/ink/ink123.xml" ContentType="application/inkml+xml"/>
  <Override PartName="/ppt/ink/ink124.xml" ContentType="application/inkml+xml"/>
  <Override PartName="/ppt/ink/ink125.xml" ContentType="application/inkml+xml"/>
  <Override PartName="/ppt/ink/ink126.xml" ContentType="application/inkml+xml"/>
  <Override PartName="/ppt/ink/ink127.xml" ContentType="application/inkml+xml"/>
  <Override PartName="/ppt/ink/ink128.xml" ContentType="application/inkml+xml"/>
  <Override PartName="/ppt/ink/ink129.xml" ContentType="application/inkml+xml"/>
  <Override PartName="/ppt/ink/ink130.xml" ContentType="application/inkml+xml"/>
  <Override PartName="/ppt/ink/ink131.xml" ContentType="application/inkml+xml"/>
  <Override PartName="/ppt/ink/ink132.xml" ContentType="application/inkml+xml"/>
  <Override PartName="/ppt/ink/ink133.xml" ContentType="application/inkml+xml"/>
  <Override PartName="/ppt/ink/ink134.xml" ContentType="application/inkml+xml"/>
  <Override PartName="/ppt/ink/ink135.xml" ContentType="application/inkml+xml"/>
  <Override PartName="/ppt/ink/ink136.xml" ContentType="application/inkml+xml"/>
  <Override PartName="/ppt/ink/ink137.xml" ContentType="application/inkml+xml"/>
  <Override PartName="/ppt/ink/ink138.xml" ContentType="application/inkml+xml"/>
  <Override PartName="/ppt/ink/ink139.xml" ContentType="application/inkml+xml"/>
  <Override PartName="/ppt/ink/ink140.xml" ContentType="application/inkml+xml"/>
  <Override PartName="/ppt/ink/ink141.xml" ContentType="application/inkml+xml"/>
  <Override PartName="/ppt/ink/ink142.xml" ContentType="application/inkml+xml"/>
  <Override PartName="/ppt/ink/ink143.xml" ContentType="application/inkml+xml"/>
  <Override PartName="/ppt/ink/ink144.xml" ContentType="application/inkml+xml"/>
  <Override PartName="/ppt/ink/ink145.xml" ContentType="application/inkml+xml"/>
  <Override PartName="/ppt/ink/ink146.xml" ContentType="application/inkml+xml"/>
  <Override PartName="/ppt/ink/ink147.xml" ContentType="application/inkml+xml"/>
  <Override PartName="/ppt/ink/ink148.xml" ContentType="application/inkml+xml"/>
  <Override PartName="/ppt/ink/ink149.xml" ContentType="application/inkml+xml"/>
  <Override PartName="/ppt/ink/ink150.xml" ContentType="application/inkml+xml"/>
  <Override PartName="/ppt/ink/ink151.xml" ContentType="application/inkml+xml"/>
  <Override PartName="/ppt/ink/ink152.xml" ContentType="application/inkml+xml"/>
  <Override PartName="/ppt/ink/ink153.xml" ContentType="application/inkml+xml"/>
  <Override PartName="/ppt/ink/ink154.xml" ContentType="application/inkml+xml"/>
  <Override PartName="/ppt/ink/ink155.xml" ContentType="application/inkml+xml"/>
  <Override PartName="/ppt/ink/ink156.xml" ContentType="application/inkml+xml"/>
  <Override PartName="/ppt/ink/ink157.xml" ContentType="application/inkml+xml"/>
  <Override PartName="/ppt/ink/ink158.xml" ContentType="application/inkml+xml"/>
  <Override PartName="/ppt/ink/ink159.xml" ContentType="application/inkml+xml"/>
  <Override PartName="/ppt/ink/ink160.xml" ContentType="application/inkml+xml"/>
  <Override PartName="/ppt/ink/ink161.xml" ContentType="application/inkml+xml"/>
  <Override PartName="/ppt/ink/ink162.xml" ContentType="application/inkml+xml"/>
  <Override PartName="/ppt/ink/ink163.xml" ContentType="application/inkml+xml"/>
  <Override PartName="/ppt/ink/ink164.xml" ContentType="application/inkml+xml"/>
  <Override PartName="/ppt/ink/ink165.xml" ContentType="application/inkml+xml"/>
  <Override PartName="/ppt/ink/ink166.xml" ContentType="application/inkml+xml"/>
  <Override PartName="/ppt/ink/ink167.xml" ContentType="application/inkml+xml"/>
  <Override PartName="/ppt/ink/ink168.xml" ContentType="application/inkml+xml"/>
  <Override PartName="/ppt/ink/ink169.xml" ContentType="application/inkml+xml"/>
  <Override PartName="/ppt/ink/ink170.xml" ContentType="application/inkml+xml"/>
  <Override PartName="/ppt/ink/ink171.xml" ContentType="application/inkml+xml"/>
  <Override PartName="/ppt/ink/ink172.xml" ContentType="application/inkml+xml"/>
  <Override PartName="/ppt/ink/ink173.xml" ContentType="application/inkml+xml"/>
  <Override PartName="/ppt/ink/ink174.xml" ContentType="application/inkml+xml"/>
  <Override PartName="/ppt/ink/ink175.xml" ContentType="application/inkml+xml"/>
  <Override PartName="/ppt/ink/ink176.xml" ContentType="application/inkml+xml"/>
  <Override PartName="/ppt/ink/ink177.xml" ContentType="application/inkml+xml"/>
  <Override PartName="/ppt/ink/ink178.xml" ContentType="application/inkml+xml"/>
  <Override PartName="/ppt/ink/ink179.xml" ContentType="application/inkml+xml"/>
  <Override PartName="/ppt/ink/ink180.xml" ContentType="application/inkml+xml"/>
  <Override PartName="/ppt/ink/ink181.xml" ContentType="application/inkml+xml"/>
  <Override PartName="/ppt/ink/ink182.xml" ContentType="application/inkml+xml"/>
  <Override PartName="/ppt/ink/ink183.xml" ContentType="application/inkml+xml"/>
  <Override PartName="/ppt/ink/ink184.xml" ContentType="application/inkml+xml"/>
  <Override PartName="/ppt/ink/ink185.xml" ContentType="application/inkml+xml"/>
  <Override PartName="/ppt/ink/ink186.xml" ContentType="application/inkml+xml"/>
  <Override PartName="/ppt/ink/ink187.xml" ContentType="application/inkml+xml"/>
  <Override PartName="/ppt/ink/ink188.xml" ContentType="application/inkml+xml"/>
  <Override PartName="/ppt/ink/ink189.xml" ContentType="application/inkml+xml"/>
  <Override PartName="/ppt/ink/ink190.xml" ContentType="application/inkml+xml"/>
  <Override PartName="/ppt/ink/ink191.xml" ContentType="application/inkml+xml"/>
  <Override PartName="/ppt/ink/ink192.xml" ContentType="application/inkml+xml"/>
  <Override PartName="/ppt/ink/ink193.xml" ContentType="application/inkml+xml"/>
  <Override PartName="/ppt/ink/ink194.xml" ContentType="application/inkml+xml"/>
  <Override PartName="/ppt/ink/ink195.xml" ContentType="application/inkml+xml"/>
  <Override PartName="/ppt/ink/ink196.xml" ContentType="application/inkml+xml"/>
  <Override PartName="/ppt/ink/ink197.xml" ContentType="application/inkml+xml"/>
  <Override PartName="/ppt/ink/ink198.xml" ContentType="application/inkml+xml"/>
  <Override PartName="/ppt/ink/ink199.xml" ContentType="application/inkml+xml"/>
  <Override PartName="/ppt/ink/ink200.xml" ContentType="application/inkml+xml"/>
  <Override PartName="/ppt/ink/ink201.xml" ContentType="application/inkml+xml"/>
  <Override PartName="/ppt/ink/ink202.xml" ContentType="application/inkml+xml"/>
  <Override PartName="/ppt/ink/ink203.xml" ContentType="application/inkml+xml"/>
  <Override PartName="/ppt/ink/ink204.xml" ContentType="application/inkml+xml"/>
  <Override PartName="/ppt/ink/ink205.xml" ContentType="application/inkml+xml"/>
  <Override PartName="/ppt/ink/ink206.xml" ContentType="application/inkml+xml"/>
  <Override PartName="/ppt/ink/ink207.xml" ContentType="application/inkml+xml"/>
  <Override PartName="/ppt/ink/ink208.xml" ContentType="application/inkml+xml"/>
  <Override PartName="/ppt/ink/ink209.xml" ContentType="application/inkml+xml"/>
  <Override PartName="/ppt/ink/ink210.xml" ContentType="application/inkml+xml"/>
  <Override PartName="/ppt/ink/ink211.xml" ContentType="application/inkml+xml"/>
  <Override PartName="/ppt/ink/ink212.xml" ContentType="application/inkml+xml"/>
  <Override PartName="/ppt/ink/ink213.xml" ContentType="application/inkml+xml"/>
  <Override PartName="/ppt/ink/ink214.xml" ContentType="application/inkml+xml"/>
  <Override PartName="/ppt/ink/ink215.xml" ContentType="application/inkml+xml"/>
  <Override PartName="/ppt/ink/ink216.xml" ContentType="application/inkml+xml"/>
  <Override PartName="/ppt/ink/ink217.xml" ContentType="application/inkml+xml"/>
  <Override PartName="/ppt/ink/ink218.xml" ContentType="application/inkml+xml"/>
  <Override PartName="/ppt/ink/ink219.xml" ContentType="application/inkml+xml"/>
  <Override PartName="/ppt/ink/ink220.xml" ContentType="application/inkml+xml"/>
  <Override PartName="/ppt/ink/ink221.xml" ContentType="application/inkml+xml"/>
  <Override PartName="/ppt/ink/ink222.xml" ContentType="application/inkml+xml"/>
  <Override PartName="/ppt/ink/ink223.xml" ContentType="application/inkml+xml"/>
  <Override PartName="/ppt/ink/ink224.xml" ContentType="application/inkml+xml"/>
  <Override PartName="/ppt/ink/ink225.xml" ContentType="application/inkml+xml"/>
  <Override PartName="/ppt/ink/ink226.xml" ContentType="application/inkml+xml"/>
  <Override PartName="/ppt/ink/ink227.xml" ContentType="application/inkml+xml"/>
  <Override PartName="/ppt/ink/ink228.xml" ContentType="application/inkml+xml"/>
  <Override PartName="/ppt/ink/ink229.xml" ContentType="application/inkml+xml"/>
  <Override PartName="/ppt/ink/ink230.xml" ContentType="application/inkml+xml"/>
  <Override PartName="/ppt/ink/ink231.xml" ContentType="application/inkml+xml"/>
  <Override PartName="/ppt/ink/ink232.xml" ContentType="application/inkml+xml"/>
  <Override PartName="/ppt/ink/ink233.xml" ContentType="application/inkml+xml"/>
  <Override PartName="/ppt/ink/ink234.xml" ContentType="application/inkml+xml"/>
  <Override PartName="/ppt/ink/ink235.xml" ContentType="application/inkml+xml"/>
  <Override PartName="/ppt/ink/ink236.xml" ContentType="application/inkml+xml"/>
  <Override PartName="/ppt/ink/ink237.xml" ContentType="application/inkml+xml"/>
  <Override PartName="/ppt/ink/ink238.xml" ContentType="application/inkml+xml"/>
  <Override PartName="/ppt/ink/ink239.xml" ContentType="application/inkml+xml"/>
  <Override PartName="/ppt/ink/ink240.xml" ContentType="application/inkml+xml"/>
  <Override PartName="/ppt/ink/ink241.xml" ContentType="application/inkml+xml"/>
  <Override PartName="/ppt/ink/ink242.xml" ContentType="application/inkml+xml"/>
  <Override PartName="/ppt/ink/ink243.xml" ContentType="application/inkml+xml"/>
  <Override PartName="/ppt/ink/ink244.xml" ContentType="application/inkml+xml"/>
  <Override PartName="/ppt/ink/ink245.xml" ContentType="application/inkml+xml"/>
  <Override PartName="/ppt/ink/ink246.xml" ContentType="application/inkml+xml"/>
  <Override PartName="/ppt/ink/ink247.xml" ContentType="application/inkml+xml"/>
  <Override PartName="/ppt/ink/ink248.xml" ContentType="application/inkml+xml"/>
  <Override PartName="/ppt/ink/ink249.xml" ContentType="application/inkml+xml"/>
  <Override PartName="/ppt/ink/ink250.xml" ContentType="application/inkml+xml"/>
  <Override PartName="/ppt/ink/ink251.xml" ContentType="application/inkml+xml"/>
  <Override PartName="/ppt/ink/ink252.xml" ContentType="application/inkml+xml"/>
  <Override PartName="/ppt/ink/ink253.xml" ContentType="application/inkml+xml"/>
  <Override PartName="/ppt/ink/ink254.xml" ContentType="application/inkml+xml"/>
  <Override PartName="/ppt/ink/ink255.xml" ContentType="application/inkml+xml"/>
  <Override PartName="/ppt/ink/ink256.xml" ContentType="application/inkml+xml"/>
  <Override PartName="/ppt/ink/ink257.xml" ContentType="application/inkml+xml"/>
  <Override PartName="/ppt/ink/ink258.xml" ContentType="application/inkml+xml"/>
  <Override PartName="/ppt/ink/ink259.xml" ContentType="application/inkml+xml"/>
  <Override PartName="/ppt/ink/ink260.xml" ContentType="application/inkml+xml"/>
  <Override PartName="/ppt/ink/ink261.xml" ContentType="application/inkml+xml"/>
  <Override PartName="/ppt/ink/ink262.xml" ContentType="application/inkml+xml"/>
  <Override PartName="/ppt/ink/ink263.xml" ContentType="application/inkml+xml"/>
  <Override PartName="/ppt/ink/ink264.xml" ContentType="application/inkml+xml"/>
  <Override PartName="/ppt/ink/ink265.xml" ContentType="application/inkml+xml"/>
  <Override PartName="/ppt/ink/ink266.xml" ContentType="application/inkml+xml"/>
  <Override PartName="/ppt/ink/ink267.xml" ContentType="application/inkml+xml"/>
  <Override PartName="/ppt/ink/ink268.xml" ContentType="application/inkml+xml"/>
  <Override PartName="/ppt/ink/ink269.xml" ContentType="application/inkml+xml"/>
  <Override PartName="/ppt/ink/ink270.xml" ContentType="application/inkml+xml"/>
  <Override PartName="/ppt/ink/ink271.xml" ContentType="application/inkml+xml"/>
  <Override PartName="/ppt/ink/ink272.xml" ContentType="application/inkml+xml"/>
  <Override PartName="/ppt/ink/ink273.xml" ContentType="application/inkml+xml"/>
  <Override PartName="/ppt/ink/ink274.xml" ContentType="application/inkml+xml"/>
  <Override PartName="/ppt/ink/ink275.xml" ContentType="application/inkml+xml"/>
  <Override PartName="/ppt/ink/ink276.xml" ContentType="application/inkml+xml"/>
  <Override PartName="/ppt/ink/ink277.xml" ContentType="application/inkml+xml"/>
  <Override PartName="/ppt/ink/ink278.xml" ContentType="application/inkml+xml"/>
  <Override PartName="/ppt/ink/ink279.xml" ContentType="application/inkml+xml"/>
  <Override PartName="/ppt/ink/ink280.xml" ContentType="application/inkml+xml"/>
  <Override PartName="/ppt/ink/ink281.xml" ContentType="application/inkml+xml"/>
  <Override PartName="/ppt/ink/ink282.xml" ContentType="application/inkml+xml"/>
  <Override PartName="/ppt/ink/ink283.xml" ContentType="application/inkml+xml"/>
  <Override PartName="/ppt/ink/ink284.xml" ContentType="application/inkml+xml"/>
  <Override PartName="/ppt/ink/ink285.xml" ContentType="application/inkml+xml"/>
  <Override PartName="/ppt/ink/ink286.xml" ContentType="application/inkml+xml"/>
  <Override PartName="/ppt/ink/ink287.xml" ContentType="application/inkml+xml"/>
  <Override PartName="/ppt/ink/ink288.xml" ContentType="application/inkml+xml"/>
  <Override PartName="/ppt/ink/ink289.xml" ContentType="application/inkml+xml"/>
  <Override PartName="/ppt/ink/ink290.xml" ContentType="application/inkml+xml"/>
  <Override PartName="/ppt/ink/ink291.xml" ContentType="application/inkml+xml"/>
  <Override PartName="/ppt/ink/ink292.xml" ContentType="application/inkml+xml"/>
  <Override PartName="/ppt/ink/ink293.xml" ContentType="application/inkml+xml"/>
  <Override PartName="/ppt/ink/ink294.xml" ContentType="application/inkml+xml"/>
  <Override PartName="/ppt/ink/ink295.xml" ContentType="application/inkml+xml"/>
  <Override PartName="/ppt/ink/ink296.xml" ContentType="application/inkml+xml"/>
  <Override PartName="/ppt/ink/ink297.xml" ContentType="application/inkml+xml"/>
  <Override PartName="/ppt/ink/ink298.xml" ContentType="application/inkml+xml"/>
  <Override PartName="/ppt/ink/ink299.xml" ContentType="application/inkml+xml"/>
  <Override PartName="/ppt/ink/ink300.xml" ContentType="application/inkml+xml"/>
  <Override PartName="/ppt/ink/ink301.xml" ContentType="application/inkml+xml"/>
  <Override PartName="/ppt/ink/ink302.xml" ContentType="application/inkml+xml"/>
  <Override PartName="/ppt/ink/ink303.xml" ContentType="application/inkml+xml"/>
  <Override PartName="/ppt/ink/ink304.xml" ContentType="application/inkml+xml"/>
  <Override PartName="/ppt/ink/ink305.xml" ContentType="application/inkml+xml"/>
  <Override PartName="/ppt/ink/ink306.xml" ContentType="application/inkml+xml"/>
  <Override PartName="/ppt/ink/ink307.xml" ContentType="application/inkml+xml"/>
  <Override PartName="/ppt/ink/ink308.xml" ContentType="application/inkml+xml"/>
  <Override PartName="/ppt/ink/ink309.xml" ContentType="application/inkml+xml"/>
  <Override PartName="/ppt/ink/ink310.xml" ContentType="application/inkml+xml"/>
  <Override PartName="/ppt/ink/ink311.xml" ContentType="application/inkml+xml"/>
  <Override PartName="/ppt/ink/ink312.xml" ContentType="application/inkml+xml"/>
  <Override PartName="/ppt/ink/ink313.xml" ContentType="application/inkml+xml"/>
  <Override PartName="/ppt/ink/ink314.xml" ContentType="application/inkml+xml"/>
  <Override PartName="/ppt/ink/ink315.xml" ContentType="application/inkml+xml"/>
  <Override PartName="/ppt/ink/ink316.xml" ContentType="application/inkml+xml"/>
  <Override PartName="/ppt/ink/ink317.xml" ContentType="application/inkml+xml"/>
  <Override PartName="/ppt/ink/ink318.xml" ContentType="application/inkml+xml"/>
  <Override PartName="/ppt/ink/ink319.xml" ContentType="application/inkml+xml"/>
  <Override PartName="/ppt/ink/ink320.xml" ContentType="application/inkml+xml"/>
  <Override PartName="/ppt/ink/ink321.xml" ContentType="application/inkml+xml"/>
  <Override PartName="/ppt/ink/ink322.xml" ContentType="application/inkml+xml"/>
  <Override PartName="/ppt/ink/ink323.xml" ContentType="application/inkml+xml"/>
  <Override PartName="/ppt/ink/ink324.xml" ContentType="application/inkml+xml"/>
  <Override PartName="/ppt/ink/ink325.xml" ContentType="application/inkml+xml"/>
  <Override PartName="/ppt/ink/ink326.xml" ContentType="application/inkml+xml"/>
  <Override PartName="/ppt/ink/ink327.xml" ContentType="application/inkml+xml"/>
  <Override PartName="/ppt/ink/ink328.xml" ContentType="application/inkml+xml"/>
  <Override PartName="/ppt/ink/ink329.xml" ContentType="application/inkml+xml"/>
  <Override PartName="/ppt/ink/ink330.xml" ContentType="application/inkml+xml"/>
  <Override PartName="/ppt/ink/ink331.xml" ContentType="application/inkml+xml"/>
  <Override PartName="/ppt/ink/ink332.xml" ContentType="application/inkml+xml"/>
  <Override PartName="/ppt/ink/ink333.xml" ContentType="application/inkml+xml"/>
  <Override PartName="/ppt/ink/ink334.xml" ContentType="application/inkml+xml"/>
  <Override PartName="/ppt/ink/ink335.xml" ContentType="application/inkml+xml"/>
  <Override PartName="/ppt/ink/ink336.xml" ContentType="application/inkml+xml"/>
  <Override PartName="/ppt/ink/ink337.xml" ContentType="application/inkml+xml"/>
  <Override PartName="/ppt/ink/ink338.xml" ContentType="application/inkml+xml"/>
  <Override PartName="/ppt/ink/ink339.xml" ContentType="application/inkml+xml"/>
  <Override PartName="/ppt/ink/ink340.xml" ContentType="application/inkml+xml"/>
  <Override PartName="/ppt/ink/ink341.xml" ContentType="application/inkml+xml"/>
  <Override PartName="/ppt/ink/ink342.xml" ContentType="application/inkml+xml"/>
  <Override PartName="/ppt/ink/ink343.xml" ContentType="application/inkml+xml"/>
  <Override PartName="/ppt/ink/ink344.xml" ContentType="application/inkml+xml"/>
  <Override PartName="/ppt/ink/ink345.xml" ContentType="application/inkml+xml"/>
  <Override PartName="/ppt/ink/ink346.xml" ContentType="application/inkml+xml"/>
  <Override PartName="/ppt/ink/ink347.xml" ContentType="application/inkml+xml"/>
  <Override PartName="/ppt/ink/ink348.xml" ContentType="application/inkml+xml"/>
  <Override PartName="/ppt/ink/ink349.xml" ContentType="application/inkml+xml"/>
  <Override PartName="/ppt/ink/ink350.xml" ContentType="application/inkml+xml"/>
  <Override PartName="/ppt/ink/ink351.xml" ContentType="application/inkml+xml"/>
  <Override PartName="/ppt/ink/ink352.xml" ContentType="application/inkml+xml"/>
  <Override PartName="/ppt/ink/ink353.xml" ContentType="application/inkml+xml"/>
  <Override PartName="/ppt/ink/ink354.xml" ContentType="application/inkml+xml"/>
  <Override PartName="/ppt/ink/ink355.xml" ContentType="application/inkml+xml"/>
  <Override PartName="/ppt/ink/ink356.xml" ContentType="application/inkml+xml"/>
  <Override PartName="/ppt/ink/ink357.xml" ContentType="application/inkml+xml"/>
  <Override PartName="/ppt/ink/ink358.xml" ContentType="application/inkml+xml"/>
  <Override PartName="/ppt/ink/ink359.xml" ContentType="application/inkml+xml"/>
  <Override PartName="/ppt/ink/ink360.xml" ContentType="application/inkml+xml"/>
  <Override PartName="/ppt/ink/ink361.xml" ContentType="application/inkml+xml"/>
  <Override PartName="/ppt/ink/ink362.xml" ContentType="application/inkml+xml"/>
  <Override PartName="/ppt/ink/ink363.xml" ContentType="application/inkml+xml"/>
  <Override PartName="/ppt/ink/ink364.xml" ContentType="application/inkml+xml"/>
  <Override PartName="/ppt/ink/ink365.xml" ContentType="application/inkml+xml"/>
  <Override PartName="/ppt/ink/ink366.xml" ContentType="application/inkml+xml"/>
  <Override PartName="/ppt/ink/ink367.xml" ContentType="application/inkml+xml"/>
  <Override PartName="/ppt/ink/ink368.xml" ContentType="application/inkml+xml"/>
  <Override PartName="/ppt/ink/ink369.xml" ContentType="application/inkml+xml"/>
  <Override PartName="/ppt/ink/ink370.xml" ContentType="application/inkml+xml"/>
  <Override PartName="/ppt/ink/ink371.xml" ContentType="application/inkml+xml"/>
  <Override PartName="/ppt/ink/ink372.xml" ContentType="application/inkml+xml"/>
  <Override PartName="/ppt/ink/ink373.xml" ContentType="application/inkml+xml"/>
  <Override PartName="/ppt/ink/ink374.xml" ContentType="application/inkml+xml"/>
  <Override PartName="/ppt/ink/ink375.xml" ContentType="application/inkml+xml"/>
  <Override PartName="/ppt/ink/ink376.xml" ContentType="application/inkml+xml"/>
  <Override PartName="/ppt/ink/ink377.xml" ContentType="application/inkml+xml"/>
  <Override PartName="/ppt/ink/ink378.xml" ContentType="application/inkml+xml"/>
  <Override PartName="/ppt/ink/ink379.xml" ContentType="application/inkml+xml"/>
  <Override PartName="/ppt/ink/ink380.xml" ContentType="application/inkml+xml"/>
  <Override PartName="/ppt/ink/ink381.xml" ContentType="application/inkml+xml"/>
  <Override PartName="/ppt/ink/ink382.xml" ContentType="application/inkml+xml"/>
  <Override PartName="/ppt/ink/ink383.xml" ContentType="application/inkml+xml"/>
  <Override PartName="/ppt/ink/ink384.xml" ContentType="application/inkml+xml"/>
  <Override PartName="/ppt/ink/ink385.xml" ContentType="application/inkml+xml"/>
  <Override PartName="/ppt/ink/ink386.xml" ContentType="application/inkml+xml"/>
  <Override PartName="/ppt/ink/ink387.xml" ContentType="application/inkml+xml"/>
  <Override PartName="/ppt/ink/ink388.xml" ContentType="application/inkml+xml"/>
  <Override PartName="/ppt/ink/ink389.xml" ContentType="application/inkml+xml"/>
  <Override PartName="/ppt/ink/ink390.xml" ContentType="application/inkml+xml"/>
  <Override PartName="/ppt/ink/ink391.xml" ContentType="application/inkml+xml"/>
  <Override PartName="/ppt/ink/ink392.xml" ContentType="application/inkml+xml"/>
  <Override PartName="/ppt/ink/ink393.xml" ContentType="application/inkml+xml"/>
  <Override PartName="/ppt/ink/ink394.xml" ContentType="application/inkml+xml"/>
  <Override PartName="/ppt/ink/ink395.xml" ContentType="application/inkml+xml"/>
  <Override PartName="/ppt/ink/ink396.xml" ContentType="application/inkml+xml"/>
  <Override PartName="/ppt/ink/ink397.xml" ContentType="application/inkml+xml"/>
  <Override PartName="/ppt/ink/ink398.xml" ContentType="application/inkml+xml"/>
  <Override PartName="/ppt/ink/ink399.xml" ContentType="application/inkml+xml"/>
  <Override PartName="/ppt/ink/ink400.xml" ContentType="application/inkml+xml"/>
  <Override PartName="/ppt/ink/ink401.xml" ContentType="application/inkml+xml"/>
  <Override PartName="/ppt/ink/ink402.xml" ContentType="application/inkml+xml"/>
  <Override PartName="/ppt/ink/ink403.xml" ContentType="application/inkml+xml"/>
  <Override PartName="/ppt/ink/ink404.xml" ContentType="application/inkml+xml"/>
  <Override PartName="/ppt/ink/ink405.xml" ContentType="application/inkml+xml"/>
  <Override PartName="/ppt/ink/ink406.xml" ContentType="application/inkml+xml"/>
  <Override PartName="/ppt/ink/ink407.xml" ContentType="application/inkml+xml"/>
  <Override PartName="/ppt/ink/ink408.xml" ContentType="application/inkml+xml"/>
  <Override PartName="/ppt/ink/ink409.xml" ContentType="application/inkml+xml"/>
  <Override PartName="/ppt/ink/ink410.xml" ContentType="application/inkml+xml"/>
  <Override PartName="/ppt/ink/ink411.xml" ContentType="application/inkml+xml"/>
  <Override PartName="/ppt/ink/ink412.xml" ContentType="application/inkml+xml"/>
  <Override PartName="/ppt/ink/ink413.xml" ContentType="application/inkml+xml"/>
  <Override PartName="/ppt/ink/ink414.xml" ContentType="application/inkml+xml"/>
  <Override PartName="/ppt/ink/ink415.xml" ContentType="application/inkml+xml"/>
  <Override PartName="/ppt/ink/ink416.xml" ContentType="application/inkml+xml"/>
  <Override PartName="/ppt/ink/ink417.xml" ContentType="application/inkml+xml"/>
  <Override PartName="/ppt/ink/ink418.xml" ContentType="application/inkml+xml"/>
  <Override PartName="/ppt/ink/ink419.xml" ContentType="application/inkml+xml"/>
  <Override PartName="/ppt/ink/ink420.xml" ContentType="application/inkml+xml"/>
  <Override PartName="/ppt/ink/ink421.xml" ContentType="application/inkml+xml"/>
  <Override PartName="/ppt/ink/ink422.xml" ContentType="application/inkml+xml"/>
  <Override PartName="/ppt/ink/ink423.xml" ContentType="application/inkml+xml"/>
  <Override PartName="/ppt/ink/ink424.xml" ContentType="application/inkml+xml"/>
  <Override PartName="/ppt/ink/ink425.xml" ContentType="application/inkml+xml"/>
  <Override PartName="/ppt/ink/ink426.xml" ContentType="application/inkml+xml"/>
  <Override PartName="/ppt/ink/ink427.xml" ContentType="application/inkml+xml"/>
  <Override PartName="/ppt/ink/ink428.xml" ContentType="application/inkml+xml"/>
  <Override PartName="/ppt/ink/ink429.xml" ContentType="application/inkml+xml"/>
  <Override PartName="/ppt/ink/ink430.xml" ContentType="application/inkml+xml"/>
  <Override PartName="/ppt/ink/ink431.xml" ContentType="application/inkml+xml"/>
  <Override PartName="/ppt/ink/ink432.xml" ContentType="application/inkml+xml"/>
  <Override PartName="/ppt/ink/ink433.xml" ContentType="application/inkml+xml"/>
  <Override PartName="/ppt/ink/ink434.xml" ContentType="application/inkml+xml"/>
  <Override PartName="/ppt/ink/ink435.xml" ContentType="application/inkml+xml"/>
  <Override PartName="/ppt/ink/ink436.xml" ContentType="application/inkml+xml"/>
  <Override PartName="/ppt/ink/ink437.xml" ContentType="application/inkml+xml"/>
  <Override PartName="/ppt/ink/ink438.xml" ContentType="application/inkml+xml"/>
  <Override PartName="/ppt/ink/ink439.xml" ContentType="application/inkml+xml"/>
  <Override PartName="/ppt/ink/ink440.xml" ContentType="application/inkml+xml"/>
  <Override PartName="/ppt/ink/ink441.xml" ContentType="application/inkml+xml"/>
  <Override PartName="/ppt/ink/ink442.xml" ContentType="application/inkml+xml"/>
  <Override PartName="/ppt/ink/ink443.xml" ContentType="application/inkml+xml"/>
  <Override PartName="/ppt/ink/ink444.xml" ContentType="application/inkml+xml"/>
  <Override PartName="/ppt/ink/ink445.xml" ContentType="application/inkml+xml"/>
  <Override PartName="/ppt/ink/ink446.xml" ContentType="application/inkml+xml"/>
  <Override PartName="/ppt/ink/ink447.xml" ContentType="application/inkml+xml"/>
  <Override PartName="/ppt/ink/ink448.xml" ContentType="application/inkml+xml"/>
  <Override PartName="/ppt/ink/ink449.xml" ContentType="application/inkml+xml"/>
  <Override PartName="/ppt/ink/ink450.xml" ContentType="application/inkml+xml"/>
  <Override PartName="/ppt/ink/ink451.xml" ContentType="application/inkml+xml"/>
  <Override PartName="/ppt/ink/ink452.xml" ContentType="application/inkml+xml"/>
  <Override PartName="/ppt/ink/ink453.xml" ContentType="application/inkml+xml"/>
  <Override PartName="/ppt/ink/ink454.xml" ContentType="application/inkml+xml"/>
  <Override PartName="/ppt/ink/ink455.xml" ContentType="application/inkml+xml"/>
  <Override PartName="/ppt/ink/ink456.xml" ContentType="application/inkml+xml"/>
  <Override PartName="/ppt/ink/ink457.xml" ContentType="application/inkml+xml"/>
  <Override PartName="/ppt/ink/ink458.xml" ContentType="application/inkml+xml"/>
  <Override PartName="/ppt/ink/ink459.xml" ContentType="application/inkml+xml"/>
  <Override PartName="/ppt/ink/ink460.xml" ContentType="application/inkml+xml"/>
  <Override PartName="/ppt/ink/ink461.xml" ContentType="application/inkml+xml"/>
  <Override PartName="/ppt/ink/ink462.xml" ContentType="application/inkml+xml"/>
  <Override PartName="/ppt/ink/ink463.xml" ContentType="application/inkml+xml"/>
  <Override PartName="/ppt/ink/ink464.xml" ContentType="application/inkml+xml"/>
  <Override PartName="/ppt/ink/ink465.xml" ContentType="application/inkml+xml"/>
  <Override PartName="/ppt/ink/ink466.xml" ContentType="application/inkml+xml"/>
  <Override PartName="/ppt/ink/ink467.xml" ContentType="application/inkml+xml"/>
  <Override PartName="/ppt/ink/ink468.xml" ContentType="application/inkml+xml"/>
  <Override PartName="/ppt/ink/ink469.xml" ContentType="application/inkml+xml"/>
  <Override PartName="/ppt/ink/ink470.xml" ContentType="application/inkml+xml"/>
  <Override PartName="/ppt/ink/ink471.xml" ContentType="application/inkml+xml"/>
  <Override PartName="/ppt/ink/ink472.xml" ContentType="application/inkml+xml"/>
  <Override PartName="/ppt/ink/ink473.xml" ContentType="application/inkml+xml"/>
  <Override PartName="/ppt/ink/ink474.xml" ContentType="application/inkml+xml"/>
  <Override PartName="/ppt/ink/ink475.xml" ContentType="application/inkml+xml"/>
  <Override PartName="/ppt/ink/ink476.xml" ContentType="application/inkml+xml"/>
  <Override PartName="/ppt/ink/ink477.xml" ContentType="application/inkml+xml"/>
  <Override PartName="/ppt/ink/ink478.xml" ContentType="application/inkml+xml"/>
  <Override PartName="/ppt/ink/ink479.xml" ContentType="application/inkml+xml"/>
  <Override PartName="/ppt/ink/ink480.xml" ContentType="application/inkml+xml"/>
  <Override PartName="/ppt/ink/ink481.xml" ContentType="application/inkml+xml"/>
  <Override PartName="/ppt/ink/ink482.xml" ContentType="application/inkml+xml"/>
  <Override PartName="/ppt/ink/ink483.xml" ContentType="application/inkml+xml"/>
  <Override PartName="/ppt/ink/ink484.xml" ContentType="application/inkml+xml"/>
  <Override PartName="/ppt/ink/ink485.xml" ContentType="application/inkml+xml"/>
  <Override PartName="/ppt/ink/ink486.xml" ContentType="application/inkml+xml"/>
  <Override PartName="/ppt/ink/ink487.xml" ContentType="application/inkml+xml"/>
  <Override PartName="/ppt/ink/ink488.xml" ContentType="application/inkml+xml"/>
  <Override PartName="/ppt/ink/ink489.xml" ContentType="application/inkml+xml"/>
  <Override PartName="/ppt/ink/ink490.xml" ContentType="application/inkml+xml"/>
  <Override PartName="/ppt/ink/ink491.xml" ContentType="application/inkml+xml"/>
  <Override PartName="/ppt/ink/ink492.xml" ContentType="application/inkml+xml"/>
  <Override PartName="/ppt/ink/ink493.xml" ContentType="application/inkml+xml"/>
  <Override PartName="/ppt/ink/ink494.xml" ContentType="application/inkml+xml"/>
  <Override PartName="/ppt/ink/ink495.xml" ContentType="application/inkml+xml"/>
  <Override PartName="/ppt/ink/ink496.xml" ContentType="application/inkml+xml"/>
  <Override PartName="/ppt/ink/ink497.xml" ContentType="application/inkml+xml"/>
  <Override PartName="/ppt/ink/ink498.xml" ContentType="application/inkml+xml"/>
  <Override PartName="/ppt/ink/ink499.xml" ContentType="application/inkml+xml"/>
  <Override PartName="/ppt/ink/ink500.xml" ContentType="application/inkml+xml"/>
  <Override PartName="/ppt/ink/ink501.xml" ContentType="application/inkml+xml"/>
  <Override PartName="/ppt/ink/ink502.xml" ContentType="application/inkml+xml"/>
  <Override PartName="/ppt/ink/ink503.xml" ContentType="application/inkml+xml"/>
  <Override PartName="/ppt/notesSlides/notesSlide13.xml" ContentType="application/vnd.openxmlformats-officedocument.presentationml.notesSlide+xml"/>
  <Override PartName="/ppt/ink/ink504.xml" ContentType="application/inkml+xml"/>
  <Override PartName="/ppt/ink/ink505.xml" ContentType="application/inkml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ink/ink506.xml" ContentType="application/inkml+xml"/>
  <Override PartName="/ppt/ink/ink507.xml" ContentType="application/inkml+xml"/>
  <Override PartName="/ppt/ink/ink508.xml" ContentType="application/inkml+xml"/>
  <Override PartName="/ppt/ink/ink509.xml" ContentType="application/inkml+xml"/>
  <Override PartName="/ppt/ink/ink510.xml" ContentType="application/inkml+xml"/>
  <Override PartName="/ppt/ink/ink511.xml" ContentType="application/inkml+xml"/>
  <Override PartName="/ppt/ink/ink512.xml" ContentType="application/inkml+xml"/>
  <Override PartName="/ppt/ink/ink513.xml" ContentType="application/inkml+xml"/>
  <Override PartName="/ppt/ink/ink514.xml" ContentType="application/inkml+xml"/>
  <Override PartName="/ppt/ink/ink515.xml" ContentType="application/inkml+xml"/>
  <Override PartName="/ppt/ink/ink516.xml" ContentType="application/inkml+xml"/>
  <Override PartName="/ppt/ink/ink517.xml" ContentType="application/inkml+xml"/>
  <Override PartName="/ppt/ink/ink518.xml" ContentType="application/inkml+xml"/>
  <Override PartName="/ppt/ink/ink519.xml" ContentType="application/inkml+xml"/>
  <Override PartName="/ppt/ink/ink520.xml" ContentType="application/inkml+xml"/>
  <Override PartName="/ppt/ink/ink521.xml" ContentType="application/inkml+xml"/>
  <Override PartName="/ppt/ink/ink522.xml" ContentType="application/inkml+xml"/>
  <Override PartName="/ppt/ink/ink523.xml" ContentType="application/inkml+xml"/>
  <Override PartName="/ppt/ink/ink524.xml" ContentType="application/inkml+xml"/>
  <Override PartName="/ppt/ink/ink525.xml" ContentType="application/inkml+xml"/>
  <Override PartName="/ppt/ink/ink526.xml" ContentType="application/inkml+xml"/>
  <Override PartName="/ppt/ink/ink527.xml" ContentType="application/inkml+xml"/>
  <Override PartName="/ppt/ink/ink528.xml" ContentType="application/inkml+xml"/>
  <Override PartName="/ppt/ink/ink529.xml" ContentType="application/inkml+xml"/>
  <Override PartName="/ppt/ink/ink530.xml" ContentType="application/inkml+xml"/>
  <Override PartName="/ppt/ink/ink531.xml" ContentType="application/inkml+xml"/>
  <Override PartName="/ppt/ink/ink532.xml" ContentType="application/inkml+xml"/>
  <Override PartName="/ppt/ink/ink533.xml" ContentType="application/inkml+xml"/>
  <Override PartName="/ppt/ink/ink534.xml" ContentType="application/inkml+xml"/>
  <Override PartName="/ppt/ink/ink535.xml" ContentType="application/inkml+xml"/>
  <Override PartName="/ppt/ink/ink536.xml" ContentType="application/inkml+xml"/>
  <Override PartName="/ppt/ink/ink537.xml" ContentType="application/inkml+xml"/>
  <Override PartName="/ppt/ink/ink538.xml" ContentType="application/inkml+xml"/>
  <Override PartName="/ppt/ink/ink539.xml" ContentType="application/inkml+xml"/>
  <Override PartName="/ppt/ink/ink540.xml" ContentType="application/inkml+xml"/>
  <Override PartName="/ppt/ink/ink541.xml" ContentType="application/inkml+xml"/>
  <Override PartName="/ppt/ink/ink542.xml" ContentType="application/inkml+xml"/>
  <Override PartName="/ppt/ink/ink543.xml" ContentType="application/inkml+xml"/>
  <Override PartName="/ppt/ink/ink544.xml" ContentType="application/inkml+xml"/>
  <Override PartName="/ppt/ink/ink545.xml" ContentType="application/inkml+xml"/>
  <Override PartName="/ppt/ink/ink546.xml" ContentType="application/inkml+xml"/>
  <Override PartName="/ppt/ink/ink547.xml" ContentType="application/inkml+xml"/>
  <Override PartName="/ppt/ink/ink548.xml" ContentType="application/inkml+xml"/>
  <Override PartName="/ppt/ink/ink549.xml" ContentType="application/inkml+xml"/>
  <Override PartName="/ppt/ink/ink550.xml" ContentType="application/inkml+xml"/>
  <Override PartName="/ppt/ink/ink551.xml" ContentType="application/inkml+xml"/>
  <Override PartName="/ppt/ink/ink552.xml" ContentType="application/inkml+xml"/>
  <Override PartName="/ppt/ink/ink553.xml" ContentType="application/inkml+xml"/>
  <Override PartName="/ppt/ink/ink554.xml" ContentType="application/inkml+xml"/>
  <Override PartName="/ppt/ink/ink555.xml" ContentType="application/inkml+xml"/>
  <Override PartName="/ppt/ink/ink556.xml" ContentType="application/inkml+xml"/>
  <Override PartName="/ppt/ink/ink557.xml" ContentType="application/inkml+xml"/>
  <Override PartName="/ppt/ink/ink558.xml" ContentType="application/inkml+xml"/>
  <Override PartName="/ppt/ink/ink559.xml" ContentType="application/inkml+xml"/>
  <Override PartName="/ppt/ink/ink560.xml" ContentType="application/inkml+xml"/>
  <Override PartName="/ppt/ink/ink561.xml" ContentType="application/inkml+xml"/>
  <Override PartName="/ppt/ink/ink562.xml" ContentType="application/inkml+xml"/>
  <Override PartName="/ppt/ink/ink563.xml" ContentType="application/inkml+xml"/>
  <Override PartName="/ppt/ink/ink564.xml" ContentType="application/inkml+xml"/>
  <Override PartName="/ppt/ink/ink565.xml" ContentType="application/inkml+xml"/>
  <Override PartName="/ppt/ink/ink566.xml" ContentType="application/inkml+xml"/>
  <Override PartName="/ppt/ink/ink567.xml" ContentType="application/inkml+xml"/>
  <Override PartName="/ppt/ink/ink568.xml" ContentType="application/inkml+xml"/>
  <Override PartName="/ppt/ink/ink569.xml" ContentType="application/inkml+xml"/>
  <Override PartName="/ppt/ink/ink570.xml" ContentType="application/inkml+xml"/>
  <Override PartName="/ppt/ink/ink571.xml" ContentType="application/inkml+xml"/>
  <Override PartName="/ppt/ink/ink572.xml" ContentType="application/inkml+xml"/>
  <Override PartName="/ppt/ink/ink573.xml" ContentType="application/inkml+xml"/>
  <Override PartName="/ppt/ink/ink574.xml" ContentType="application/inkml+xml"/>
  <Override PartName="/ppt/ink/ink575.xml" ContentType="application/inkml+xml"/>
  <Override PartName="/ppt/ink/ink576.xml" ContentType="application/inkml+xml"/>
  <Override PartName="/ppt/ink/ink577.xml" ContentType="application/inkml+xml"/>
  <Override PartName="/ppt/ink/ink578.xml" ContentType="application/inkml+xml"/>
  <Override PartName="/ppt/ink/ink579.xml" ContentType="application/inkml+xml"/>
  <Override PartName="/ppt/ink/ink580.xml" ContentType="application/inkml+xml"/>
  <Override PartName="/ppt/ink/ink581.xml" ContentType="application/inkml+xml"/>
  <Override PartName="/ppt/ink/ink582.xml" ContentType="application/inkml+xml"/>
  <Override PartName="/ppt/ink/ink583.xml" ContentType="application/inkml+xml"/>
  <Override PartName="/ppt/ink/ink584.xml" ContentType="application/inkml+xml"/>
  <Override PartName="/ppt/ink/ink585.xml" ContentType="application/inkml+xml"/>
  <Override PartName="/ppt/ink/ink586.xml" ContentType="application/inkml+xml"/>
  <Override PartName="/ppt/ink/ink587.xml" ContentType="application/inkml+xml"/>
  <Override PartName="/ppt/ink/ink588.xml" ContentType="application/inkml+xml"/>
  <Override PartName="/ppt/ink/ink589.xml" ContentType="application/inkml+xml"/>
  <Override PartName="/ppt/ink/ink590.xml" ContentType="application/inkml+xml"/>
  <Override PartName="/ppt/ink/ink591.xml" ContentType="application/inkml+xml"/>
  <Override PartName="/ppt/ink/ink592.xml" ContentType="application/inkml+xml"/>
  <Override PartName="/ppt/ink/ink593.xml" ContentType="application/inkml+xml"/>
  <Override PartName="/ppt/ink/ink594.xml" ContentType="application/inkml+xml"/>
  <Override PartName="/ppt/ink/ink595.xml" ContentType="application/inkml+xml"/>
  <Override PartName="/ppt/ink/ink596.xml" ContentType="application/inkml+xml"/>
  <Override PartName="/ppt/ink/ink597.xml" ContentType="application/inkml+xml"/>
  <Override PartName="/ppt/ink/ink598.xml" ContentType="application/inkml+xml"/>
  <Override PartName="/ppt/ink/ink599.xml" ContentType="application/inkml+xml"/>
  <Override PartName="/ppt/ink/ink600.xml" ContentType="application/inkml+xml"/>
  <Override PartName="/ppt/ink/ink601.xml" ContentType="application/inkml+xml"/>
  <Override PartName="/ppt/ink/ink602.xml" ContentType="application/inkml+xml"/>
  <Override PartName="/ppt/ink/ink603.xml" ContentType="application/inkml+xml"/>
  <Override PartName="/ppt/ink/ink604.xml" ContentType="application/inkml+xml"/>
  <Override PartName="/ppt/ink/ink605.xml" ContentType="application/inkml+xml"/>
  <Override PartName="/ppt/ink/ink606.xml" ContentType="application/inkml+xml"/>
  <Override PartName="/ppt/ink/ink607.xml" ContentType="application/inkml+xml"/>
  <Override PartName="/ppt/ink/ink608.xml" ContentType="application/inkml+xml"/>
  <Override PartName="/ppt/ink/ink609.xml" ContentType="application/inkml+xml"/>
  <Override PartName="/ppt/ink/ink610.xml" ContentType="application/inkml+xml"/>
  <Override PartName="/ppt/ink/ink611.xml" ContentType="application/inkml+xml"/>
  <Override PartName="/ppt/ink/ink612.xml" ContentType="application/inkml+xml"/>
  <Override PartName="/ppt/ink/ink613.xml" ContentType="application/inkml+xml"/>
  <Override PartName="/ppt/ink/ink614.xml" ContentType="application/inkml+xml"/>
  <Override PartName="/ppt/ink/ink615.xml" ContentType="application/inkml+xml"/>
  <Override PartName="/ppt/ink/ink616.xml" ContentType="application/inkml+xml"/>
  <Override PartName="/ppt/ink/ink617.xml" ContentType="application/inkml+xml"/>
  <Override PartName="/ppt/ink/ink618.xml" ContentType="application/inkml+xml"/>
  <Override PartName="/ppt/ink/ink619.xml" ContentType="application/inkml+xml"/>
  <Override PartName="/ppt/ink/ink620.xml" ContentType="application/inkml+xml"/>
  <Override PartName="/ppt/ink/ink621.xml" ContentType="application/inkml+xml"/>
  <Override PartName="/ppt/ink/ink622.xml" ContentType="application/inkml+xml"/>
  <Override PartName="/ppt/ink/ink623.xml" ContentType="application/inkml+xml"/>
  <Override PartName="/ppt/ink/ink624.xml" ContentType="application/inkml+xml"/>
  <Override PartName="/ppt/ink/ink625.xml" ContentType="application/inkml+xml"/>
  <Override PartName="/ppt/ink/ink626.xml" ContentType="application/inkml+xml"/>
  <Override PartName="/ppt/ink/ink627.xml" ContentType="application/inkml+xml"/>
  <Override PartName="/ppt/ink/ink628.xml" ContentType="application/inkml+xml"/>
  <Override PartName="/ppt/ink/ink629.xml" ContentType="application/inkml+xml"/>
  <Override PartName="/ppt/ink/ink630.xml" ContentType="application/inkml+xml"/>
  <Override PartName="/ppt/ink/ink631.xml" ContentType="application/inkml+xml"/>
  <Override PartName="/ppt/ink/ink632.xml" ContentType="application/inkml+xml"/>
  <Override PartName="/ppt/ink/ink633.xml" ContentType="application/inkml+xml"/>
  <Override PartName="/ppt/ink/ink634.xml" ContentType="application/inkml+xml"/>
  <Override PartName="/ppt/ink/ink635.xml" ContentType="application/inkml+xml"/>
  <Override PartName="/ppt/ink/ink636.xml" ContentType="application/inkml+xml"/>
  <Override PartName="/ppt/ink/ink637.xml" ContentType="application/inkml+xml"/>
  <Override PartName="/ppt/ink/ink638.xml" ContentType="application/inkml+xml"/>
  <Override PartName="/ppt/ink/ink639.xml" ContentType="application/inkml+xml"/>
  <Override PartName="/ppt/ink/ink640.xml" ContentType="application/inkml+xml"/>
  <Override PartName="/ppt/ink/ink641.xml" ContentType="application/inkml+xml"/>
  <Override PartName="/ppt/ink/ink642.xml" ContentType="application/inkml+xml"/>
  <Override PartName="/ppt/ink/ink643.xml" ContentType="application/inkml+xml"/>
  <Override PartName="/ppt/ink/ink644.xml" ContentType="application/inkml+xml"/>
  <Override PartName="/ppt/ink/ink645.xml" ContentType="application/inkml+xml"/>
  <Override PartName="/ppt/ink/ink646.xml" ContentType="application/inkml+xml"/>
  <Override PartName="/ppt/ink/ink647.xml" ContentType="application/inkml+xml"/>
  <Override PartName="/ppt/ink/ink648.xml" ContentType="application/inkml+xml"/>
  <Override PartName="/ppt/ink/ink649.xml" ContentType="application/inkml+xml"/>
  <Override PartName="/ppt/ink/ink650.xml" ContentType="application/inkml+xml"/>
  <Override PartName="/ppt/ink/ink651.xml" ContentType="application/inkml+xml"/>
  <Override PartName="/ppt/ink/ink652.xml" ContentType="application/inkml+xml"/>
  <Override PartName="/ppt/ink/ink653.xml" ContentType="application/inkml+xml"/>
  <Override PartName="/ppt/ink/ink654.xml" ContentType="application/inkml+xml"/>
  <Override PartName="/ppt/ink/ink655.xml" ContentType="application/inkml+xml"/>
  <Override PartName="/ppt/ink/ink656.xml" ContentType="application/inkml+xml"/>
  <Override PartName="/ppt/ink/ink657.xml" ContentType="application/inkml+xml"/>
  <Override PartName="/ppt/ink/ink658.xml" ContentType="application/inkml+xml"/>
  <Override PartName="/ppt/ink/ink659.xml" ContentType="application/inkml+xml"/>
  <Override PartName="/ppt/ink/ink660.xml" ContentType="application/inkml+xml"/>
  <Override PartName="/ppt/ink/ink661.xml" ContentType="application/inkml+xml"/>
  <Override PartName="/ppt/ink/ink662.xml" ContentType="application/inkml+xml"/>
  <Override PartName="/ppt/ink/ink663.xml" ContentType="application/inkml+xml"/>
  <Override PartName="/ppt/ink/ink664.xml" ContentType="application/inkml+xml"/>
  <Override PartName="/ppt/ink/ink665.xml" ContentType="application/inkml+xml"/>
  <Override PartName="/ppt/ink/ink666.xml" ContentType="application/inkml+xml"/>
  <Override PartName="/ppt/ink/ink667.xml" ContentType="application/inkml+xml"/>
  <Override PartName="/ppt/ink/ink668.xml" ContentType="application/inkml+xml"/>
  <Override PartName="/ppt/ink/ink669.xml" ContentType="application/inkml+xml"/>
  <Override PartName="/ppt/ink/ink670.xml" ContentType="application/inkml+xml"/>
  <Override PartName="/ppt/ink/ink671.xml" ContentType="application/inkml+xml"/>
  <Override PartName="/ppt/ink/ink672.xml" ContentType="application/inkml+xml"/>
  <Override PartName="/ppt/ink/ink673.xml" ContentType="application/inkml+xml"/>
  <Override PartName="/ppt/ink/ink674.xml" ContentType="application/inkml+xml"/>
  <Override PartName="/ppt/ink/ink675.xml" ContentType="application/inkml+xml"/>
  <Override PartName="/ppt/ink/ink676.xml" ContentType="application/inkml+xml"/>
  <Override PartName="/ppt/ink/ink677.xml" ContentType="application/inkml+xml"/>
  <Override PartName="/ppt/ink/ink678.xml" ContentType="application/inkml+xml"/>
  <Override PartName="/ppt/ink/ink679.xml" ContentType="application/inkml+xml"/>
  <Override PartName="/ppt/ink/ink680.xml" ContentType="application/inkml+xml"/>
  <Override PartName="/ppt/ink/ink681.xml" ContentType="application/inkml+xml"/>
  <Override PartName="/ppt/ink/ink682.xml" ContentType="application/inkml+xml"/>
  <Override PartName="/ppt/ink/ink683.xml" ContentType="application/inkml+xml"/>
  <Override PartName="/ppt/ink/ink684.xml" ContentType="application/inkml+xml"/>
  <Override PartName="/ppt/ink/ink685.xml" ContentType="application/inkml+xml"/>
  <Override PartName="/ppt/ink/ink686.xml" ContentType="application/inkml+xml"/>
  <Override PartName="/ppt/ink/ink687.xml" ContentType="application/inkml+xml"/>
  <Override PartName="/ppt/ink/ink688.xml" ContentType="application/inkml+xml"/>
  <Override PartName="/ppt/ink/ink689.xml" ContentType="application/inkml+xml"/>
  <Override PartName="/ppt/ink/ink690.xml" ContentType="application/inkml+xml"/>
  <Override PartName="/ppt/ink/ink691.xml" ContentType="application/inkml+xml"/>
  <Override PartName="/ppt/ink/ink692.xml" ContentType="application/inkml+xml"/>
  <Override PartName="/ppt/ink/ink693.xml" ContentType="application/inkml+xml"/>
  <Override PartName="/ppt/ink/ink694.xml" ContentType="application/inkml+xml"/>
  <Override PartName="/ppt/ink/ink695.xml" ContentType="application/inkml+xml"/>
  <Override PartName="/ppt/ink/ink696.xml" ContentType="application/inkml+xml"/>
  <Override PartName="/ppt/ink/ink697.xml" ContentType="application/inkml+xml"/>
  <Override PartName="/ppt/ink/ink698.xml" ContentType="application/inkml+xml"/>
  <Override PartName="/ppt/ink/ink699.xml" ContentType="application/inkml+xml"/>
  <Override PartName="/ppt/ink/ink700.xml" ContentType="application/inkml+xml"/>
  <Override PartName="/ppt/ink/ink701.xml" ContentType="application/inkml+xml"/>
  <Override PartName="/ppt/ink/ink702.xml" ContentType="application/inkml+xml"/>
  <Override PartName="/ppt/ink/ink703.xml" ContentType="application/inkml+xml"/>
  <Override PartName="/ppt/ink/ink704.xml" ContentType="application/inkml+xml"/>
  <Override PartName="/ppt/ink/ink705.xml" ContentType="application/inkml+xml"/>
  <Override PartName="/ppt/ink/ink706.xml" ContentType="application/inkml+xml"/>
  <Override PartName="/ppt/ink/ink707.xml" ContentType="application/inkml+xml"/>
  <Override PartName="/ppt/ink/ink708.xml" ContentType="application/inkml+xml"/>
  <Override PartName="/ppt/ink/ink709.xml" ContentType="application/inkml+xml"/>
  <Override PartName="/ppt/ink/ink710.xml" ContentType="application/inkml+xml"/>
  <Override PartName="/ppt/ink/ink711.xml" ContentType="application/inkml+xml"/>
  <Override PartName="/ppt/ink/ink712.xml" ContentType="application/inkml+xml"/>
  <Override PartName="/ppt/ink/ink713.xml" ContentType="application/inkml+xml"/>
  <Override PartName="/ppt/ink/ink714.xml" ContentType="application/inkml+xml"/>
  <Override PartName="/ppt/ink/ink715.xml" ContentType="application/inkml+xml"/>
  <Override PartName="/ppt/ink/ink716.xml" ContentType="application/inkml+xml"/>
  <Override PartName="/ppt/ink/ink717.xml" ContentType="application/inkml+xml"/>
  <Override PartName="/ppt/ink/ink718.xml" ContentType="application/inkml+xml"/>
  <Override PartName="/ppt/ink/ink719.xml" ContentType="application/inkml+xml"/>
  <Override PartName="/ppt/ink/ink720.xml" ContentType="application/inkml+xml"/>
  <Override PartName="/ppt/ink/ink721.xml" ContentType="application/inkml+xml"/>
  <Override PartName="/ppt/ink/ink722.xml" ContentType="application/inkml+xml"/>
  <Override PartName="/ppt/ink/ink723.xml" ContentType="application/inkml+xml"/>
  <Override PartName="/ppt/ink/ink724.xml" ContentType="application/inkml+xml"/>
  <Override PartName="/ppt/ink/ink725.xml" ContentType="application/inkml+xml"/>
  <Override PartName="/ppt/ink/ink726.xml" ContentType="application/inkml+xml"/>
  <Override PartName="/ppt/ink/ink727.xml" ContentType="application/inkml+xml"/>
  <Override PartName="/ppt/ink/ink728.xml" ContentType="application/inkml+xml"/>
  <Override PartName="/ppt/ink/ink729.xml" ContentType="application/inkml+xml"/>
  <Override PartName="/ppt/ink/ink730.xml" ContentType="application/inkml+xml"/>
  <Override PartName="/ppt/ink/ink731.xml" ContentType="application/inkml+xml"/>
  <Override PartName="/ppt/ink/ink732.xml" ContentType="application/inkml+xml"/>
  <Override PartName="/ppt/ink/ink733.xml" ContentType="application/inkml+xml"/>
  <Override PartName="/ppt/ink/ink734.xml" ContentType="application/inkml+xml"/>
  <Override PartName="/ppt/ink/ink735.xml" ContentType="application/inkml+xml"/>
  <Override PartName="/ppt/ink/ink736.xml" ContentType="application/inkml+xml"/>
  <Override PartName="/ppt/ink/ink737.xml" ContentType="application/inkml+xml"/>
  <Override PartName="/ppt/ink/ink738.xml" ContentType="application/inkml+xml"/>
  <Override PartName="/ppt/ink/ink739.xml" ContentType="application/inkml+xml"/>
  <Override PartName="/ppt/ink/ink740.xml" ContentType="application/inkml+xml"/>
  <Override PartName="/ppt/ink/ink741.xml" ContentType="application/inkml+xml"/>
  <Override PartName="/ppt/ink/ink742.xml" ContentType="application/inkml+xml"/>
  <Override PartName="/ppt/ink/ink743.xml" ContentType="application/inkml+xml"/>
  <Override PartName="/ppt/ink/ink744.xml" ContentType="application/inkml+xml"/>
  <Override PartName="/ppt/ink/ink745.xml" ContentType="application/inkml+xml"/>
  <Override PartName="/ppt/ink/ink746.xml" ContentType="application/inkml+xml"/>
  <Override PartName="/ppt/ink/ink747.xml" ContentType="application/inkml+xml"/>
  <Override PartName="/ppt/ink/ink748.xml" ContentType="application/inkml+xml"/>
  <Override PartName="/ppt/ink/ink749.xml" ContentType="application/inkml+xml"/>
  <Override PartName="/ppt/ink/ink750.xml" ContentType="application/inkml+xml"/>
  <Override PartName="/ppt/ink/ink751.xml" ContentType="application/inkml+xml"/>
  <Override PartName="/ppt/ink/ink752.xml" ContentType="application/inkml+xml"/>
  <Override PartName="/ppt/ink/ink753.xml" ContentType="application/inkml+xml"/>
  <Override PartName="/ppt/ink/ink754.xml" ContentType="application/inkml+xml"/>
  <Override PartName="/ppt/ink/ink755.xml" ContentType="application/inkml+xml"/>
  <Override PartName="/ppt/ink/ink756.xml" ContentType="application/inkml+xml"/>
  <Override PartName="/ppt/ink/ink757.xml" ContentType="application/inkml+xml"/>
  <Override PartName="/ppt/ink/ink758.xml" ContentType="application/inkml+xml"/>
  <Override PartName="/ppt/ink/ink759.xml" ContentType="application/inkml+xml"/>
  <Override PartName="/ppt/ink/ink760.xml" ContentType="application/inkml+xml"/>
  <Override PartName="/ppt/ink/ink761.xml" ContentType="application/inkml+xml"/>
  <Override PartName="/ppt/ink/ink762.xml" ContentType="application/inkml+xml"/>
  <Override PartName="/ppt/ink/ink763.xml" ContentType="application/inkml+xml"/>
  <Override PartName="/ppt/ink/ink764.xml" ContentType="application/inkml+xml"/>
  <Override PartName="/ppt/ink/ink765.xml" ContentType="application/inkml+xml"/>
  <Override PartName="/ppt/ink/ink766.xml" ContentType="application/inkml+xml"/>
  <Override PartName="/ppt/ink/ink767.xml" ContentType="application/inkml+xml"/>
  <Override PartName="/ppt/ink/ink768.xml" ContentType="application/inkml+xml"/>
  <Override PartName="/ppt/ink/ink769.xml" ContentType="application/inkml+xml"/>
  <Override PartName="/ppt/ink/ink770.xml" ContentType="application/inkml+xml"/>
  <Override PartName="/ppt/ink/ink771.xml" ContentType="application/inkml+xml"/>
  <Override PartName="/ppt/ink/ink772.xml" ContentType="application/inkml+xml"/>
  <Override PartName="/ppt/ink/ink773.xml" ContentType="application/inkml+xml"/>
  <Override PartName="/ppt/ink/ink774.xml" ContentType="application/inkml+xml"/>
  <Override PartName="/ppt/ink/ink775.xml" ContentType="application/inkml+xml"/>
  <Override PartName="/ppt/ink/ink776.xml" ContentType="application/inkml+xml"/>
  <Override PartName="/ppt/ink/ink777.xml" ContentType="application/inkml+xml"/>
  <Override PartName="/ppt/ink/ink778.xml" ContentType="application/inkml+xml"/>
  <Override PartName="/ppt/ink/ink779.xml" ContentType="application/inkml+xml"/>
  <Override PartName="/ppt/ink/ink780.xml" ContentType="application/inkml+xml"/>
  <Override PartName="/ppt/ink/ink781.xml" ContentType="application/inkml+xml"/>
  <Override PartName="/ppt/ink/ink782.xml" ContentType="application/inkml+xml"/>
  <Override PartName="/ppt/ink/ink783.xml" ContentType="application/inkml+xml"/>
  <Override PartName="/ppt/ink/ink784.xml" ContentType="application/inkml+xml"/>
  <Override PartName="/ppt/ink/ink785.xml" ContentType="application/inkml+xml"/>
  <Override PartName="/ppt/ink/ink786.xml" ContentType="application/inkml+xml"/>
  <Override PartName="/ppt/ink/ink787.xml" ContentType="application/inkml+xml"/>
  <Override PartName="/ppt/ink/ink788.xml" ContentType="application/inkml+xml"/>
  <Override PartName="/ppt/ink/ink789.xml" ContentType="application/inkml+xml"/>
  <Override PartName="/ppt/ink/ink790.xml" ContentType="application/inkml+xml"/>
  <Override PartName="/ppt/ink/ink791.xml" ContentType="application/inkml+xml"/>
  <Override PartName="/ppt/ink/ink792.xml" ContentType="application/inkml+xml"/>
  <Override PartName="/ppt/ink/ink793.xml" ContentType="application/inkml+xml"/>
  <Override PartName="/ppt/ink/ink794.xml" ContentType="application/inkml+xml"/>
  <Override PartName="/ppt/ink/ink795.xml" ContentType="application/inkml+xml"/>
  <Override PartName="/ppt/ink/ink796.xml" ContentType="application/inkml+xml"/>
  <Override PartName="/ppt/ink/ink797.xml" ContentType="application/inkml+xml"/>
  <Override PartName="/ppt/ink/ink798.xml" ContentType="application/inkml+xml"/>
  <Override PartName="/ppt/ink/ink799.xml" ContentType="application/inkml+xml"/>
  <Override PartName="/ppt/ink/ink800.xml" ContentType="application/inkml+xml"/>
  <Override PartName="/ppt/ink/ink801.xml" ContentType="application/inkml+xml"/>
  <Override PartName="/ppt/ink/ink802.xml" ContentType="application/inkml+xml"/>
  <Override PartName="/ppt/ink/ink803.xml" ContentType="application/inkml+xml"/>
  <Override PartName="/ppt/ink/ink804.xml" ContentType="application/inkml+xml"/>
  <Override PartName="/ppt/ink/ink805.xml" ContentType="application/inkml+xml"/>
  <Override PartName="/ppt/ink/ink806.xml" ContentType="application/inkml+xml"/>
  <Override PartName="/ppt/ink/ink807.xml" ContentType="application/inkml+xml"/>
  <Override PartName="/ppt/ink/ink808.xml" ContentType="application/inkml+xml"/>
  <Override PartName="/ppt/ink/ink809.xml" ContentType="application/inkml+xml"/>
  <Override PartName="/ppt/ink/ink810.xml" ContentType="application/inkml+xml"/>
  <Override PartName="/ppt/ink/ink811.xml" ContentType="application/inkml+xml"/>
  <Override PartName="/ppt/ink/ink812.xml" ContentType="application/inkml+xml"/>
  <Override PartName="/ppt/ink/ink813.xml" ContentType="application/inkml+xml"/>
  <Override PartName="/ppt/ink/ink814.xml" ContentType="application/inkml+xml"/>
  <Override PartName="/ppt/ink/ink815.xml" ContentType="application/inkml+xml"/>
  <Override PartName="/ppt/ink/ink816.xml" ContentType="application/inkml+xml"/>
  <Override PartName="/ppt/ink/ink817.xml" ContentType="application/inkml+xml"/>
  <Override PartName="/ppt/ink/ink818.xml" ContentType="application/inkml+xml"/>
  <Override PartName="/ppt/ink/ink819.xml" ContentType="application/inkml+xml"/>
  <Override PartName="/ppt/ink/ink820.xml" ContentType="application/inkml+xml"/>
  <Override PartName="/ppt/ink/ink821.xml" ContentType="application/inkml+xml"/>
  <Override PartName="/ppt/ink/ink822.xml" ContentType="application/inkml+xml"/>
  <Override PartName="/ppt/ink/ink823.xml" ContentType="application/inkml+xml"/>
  <Override PartName="/ppt/ink/ink824.xml" ContentType="application/inkml+xml"/>
  <Override PartName="/ppt/ink/ink825.xml" ContentType="application/inkml+xml"/>
  <Override PartName="/ppt/ink/ink826.xml" ContentType="application/inkml+xml"/>
  <Override PartName="/ppt/ink/ink827.xml" ContentType="application/inkml+xml"/>
  <Override PartName="/ppt/ink/ink828.xml" ContentType="application/inkml+xml"/>
  <Override PartName="/ppt/ink/ink829.xml" ContentType="application/inkml+xml"/>
  <Override PartName="/ppt/ink/ink830.xml" ContentType="application/inkml+xml"/>
  <Override PartName="/ppt/ink/ink831.xml" ContentType="application/inkml+xml"/>
  <Override PartName="/ppt/ink/ink832.xml" ContentType="application/inkml+xml"/>
  <Override PartName="/ppt/ink/ink833.xml" ContentType="application/inkml+xml"/>
  <Override PartName="/ppt/ink/ink834.xml" ContentType="application/inkml+xml"/>
  <Override PartName="/ppt/ink/ink835.xml" ContentType="application/inkml+xml"/>
  <Override PartName="/ppt/ink/ink836.xml" ContentType="application/inkml+xml"/>
  <Override PartName="/ppt/ink/ink837.xml" ContentType="application/inkml+xml"/>
  <Override PartName="/ppt/ink/ink838.xml" ContentType="application/inkml+xml"/>
  <Override PartName="/ppt/ink/ink839.xml" ContentType="application/inkml+xml"/>
  <Override PartName="/ppt/ink/ink840.xml" ContentType="application/inkml+xml"/>
  <Override PartName="/ppt/ink/ink841.xml" ContentType="application/inkml+xml"/>
  <Override PartName="/ppt/ink/ink842.xml" ContentType="application/inkml+xml"/>
  <Override PartName="/ppt/ink/ink843.xml" ContentType="application/inkml+xml"/>
  <Override PartName="/ppt/ink/ink844.xml" ContentType="application/inkml+xml"/>
  <Override PartName="/ppt/ink/ink845.xml" ContentType="application/inkml+xml"/>
  <Override PartName="/ppt/ink/ink846.xml" ContentType="application/inkml+xml"/>
  <Override PartName="/ppt/ink/ink847.xml" ContentType="application/inkml+xml"/>
  <Override PartName="/ppt/ink/ink848.xml" ContentType="application/inkml+xml"/>
  <Override PartName="/ppt/ink/ink849.xml" ContentType="application/inkml+xml"/>
  <Override PartName="/ppt/ink/ink850.xml" ContentType="application/inkml+xml"/>
  <Override PartName="/ppt/ink/ink851.xml" ContentType="application/inkml+xml"/>
  <Override PartName="/ppt/ink/ink852.xml" ContentType="application/inkml+xml"/>
  <Override PartName="/ppt/ink/ink853.xml" ContentType="application/inkml+xml"/>
  <Override PartName="/ppt/ink/ink854.xml" ContentType="application/inkml+xml"/>
  <Override PartName="/ppt/ink/ink855.xml" ContentType="application/inkml+xml"/>
  <Override PartName="/ppt/ink/ink856.xml" ContentType="application/inkml+xml"/>
  <Override PartName="/ppt/ink/ink857.xml" ContentType="application/inkml+xml"/>
  <Override PartName="/ppt/ink/ink858.xml" ContentType="application/inkml+xml"/>
  <Override PartName="/ppt/ink/ink859.xml" ContentType="application/inkml+xml"/>
  <Override PartName="/ppt/ink/ink860.xml" ContentType="application/inkml+xml"/>
  <Override PartName="/ppt/ink/ink861.xml" ContentType="application/inkml+xml"/>
  <Override PartName="/ppt/ink/ink862.xml" ContentType="application/inkml+xml"/>
  <Override PartName="/ppt/ink/ink863.xml" ContentType="application/inkml+xml"/>
  <Override PartName="/ppt/ink/ink864.xml" ContentType="application/inkml+xml"/>
  <Override PartName="/ppt/ink/ink865.xml" ContentType="application/inkml+xml"/>
  <Override PartName="/ppt/ink/ink866.xml" ContentType="application/inkml+xml"/>
  <Override PartName="/ppt/ink/ink867.xml" ContentType="application/inkml+xml"/>
  <Override PartName="/ppt/ink/ink868.xml" ContentType="application/inkml+xml"/>
  <Override PartName="/ppt/ink/ink869.xml" ContentType="application/inkml+xml"/>
  <Override PartName="/ppt/ink/ink870.xml" ContentType="application/inkml+xml"/>
  <Override PartName="/ppt/ink/ink871.xml" ContentType="application/inkml+xml"/>
  <Override PartName="/ppt/ink/ink872.xml" ContentType="application/inkml+xml"/>
  <Override PartName="/ppt/ink/ink873.xml" ContentType="application/inkml+xml"/>
  <Override PartName="/ppt/ink/ink874.xml" ContentType="application/inkml+xml"/>
  <Override PartName="/ppt/ink/ink875.xml" ContentType="application/inkml+xml"/>
  <Override PartName="/ppt/ink/ink876.xml" ContentType="application/inkml+xml"/>
  <Override PartName="/ppt/ink/ink877.xml" ContentType="application/inkml+xml"/>
  <Override PartName="/ppt/ink/ink878.xml" ContentType="application/inkml+xml"/>
  <Override PartName="/ppt/ink/ink879.xml" ContentType="application/inkml+xml"/>
  <Override PartName="/ppt/ink/ink880.xml" ContentType="application/inkml+xml"/>
  <Override PartName="/ppt/ink/ink881.xml" ContentType="application/inkml+xml"/>
  <Override PartName="/ppt/ink/ink882.xml" ContentType="application/inkml+xml"/>
  <Override PartName="/ppt/ink/ink883.xml" ContentType="application/inkml+xml"/>
  <Override PartName="/ppt/ink/ink884.xml" ContentType="application/inkml+xml"/>
  <Override PartName="/ppt/ink/ink885.xml" ContentType="application/inkml+xml"/>
  <Override PartName="/ppt/ink/ink886.xml" ContentType="application/inkml+xml"/>
  <Override PartName="/ppt/ink/ink887.xml" ContentType="application/inkml+xml"/>
  <Override PartName="/ppt/ink/ink888.xml" ContentType="application/inkml+xml"/>
  <Override PartName="/ppt/ink/ink889.xml" ContentType="application/inkml+xml"/>
  <Override PartName="/ppt/ink/ink890.xml" ContentType="application/inkml+xml"/>
  <Override PartName="/ppt/ink/ink891.xml" ContentType="application/inkml+xml"/>
  <Override PartName="/ppt/ink/ink892.xml" ContentType="application/inkml+xml"/>
  <Override PartName="/ppt/ink/ink893.xml" ContentType="application/inkml+xml"/>
  <Override PartName="/ppt/ink/ink894.xml" ContentType="application/inkml+xml"/>
  <Override PartName="/ppt/ink/ink895.xml" ContentType="application/inkml+xml"/>
  <Override PartName="/ppt/ink/ink896.xml" ContentType="application/inkml+xml"/>
  <Override PartName="/ppt/ink/ink897.xml" ContentType="application/inkml+xml"/>
  <Override PartName="/ppt/ink/ink898.xml" ContentType="application/inkml+xml"/>
  <Override PartName="/ppt/ink/ink899.xml" ContentType="application/inkml+xml"/>
  <Override PartName="/ppt/ink/ink900.xml" ContentType="application/inkml+xml"/>
  <Override PartName="/ppt/ink/ink901.xml" ContentType="application/inkml+xml"/>
  <Override PartName="/ppt/ink/ink902.xml" ContentType="application/inkml+xml"/>
  <Override PartName="/ppt/ink/ink903.xml" ContentType="application/inkml+xml"/>
  <Override PartName="/ppt/ink/ink904.xml" ContentType="application/inkml+xml"/>
  <Override PartName="/ppt/ink/ink905.xml" ContentType="application/inkml+xml"/>
  <Override PartName="/ppt/ink/ink906.xml" ContentType="application/inkml+xml"/>
  <Override PartName="/ppt/ink/ink907.xml" ContentType="application/inkml+xml"/>
  <Override PartName="/ppt/ink/ink908.xml" ContentType="application/inkml+xml"/>
  <Override PartName="/ppt/ink/ink909.xml" ContentType="application/inkml+xml"/>
  <Override PartName="/ppt/ink/ink910.xml" ContentType="application/inkml+xml"/>
  <Override PartName="/ppt/ink/ink911.xml" ContentType="application/inkml+xml"/>
  <Override PartName="/ppt/ink/ink912.xml" ContentType="application/inkml+xml"/>
  <Override PartName="/ppt/ink/ink913.xml" ContentType="application/inkml+xml"/>
  <Override PartName="/ppt/ink/ink914.xml" ContentType="application/inkml+xml"/>
  <Override PartName="/ppt/ink/ink915.xml" ContentType="application/inkml+xml"/>
  <Override PartName="/ppt/ink/ink916.xml" ContentType="application/inkml+xml"/>
  <Override PartName="/ppt/ink/ink917.xml" ContentType="application/inkml+xml"/>
  <Override PartName="/ppt/ink/ink918.xml" ContentType="application/inkml+xml"/>
  <Override PartName="/ppt/ink/ink919.xml" ContentType="application/inkml+xml"/>
  <Override PartName="/ppt/ink/ink920.xml" ContentType="application/inkml+xml"/>
  <Override PartName="/ppt/ink/ink921.xml" ContentType="application/inkml+xml"/>
  <Override PartName="/ppt/ink/ink922.xml" ContentType="application/inkml+xml"/>
  <Override PartName="/ppt/ink/ink923.xml" ContentType="application/inkml+xml"/>
  <Override PartName="/ppt/ink/ink924.xml" ContentType="application/inkml+xml"/>
  <Override PartName="/ppt/ink/ink925.xml" ContentType="application/inkml+xml"/>
  <Override PartName="/ppt/ink/ink926.xml" ContentType="application/inkml+xml"/>
  <Override PartName="/ppt/ink/ink927.xml" ContentType="application/inkml+xml"/>
  <Override PartName="/ppt/ink/ink928.xml" ContentType="application/inkml+xml"/>
  <Override PartName="/ppt/ink/ink929.xml" ContentType="application/inkml+xml"/>
  <Override PartName="/ppt/ink/ink930.xml" ContentType="application/inkml+xml"/>
  <Override PartName="/ppt/ink/ink931.xml" ContentType="application/inkml+xml"/>
  <Override PartName="/ppt/ink/ink932.xml" ContentType="application/inkml+xml"/>
  <Override PartName="/ppt/ink/ink933.xml" ContentType="application/inkml+xml"/>
  <Override PartName="/ppt/ink/ink934.xml" ContentType="application/inkml+xml"/>
  <Override PartName="/ppt/notesSlides/notesSlide16.xml" ContentType="application/vnd.openxmlformats-officedocument.presentationml.notesSlide+xml"/>
  <Override PartName="/ppt/ink/ink935.xml" ContentType="application/inkml+xml"/>
  <Override PartName="/ppt/ink/ink936.xml" ContentType="application/inkml+xml"/>
  <Override PartName="/ppt/ink/ink937.xml" ContentType="application/inkml+xml"/>
  <Override PartName="/ppt/ink/ink938.xml" ContentType="application/inkml+xml"/>
  <Override PartName="/ppt/ink/ink939.xml" ContentType="application/inkml+xml"/>
  <Override PartName="/ppt/ink/ink940.xml" ContentType="application/inkml+xml"/>
  <Override PartName="/ppt/ink/ink941.xml" ContentType="application/inkml+xml"/>
  <Override PartName="/ppt/ink/ink942.xml" ContentType="application/inkml+xml"/>
  <Override PartName="/ppt/ink/ink943.xml" ContentType="application/inkml+xml"/>
  <Override PartName="/ppt/ink/ink944.xml" ContentType="application/inkml+xml"/>
  <Override PartName="/ppt/ink/ink945.xml" ContentType="application/inkml+xml"/>
  <Override PartName="/ppt/ink/ink946.xml" ContentType="application/inkml+xml"/>
  <Override PartName="/ppt/ink/ink947.xml" ContentType="application/inkml+xml"/>
  <Override PartName="/ppt/ink/ink948.xml" ContentType="application/inkml+xml"/>
  <Override PartName="/ppt/ink/ink949.xml" ContentType="application/inkml+xml"/>
  <Override PartName="/ppt/ink/ink950.xml" ContentType="application/inkml+xml"/>
  <Override PartName="/ppt/ink/ink951.xml" ContentType="application/inkml+xml"/>
  <Override PartName="/ppt/ink/ink952.xml" ContentType="application/inkml+xml"/>
  <Override PartName="/ppt/ink/ink953.xml" ContentType="application/inkml+xml"/>
  <Override PartName="/ppt/ink/ink954.xml" ContentType="application/inkml+xml"/>
  <Override PartName="/ppt/ink/ink955.xml" ContentType="application/inkml+xml"/>
  <Override PartName="/ppt/ink/ink956.xml" ContentType="application/inkml+xml"/>
  <Override PartName="/ppt/ink/ink957.xml" ContentType="application/inkml+xml"/>
  <Override PartName="/ppt/ink/ink958.xml" ContentType="application/inkml+xml"/>
  <Override PartName="/ppt/ink/ink959.xml" ContentType="application/inkml+xml"/>
  <Override PartName="/ppt/ink/ink960.xml" ContentType="application/inkml+xml"/>
  <Override PartName="/ppt/ink/ink961.xml" ContentType="application/inkml+xml"/>
  <Override PartName="/ppt/ink/ink962.xml" ContentType="application/inkml+xml"/>
  <Override PartName="/ppt/ink/ink963.xml" ContentType="application/inkml+xml"/>
  <Override PartName="/ppt/ink/ink964.xml" ContentType="application/inkml+xml"/>
  <Override PartName="/ppt/ink/ink965.xml" ContentType="application/inkml+xml"/>
  <Override PartName="/ppt/ink/ink966.xml" ContentType="application/inkml+xml"/>
  <Override PartName="/ppt/ink/ink967.xml" ContentType="application/inkml+xml"/>
  <Override PartName="/ppt/ink/ink968.xml" ContentType="application/inkml+xml"/>
  <Override PartName="/ppt/ink/ink969.xml" ContentType="application/inkml+xml"/>
  <Override PartName="/ppt/ink/ink970.xml" ContentType="application/inkml+xml"/>
  <Override PartName="/ppt/ink/ink971.xml" ContentType="application/inkml+xml"/>
  <Override PartName="/ppt/ink/ink972.xml" ContentType="application/inkml+xml"/>
  <Override PartName="/ppt/ink/ink973.xml" ContentType="application/inkml+xml"/>
  <Override PartName="/ppt/ink/ink974.xml" ContentType="application/inkml+xml"/>
  <Override PartName="/ppt/ink/ink975.xml" ContentType="application/inkml+xml"/>
  <Override PartName="/ppt/ink/ink976.xml" ContentType="application/inkml+xml"/>
  <Override PartName="/ppt/ink/ink977.xml" ContentType="application/inkml+xml"/>
  <Override PartName="/ppt/ink/ink978.xml" ContentType="application/inkml+xml"/>
  <Override PartName="/ppt/ink/ink979.xml" ContentType="application/inkml+xml"/>
  <Override PartName="/ppt/ink/ink980.xml" ContentType="application/inkml+xml"/>
  <Override PartName="/ppt/ink/ink981.xml" ContentType="application/inkml+xml"/>
  <Override PartName="/ppt/ink/ink982.xml" ContentType="application/inkml+xml"/>
  <Override PartName="/ppt/ink/ink983.xml" ContentType="application/inkml+xml"/>
  <Override PartName="/ppt/ink/ink984.xml" ContentType="application/inkml+xml"/>
  <Override PartName="/ppt/ink/ink985.xml" ContentType="application/inkml+xml"/>
  <Override PartName="/ppt/ink/ink986.xml" ContentType="application/inkml+xml"/>
  <Override PartName="/ppt/ink/ink987.xml" ContentType="application/inkml+xml"/>
  <Override PartName="/ppt/ink/ink988.xml" ContentType="application/inkml+xml"/>
  <Override PartName="/ppt/ink/ink989.xml" ContentType="application/inkml+xml"/>
  <Override PartName="/ppt/ink/ink990.xml" ContentType="application/inkml+xml"/>
  <Override PartName="/ppt/ink/ink991.xml" ContentType="application/inkml+xml"/>
  <Override PartName="/ppt/ink/ink992.xml" ContentType="application/inkml+xml"/>
  <Override PartName="/ppt/ink/ink993.xml" ContentType="application/inkml+xml"/>
  <Override PartName="/ppt/ink/ink994.xml" ContentType="application/inkml+xml"/>
  <Override PartName="/ppt/ink/ink995.xml" ContentType="application/inkml+xml"/>
  <Override PartName="/ppt/ink/ink996.xml" ContentType="application/inkml+xml"/>
  <Override PartName="/ppt/ink/ink997.xml" ContentType="application/inkml+xml"/>
  <Override PartName="/ppt/ink/ink998.xml" ContentType="application/inkml+xml"/>
  <Override PartName="/ppt/ink/ink999.xml" ContentType="application/inkml+xml"/>
  <Override PartName="/ppt/ink/ink1000.xml" ContentType="application/inkml+xml"/>
  <Override PartName="/ppt/ink/ink1001.xml" ContentType="application/inkml+xml"/>
  <Override PartName="/ppt/ink/ink1002.xml" ContentType="application/inkml+xml"/>
  <Override PartName="/ppt/ink/ink1003.xml" ContentType="application/inkml+xml"/>
  <Override PartName="/ppt/ink/ink1004.xml" ContentType="application/inkml+xml"/>
  <Override PartName="/ppt/ink/ink1005.xml" ContentType="application/inkml+xml"/>
  <Override PartName="/ppt/ink/ink1006.xml" ContentType="application/inkml+xml"/>
  <Override PartName="/ppt/ink/ink1007.xml" ContentType="application/inkml+xml"/>
  <Override PartName="/ppt/ink/ink1008.xml" ContentType="application/inkml+xml"/>
  <Override PartName="/ppt/ink/ink1009.xml" ContentType="application/inkml+xml"/>
  <Override PartName="/ppt/ink/ink1010.xml" ContentType="application/inkml+xml"/>
  <Override PartName="/ppt/ink/ink1011.xml" ContentType="application/inkml+xml"/>
  <Override PartName="/ppt/ink/ink1012.xml" ContentType="application/inkml+xml"/>
  <Override PartName="/ppt/ink/ink1013.xml" ContentType="application/inkml+xml"/>
  <Override PartName="/ppt/ink/ink1014.xml" ContentType="application/inkml+xml"/>
  <Override PartName="/ppt/ink/ink1015.xml" ContentType="application/inkml+xml"/>
  <Override PartName="/ppt/ink/ink1016.xml" ContentType="application/inkml+xml"/>
  <Override PartName="/ppt/ink/ink1017.xml" ContentType="application/inkml+xml"/>
  <Override PartName="/ppt/ink/ink1018.xml" ContentType="application/inkml+xml"/>
  <Override PartName="/ppt/ink/ink1019.xml" ContentType="application/inkml+xml"/>
  <Override PartName="/ppt/ink/ink1020.xml" ContentType="application/inkml+xml"/>
  <Override PartName="/ppt/ink/ink1021.xml" ContentType="application/inkml+xml"/>
  <Override PartName="/ppt/ink/ink1022.xml" ContentType="application/inkml+xml"/>
  <Override PartName="/ppt/ink/ink1023.xml" ContentType="application/inkml+xml"/>
  <Override PartName="/ppt/ink/ink1024.xml" ContentType="application/inkml+xml"/>
  <Override PartName="/ppt/ink/ink1025.xml" ContentType="application/inkml+xml"/>
  <Override PartName="/ppt/ink/ink1026.xml" ContentType="application/inkml+xml"/>
  <Override PartName="/ppt/ink/ink1027.xml" ContentType="application/inkml+xml"/>
  <Override PartName="/ppt/ink/ink1028.xml" ContentType="application/inkml+xml"/>
  <Override PartName="/ppt/ink/ink1029.xml" ContentType="application/inkml+xml"/>
  <Override PartName="/ppt/ink/ink1030.xml" ContentType="application/inkml+xml"/>
  <Override PartName="/ppt/ink/ink1031.xml" ContentType="application/inkml+xml"/>
  <Override PartName="/ppt/ink/ink1032.xml" ContentType="application/inkml+xml"/>
  <Override PartName="/ppt/notesSlides/notesSlide17.xml" ContentType="application/vnd.openxmlformats-officedocument.presentationml.notesSlide+xml"/>
  <Override PartName="/ppt/ink/ink1033.xml" ContentType="application/inkml+xml"/>
  <Override PartName="/ppt/ink/ink1034.xml" ContentType="application/inkml+xml"/>
  <Override PartName="/ppt/ink/ink1035.xml" ContentType="application/inkml+xml"/>
  <Override PartName="/ppt/ink/ink1036.xml" ContentType="application/inkml+xml"/>
  <Override PartName="/ppt/ink/ink1037.xml" ContentType="application/inkml+xml"/>
  <Override PartName="/ppt/ink/ink1038.xml" ContentType="application/inkml+xml"/>
  <Override PartName="/ppt/ink/ink1039.xml" ContentType="application/inkml+xml"/>
  <Override PartName="/ppt/ink/ink1040.xml" ContentType="application/inkml+xml"/>
  <Override PartName="/ppt/ink/ink1041.xml" ContentType="application/inkml+xml"/>
  <Override PartName="/ppt/ink/ink1042.xml" ContentType="application/inkml+xml"/>
  <Override PartName="/ppt/ink/ink1043.xml" ContentType="application/inkml+xml"/>
  <Override PartName="/ppt/ink/ink1044.xml" ContentType="application/inkml+xml"/>
  <Override PartName="/ppt/ink/ink1045.xml" ContentType="application/inkml+xml"/>
  <Override PartName="/ppt/ink/ink1046.xml" ContentType="application/inkml+xml"/>
  <Override PartName="/ppt/ink/ink1047.xml" ContentType="application/inkml+xml"/>
  <Override PartName="/ppt/ink/ink1048.xml" ContentType="application/inkml+xml"/>
  <Override PartName="/ppt/ink/ink1049.xml" ContentType="application/inkml+xml"/>
  <Override PartName="/ppt/ink/ink1050.xml" ContentType="application/inkml+xml"/>
  <Override PartName="/ppt/ink/ink1051.xml" ContentType="application/inkml+xml"/>
  <Override PartName="/ppt/ink/ink1052.xml" ContentType="application/inkml+xml"/>
  <Override PartName="/ppt/ink/ink1053.xml" ContentType="application/inkml+xml"/>
  <Override PartName="/ppt/ink/ink1054.xml" ContentType="application/inkml+xml"/>
  <Override PartName="/ppt/ink/ink1055.xml" ContentType="application/inkml+xml"/>
  <Override PartName="/ppt/ink/ink1056.xml" ContentType="application/inkml+xml"/>
  <Override PartName="/ppt/ink/ink1057.xml" ContentType="application/inkml+xml"/>
  <Override PartName="/ppt/ink/ink1058.xml" ContentType="application/inkml+xml"/>
  <Override PartName="/ppt/ink/ink1059.xml" ContentType="application/inkml+xml"/>
  <Override PartName="/ppt/ink/ink1060.xml" ContentType="application/inkml+xml"/>
  <Override PartName="/ppt/ink/ink1061.xml" ContentType="application/inkml+xml"/>
  <Override PartName="/ppt/ink/ink1062.xml" ContentType="application/inkml+xml"/>
  <Override PartName="/ppt/ink/ink1063.xml" ContentType="application/inkml+xml"/>
  <Override PartName="/ppt/ink/ink1064.xml" ContentType="application/inkml+xml"/>
  <Override PartName="/ppt/ink/ink1065.xml" ContentType="application/inkml+xml"/>
  <Override PartName="/ppt/ink/ink1066.xml" ContentType="application/inkml+xml"/>
  <Override PartName="/ppt/ink/ink1067.xml" ContentType="application/inkml+xml"/>
  <Override PartName="/ppt/ink/ink1068.xml" ContentType="application/inkml+xml"/>
  <Override PartName="/ppt/ink/ink1069.xml" ContentType="application/inkml+xml"/>
  <Override PartName="/ppt/ink/ink1070.xml" ContentType="application/inkml+xml"/>
  <Override PartName="/ppt/ink/ink1071.xml" ContentType="application/inkml+xml"/>
  <Override PartName="/ppt/ink/ink1072.xml" ContentType="application/inkml+xml"/>
  <Override PartName="/ppt/ink/ink1073.xml" ContentType="application/inkml+xml"/>
  <Override PartName="/ppt/ink/ink1074.xml" ContentType="application/inkml+xml"/>
  <Override PartName="/ppt/ink/ink1075.xml" ContentType="application/inkml+xml"/>
  <Override PartName="/ppt/ink/ink1076.xml" ContentType="application/inkml+xml"/>
  <Override PartName="/ppt/ink/ink1077.xml" ContentType="application/inkml+xml"/>
  <Override PartName="/ppt/ink/ink1078.xml" ContentType="application/inkml+xml"/>
  <Override PartName="/ppt/ink/ink1079.xml" ContentType="application/inkml+xml"/>
  <Override PartName="/ppt/ink/ink1080.xml" ContentType="application/inkml+xml"/>
  <Override PartName="/ppt/ink/ink1081.xml" ContentType="application/inkml+xml"/>
  <Override PartName="/ppt/ink/ink1082.xml" ContentType="application/inkml+xml"/>
  <Override PartName="/ppt/ink/ink1083.xml" ContentType="application/inkml+xml"/>
  <Override PartName="/ppt/ink/ink1084.xml" ContentType="application/inkml+xml"/>
  <Override PartName="/ppt/ink/ink1085.xml" ContentType="application/inkml+xml"/>
  <Override PartName="/ppt/ink/ink1086.xml" ContentType="application/inkml+xml"/>
  <Override PartName="/ppt/ink/ink1087.xml" ContentType="application/inkml+xml"/>
  <Override PartName="/ppt/ink/ink1088.xml" ContentType="application/inkml+xml"/>
  <Override PartName="/ppt/ink/ink1089.xml" ContentType="application/inkml+xml"/>
  <Override PartName="/ppt/ink/ink1090.xml" ContentType="application/inkml+xml"/>
  <Override PartName="/ppt/ink/ink1091.xml" ContentType="application/inkml+xml"/>
  <Override PartName="/ppt/ink/ink1092.xml" ContentType="application/inkml+xml"/>
  <Override PartName="/ppt/ink/ink1093.xml" ContentType="application/inkml+xml"/>
  <Override PartName="/ppt/ink/ink1094.xml" ContentType="application/inkml+xml"/>
  <Override PartName="/ppt/ink/ink1095.xml" ContentType="application/inkml+xml"/>
  <Override PartName="/ppt/ink/ink1096.xml" ContentType="application/inkml+xml"/>
  <Override PartName="/ppt/ink/ink1097.xml" ContentType="application/inkml+xml"/>
  <Override PartName="/ppt/ink/ink1098.xml" ContentType="application/inkml+xml"/>
  <Override PartName="/ppt/ink/ink1099.xml" ContentType="application/inkml+xml"/>
  <Override PartName="/ppt/ink/ink1100.xml" ContentType="application/inkml+xml"/>
  <Override PartName="/ppt/ink/ink1101.xml" ContentType="application/inkml+xml"/>
  <Override PartName="/ppt/ink/ink1102.xml" ContentType="application/inkml+xml"/>
  <Override PartName="/ppt/ink/ink1103.xml" ContentType="application/inkml+xml"/>
  <Override PartName="/ppt/ink/ink1104.xml" ContentType="application/inkml+xml"/>
  <Override PartName="/ppt/ink/ink1105.xml" ContentType="application/inkml+xml"/>
  <Override PartName="/ppt/ink/ink1106.xml" ContentType="application/inkml+xml"/>
  <Override PartName="/ppt/ink/ink1107.xml" ContentType="application/inkml+xml"/>
  <Override PartName="/ppt/ink/ink1108.xml" ContentType="application/inkml+xml"/>
  <Override PartName="/ppt/ink/ink1109.xml" ContentType="application/inkml+xml"/>
  <Override PartName="/ppt/ink/ink1110.xml" ContentType="application/inkml+xml"/>
  <Override PartName="/ppt/ink/ink1111.xml" ContentType="application/inkml+xml"/>
  <Override PartName="/ppt/ink/ink1112.xml" ContentType="application/inkml+xml"/>
  <Override PartName="/ppt/ink/ink1113.xml" ContentType="application/inkml+xml"/>
  <Override PartName="/ppt/ink/ink1114.xml" ContentType="application/inkml+xml"/>
  <Override PartName="/ppt/ink/ink1115.xml" ContentType="application/inkml+xml"/>
  <Override PartName="/ppt/ink/ink1116.xml" ContentType="application/inkml+xml"/>
  <Override PartName="/ppt/ink/ink1117.xml" ContentType="application/inkml+xml"/>
  <Override PartName="/ppt/ink/ink1118.xml" ContentType="application/inkml+xml"/>
  <Override PartName="/ppt/ink/ink1119.xml" ContentType="application/inkml+xml"/>
  <Override PartName="/ppt/ink/ink1120.xml" ContentType="application/inkml+xml"/>
  <Override PartName="/ppt/ink/ink1121.xml" ContentType="application/inkml+xml"/>
  <Override PartName="/ppt/ink/ink1122.xml" ContentType="application/inkml+xml"/>
  <Override PartName="/ppt/ink/ink1123.xml" ContentType="application/inkml+xml"/>
  <Override PartName="/ppt/ink/ink1124.xml" ContentType="application/inkml+xml"/>
  <Override PartName="/ppt/ink/ink1125.xml" ContentType="application/inkml+xml"/>
  <Override PartName="/ppt/ink/ink1126.xml" ContentType="application/inkml+xml"/>
  <Override PartName="/ppt/ink/ink1127.xml" ContentType="application/inkml+xml"/>
  <Override PartName="/ppt/ink/ink1128.xml" ContentType="application/inkml+xml"/>
  <Override PartName="/ppt/ink/ink1129.xml" ContentType="application/inkml+xml"/>
  <Override PartName="/ppt/ink/ink1130.xml" ContentType="application/inkml+xml"/>
  <Override PartName="/ppt/ink/ink1131.xml" ContentType="application/inkml+xml"/>
  <Override PartName="/ppt/ink/ink1132.xml" ContentType="application/inkml+xml"/>
  <Override PartName="/ppt/ink/ink1133.xml" ContentType="application/inkml+xml"/>
  <Override PartName="/ppt/ink/ink1134.xml" ContentType="application/inkml+xml"/>
  <Override PartName="/ppt/ink/ink1135.xml" ContentType="application/inkml+xml"/>
  <Override PartName="/ppt/ink/ink1136.xml" ContentType="application/inkml+xml"/>
  <Override PartName="/ppt/ink/ink1137.xml" ContentType="application/inkml+xml"/>
  <Override PartName="/ppt/ink/ink1138.xml" ContentType="application/inkml+xml"/>
  <Override PartName="/ppt/ink/ink1139.xml" ContentType="application/inkml+xml"/>
  <Override PartName="/ppt/ink/ink1140.xml" ContentType="application/inkml+xml"/>
  <Override PartName="/ppt/ink/ink1141.xml" ContentType="application/inkml+xml"/>
  <Override PartName="/ppt/ink/ink1142.xml" ContentType="application/inkml+xml"/>
  <Override PartName="/ppt/ink/ink1143.xml" ContentType="application/inkml+xml"/>
  <Override PartName="/ppt/ink/ink1144.xml" ContentType="application/inkml+xml"/>
  <Override PartName="/ppt/ink/ink1145.xml" ContentType="application/inkml+xml"/>
  <Override PartName="/ppt/ink/ink1146.xml" ContentType="application/inkml+xml"/>
  <Override PartName="/ppt/ink/ink1147.xml" ContentType="application/inkml+xml"/>
  <Override PartName="/ppt/ink/ink1148.xml" ContentType="application/inkml+xml"/>
  <Override PartName="/ppt/ink/ink1149.xml" ContentType="application/inkml+xml"/>
  <Override PartName="/ppt/ink/ink1150.xml" ContentType="application/inkml+xml"/>
  <Override PartName="/ppt/ink/ink1151.xml" ContentType="application/inkml+xml"/>
  <Override PartName="/ppt/ink/ink1152.xml" ContentType="application/inkml+xml"/>
  <Override PartName="/ppt/ink/ink1153.xml" ContentType="application/inkml+xml"/>
  <Override PartName="/ppt/ink/ink1154.xml" ContentType="application/inkml+xml"/>
  <Override PartName="/ppt/ink/ink1155.xml" ContentType="application/inkml+xml"/>
  <Override PartName="/ppt/ink/ink1156.xml" ContentType="application/inkml+xml"/>
  <Override PartName="/ppt/ink/ink1157.xml" ContentType="application/inkml+xml"/>
  <Override PartName="/ppt/ink/ink1158.xml" ContentType="application/inkml+xml"/>
  <Override PartName="/ppt/ink/ink1159.xml" ContentType="application/inkml+xml"/>
  <Override PartName="/ppt/ink/ink1160.xml" ContentType="application/inkml+xml"/>
  <Override PartName="/ppt/ink/ink1161.xml" ContentType="application/inkml+xml"/>
  <Override PartName="/ppt/ink/ink1162.xml" ContentType="application/inkml+xml"/>
  <Override PartName="/ppt/ink/ink1163.xml" ContentType="application/inkml+xml"/>
  <Override PartName="/ppt/ink/ink1164.xml" ContentType="application/inkml+xml"/>
  <Override PartName="/ppt/ink/ink1165.xml" ContentType="application/inkml+xml"/>
  <Override PartName="/ppt/ink/ink1166.xml" ContentType="application/inkml+xml"/>
  <Override PartName="/ppt/ink/ink1167.xml" ContentType="application/inkml+xml"/>
  <Override PartName="/ppt/ink/ink1168.xml" ContentType="application/inkml+xml"/>
  <Override PartName="/ppt/ink/ink1169.xml" ContentType="application/inkml+xml"/>
  <Override PartName="/ppt/ink/ink1170.xml" ContentType="application/inkml+xml"/>
  <Override PartName="/ppt/ink/ink1171.xml" ContentType="application/inkml+xml"/>
  <Override PartName="/ppt/ink/ink1172.xml" ContentType="application/inkml+xml"/>
  <Override PartName="/ppt/ink/ink1173.xml" ContentType="application/inkml+xml"/>
  <Override PartName="/ppt/ink/ink1174.xml" ContentType="application/inkml+xml"/>
  <Override PartName="/ppt/ink/ink1175.xml" ContentType="application/inkml+xml"/>
  <Override PartName="/ppt/ink/ink1176.xml" ContentType="application/inkml+xml"/>
  <Override PartName="/ppt/ink/ink1177.xml" ContentType="application/inkml+xml"/>
  <Override PartName="/ppt/ink/ink1178.xml" ContentType="application/inkml+xml"/>
  <Override PartName="/ppt/ink/ink1179.xml" ContentType="application/inkml+xml"/>
  <Override PartName="/ppt/ink/ink1180.xml" ContentType="application/inkml+xml"/>
  <Override PartName="/ppt/ink/ink1181.xml" ContentType="application/inkml+xml"/>
  <Override PartName="/ppt/ink/ink1182.xml" ContentType="application/inkml+xml"/>
  <Override PartName="/ppt/ink/ink1183.xml" ContentType="application/inkml+xml"/>
  <Override PartName="/ppt/ink/ink1184.xml" ContentType="application/inkml+xml"/>
  <Override PartName="/ppt/ink/ink1185.xml" ContentType="application/inkml+xml"/>
  <Override PartName="/ppt/ink/ink1186.xml" ContentType="application/inkml+xml"/>
  <Override PartName="/ppt/ink/ink1187.xml" ContentType="application/inkml+xml"/>
  <Override PartName="/ppt/ink/ink1188.xml" ContentType="application/inkml+xml"/>
  <Override PartName="/ppt/ink/ink1189.xml" ContentType="application/inkml+xml"/>
  <Override PartName="/ppt/ink/ink1190.xml" ContentType="application/inkml+xml"/>
  <Override PartName="/ppt/ink/ink1191.xml" ContentType="application/inkml+xml"/>
  <Override PartName="/ppt/ink/ink1192.xml" ContentType="application/inkml+xml"/>
  <Override PartName="/ppt/ink/ink1193.xml" ContentType="application/inkml+xml"/>
  <Override PartName="/ppt/ink/ink1194.xml" ContentType="application/inkml+xml"/>
  <Override PartName="/ppt/ink/ink1195.xml" ContentType="application/inkml+xml"/>
  <Override PartName="/ppt/ink/ink1196.xml" ContentType="application/inkml+xml"/>
  <Override PartName="/ppt/ink/ink1197.xml" ContentType="application/inkml+xml"/>
  <Override PartName="/ppt/ink/ink1198.xml" ContentType="application/inkml+xml"/>
  <Override PartName="/ppt/ink/ink1199.xml" ContentType="application/inkml+xml"/>
  <Override PartName="/ppt/ink/ink1200.xml" ContentType="application/inkml+xml"/>
  <Override PartName="/ppt/ink/ink1201.xml" ContentType="application/inkml+xml"/>
  <Override PartName="/ppt/ink/ink1202.xml" ContentType="application/inkml+xml"/>
  <Override PartName="/ppt/ink/ink1203.xml" ContentType="application/inkml+xml"/>
  <Override PartName="/ppt/ink/ink1204.xml" ContentType="application/inkml+xml"/>
  <Override PartName="/ppt/ink/ink1205.xml" ContentType="application/inkml+xml"/>
  <Override PartName="/ppt/ink/ink1206.xml" ContentType="application/inkml+xml"/>
  <Override PartName="/ppt/ink/ink1207.xml" ContentType="application/inkml+xml"/>
  <Override PartName="/ppt/ink/ink1208.xml" ContentType="application/inkml+xml"/>
  <Override PartName="/ppt/ink/ink1209.xml" ContentType="application/inkml+xml"/>
  <Override PartName="/ppt/ink/ink1210.xml" ContentType="application/inkml+xml"/>
  <Override PartName="/ppt/ink/ink1211.xml" ContentType="application/inkml+xml"/>
  <Override PartName="/ppt/ink/ink1212.xml" ContentType="application/inkml+xml"/>
  <Override PartName="/ppt/ink/ink1213.xml" ContentType="application/inkml+xml"/>
  <Override PartName="/ppt/ink/ink1214.xml" ContentType="application/inkml+xml"/>
  <Override PartName="/ppt/ink/ink1215.xml" ContentType="application/inkml+xml"/>
  <Override PartName="/ppt/ink/ink1216.xml" ContentType="application/inkml+xml"/>
  <Override PartName="/ppt/ink/ink1217.xml" ContentType="application/inkml+xml"/>
  <Override PartName="/ppt/ink/ink1218.xml" ContentType="application/inkml+xml"/>
  <Override PartName="/ppt/ink/ink1219.xml" ContentType="application/inkml+xml"/>
  <Override PartName="/ppt/ink/ink1220.xml" ContentType="application/inkml+xml"/>
  <Override PartName="/ppt/ink/ink1221.xml" ContentType="application/inkml+xml"/>
  <Override PartName="/ppt/ink/ink1222.xml" ContentType="application/inkml+xml"/>
  <Override PartName="/ppt/ink/ink1223.xml" ContentType="application/inkml+xml"/>
  <Override PartName="/ppt/ink/ink1224.xml" ContentType="application/inkml+xml"/>
  <Override PartName="/ppt/ink/ink1225.xml" ContentType="application/inkml+xml"/>
  <Override PartName="/ppt/ink/ink1226.xml" ContentType="application/inkml+xml"/>
  <Override PartName="/ppt/ink/ink1227.xml" ContentType="application/inkml+xml"/>
  <Override PartName="/ppt/ink/ink1228.xml" ContentType="application/inkml+xml"/>
  <Override PartName="/ppt/ink/ink1229.xml" ContentType="application/inkml+xml"/>
  <Override PartName="/ppt/ink/ink1230.xml" ContentType="application/inkml+xml"/>
  <Override PartName="/ppt/ink/ink1231.xml" ContentType="application/inkml+xml"/>
  <Override PartName="/ppt/ink/ink1232.xml" ContentType="application/inkml+xml"/>
  <Override PartName="/ppt/ink/ink1233.xml" ContentType="application/inkml+xml"/>
  <Override PartName="/ppt/ink/ink1234.xml" ContentType="application/inkml+xml"/>
  <Override PartName="/ppt/ink/ink1235.xml" ContentType="application/inkml+xml"/>
  <Override PartName="/ppt/ink/ink1236.xml" ContentType="application/inkml+xml"/>
  <Override PartName="/ppt/ink/ink1237.xml" ContentType="application/inkml+xml"/>
  <Override PartName="/ppt/ink/ink1238.xml" ContentType="application/inkml+xml"/>
  <Override PartName="/ppt/ink/ink1239.xml" ContentType="application/inkml+xml"/>
  <Override PartName="/ppt/ink/ink1240.xml" ContentType="application/inkml+xml"/>
  <Override PartName="/ppt/ink/ink1241.xml" ContentType="application/inkml+xml"/>
  <Override PartName="/ppt/ink/ink1242.xml" ContentType="application/inkml+xml"/>
  <Override PartName="/ppt/ink/ink1243.xml" ContentType="application/inkml+xml"/>
  <Override PartName="/ppt/ink/ink1244.xml" ContentType="application/inkml+xml"/>
  <Override PartName="/ppt/ink/ink1245.xml" ContentType="application/inkml+xml"/>
  <Override PartName="/ppt/ink/ink1246.xml" ContentType="application/inkml+xml"/>
  <Override PartName="/ppt/ink/ink1247.xml" ContentType="application/inkml+xml"/>
  <Override PartName="/ppt/ink/ink1248.xml" ContentType="application/inkml+xml"/>
  <Override PartName="/ppt/ink/ink1249.xml" ContentType="application/inkml+xml"/>
  <Override PartName="/ppt/ink/ink1250.xml" ContentType="application/inkml+xml"/>
  <Override PartName="/ppt/ink/ink1251.xml" ContentType="application/inkml+xml"/>
  <Override PartName="/ppt/ink/ink1252.xml" ContentType="application/inkml+xml"/>
  <Override PartName="/ppt/ink/ink1253.xml" ContentType="application/inkml+xml"/>
  <Override PartName="/ppt/ink/ink1254.xml" ContentType="application/inkml+xml"/>
  <Override PartName="/ppt/ink/ink1255.xml" ContentType="application/inkml+xml"/>
  <Override PartName="/ppt/ink/ink1256.xml" ContentType="application/inkml+xml"/>
  <Override PartName="/ppt/ink/ink1257.xml" ContentType="application/inkml+xml"/>
  <Override PartName="/ppt/ink/ink1258.xml" ContentType="application/inkml+xml"/>
  <Override PartName="/ppt/ink/ink1259.xml" ContentType="application/inkml+xml"/>
  <Override PartName="/ppt/ink/ink1260.xml" ContentType="application/inkml+xml"/>
  <Override PartName="/ppt/ink/ink1261.xml" ContentType="application/inkml+xml"/>
  <Override PartName="/ppt/ink/ink1262.xml" ContentType="application/inkml+xml"/>
  <Override PartName="/ppt/ink/ink1263.xml" ContentType="application/inkml+xml"/>
  <Override PartName="/ppt/ink/ink1264.xml" ContentType="application/inkml+xml"/>
  <Override PartName="/ppt/ink/ink1265.xml" ContentType="application/inkml+xml"/>
  <Override PartName="/ppt/ink/ink1266.xml" ContentType="application/inkml+xml"/>
  <Override PartName="/ppt/ink/ink1267.xml" ContentType="application/inkml+xml"/>
  <Override PartName="/ppt/ink/ink1268.xml" ContentType="application/inkml+xml"/>
  <Override PartName="/ppt/ink/ink1269.xml" ContentType="application/inkml+xml"/>
  <Override PartName="/ppt/ink/ink1270.xml" ContentType="application/inkml+xml"/>
  <Override PartName="/ppt/ink/ink1271.xml" ContentType="application/inkml+xml"/>
  <Override PartName="/ppt/ink/ink1272.xml" ContentType="application/inkml+xml"/>
  <Override PartName="/ppt/ink/ink1273.xml" ContentType="application/inkml+xml"/>
  <Override PartName="/ppt/ink/ink1274.xml" ContentType="application/inkml+xml"/>
  <Override PartName="/ppt/ink/ink1275.xml" ContentType="application/inkml+xml"/>
  <Override PartName="/ppt/ink/ink1276.xml" ContentType="application/inkml+xml"/>
  <Override PartName="/ppt/ink/ink1277.xml" ContentType="application/inkml+xml"/>
  <Override PartName="/ppt/ink/ink1278.xml" ContentType="application/inkml+xml"/>
  <Override PartName="/ppt/ink/ink1279.xml" ContentType="application/inkml+xml"/>
  <Override PartName="/ppt/ink/ink1280.xml" ContentType="application/inkml+xml"/>
  <Override PartName="/ppt/ink/ink1281.xml" ContentType="application/inkml+xml"/>
  <Override PartName="/ppt/ink/ink1282.xml" ContentType="application/inkml+xml"/>
  <Override PartName="/ppt/ink/ink1283.xml" ContentType="application/inkml+xml"/>
  <Override PartName="/ppt/ink/ink1284.xml" ContentType="application/inkml+xml"/>
  <Override PartName="/ppt/ink/ink1285.xml" ContentType="application/inkml+xml"/>
  <Override PartName="/ppt/ink/ink1286.xml" ContentType="application/inkml+xml"/>
  <Override PartName="/ppt/ink/ink1287.xml" ContentType="application/inkml+xml"/>
  <Override PartName="/ppt/ink/ink1288.xml" ContentType="application/inkml+xml"/>
  <Override PartName="/ppt/ink/ink1289.xml" ContentType="application/inkml+xml"/>
  <Override PartName="/ppt/ink/ink1290.xml" ContentType="application/inkml+xml"/>
  <Override PartName="/ppt/ink/ink1291.xml" ContentType="application/inkml+xml"/>
  <Override PartName="/ppt/ink/ink1292.xml" ContentType="application/inkml+xml"/>
  <Override PartName="/ppt/ink/ink1293.xml" ContentType="application/inkml+xml"/>
  <Override PartName="/ppt/ink/ink1294.xml" ContentType="application/inkml+xml"/>
  <Override PartName="/ppt/ink/ink1295.xml" ContentType="application/inkml+xml"/>
  <Override PartName="/ppt/ink/ink1296.xml" ContentType="application/inkml+xml"/>
  <Override PartName="/ppt/ink/ink1297.xml" ContentType="application/inkml+xml"/>
  <Override PartName="/ppt/ink/ink1298.xml" ContentType="application/inkml+xml"/>
  <Override PartName="/ppt/ink/ink1299.xml" ContentType="application/inkml+xml"/>
  <Override PartName="/ppt/ink/ink1300.xml" ContentType="application/inkml+xml"/>
  <Override PartName="/ppt/ink/ink1301.xml" ContentType="application/inkml+xml"/>
  <Override PartName="/ppt/ink/ink1302.xml" ContentType="application/inkml+xml"/>
  <Override PartName="/ppt/ink/ink1303.xml" ContentType="application/inkml+xml"/>
  <Override PartName="/ppt/ink/ink1304.xml" ContentType="application/inkml+xml"/>
  <Override PartName="/ppt/ink/ink1305.xml" ContentType="application/inkml+xml"/>
  <Override PartName="/ppt/ink/ink1306.xml" ContentType="application/inkml+xml"/>
  <Override PartName="/ppt/ink/ink1307.xml" ContentType="application/inkml+xml"/>
  <Override PartName="/ppt/ink/ink1308.xml" ContentType="application/inkml+xml"/>
  <Override PartName="/ppt/ink/ink1309.xml" ContentType="application/inkml+xml"/>
  <Override PartName="/ppt/ink/ink1310.xml" ContentType="application/inkml+xml"/>
  <Override PartName="/ppt/ink/ink1311.xml" ContentType="application/inkml+xml"/>
  <Override PartName="/ppt/ink/ink1312.xml" ContentType="application/inkml+xml"/>
  <Override PartName="/ppt/ink/ink1313.xml" ContentType="application/inkml+xml"/>
  <Override PartName="/ppt/ink/ink1314.xml" ContentType="application/inkml+xml"/>
  <Override PartName="/ppt/ink/ink1315.xml" ContentType="application/inkml+xml"/>
  <Override PartName="/ppt/ink/ink1316.xml" ContentType="application/inkml+xml"/>
  <Override PartName="/ppt/ink/ink1317.xml" ContentType="application/inkml+xml"/>
  <Override PartName="/ppt/ink/ink1318.xml" ContentType="application/inkml+xml"/>
  <Override PartName="/ppt/ink/ink1319.xml" ContentType="application/inkml+xml"/>
  <Override PartName="/ppt/ink/ink1320.xml" ContentType="application/inkml+xml"/>
  <Override PartName="/ppt/ink/ink1321.xml" ContentType="application/inkml+xml"/>
  <Override PartName="/ppt/ink/ink1322.xml" ContentType="application/inkml+xml"/>
  <Override PartName="/ppt/ink/ink1323.xml" ContentType="application/inkml+xml"/>
  <Override PartName="/ppt/ink/ink1324.xml" ContentType="application/inkml+xml"/>
  <Override PartName="/ppt/ink/ink1325.xml" ContentType="application/inkml+xml"/>
  <Override PartName="/ppt/ink/ink1326.xml" ContentType="application/inkml+xml"/>
  <Override PartName="/ppt/ink/ink1327.xml" ContentType="application/inkml+xml"/>
  <Override PartName="/ppt/ink/ink1328.xml" ContentType="application/inkml+xml"/>
  <Override PartName="/ppt/ink/ink1329.xml" ContentType="application/inkml+xml"/>
  <Override PartName="/ppt/ink/ink1330.xml" ContentType="application/inkml+xml"/>
  <Override PartName="/ppt/ink/ink1331.xml" ContentType="application/inkml+xml"/>
  <Override PartName="/ppt/ink/ink1332.xml" ContentType="application/inkml+xml"/>
  <Override PartName="/ppt/ink/ink1333.xml" ContentType="application/inkml+xml"/>
  <Override PartName="/ppt/ink/ink1334.xml" ContentType="application/inkml+xml"/>
  <Override PartName="/ppt/ink/ink1335.xml" ContentType="application/inkml+xml"/>
  <Override PartName="/ppt/ink/ink1336.xml" ContentType="application/inkml+xml"/>
  <Override PartName="/ppt/ink/ink1337.xml" ContentType="application/inkml+xml"/>
  <Override PartName="/ppt/ink/ink1338.xml" ContentType="application/inkml+xml"/>
  <Override PartName="/ppt/ink/ink1339.xml" ContentType="application/inkml+xml"/>
  <Override PartName="/ppt/ink/ink1340.xml" ContentType="application/inkml+xml"/>
  <Override PartName="/ppt/ink/ink1341.xml" ContentType="application/inkml+xml"/>
  <Override PartName="/ppt/ink/ink1342.xml" ContentType="application/inkml+xml"/>
  <Override PartName="/ppt/ink/ink1343.xml" ContentType="application/inkml+xml"/>
  <Override PartName="/ppt/ink/ink1344.xml" ContentType="application/inkml+xml"/>
  <Override PartName="/ppt/ink/ink1345.xml" ContentType="application/inkml+xml"/>
  <Override PartName="/ppt/ink/ink1346.xml" ContentType="application/inkml+xml"/>
  <Override PartName="/ppt/ink/ink1347.xml" ContentType="application/inkml+xml"/>
  <Override PartName="/ppt/ink/ink1348.xml" ContentType="application/inkml+xml"/>
  <Override PartName="/ppt/ink/ink1349.xml" ContentType="application/inkml+xml"/>
  <Override PartName="/ppt/ink/ink1350.xml" ContentType="application/inkml+xml"/>
  <Override PartName="/ppt/ink/ink1351.xml" ContentType="application/inkml+xml"/>
  <Override PartName="/ppt/ink/ink1352.xml" ContentType="application/inkml+xml"/>
  <Override PartName="/ppt/ink/ink1353.xml" ContentType="application/inkml+xml"/>
  <Override PartName="/ppt/ink/ink1354.xml" ContentType="application/inkml+xml"/>
  <Override PartName="/ppt/ink/ink1355.xml" ContentType="application/inkml+xml"/>
  <Override PartName="/ppt/ink/ink1356.xml" ContentType="application/inkml+xml"/>
  <Override PartName="/ppt/ink/ink1357.xml" ContentType="application/inkml+xml"/>
  <Override PartName="/ppt/ink/ink1358.xml" ContentType="application/inkml+xml"/>
  <Override PartName="/ppt/ink/ink1359.xml" ContentType="application/inkml+xml"/>
  <Override PartName="/ppt/ink/ink1360.xml" ContentType="application/inkml+xml"/>
  <Override PartName="/ppt/ink/ink1361.xml" ContentType="application/inkml+xml"/>
  <Override PartName="/ppt/ink/ink1362.xml" ContentType="application/inkml+xml"/>
  <Override PartName="/ppt/ink/ink1363.xml" ContentType="application/inkml+xml"/>
  <Override PartName="/ppt/ink/ink1364.xml" ContentType="application/inkml+xml"/>
  <Override PartName="/ppt/ink/ink1365.xml" ContentType="application/inkml+xml"/>
  <Override PartName="/ppt/ink/ink1366.xml" ContentType="application/inkml+xml"/>
  <Override PartName="/ppt/ink/ink1367.xml" ContentType="application/inkml+xml"/>
  <Override PartName="/ppt/ink/ink1368.xml" ContentType="application/inkml+xml"/>
  <Override PartName="/ppt/ink/ink1369.xml" ContentType="application/inkml+xml"/>
  <Override PartName="/ppt/ink/ink1370.xml" ContentType="application/inkml+xml"/>
  <Override PartName="/ppt/ink/ink1371.xml" ContentType="application/inkml+xml"/>
  <Override PartName="/ppt/ink/ink1372.xml" ContentType="application/inkml+xml"/>
  <Override PartName="/ppt/ink/ink1373.xml" ContentType="application/inkml+xml"/>
  <Override PartName="/ppt/ink/ink1374.xml" ContentType="application/inkml+xml"/>
  <Override PartName="/ppt/ink/ink1375.xml" ContentType="application/inkml+xml"/>
  <Override PartName="/ppt/ink/ink1376.xml" ContentType="application/inkml+xml"/>
  <Override PartName="/ppt/ink/ink1377.xml" ContentType="application/inkml+xml"/>
  <Override PartName="/ppt/ink/ink1378.xml" ContentType="application/inkml+xml"/>
  <Override PartName="/ppt/ink/ink1379.xml" ContentType="application/inkml+xml"/>
  <Override PartName="/ppt/ink/ink1380.xml" ContentType="application/inkml+xml"/>
  <Override PartName="/ppt/ink/ink1381.xml" ContentType="application/inkml+xml"/>
  <Override PartName="/ppt/ink/ink1382.xml" ContentType="application/inkml+xml"/>
  <Override PartName="/ppt/ink/ink1383.xml" ContentType="application/inkml+xml"/>
  <Override PartName="/ppt/ink/ink1384.xml" ContentType="application/inkml+xml"/>
  <Override PartName="/ppt/ink/ink1385.xml" ContentType="application/inkml+xml"/>
  <Override PartName="/ppt/ink/ink1386.xml" ContentType="application/inkml+xml"/>
  <Override PartName="/ppt/ink/ink1387.xml" ContentType="application/inkml+xml"/>
  <Override PartName="/ppt/ink/ink1388.xml" ContentType="application/inkml+xml"/>
  <Override PartName="/ppt/ink/ink1389.xml" ContentType="application/inkml+xml"/>
  <Override PartName="/ppt/ink/ink1390.xml" ContentType="application/inkml+xml"/>
  <Override PartName="/ppt/ink/ink1391.xml" ContentType="application/inkml+xml"/>
  <Override PartName="/ppt/ink/ink1392.xml" ContentType="application/inkml+xml"/>
  <Override PartName="/ppt/ink/ink1393.xml" ContentType="application/inkml+xml"/>
  <Override PartName="/ppt/ink/ink1394.xml" ContentType="application/inkml+xml"/>
  <Override PartName="/ppt/ink/ink1395.xml" ContentType="application/inkml+xml"/>
  <Override PartName="/ppt/ink/ink1396.xml" ContentType="application/inkml+xml"/>
  <Override PartName="/ppt/ink/ink1397.xml" ContentType="application/inkml+xml"/>
  <Override PartName="/ppt/ink/ink1398.xml" ContentType="application/inkml+xml"/>
  <Override PartName="/ppt/ink/ink1399.xml" ContentType="application/inkml+xml"/>
  <Override PartName="/ppt/ink/ink1400.xml" ContentType="application/inkml+xml"/>
  <Override PartName="/ppt/ink/ink1401.xml" ContentType="application/inkml+xml"/>
  <Override PartName="/ppt/ink/ink1402.xml" ContentType="application/inkml+xml"/>
  <Override PartName="/ppt/ink/ink1403.xml" ContentType="application/inkml+xml"/>
  <Override PartName="/ppt/ink/ink1404.xml" ContentType="application/inkml+xml"/>
  <Override PartName="/ppt/ink/ink1405.xml" ContentType="application/inkml+xml"/>
  <Override PartName="/ppt/ink/ink1406.xml" ContentType="application/inkml+xml"/>
  <Override PartName="/ppt/ink/ink1407.xml" ContentType="application/inkml+xml"/>
  <Override PartName="/ppt/ink/ink1408.xml" ContentType="application/inkml+xml"/>
  <Override PartName="/ppt/ink/ink1409.xml" ContentType="application/inkml+xml"/>
  <Override PartName="/ppt/ink/ink1410.xml" ContentType="application/inkml+xml"/>
  <Override PartName="/ppt/ink/ink1411.xml" ContentType="application/inkml+xml"/>
  <Override PartName="/ppt/ink/ink1412.xml" ContentType="application/inkml+xml"/>
  <Override PartName="/ppt/ink/ink1413.xml" ContentType="application/inkml+xml"/>
  <Override PartName="/ppt/ink/ink1414.xml" ContentType="application/inkml+xml"/>
  <Override PartName="/ppt/ink/ink1415.xml" ContentType="application/inkml+xml"/>
  <Override PartName="/ppt/ink/ink1416.xml" ContentType="application/inkml+xml"/>
  <Override PartName="/ppt/ink/ink1417.xml" ContentType="application/inkml+xml"/>
  <Override PartName="/ppt/ink/ink1418.xml" ContentType="application/inkml+xml"/>
  <Override PartName="/ppt/ink/ink1419.xml" ContentType="application/inkml+xml"/>
  <Override PartName="/ppt/ink/ink1420.xml" ContentType="application/inkml+xml"/>
  <Override PartName="/ppt/ink/ink1421.xml" ContentType="application/inkml+xml"/>
  <Override PartName="/ppt/ink/ink1422.xml" ContentType="application/inkml+xml"/>
  <Override PartName="/ppt/ink/ink1423.xml" ContentType="application/inkml+xml"/>
  <Override PartName="/ppt/ink/ink1424.xml" ContentType="application/inkml+xml"/>
  <Override PartName="/ppt/ink/ink1425.xml" ContentType="application/inkml+xml"/>
  <Override PartName="/ppt/ink/ink1426.xml" ContentType="application/inkml+xml"/>
  <Override PartName="/ppt/ink/ink1427.xml" ContentType="application/inkml+xml"/>
  <Override PartName="/ppt/ink/ink1428.xml" ContentType="application/inkml+xml"/>
  <Override PartName="/ppt/ink/ink1429.xml" ContentType="application/inkml+xml"/>
  <Override PartName="/ppt/ink/ink1430.xml" ContentType="application/inkml+xml"/>
  <Override PartName="/ppt/ink/ink1431.xml" ContentType="application/inkml+xml"/>
  <Override PartName="/ppt/ink/ink1432.xml" ContentType="application/inkml+xml"/>
  <Override PartName="/ppt/ink/ink1433.xml" ContentType="application/inkml+xml"/>
  <Override PartName="/ppt/ink/ink1434.xml" ContentType="application/inkml+xml"/>
  <Override PartName="/ppt/ink/ink1435.xml" ContentType="application/inkml+xml"/>
  <Override PartName="/ppt/ink/ink1436.xml" ContentType="application/inkml+xml"/>
  <Override PartName="/ppt/ink/ink1437.xml" ContentType="application/inkml+xml"/>
  <Override PartName="/ppt/ink/ink1438.xml" ContentType="application/inkml+xml"/>
  <Override PartName="/ppt/ink/ink1439.xml" ContentType="application/inkml+xml"/>
  <Override PartName="/ppt/ink/ink1440.xml" ContentType="application/inkml+xml"/>
  <Override PartName="/ppt/ink/ink1441.xml" ContentType="application/inkml+xml"/>
  <Override PartName="/ppt/ink/ink1442.xml" ContentType="application/inkml+xml"/>
  <Override PartName="/ppt/ink/ink1443.xml" ContentType="application/inkml+xml"/>
  <Override PartName="/ppt/ink/ink1444.xml" ContentType="application/inkml+xml"/>
  <Override PartName="/ppt/ink/ink1445.xml" ContentType="application/inkml+xml"/>
  <Override PartName="/ppt/ink/ink1446.xml" ContentType="application/inkml+xml"/>
  <Override PartName="/ppt/ink/ink1447.xml" ContentType="application/inkml+xml"/>
  <Override PartName="/ppt/ink/ink1448.xml" ContentType="application/inkml+xml"/>
  <Override PartName="/ppt/ink/ink1449.xml" ContentType="application/inkml+xml"/>
  <Override PartName="/ppt/ink/ink1450.xml" ContentType="application/inkml+xml"/>
  <Override PartName="/ppt/ink/ink1451.xml" ContentType="application/inkml+xml"/>
  <Override PartName="/ppt/ink/ink1452.xml" ContentType="application/inkml+xml"/>
  <Override PartName="/ppt/ink/ink1453.xml" ContentType="application/inkml+xml"/>
  <Override PartName="/ppt/ink/ink1454.xml" ContentType="application/inkml+xml"/>
  <Override PartName="/ppt/ink/ink1455.xml" ContentType="application/inkml+xml"/>
  <Override PartName="/ppt/ink/ink1456.xml" ContentType="application/inkml+xml"/>
  <Override PartName="/ppt/ink/ink1457.xml" ContentType="application/inkml+xml"/>
  <Override PartName="/ppt/ink/ink1458.xml" ContentType="application/inkml+xml"/>
  <Override PartName="/ppt/ink/ink1459.xml" ContentType="application/inkml+xml"/>
  <Override PartName="/ppt/ink/ink1460.xml" ContentType="application/inkml+xml"/>
  <Override PartName="/ppt/ink/ink1461.xml" ContentType="application/inkml+xml"/>
  <Override PartName="/ppt/ink/ink1462.xml" ContentType="application/inkml+xml"/>
  <Override PartName="/ppt/ink/ink1463.xml" ContentType="application/inkml+xml"/>
  <Override PartName="/ppt/ink/ink1464.xml" ContentType="application/inkml+xml"/>
  <Override PartName="/ppt/ink/ink1465.xml" ContentType="application/inkml+xml"/>
  <Override PartName="/ppt/ink/ink1466.xml" ContentType="application/inkml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ink/ink1467.xml" ContentType="application/inkml+xml"/>
  <Override PartName="/ppt/ink/ink1468.xml" ContentType="application/inkml+xml"/>
  <Override PartName="/ppt/ink/ink1469.xml" ContentType="application/inkml+xml"/>
  <Override PartName="/ppt/ink/ink1470.xml" ContentType="application/inkml+xml"/>
  <Override PartName="/ppt/ink/ink1471.xml" ContentType="application/inkml+xml"/>
  <Override PartName="/ppt/ink/ink1472.xml" ContentType="application/inkml+xml"/>
  <Override PartName="/ppt/ink/ink1473.xml" ContentType="application/inkml+xml"/>
  <Override PartName="/ppt/ink/ink1474.xml" ContentType="application/inkml+xml"/>
  <Override PartName="/ppt/ink/ink1475.xml" ContentType="application/inkml+xml"/>
  <Override PartName="/ppt/ink/ink1476.xml" ContentType="application/inkml+xml"/>
  <Override PartName="/ppt/ink/ink1477.xml" ContentType="application/inkml+xml"/>
  <Override PartName="/ppt/ink/ink1478.xml" ContentType="application/inkml+xml"/>
  <Override PartName="/ppt/ink/ink1479.xml" ContentType="application/inkml+xml"/>
  <Override PartName="/ppt/ink/ink1480.xml" ContentType="application/inkml+xml"/>
  <Override PartName="/ppt/ink/ink1481.xml" ContentType="application/inkml+xml"/>
  <Override PartName="/ppt/ink/ink1482.xml" ContentType="application/inkml+xml"/>
  <Override PartName="/ppt/ink/ink1483.xml" ContentType="application/inkml+xml"/>
  <Override PartName="/ppt/ink/ink1484.xml" ContentType="application/inkml+xml"/>
  <Override PartName="/ppt/ink/ink1485.xml" ContentType="application/inkml+xml"/>
  <Override PartName="/ppt/ink/ink1486.xml" ContentType="application/inkml+xml"/>
  <Override PartName="/ppt/ink/ink1487.xml" ContentType="application/inkml+xml"/>
  <Override PartName="/ppt/ink/ink1488.xml" ContentType="application/inkml+xml"/>
  <Override PartName="/ppt/ink/ink1489.xml" ContentType="application/inkml+xml"/>
  <Override PartName="/ppt/ink/ink1490.xml" ContentType="application/inkml+xml"/>
  <Override PartName="/ppt/ink/ink1491.xml" ContentType="application/inkml+xml"/>
  <Override PartName="/ppt/ink/ink1492.xml" ContentType="application/inkml+xml"/>
  <Override PartName="/ppt/ink/ink1493.xml" ContentType="application/inkml+xml"/>
  <Override PartName="/ppt/ink/ink1494.xml" ContentType="application/inkml+xml"/>
  <Override PartName="/ppt/ink/ink1495.xml" ContentType="application/inkml+xml"/>
  <Override PartName="/ppt/ink/ink1496.xml" ContentType="application/inkml+xml"/>
  <Override PartName="/ppt/ink/ink1497.xml" ContentType="application/inkml+xml"/>
  <Override PartName="/ppt/ink/ink1498.xml" ContentType="application/inkml+xml"/>
  <Override PartName="/ppt/ink/ink1499.xml" ContentType="application/inkml+xml"/>
  <Override PartName="/ppt/ink/ink1500.xml" ContentType="application/inkml+xml"/>
  <Override PartName="/ppt/ink/ink1501.xml" ContentType="application/inkml+xml"/>
  <Override PartName="/ppt/ink/ink1502.xml" ContentType="application/inkml+xml"/>
  <Override PartName="/ppt/ink/ink1503.xml" ContentType="application/inkml+xml"/>
  <Override PartName="/ppt/ink/ink1504.xml" ContentType="application/inkml+xml"/>
  <Override PartName="/ppt/ink/ink1505.xml" ContentType="application/inkml+xml"/>
  <Override PartName="/ppt/ink/ink1506.xml" ContentType="application/inkml+xml"/>
  <Override PartName="/ppt/ink/ink1507.xml" ContentType="application/inkml+xml"/>
  <Override PartName="/ppt/ink/ink1508.xml" ContentType="application/inkml+xml"/>
  <Override PartName="/ppt/ink/ink1509.xml" ContentType="application/inkml+xml"/>
  <Override PartName="/ppt/ink/ink1510.xml" ContentType="application/inkml+xml"/>
  <Override PartName="/ppt/ink/ink1511.xml" ContentType="application/inkml+xml"/>
  <Override PartName="/ppt/ink/ink1512.xml" ContentType="application/inkml+xml"/>
  <Override PartName="/ppt/ink/ink1513.xml" ContentType="application/inkml+xml"/>
  <Override PartName="/ppt/notesSlides/notesSlide23.xml" ContentType="application/vnd.openxmlformats-officedocument.presentationml.notesSlide+xml"/>
  <Override PartName="/ppt/tags/tag3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ink/ink1514.xml" ContentType="application/inkml+xml"/>
  <Override PartName="/ppt/ink/ink1515.xml" ContentType="application/inkml+xml"/>
  <Override PartName="/ppt/ink/ink1516.xml" ContentType="application/inkml+xml"/>
  <Override PartName="/ppt/ink/ink1517.xml" ContentType="application/inkml+xml"/>
  <Override PartName="/ppt/ink/ink1518.xml" ContentType="application/inkml+xml"/>
  <Override PartName="/ppt/ink/ink1519.xml" ContentType="application/inkml+xml"/>
  <Override PartName="/ppt/ink/ink1520.xml" ContentType="application/inkml+xml"/>
  <Override PartName="/ppt/ink/ink1521.xml" ContentType="application/inkml+xml"/>
  <Override PartName="/ppt/ink/ink1522.xml" ContentType="application/inkml+xml"/>
  <Override PartName="/ppt/ink/ink1523.xml" ContentType="application/inkml+xml"/>
  <Override PartName="/ppt/ink/ink1524.xml" ContentType="application/inkml+xml"/>
  <Override PartName="/ppt/ink/ink1525.xml" ContentType="application/inkml+xml"/>
  <Override PartName="/ppt/ink/ink1526.xml" ContentType="application/inkml+xml"/>
  <Override PartName="/ppt/ink/ink1527.xml" ContentType="application/inkml+xml"/>
  <Override PartName="/ppt/ink/ink1528.xml" ContentType="application/inkml+xml"/>
  <Override PartName="/ppt/ink/ink1529.xml" ContentType="application/inkml+xml"/>
  <Override PartName="/ppt/ink/ink1530.xml" ContentType="application/inkml+xml"/>
  <Override PartName="/ppt/ink/ink1531.xml" ContentType="application/inkml+xml"/>
  <Override PartName="/ppt/ink/ink1532.xml" ContentType="application/inkml+xml"/>
  <Override PartName="/ppt/ink/ink1533.xml" ContentType="application/inkml+xml"/>
  <Override PartName="/ppt/ink/ink1534.xml" ContentType="application/inkml+xml"/>
  <Override PartName="/ppt/ink/ink1535.xml" ContentType="application/inkml+xml"/>
  <Override PartName="/ppt/ink/ink1536.xml" ContentType="application/inkml+xml"/>
  <Override PartName="/ppt/ink/ink1537.xml" ContentType="application/inkml+xml"/>
  <Override PartName="/ppt/ink/ink1538.xml" ContentType="application/inkml+xml"/>
  <Override PartName="/ppt/ink/ink1539.xml" ContentType="application/inkml+xml"/>
  <Override PartName="/ppt/ink/ink1540.xml" ContentType="application/inkml+xml"/>
  <Override PartName="/ppt/ink/ink1541.xml" ContentType="application/inkml+xml"/>
  <Override PartName="/ppt/ink/ink1542.xml" ContentType="application/inkml+xml"/>
  <Override PartName="/ppt/ink/ink1543.xml" ContentType="application/inkml+xml"/>
  <Override PartName="/ppt/ink/ink1544.xml" ContentType="application/inkml+xml"/>
  <Override PartName="/ppt/ink/ink1545.xml" ContentType="application/inkml+xml"/>
  <Override PartName="/ppt/ink/ink1546.xml" ContentType="application/inkml+xml"/>
  <Override PartName="/ppt/ink/ink1547.xml" ContentType="application/inkml+xml"/>
  <Override PartName="/ppt/ink/ink1548.xml" ContentType="application/inkml+xml"/>
  <Override PartName="/ppt/ink/ink1549.xml" ContentType="application/inkml+xml"/>
  <Override PartName="/ppt/ink/ink1550.xml" ContentType="application/inkml+xml"/>
  <Override PartName="/ppt/ink/ink1551.xml" ContentType="application/inkml+xml"/>
  <Override PartName="/ppt/ink/ink1552.xml" ContentType="application/inkml+xml"/>
  <Override PartName="/ppt/ink/ink1553.xml" ContentType="application/inkml+xml"/>
  <Override PartName="/ppt/ink/ink1554.xml" ContentType="application/inkml+xml"/>
  <Override PartName="/ppt/ink/ink1555.xml" ContentType="application/inkml+xml"/>
  <Override PartName="/ppt/ink/ink1556.xml" ContentType="application/inkml+xml"/>
  <Override PartName="/ppt/ink/ink1557.xml" ContentType="application/inkml+xml"/>
  <Override PartName="/ppt/ink/ink1558.xml" ContentType="application/inkml+xml"/>
  <Override PartName="/ppt/ink/ink1559.xml" ContentType="application/inkml+xml"/>
  <Override PartName="/ppt/ink/ink1560.xml" ContentType="application/inkml+xml"/>
  <Override PartName="/ppt/ink/ink1561.xml" ContentType="application/inkml+xml"/>
  <Override PartName="/ppt/ink/ink1562.xml" ContentType="application/inkml+xml"/>
  <Override PartName="/ppt/ink/ink1563.xml" ContentType="application/inkml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tags/tag4.xml" ContentType="application/vnd.openxmlformats-officedocument.presentationml.tags+xml"/>
  <Override PartName="/ppt/notesSlides/notesSlide32.xml" ContentType="application/vnd.openxmlformats-officedocument.presentationml.notesSlide+xml"/>
  <Override PartName="/ppt/ink/ink1564.xml" ContentType="application/inkml+xml"/>
  <Override PartName="/ppt/ink/ink1565.xml" ContentType="application/inkml+xml"/>
  <Override PartName="/ppt/ink/ink1566.xml" ContentType="application/inkml+xml"/>
  <Override PartName="/ppt/ink/ink1567.xml" ContentType="application/inkml+xml"/>
  <Override PartName="/ppt/ink/ink1568.xml" ContentType="application/inkml+xml"/>
  <Override PartName="/ppt/ink/ink1569.xml" ContentType="application/inkml+xml"/>
  <Override PartName="/ppt/ink/ink1570.xml" ContentType="application/inkml+xml"/>
  <Override PartName="/ppt/ink/ink1571.xml" ContentType="application/inkml+xml"/>
  <Override PartName="/ppt/ink/ink1572.xml" ContentType="application/inkml+xml"/>
  <Override PartName="/ppt/ink/ink1573.xml" ContentType="application/inkml+xml"/>
  <Override PartName="/ppt/ink/ink1574.xml" ContentType="application/inkml+xml"/>
  <Override PartName="/ppt/ink/ink1575.xml" ContentType="application/inkml+xml"/>
  <Override PartName="/ppt/ink/ink1576.xml" ContentType="application/inkml+xml"/>
  <Override PartName="/ppt/ink/ink1577.xml" ContentType="application/inkml+xml"/>
  <Override PartName="/ppt/ink/ink1578.xml" ContentType="application/inkml+xml"/>
  <Override PartName="/ppt/ink/ink1579.xml" ContentType="application/inkml+xml"/>
  <Override PartName="/ppt/ink/ink1580.xml" ContentType="application/inkml+xml"/>
  <Override PartName="/ppt/ink/ink1581.xml" ContentType="application/inkml+xml"/>
  <Override PartName="/ppt/ink/ink1582.xml" ContentType="application/inkml+xml"/>
  <Override PartName="/ppt/ink/ink1583.xml" ContentType="application/inkml+xml"/>
  <Override PartName="/ppt/ink/ink1584.xml" ContentType="application/inkml+xml"/>
  <Override PartName="/ppt/ink/ink1585.xml" ContentType="application/inkml+xml"/>
  <Override PartName="/ppt/ink/ink1586.xml" ContentType="application/inkml+xml"/>
  <Override PartName="/ppt/ink/ink1587.xml" ContentType="application/inkml+xml"/>
  <Override PartName="/ppt/ink/ink1588.xml" ContentType="application/inkml+xml"/>
  <Override PartName="/ppt/ink/ink1589.xml" ContentType="application/inkml+xml"/>
  <Override PartName="/ppt/ink/ink1590.xml" ContentType="application/inkml+xml"/>
  <Override PartName="/ppt/ink/ink1591.xml" ContentType="application/inkml+xml"/>
  <Override PartName="/ppt/ink/ink1592.xml" ContentType="application/inkml+xml"/>
  <Override PartName="/ppt/ink/ink1593.xml" ContentType="application/inkml+xml"/>
  <Override PartName="/ppt/ink/ink1594.xml" ContentType="application/inkml+xml"/>
  <Override PartName="/ppt/ink/ink1595.xml" ContentType="application/inkml+xml"/>
  <Override PartName="/ppt/ink/ink1596.xml" ContentType="application/inkml+xml"/>
  <Override PartName="/ppt/ink/ink1597.xml" ContentType="application/inkml+xml"/>
  <Override PartName="/ppt/ink/ink1598.xml" ContentType="application/inkml+xml"/>
  <Override PartName="/ppt/ink/ink1599.xml" ContentType="application/inkml+xml"/>
  <Override PartName="/ppt/ink/ink1600.xml" ContentType="application/inkml+xml"/>
  <Override PartName="/ppt/ink/ink1601.xml" ContentType="application/inkml+xml"/>
  <Override PartName="/ppt/ink/ink1602.xml" ContentType="application/inkml+xml"/>
  <Override PartName="/ppt/ink/ink1603.xml" ContentType="application/inkml+xml"/>
  <Override PartName="/ppt/ink/ink1604.xml" ContentType="application/inkml+xml"/>
  <Override PartName="/ppt/ink/ink1605.xml" ContentType="application/inkml+xml"/>
  <Override PartName="/ppt/ink/ink1606.xml" ContentType="application/inkml+xml"/>
  <Override PartName="/ppt/ink/ink1607.xml" ContentType="application/inkml+xml"/>
  <Override PartName="/ppt/ink/ink1608.xml" ContentType="application/inkml+xml"/>
  <Override PartName="/ppt/ink/ink1609.xml" ContentType="application/inkml+xml"/>
  <Override PartName="/ppt/ink/ink1610.xml" ContentType="application/inkml+xml"/>
  <Override PartName="/ppt/ink/ink1611.xml" ContentType="application/inkml+xml"/>
  <Override PartName="/ppt/ink/ink1612.xml" ContentType="application/inkml+xml"/>
  <Override PartName="/ppt/ink/ink1613.xml" ContentType="application/inkml+xml"/>
  <Override PartName="/ppt/ink/ink1614.xml" ContentType="application/inkml+xml"/>
  <Override PartName="/ppt/ink/ink1615.xml" ContentType="application/inkml+xml"/>
  <Override PartName="/ppt/ink/ink1616.xml" ContentType="application/inkml+xml"/>
  <Override PartName="/ppt/ink/ink1617.xml" ContentType="application/inkml+xml"/>
  <Override PartName="/ppt/ink/ink1618.xml" ContentType="application/inkml+xml"/>
  <Override PartName="/ppt/ink/ink1619.xml" ContentType="application/inkml+xml"/>
  <Override PartName="/ppt/ink/ink1620.xml" ContentType="application/inkml+xml"/>
  <Override PartName="/ppt/ink/ink1621.xml" ContentType="application/inkml+xml"/>
  <Override PartName="/ppt/ink/ink1622.xml" ContentType="application/inkml+xml"/>
  <Override PartName="/ppt/ink/ink1623.xml" ContentType="application/inkml+xml"/>
  <Override PartName="/ppt/ink/ink1624.xml" ContentType="application/inkml+xml"/>
  <Override PartName="/ppt/ink/ink1625.xml" ContentType="application/inkml+xml"/>
  <Override PartName="/ppt/ink/ink1626.xml" ContentType="application/inkml+xml"/>
  <Override PartName="/ppt/ink/ink1627.xml" ContentType="application/inkml+xml"/>
  <Override PartName="/ppt/ink/ink1628.xml" ContentType="application/inkml+xml"/>
  <Override PartName="/ppt/ink/ink1629.xml" ContentType="application/inkml+xml"/>
  <Override PartName="/ppt/ink/ink1630.xml" ContentType="application/inkml+xml"/>
  <Override PartName="/ppt/ink/ink1631.xml" ContentType="application/inkml+xml"/>
  <Override PartName="/ppt/ink/ink1632.xml" ContentType="application/inkml+xml"/>
  <Override PartName="/ppt/ink/ink1633.xml" ContentType="application/inkml+xml"/>
  <Override PartName="/ppt/ink/ink1634.xml" ContentType="application/inkml+xml"/>
  <Override PartName="/ppt/ink/ink1635.xml" ContentType="application/inkml+xml"/>
  <Override PartName="/ppt/ink/ink1636.xml" ContentType="application/inkml+xml"/>
  <Override PartName="/ppt/ink/ink1637.xml" ContentType="application/inkml+xml"/>
  <Override PartName="/ppt/ink/ink1638.xml" ContentType="application/inkml+xml"/>
  <Override PartName="/ppt/ink/ink1639.xml" ContentType="application/inkml+xml"/>
  <Override PartName="/ppt/ink/ink1640.xml" ContentType="application/inkml+xml"/>
  <Override PartName="/ppt/ink/ink1641.xml" ContentType="application/inkml+xml"/>
  <Override PartName="/ppt/ink/ink1642.xml" ContentType="application/inkml+xml"/>
  <Override PartName="/ppt/ink/ink1643.xml" ContentType="application/inkml+xml"/>
  <Override PartName="/ppt/ink/ink1644.xml" ContentType="application/inkml+xml"/>
  <Override PartName="/ppt/ink/ink1645.xml" ContentType="application/inkml+xml"/>
  <Override PartName="/ppt/ink/ink1646.xml" ContentType="application/inkml+xml"/>
  <Override PartName="/ppt/ink/ink1647.xml" ContentType="application/inkml+xml"/>
  <Override PartName="/ppt/ink/ink1648.xml" ContentType="application/inkml+xml"/>
  <Override PartName="/ppt/ink/ink1649.xml" ContentType="application/inkml+xml"/>
  <Override PartName="/ppt/ink/ink1650.xml" ContentType="application/inkml+xml"/>
  <Override PartName="/ppt/ink/ink1651.xml" ContentType="application/inkml+xml"/>
  <Override PartName="/ppt/ink/ink1652.xml" ContentType="application/inkml+xml"/>
  <Override PartName="/ppt/ink/ink1653.xml" ContentType="application/inkml+xml"/>
  <Override PartName="/ppt/ink/ink1654.xml" ContentType="application/inkml+xml"/>
  <Override PartName="/ppt/ink/ink1655.xml" ContentType="application/inkml+xml"/>
  <Override PartName="/ppt/ink/ink1656.xml" ContentType="application/inkml+xml"/>
  <Override PartName="/ppt/ink/ink1657.xml" ContentType="application/inkml+xml"/>
  <Override PartName="/ppt/ink/ink1658.xml" ContentType="application/inkml+xml"/>
  <Override PartName="/ppt/ink/ink1659.xml" ContentType="application/inkml+xml"/>
  <Override PartName="/ppt/ink/ink1660.xml" ContentType="application/inkml+xml"/>
  <Override PartName="/ppt/ink/ink1661.xml" ContentType="application/inkml+xml"/>
  <Override PartName="/ppt/ink/ink1662.xml" ContentType="application/inkml+xml"/>
  <Override PartName="/ppt/ink/ink1663.xml" ContentType="application/inkml+xml"/>
  <Override PartName="/ppt/ink/ink1664.xml" ContentType="application/inkml+xml"/>
  <Override PartName="/ppt/ink/ink1665.xml" ContentType="application/inkml+xml"/>
  <Override PartName="/ppt/ink/ink1666.xml" ContentType="application/inkml+xml"/>
  <Override PartName="/ppt/ink/ink1667.xml" ContentType="application/inkml+xml"/>
  <Override PartName="/ppt/ink/ink1668.xml" ContentType="application/inkml+xml"/>
  <Override PartName="/ppt/ink/ink1669.xml" ContentType="application/inkml+xml"/>
  <Override PartName="/ppt/ink/ink1670.xml" ContentType="application/inkml+xml"/>
  <Override PartName="/ppt/ink/ink1671.xml" ContentType="application/inkml+xml"/>
  <Override PartName="/ppt/ink/ink1672.xml" ContentType="application/inkml+xml"/>
  <Override PartName="/ppt/ink/ink1673.xml" ContentType="application/inkml+xml"/>
  <Override PartName="/ppt/ink/ink1674.xml" ContentType="application/inkml+xml"/>
  <Override PartName="/ppt/ink/ink1675.xml" ContentType="application/inkml+xml"/>
  <Override PartName="/ppt/ink/ink1676.xml" ContentType="application/inkml+xml"/>
  <Override PartName="/ppt/ink/ink1677.xml" ContentType="application/inkml+xml"/>
  <Override PartName="/ppt/ink/ink1678.xml" ContentType="application/inkml+xml"/>
  <Override PartName="/ppt/ink/ink1679.xml" ContentType="application/inkml+xml"/>
  <Override PartName="/ppt/ink/ink1680.xml" ContentType="application/inkml+xml"/>
  <Override PartName="/ppt/ink/ink1681.xml" ContentType="application/inkml+xml"/>
  <Override PartName="/ppt/ink/ink1682.xml" ContentType="application/inkml+xml"/>
  <Override PartName="/ppt/ink/ink1683.xml" ContentType="application/inkml+xml"/>
  <Override PartName="/ppt/ink/ink1684.xml" ContentType="application/inkml+xml"/>
  <Override PartName="/ppt/ink/ink1685.xml" ContentType="application/inkml+xml"/>
  <Override PartName="/ppt/ink/ink1686.xml" ContentType="application/inkml+xml"/>
  <Override PartName="/ppt/ink/ink1687.xml" ContentType="application/inkml+xml"/>
  <Override PartName="/ppt/ink/ink1688.xml" ContentType="application/inkml+xml"/>
  <Override PartName="/ppt/ink/ink1689.xml" ContentType="application/inkml+xml"/>
  <Override PartName="/ppt/ink/ink1690.xml" ContentType="application/inkml+xml"/>
  <Override PartName="/ppt/ink/ink1691.xml" ContentType="application/inkml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43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566" r:id="rId14"/>
    <p:sldId id="268" r:id="rId15"/>
    <p:sldId id="269" r:id="rId16"/>
    <p:sldId id="270" r:id="rId17"/>
    <p:sldId id="567" r:id="rId18"/>
    <p:sldId id="568" r:id="rId19"/>
    <p:sldId id="271" r:id="rId20"/>
    <p:sldId id="272" r:id="rId21"/>
    <p:sldId id="569" r:id="rId22"/>
    <p:sldId id="570" r:id="rId23"/>
    <p:sldId id="273" r:id="rId24"/>
    <p:sldId id="274" r:id="rId25"/>
    <p:sldId id="275" r:id="rId26"/>
    <p:sldId id="276" r:id="rId27"/>
    <p:sldId id="277" r:id="rId28"/>
    <p:sldId id="278" r:id="rId29"/>
    <p:sldId id="279" r:id="rId30"/>
    <p:sldId id="280" r:id="rId31"/>
    <p:sldId id="281" r:id="rId32"/>
    <p:sldId id="282" r:id="rId33"/>
    <p:sldId id="283" r:id="rId34"/>
    <p:sldId id="284" r:id="rId35"/>
    <p:sldId id="285" r:id="rId36"/>
    <p:sldId id="286" r:id="rId37"/>
    <p:sldId id="565" r:id="rId38"/>
    <p:sldId id="287" r:id="rId39"/>
    <p:sldId id="288" r:id="rId40"/>
    <p:sldId id="289" r:id="rId41"/>
    <p:sldId id="290" r:id="rId42"/>
  </p:sldIdLst>
  <p:sldSz cx="12192000" cy="6858000"/>
  <p:notesSz cx="6858000" cy="9144000"/>
  <p:custDataLst>
    <p:tags r:id="rId44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45" roundtripDataSignature="AMtx7mjFrDHv/Upn9CccyRuFEHVOY3UmP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B709646-9B8B-914B-83A9-D81F12AFDE5E}" v="246" dt="2022-06-19T05:01:48.66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452"/>
    <p:restoredTop sz="94719"/>
  </p:normalViewPr>
  <p:slideViewPr>
    <p:cSldViewPr snapToGrid="0">
      <p:cViewPr varScale="1">
        <p:scale>
          <a:sx n="149" d="100"/>
          <a:sy n="149" d="100"/>
        </p:scale>
        <p:origin x="192" y="2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viewProps" Target="viewProps.xml"/><Relationship Id="rId50" Type="http://schemas.microsoft.com/office/2016/11/relationships/changesInfo" Target="changesInfos/changesInfo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customschemas.google.com/relationships/presentationmetadata" Target="meta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notesMaster" Target="notesMasters/notesMaster1.xml"/><Relationship Id="rId48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microsoft.com/office/2015/10/relationships/revisionInfo" Target="revisionInfo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iket Chhabra" userId="598e0514-bef3-4e71-b6aa-f2edd6441cff" providerId="ADAL" clId="{6B709646-9B8B-914B-83A9-D81F12AFDE5E}"/>
    <pc:docChg chg="addSld modSld sldOrd">
      <pc:chgData name="Aniket Chhabra" userId="598e0514-bef3-4e71-b6aa-f2edd6441cff" providerId="ADAL" clId="{6B709646-9B8B-914B-83A9-D81F12AFDE5E}" dt="2022-06-19T05:01:48.661" v="1717"/>
      <pc:docMkLst>
        <pc:docMk/>
      </pc:docMkLst>
      <pc:sldChg chg="addSp delSp mod">
        <pc:chgData name="Aniket Chhabra" userId="598e0514-bef3-4e71-b6aa-f2edd6441cff" providerId="ADAL" clId="{6B709646-9B8B-914B-83A9-D81F12AFDE5E}" dt="2022-06-19T03:31:21.863" v="2"/>
        <pc:sldMkLst>
          <pc:docMk/>
          <pc:sldMk cId="0" sldId="256"/>
        </pc:sldMkLst>
        <pc:inkChg chg="add del">
          <ac:chgData name="Aniket Chhabra" userId="598e0514-bef3-4e71-b6aa-f2edd6441cff" providerId="ADAL" clId="{6B709646-9B8B-914B-83A9-D81F12AFDE5E}" dt="2022-06-19T03:31:21.863" v="2"/>
          <ac:inkMkLst>
            <pc:docMk/>
            <pc:sldMk cId="0" sldId="256"/>
            <ac:inkMk id="2" creationId="{2D60FC51-7276-206F-0868-AC5526CCD640}"/>
          </ac:inkMkLst>
        </pc:inkChg>
      </pc:sldChg>
      <pc:sldChg chg="addSp modSp mod">
        <pc:chgData name="Aniket Chhabra" userId="598e0514-bef3-4e71-b6aa-f2edd6441cff" providerId="ADAL" clId="{6B709646-9B8B-914B-83A9-D81F12AFDE5E}" dt="2022-06-19T03:39:37.369" v="22" actId="9405"/>
        <pc:sldMkLst>
          <pc:docMk/>
          <pc:sldMk cId="0" sldId="259"/>
        </pc:sldMkLst>
        <pc:grpChg chg="mod">
          <ac:chgData name="Aniket Chhabra" userId="598e0514-bef3-4e71-b6aa-f2edd6441cff" providerId="ADAL" clId="{6B709646-9B8B-914B-83A9-D81F12AFDE5E}" dt="2022-06-19T03:39:21.039" v="16"/>
          <ac:grpSpMkLst>
            <pc:docMk/>
            <pc:sldMk cId="0" sldId="259"/>
            <ac:grpSpMk id="15" creationId="{761BCDED-2288-024D-D8D8-973658CCEE61}"/>
          </ac:grpSpMkLst>
        </pc:grpChg>
        <pc:grpChg chg="mod">
          <ac:chgData name="Aniket Chhabra" userId="598e0514-bef3-4e71-b6aa-f2edd6441cff" providerId="ADAL" clId="{6B709646-9B8B-914B-83A9-D81F12AFDE5E}" dt="2022-06-19T03:39:29.131" v="21"/>
          <ac:grpSpMkLst>
            <pc:docMk/>
            <pc:sldMk cId="0" sldId="259"/>
            <ac:grpSpMk id="20" creationId="{5ACF6BD7-7384-3F8D-4B1A-23941C5DDBE4}"/>
          </ac:grpSpMkLst>
        </pc:grpChg>
        <pc:inkChg chg="add mod">
          <ac:chgData name="Aniket Chhabra" userId="598e0514-bef3-4e71-b6aa-f2edd6441cff" providerId="ADAL" clId="{6B709646-9B8B-914B-83A9-D81F12AFDE5E}" dt="2022-06-19T03:39:21.039" v="16"/>
          <ac:inkMkLst>
            <pc:docMk/>
            <pc:sldMk cId="0" sldId="259"/>
            <ac:inkMk id="2" creationId="{DA33D38C-AE17-D73A-C5AB-B0090C298AFE}"/>
          </ac:inkMkLst>
        </pc:inkChg>
        <pc:inkChg chg="add mod">
          <ac:chgData name="Aniket Chhabra" userId="598e0514-bef3-4e71-b6aa-f2edd6441cff" providerId="ADAL" clId="{6B709646-9B8B-914B-83A9-D81F12AFDE5E}" dt="2022-06-19T03:39:21.039" v="16"/>
          <ac:inkMkLst>
            <pc:docMk/>
            <pc:sldMk cId="0" sldId="259"/>
            <ac:inkMk id="3" creationId="{72CC0818-4E29-FE70-1EFA-66E747DC619D}"/>
          </ac:inkMkLst>
        </pc:inkChg>
        <pc:inkChg chg="add mod">
          <ac:chgData name="Aniket Chhabra" userId="598e0514-bef3-4e71-b6aa-f2edd6441cff" providerId="ADAL" clId="{6B709646-9B8B-914B-83A9-D81F12AFDE5E}" dt="2022-06-19T03:39:21.039" v="16"/>
          <ac:inkMkLst>
            <pc:docMk/>
            <pc:sldMk cId="0" sldId="259"/>
            <ac:inkMk id="4" creationId="{382E578C-3607-092A-D509-A7479C215D0D}"/>
          </ac:inkMkLst>
        </pc:inkChg>
        <pc:inkChg chg="add mod">
          <ac:chgData name="Aniket Chhabra" userId="598e0514-bef3-4e71-b6aa-f2edd6441cff" providerId="ADAL" clId="{6B709646-9B8B-914B-83A9-D81F12AFDE5E}" dt="2022-06-19T03:39:21.039" v="16"/>
          <ac:inkMkLst>
            <pc:docMk/>
            <pc:sldMk cId="0" sldId="259"/>
            <ac:inkMk id="5" creationId="{3E04AA4B-F453-009E-16AA-ECFF7421EEC6}"/>
          </ac:inkMkLst>
        </pc:inkChg>
        <pc:inkChg chg="add mod">
          <ac:chgData name="Aniket Chhabra" userId="598e0514-bef3-4e71-b6aa-f2edd6441cff" providerId="ADAL" clId="{6B709646-9B8B-914B-83A9-D81F12AFDE5E}" dt="2022-06-19T03:39:21.039" v="16"/>
          <ac:inkMkLst>
            <pc:docMk/>
            <pc:sldMk cId="0" sldId="259"/>
            <ac:inkMk id="6" creationId="{64418793-F421-8F5A-A91F-6D872B3CEDEA}"/>
          </ac:inkMkLst>
        </pc:inkChg>
        <pc:inkChg chg="add mod">
          <ac:chgData name="Aniket Chhabra" userId="598e0514-bef3-4e71-b6aa-f2edd6441cff" providerId="ADAL" clId="{6B709646-9B8B-914B-83A9-D81F12AFDE5E}" dt="2022-06-19T03:39:21.039" v="16"/>
          <ac:inkMkLst>
            <pc:docMk/>
            <pc:sldMk cId="0" sldId="259"/>
            <ac:inkMk id="7" creationId="{3B7503D5-0DBC-FF31-4715-3F80E057EB1E}"/>
          </ac:inkMkLst>
        </pc:inkChg>
        <pc:inkChg chg="add mod">
          <ac:chgData name="Aniket Chhabra" userId="598e0514-bef3-4e71-b6aa-f2edd6441cff" providerId="ADAL" clId="{6B709646-9B8B-914B-83A9-D81F12AFDE5E}" dt="2022-06-19T03:39:21.039" v="16"/>
          <ac:inkMkLst>
            <pc:docMk/>
            <pc:sldMk cId="0" sldId="259"/>
            <ac:inkMk id="8" creationId="{6323E978-2698-2670-E984-F6D30DC7BB61}"/>
          </ac:inkMkLst>
        </pc:inkChg>
        <pc:inkChg chg="add mod">
          <ac:chgData name="Aniket Chhabra" userId="598e0514-bef3-4e71-b6aa-f2edd6441cff" providerId="ADAL" clId="{6B709646-9B8B-914B-83A9-D81F12AFDE5E}" dt="2022-06-19T03:39:21.039" v="16"/>
          <ac:inkMkLst>
            <pc:docMk/>
            <pc:sldMk cId="0" sldId="259"/>
            <ac:inkMk id="9" creationId="{85E13F17-08D8-7390-4865-29B74CC0860E}"/>
          </ac:inkMkLst>
        </pc:inkChg>
        <pc:inkChg chg="add mod">
          <ac:chgData name="Aniket Chhabra" userId="598e0514-bef3-4e71-b6aa-f2edd6441cff" providerId="ADAL" clId="{6B709646-9B8B-914B-83A9-D81F12AFDE5E}" dt="2022-06-19T03:39:21.039" v="16"/>
          <ac:inkMkLst>
            <pc:docMk/>
            <pc:sldMk cId="0" sldId="259"/>
            <ac:inkMk id="10" creationId="{47C3E14B-4B5F-D2AD-8CBC-61AA6717A242}"/>
          </ac:inkMkLst>
        </pc:inkChg>
        <pc:inkChg chg="add mod">
          <ac:chgData name="Aniket Chhabra" userId="598e0514-bef3-4e71-b6aa-f2edd6441cff" providerId="ADAL" clId="{6B709646-9B8B-914B-83A9-D81F12AFDE5E}" dt="2022-06-19T03:39:21.039" v="16"/>
          <ac:inkMkLst>
            <pc:docMk/>
            <pc:sldMk cId="0" sldId="259"/>
            <ac:inkMk id="11" creationId="{86D54A3A-BC96-FF1E-2516-28E8E475F5ED}"/>
          </ac:inkMkLst>
        </pc:inkChg>
        <pc:inkChg chg="add mod">
          <ac:chgData name="Aniket Chhabra" userId="598e0514-bef3-4e71-b6aa-f2edd6441cff" providerId="ADAL" clId="{6B709646-9B8B-914B-83A9-D81F12AFDE5E}" dt="2022-06-19T03:39:21.039" v="16"/>
          <ac:inkMkLst>
            <pc:docMk/>
            <pc:sldMk cId="0" sldId="259"/>
            <ac:inkMk id="12" creationId="{D939B2FF-B5AD-8045-7B26-ECA75D42A1E2}"/>
          </ac:inkMkLst>
        </pc:inkChg>
        <pc:inkChg chg="add mod">
          <ac:chgData name="Aniket Chhabra" userId="598e0514-bef3-4e71-b6aa-f2edd6441cff" providerId="ADAL" clId="{6B709646-9B8B-914B-83A9-D81F12AFDE5E}" dt="2022-06-19T03:39:21.039" v="16"/>
          <ac:inkMkLst>
            <pc:docMk/>
            <pc:sldMk cId="0" sldId="259"/>
            <ac:inkMk id="13" creationId="{059529A6-3415-77F1-CB6F-DA56C09923DB}"/>
          </ac:inkMkLst>
        </pc:inkChg>
        <pc:inkChg chg="add mod">
          <ac:chgData name="Aniket Chhabra" userId="598e0514-bef3-4e71-b6aa-f2edd6441cff" providerId="ADAL" clId="{6B709646-9B8B-914B-83A9-D81F12AFDE5E}" dt="2022-06-19T03:39:21.039" v="16"/>
          <ac:inkMkLst>
            <pc:docMk/>
            <pc:sldMk cId="0" sldId="259"/>
            <ac:inkMk id="14" creationId="{3D4AEA77-59B9-52F6-1C2E-511F51EA51F2}"/>
          </ac:inkMkLst>
        </pc:inkChg>
        <pc:inkChg chg="add mod">
          <ac:chgData name="Aniket Chhabra" userId="598e0514-bef3-4e71-b6aa-f2edd6441cff" providerId="ADAL" clId="{6B709646-9B8B-914B-83A9-D81F12AFDE5E}" dt="2022-06-19T03:39:29.131" v="21"/>
          <ac:inkMkLst>
            <pc:docMk/>
            <pc:sldMk cId="0" sldId="259"/>
            <ac:inkMk id="16" creationId="{93FF649D-8A9E-0354-9F4C-51E207498E4F}"/>
          </ac:inkMkLst>
        </pc:inkChg>
        <pc:inkChg chg="add mod">
          <ac:chgData name="Aniket Chhabra" userId="598e0514-bef3-4e71-b6aa-f2edd6441cff" providerId="ADAL" clId="{6B709646-9B8B-914B-83A9-D81F12AFDE5E}" dt="2022-06-19T03:39:29.131" v="21"/>
          <ac:inkMkLst>
            <pc:docMk/>
            <pc:sldMk cId="0" sldId="259"/>
            <ac:inkMk id="17" creationId="{CE481810-D531-C1A2-023C-03A5C6BF1C23}"/>
          </ac:inkMkLst>
        </pc:inkChg>
        <pc:inkChg chg="add mod">
          <ac:chgData name="Aniket Chhabra" userId="598e0514-bef3-4e71-b6aa-f2edd6441cff" providerId="ADAL" clId="{6B709646-9B8B-914B-83A9-D81F12AFDE5E}" dt="2022-06-19T03:39:29.131" v="21"/>
          <ac:inkMkLst>
            <pc:docMk/>
            <pc:sldMk cId="0" sldId="259"/>
            <ac:inkMk id="18" creationId="{A5D04B2D-5497-B0C3-71D8-C521669BFD30}"/>
          </ac:inkMkLst>
        </pc:inkChg>
        <pc:inkChg chg="add mod">
          <ac:chgData name="Aniket Chhabra" userId="598e0514-bef3-4e71-b6aa-f2edd6441cff" providerId="ADAL" clId="{6B709646-9B8B-914B-83A9-D81F12AFDE5E}" dt="2022-06-19T03:39:29.131" v="21"/>
          <ac:inkMkLst>
            <pc:docMk/>
            <pc:sldMk cId="0" sldId="259"/>
            <ac:inkMk id="19" creationId="{31D1C26F-4FFA-DEB6-7B06-210001C69A24}"/>
          </ac:inkMkLst>
        </pc:inkChg>
        <pc:inkChg chg="add">
          <ac:chgData name="Aniket Chhabra" userId="598e0514-bef3-4e71-b6aa-f2edd6441cff" providerId="ADAL" clId="{6B709646-9B8B-914B-83A9-D81F12AFDE5E}" dt="2022-06-19T03:39:37.369" v="22" actId="9405"/>
          <ac:inkMkLst>
            <pc:docMk/>
            <pc:sldMk cId="0" sldId="259"/>
            <ac:inkMk id="21" creationId="{2C941D0F-3327-9541-C947-E209A53AC66E}"/>
          </ac:inkMkLst>
        </pc:inkChg>
      </pc:sldChg>
      <pc:sldChg chg="addSp modSp mod">
        <pc:chgData name="Aniket Chhabra" userId="598e0514-bef3-4e71-b6aa-f2edd6441cff" providerId="ADAL" clId="{6B709646-9B8B-914B-83A9-D81F12AFDE5E}" dt="2022-06-19T04:07:46.127" v="143"/>
        <pc:sldMkLst>
          <pc:docMk/>
          <pc:sldMk cId="0" sldId="261"/>
        </pc:sldMkLst>
        <pc:grpChg chg="mod">
          <ac:chgData name="Aniket Chhabra" userId="598e0514-bef3-4e71-b6aa-f2edd6441cff" providerId="ADAL" clId="{6B709646-9B8B-914B-83A9-D81F12AFDE5E}" dt="2022-06-19T04:07:46.127" v="143"/>
          <ac:grpSpMkLst>
            <pc:docMk/>
            <pc:sldMk cId="0" sldId="261"/>
            <ac:grpSpMk id="7" creationId="{AB6E3AA2-F1C6-59CE-E389-4B3DDC74A673}"/>
          </ac:grpSpMkLst>
        </pc:grpChg>
        <pc:inkChg chg="add">
          <ac:chgData name="Aniket Chhabra" userId="598e0514-bef3-4e71-b6aa-f2edd6441cff" providerId="ADAL" clId="{6B709646-9B8B-914B-83A9-D81F12AFDE5E}" dt="2022-06-19T03:47:49.402" v="23" actId="9405"/>
          <ac:inkMkLst>
            <pc:docMk/>
            <pc:sldMk cId="0" sldId="261"/>
            <ac:inkMk id="2" creationId="{BFBC7A25-7491-C32E-071E-BAC384C4EA32}"/>
          </ac:inkMkLst>
        </pc:inkChg>
        <pc:inkChg chg="add">
          <ac:chgData name="Aniket Chhabra" userId="598e0514-bef3-4e71-b6aa-f2edd6441cff" providerId="ADAL" clId="{6B709646-9B8B-914B-83A9-D81F12AFDE5E}" dt="2022-06-19T04:07:41.886" v="139" actId="9405"/>
          <ac:inkMkLst>
            <pc:docMk/>
            <pc:sldMk cId="0" sldId="261"/>
            <ac:inkMk id="3" creationId="{DB518E4F-B874-F41E-D2F2-F68CB8446CD0}"/>
          </ac:inkMkLst>
        </pc:inkChg>
        <pc:inkChg chg="add mod">
          <ac:chgData name="Aniket Chhabra" userId="598e0514-bef3-4e71-b6aa-f2edd6441cff" providerId="ADAL" clId="{6B709646-9B8B-914B-83A9-D81F12AFDE5E}" dt="2022-06-19T04:07:46.127" v="143"/>
          <ac:inkMkLst>
            <pc:docMk/>
            <pc:sldMk cId="0" sldId="261"/>
            <ac:inkMk id="4" creationId="{77E287A2-8898-C627-2C18-7A5F5807325F}"/>
          </ac:inkMkLst>
        </pc:inkChg>
        <pc:inkChg chg="add">
          <ac:chgData name="Aniket Chhabra" userId="598e0514-bef3-4e71-b6aa-f2edd6441cff" providerId="ADAL" clId="{6B709646-9B8B-914B-83A9-D81F12AFDE5E}" dt="2022-06-19T04:07:43.311" v="141" actId="9405"/>
          <ac:inkMkLst>
            <pc:docMk/>
            <pc:sldMk cId="0" sldId="261"/>
            <ac:inkMk id="5" creationId="{0C492830-BF85-4658-1649-5B3C141F31A1}"/>
          </ac:inkMkLst>
        </pc:inkChg>
        <pc:inkChg chg="add mod">
          <ac:chgData name="Aniket Chhabra" userId="598e0514-bef3-4e71-b6aa-f2edd6441cff" providerId="ADAL" clId="{6B709646-9B8B-914B-83A9-D81F12AFDE5E}" dt="2022-06-19T04:07:46.127" v="143"/>
          <ac:inkMkLst>
            <pc:docMk/>
            <pc:sldMk cId="0" sldId="261"/>
            <ac:inkMk id="6" creationId="{5124DF45-E2AF-E674-F864-B101D1304575}"/>
          </ac:inkMkLst>
        </pc:inkChg>
      </pc:sldChg>
      <pc:sldChg chg="addSp delSp modSp mod">
        <pc:chgData name="Aniket Chhabra" userId="598e0514-bef3-4e71-b6aa-f2edd6441cff" providerId="ADAL" clId="{6B709646-9B8B-914B-83A9-D81F12AFDE5E}" dt="2022-06-19T04:04:37.219" v="55"/>
        <pc:sldMkLst>
          <pc:docMk/>
          <pc:sldMk cId="0" sldId="263"/>
        </pc:sldMkLst>
        <pc:grpChg chg="del mod">
          <ac:chgData name="Aniket Chhabra" userId="598e0514-bef3-4e71-b6aa-f2edd6441cff" providerId="ADAL" clId="{6B709646-9B8B-914B-83A9-D81F12AFDE5E}" dt="2022-06-19T04:04:12.502" v="43"/>
          <ac:grpSpMkLst>
            <pc:docMk/>
            <pc:sldMk cId="0" sldId="263"/>
            <ac:grpSpMk id="15" creationId="{08125571-E7F8-9F1B-C80B-254E6EAC2A71}"/>
          </ac:grpSpMkLst>
        </pc:grpChg>
        <pc:grpChg chg="del mod">
          <ac:chgData name="Aniket Chhabra" userId="598e0514-bef3-4e71-b6aa-f2edd6441cff" providerId="ADAL" clId="{6B709646-9B8B-914B-83A9-D81F12AFDE5E}" dt="2022-06-19T04:04:25.079" v="50"/>
          <ac:grpSpMkLst>
            <pc:docMk/>
            <pc:sldMk cId="0" sldId="263"/>
            <ac:grpSpMk id="16" creationId="{6E0442BA-4F01-B5D2-1445-7331996E51A7}"/>
          </ac:grpSpMkLst>
        </pc:grpChg>
        <pc:grpChg chg="del mod">
          <ac:chgData name="Aniket Chhabra" userId="598e0514-bef3-4e71-b6aa-f2edd6441cff" providerId="ADAL" clId="{6B709646-9B8B-914B-83A9-D81F12AFDE5E}" dt="2022-06-19T04:04:25.079" v="50"/>
          <ac:grpSpMkLst>
            <pc:docMk/>
            <pc:sldMk cId="0" sldId="263"/>
            <ac:grpSpMk id="21" creationId="{9D052CBD-7899-ECC3-03D6-98D906F17D1A}"/>
          </ac:grpSpMkLst>
        </pc:grpChg>
        <pc:grpChg chg="del mod">
          <ac:chgData name="Aniket Chhabra" userId="598e0514-bef3-4e71-b6aa-f2edd6441cff" providerId="ADAL" clId="{6B709646-9B8B-914B-83A9-D81F12AFDE5E}" dt="2022-06-19T04:04:25.079" v="50"/>
          <ac:grpSpMkLst>
            <pc:docMk/>
            <pc:sldMk cId="0" sldId="263"/>
            <ac:grpSpMk id="26" creationId="{EB192C80-01B9-24DC-8EDA-F81E54EEBD70}"/>
          </ac:grpSpMkLst>
        </pc:grpChg>
        <pc:grpChg chg="del mod">
          <ac:chgData name="Aniket Chhabra" userId="598e0514-bef3-4e71-b6aa-f2edd6441cff" providerId="ADAL" clId="{6B709646-9B8B-914B-83A9-D81F12AFDE5E}" dt="2022-06-19T04:04:37.219" v="55"/>
          <ac:grpSpMkLst>
            <pc:docMk/>
            <pc:sldMk cId="0" sldId="263"/>
            <ac:grpSpMk id="28" creationId="{5A177F6D-770C-A344-4E3D-F77158D2A9C6}"/>
          </ac:grpSpMkLst>
        </pc:grpChg>
        <pc:grpChg chg="mod">
          <ac:chgData name="Aniket Chhabra" userId="598e0514-bef3-4e71-b6aa-f2edd6441cff" providerId="ADAL" clId="{6B709646-9B8B-914B-83A9-D81F12AFDE5E}" dt="2022-06-19T04:04:37.219" v="55"/>
          <ac:grpSpMkLst>
            <pc:docMk/>
            <pc:sldMk cId="0" sldId="263"/>
            <ac:grpSpMk id="33" creationId="{2B2FFADE-774D-B5B6-7F7C-F7296561C212}"/>
          </ac:grpSpMkLst>
        </pc:grpChg>
        <pc:inkChg chg="add mod">
          <ac:chgData name="Aniket Chhabra" userId="598e0514-bef3-4e71-b6aa-f2edd6441cff" providerId="ADAL" clId="{6B709646-9B8B-914B-83A9-D81F12AFDE5E}" dt="2022-06-19T04:04:37.219" v="55"/>
          <ac:inkMkLst>
            <pc:docMk/>
            <pc:sldMk cId="0" sldId="263"/>
            <ac:inkMk id="2" creationId="{0509A942-EF7F-21E8-8C3C-F4EAA4A6E8F0}"/>
          </ac:inkMkLst>
        </pc:inkChg>
        <pc:inkChg chg="add mod">
          <ac:chgData name="Aniket Chhabra" userId="598e0514-bef3-4e71-b6aa-f2edd6441cff" providerId="ADAL" clId="{6B709646-9B8B-914B-83A9-D81F12AFDE5E}" dt="2022-06-19T04:04:37.219" v="55"/>
          <ac:inkMkLst>
            <pc:docMk/>
            <pc:sldMk cId="0" sldId="263"/>
            <ac:inkMk id="3" creationId="{67EFEA32-6BFE-2AD0-EC7E-7C02BD0EDF4F}"/>
          </ac:inkMkLst>
        </pc:inkChg>
        <pc:inkChg chg="add mod">
          <ac:chgData name="Aniket Chhabra" userId="598e0514-bef3-4e71-b6aa-f2edd6441cff" providerId="ADAL" clId="{6B709646-9B8B-914B-83A9-D81F12AFDE5E}" dt="2022-06-19T04:04:37.219" v="55"/>
          <ac:inkMkLst>
            <pc:docMk/>
            <pc:sldMk cId="0" sldId="263"/>
            <ac:inkMk id="4" creationId="{061DCE74-2694-7FAF-8070-F4B39A0FFCE1}"/>
          </ac:inkMkLst>
        </pc:inkChg>
        <pc:inkChg chg="add mod">
          <ac:chgData name="Aniket Chhabra" userId="598e0514-bef3-4e71-b6aa-f2edd6441cff" providerId="ADAL" clId="{6B709646-9B8B-914B-83A9-D81F12AFDE5E}" dt="2022-06-19T04:04:37.219" v="55"/>
          <ac:inkMkLst>
            <pc:docMk/>
            <pc:sldMk cId="0" sldId="263"/>
            <ac:inkMk id="5" creationId="{23330147-8E67-BD9A-04F4-22C298ABDF2C}"/>
          </ac:inkMkLst>
        </pc:inkChg>
        <pc:inkChg chg="add mod">
          <ac:chgData name="Aniket Chhabra" userId="598e0514-bef3-4e71-b6aa-f2edd6441cff" providerId="ADAL" clId="{6B709646-9B8B-914B-83A9-D81F12AFDE5E}" dt="2022-06-19T04:04:37.219" v="55"/>
          <ac:inkMkLst>
            <pc:docMk/>
            <pc:sldMk cId="0" sldId="263"/>
            <ac:inkMk id="6" creationId="{73D8BC69-C6A9-7F2C-1B07-B96D098AE8D4}"/>
          </ac:inkMkLst>
        </pc:inkChg>
        <pc:inkChg chg="add mod">
          <ac:chgData name="Aniket Chhabra" userId="598e0514-bef3-4e71-b6aa-f2edd6441cff" providerId="ADAL" clId="{6B709646-9B8B-914B-83A9-D81F12AFDE5E}" dt="2022-06-19T04:04:37.219" v="55"/>
          <ac:inkMkLst>
            <pc:docMk/>
            <pc:sldMk cId="0" sldId="263"/>
            <ac:inkMk id="7" creationId="{3EC23CBC-7C3C-CFF8-8678-73F24C0032AC}"/>
          </ac:inkMkLst>
        </pc:inkChg>
        <pc:inkChg chg="add mod">
          <ac:chgData name="Aniket Chhabra" userId="598e0514-bef3-4e71-b6aa-f2edd6441cff" providerId="ADAL" clId="{6B709646-9B8B-914B-83A9-D81F12AFDE5E}" dt="2022-06-19T04:04:37.219" v="55"/>
          <ac:inkMkLst>
            <pc:docMk/>
            <pc:sldMk cId="0" sldId="263"/>
            <ac:inkMk id="8" creationId="{F0582A6C-56D9-EF15-E94E-3C85D88D9E8B}"/>
          </ac:inkMkLst>
        </pc:inkChg>
        <pc:inkChg chg="add mod">
          <ac:chgData name="Aniket Chhabra" userId="598e0514-bef3-4e71-b6aa-f2edd6441cff" providerId="ADAL" clId="{6B709646-9B8B-914B-83A9-D81F12AFDE5E}" dt="2022-06-19T04:04:37.219" v="55"/>
          <ac:inkMkLst>
            <pc:docMk/>
            <pc:sldMk cId="0" sldId="263"/>
            <ac:inkMk id="9" creationId="{1A6921B1-5812-999B-6AB2-3682E3B966D2}"/>
          </ac:inkMkLst>
        </pc:inkChg>
        <pc:inkChg chg="add mod">
          <ac:chgData name="Aniket Chhabra" userId="598e0514-bef3-4e71-b6aa-f2edd6441cff" providerId="ADAL" clId="{6B709646-9B8B-914B-83A9-D81F12AFDE5E}" dt="2022-06-19T04:04:37.219" v="55"/>
          <ac:inkMkLst>
            <pc:docMk/>
            <pc:sldMk cId="0" sldId="263"/>
            <ac:inkMk id="10" creationId="{1CF5FD25-A60D-CA22-E070-5C9C6478D96F}"/>
          </ac:inkMkLst>
        </pc:inkChg>
        <pc:inkChg chg="add mod">
          <ac:chgData name="Aniket Chhabra" userId="598e0514-bef3-4e71-b6aa-f2edd6441cff" providerId="ADAL" clId="{6B709646-9B8B-914B-83A9-D81F12AFDE5E}" dt="2022-06-19T04:04:37.219" v="55"/>
          <ac:inkMkLst>
            <pc:docMk/>
            <pc:sldMk cId="0" sldId="263"/>
            <ac:inkMk id="11" creationId="{80B59E12-ECFD-8021-95F2-50218777FF2C}"/>
          </ac:inkMkLst>
        </pc:inkChg>
        <pc:inkChg chg="add mod">
          <ac:chgData name="Aniket Chhabra" userId="598e0514-bef3-4e71-b6aa-f2edd6441cff" providerId="ADAL" clId="{6B709646-9B8B-914B-83A9-D81F12AFDE5E}" dt="2022-06-19T04:04:37.219" v="55"/>
          <ac:inkMkLst>
            <pc:docMk/>
            <pc:sldMk cId="0" sldId="263"/>
            <ac:inkMk id="12" creationId="{3928B71A-F8D4-A1D7-5439-5E8A87F1E53E}"/>
          </ac:inkMkLst>
        </pc:inkChg>
        <pc:inkChg chg="add mod">
          <ac:chgData name="Aniket Chhabra" userId="598e0514-bef3-4e71-b6aa-f2edd6441cff" providerId="ADAL" clId="{6B709646-9B8B-914B-83A9-D81F12AFDE5E}" dt="2022-06-19T04:04:37.219" v="55"/>
          <ac:inkMkLst>
            <pc:docMk/>
            <pc:sldMk cId="0" sldId="263"/>
            <ac:inkMk id="13" creationId="{C41DA51C-A128-281F-B380-F495AC3C1B1B}"/>
          </ac:inkMkLst>
        </pc:inkChg>
        <pc:inkChg chg="add mod">
          <ac:chgData name="Aniket Chhabra" userId="598e0514-bef3-4e71-b6aa-f2edd6441cff" providerId="ADAL" clId="{6B709646-9B8B-914B-83A9-D81F12AFDE5E}" dt="2022-06-19T04:04:37.219" v="55"/>
          <ac:inkMkLst>
            <pc:docMk/>
            <pc:sldMk cId="0" sldId="263"/>
            <ac:inkMk id="14" creationId="{32B4D2A3-5BD8-2C75-9515-09F717C2E2C4}"/>
          </ac:inkMkLst>
        </pc:inkChg>
        <pc:inkChg chg="add mod">
          <ac:chgData name="Aniket Chhabra" userId="598e0514-bef3-4e71-b6aa-f2edd6441cff" providerId="ADAL" clId="{6B709646-9B8B-914B-83A9-D81F12AFDE5E}" dt="2022-06-19T04:04:37.219" v="55"/>
          <ac:inkMkLst>
            <pc:docMk/>
            <pc:sldMk cId="0" sldId="263"/>
            <ac:inkMk id="17" creationId="{339F5B5B-1D7E-8E39-0D01-C75ACDA4257B}"/>
          </ac:inkMkLst>
        </pc:inkChg>
        <pc:inkChg chg="add mod">
          <ac:chgData name="Aniket Chhabra" userId="598e0514-bef3-4e71-b6aa-f2edd6441cff" providerId="ADAL" clId="{6B709646-9B8B-914B-83A9-D81F12AFDE5E}" dt="2022-06-19T04:04:37.219" v="55"/>
          <ac:inkMkLst>
            <pc:docMk/>
            <pc:sldMk cId="0" sldId="263"/>
            <ac:inkMk id="18" creationId="{8B6B1706-2B90-B218-F08B-623B74C1421B}"/>
          </ac:inkMkLst>
        </pc:inkChg>
        <pc:inkChg chg="add mod">
          <ac:chgData name="Aniket Chhabra" userId="598e0514-bef3-4e71-b6aa-f2edd6441cff" providerId="ADAL" clId="{6B709646-9B8B-914B-83A9-D81F12AFDE5E}" dt="2022-06-19T04:04:37.219" v="55"/>
          <ac:inkMkLst>
            <pc:docMk/>
            <pc:sldMk cId="0" sldId="263"/>
            <ac:inkMk id="19" creationId="{6041A911-2084-5690-FD72-D81CF5B4D853}"/>
          </ac:inkMkLst>
        </pc:inkChg>
        <pc:inkChg chg="add mod">
          <ac:chgData name="Aniket Chhabra" userId="598e0514-bef3-4e71-b6aa-f2edd6441cff" providerId="ADAL" clId="{6B709646-9B8B-914B-83A9-D81F12AFDE5E}" dt="2022-06-19T04:04:37.219" v="55"/>
          <ac:inkMkLst>
            <pc:docMk/>
            <pc:sldMk cId="0" sldId="263"/>
            <ac:inkMk id="20" creationId="{FB3049BB-B4DD-DCC8-BE49-C1CCDB192643}"/>
          </ac:inkMkLst>
        </pc:inkChg>
        <pc:inkChg chg="add mod">
          <ac:chgData name="Aniket Chhabra" userId="598e0514-bef3-4e71-b6aa-f2edd6441cff" providerId="ADAL" clId="{6B709646-9B8B-914B-83A9-D81F12AFDE5E}" dt="2022-06-19T04:04:37.219" v="55"/>
          <ac:inkMkLst>
            <pc:docMk/>
            <pc:sldMk cId="0" sldId="263"/>
            <ac:inkMk id="22" creationId="{63425FB2-3437-D0CA-1C8F-83757BF798F1}"/>
          </ac:inkMkLst>
        </pc:inkChg>
        <pc:inkChg chg="add mod">
          <ac:chgData name="Aniket Chhabra" userId="598e0514-bef3-4e71-b6aa-f2edd6441cff" providerId="ADAL" clId="{6B709646-9B8B-914B-83A9-D81F12AFDE5E}" dt="2022-06-19T04:04:37.219" v="55"/>
          <ac:inkMkLst>
            <pc:docMk/>
            <pc:sldMk cId="0" sldId="263"/>
            <ac:inkMk id="23" creationId="{45BE7DAA-1748-0104-07C2-6382622C235E}"/>
          </ac:inkMkLst>
        </pc:inkChg>
        <pc:inkChg chg="add mod">
          <ac:chgData name="Aniket Chhabra" userId="598e0514-bef3-4e71-b6aa-f2edd6441cff" providerId="ADAL" clId="{6B709646-9B8B-914B-83A9-D81F12AFDE5E}" dt="2022-06-19T04:04:37.219" v="55"/>
          <ac:inkMkLst>
            <pc:docMk/>
            <pc:sldMk cId="0" sldId="263"/>
            <ac:inkMk id="24" creationId="{E6C1D457-B7C5-A417-FFFB-A6346A25A990}"/>
          </ac:inkMkLst>
        </pc:inkChg>
        <pc:inkChg chg="add mod">
          <ac:chgData name="Aniket Chhabra" userId="598e0514-bef3-4e71-b6aa-f2edd6441cff" providerId="ADAL" clId="{6B709646-9B8B-914B-83A9-D81F12AFDE5E}" dt="2022-06-19T04:04:37.219" v="55"/>
          <ac:inkMkLst>
            <pc:docMk/>
            <pc:sldMk cId="0" sldId="263"/>
            <ac:inkMk id="25" creationId="{15724A7D-2ABC-856E-47A6-E54929F96F6D}"/>
          </ac:inkMkLst>
        </pc:inkChg>
        <pc:inkChg chg="add mod">
          <ac:chgData name="Aniket Chhabra" userId="598e0514-bef3-4e71-b6aa-f2edd6441cff" providerId="ADAL" clId="{6B709646-9B8B-914B-83A9-D81F12AFDE5E}" dt="2022-06-19T04:04:37.219" v="55"/>
          <ac:inkMkLst>
            <pc:docMk/>
            <pc:sldMk cId="0" sldId="263"/>
            <ac:inkMk id="27" creationId="{53EA8B6F-2852-43D1-B1A3-FA74C69CDF84}"/>
          </ac:inkMkLst>
        </pc:inkChg>
        <pc:inkChg chg="add">
          <ac:chgData name="Aniket Chhabra" userId="598e0514-bef3-4e71-b6aa-f2edd6441cff" providerId="ADAL" clId="{6B709646-9B8B-914B-83A9-D81F12AFDE5E}" dt="2022-06-19T04:04:30.330" v="51" actId="9405"/>
          <ac:inkMkLst>
            <pc:docMk/>
            <pc:sldMk cId="0" sldId="263"/>
            <ac:inkMk id="29" creationId="{E14E19C7-92FA-7E94-1A3A-3E37A7CE5CBB}"/>
          </ac:inkMkLst>
        </pc:inkChg>
        <pc:inkChg chg="add mod">
          <ac:chgData name="Aniket Chhabra" userId="598e0514-bef3-4e71-b6aa-f2edd6441cff" providerId="ADAL" clId="{6B709646-9B8B-914B-83A9-D81F12AFDE5E}" dt="2022-06-19T04:04:37.219" v="55"/>
          <ac:inkMkLst>
            <pc:docMk/>
            <pc:sldMk cId="0" sldId="263"/>
            <ac:inkMk id="30" creationId="{8DE37060-DF0C-F8F5-AA7C-6AFD6805E525}"/>
          </ac:inkMkLst>
        </pc:inkChg>
        <pc:inkChg chg="add mod">
          <ac:chgData name="Aniket Chhabra" userId="598e0514-bef3-4e71-b6aa-f2edd6441cff" providerId="ADAL" clId="{6B709646-9B8B-914B-83A9-D81F12AFDE5E}" dt="2022-06-19T04:04:37.219" v="55"/>
          <ac:inkMkLst>
            <pc:docMk/>
            <pc:sldMk cId="0" sldId="263"/>
            <ac:inkMk id="31" creationId="{D885F0B6-C6D4-769D-4C5C-DB4D12A7A2BD}"/>
          </ac:inkMkLst>
        </pc:inkChg>
        <pc:inkChg chg="add mod">
          <ac:chgData name="Aniket Chhabra" userId="598e0514-bef3-4e71-b6aa-f2edd6441cff" providerId="ADAL" clId="{6B709646-9B8B-914B-83A9-D81F12AFDE5E}" dt="2022-06-19T04:04:37.219" v="55"/>
          <ac:inkMkLst>
            <pc:docMk/>
            <pc:sldMk cId="0" sldId="263"/>
            <ac:inkMk id="32" creationId="{0B014C53-AFBA-84D7-0867-4EC021C065EE}"/>
          </ac:inkMkLst>
        </pc:inkChg>
      </pc:sldChg>
      <pc:sldChg chg="addSp delSp modSp mod">
        <pc:chgData name="Aniket Chhabra" userId="598e0514-bef3-4e71-b6aa-f2edd6441cff" providerId="ADAL" clId="{6B709646-9B8B-914B-83A9-D81F12AFDE5E}" dt="2022-06-19T04:29:23.652" v="561"/>
        <pc:sldMkLst>
          <pc:docMk/>
          <pc:sldMk cId="0" sldId="264"/>
        </pc:sldMkLst>
        <pc:grpChg chg="del mod">
          <ac:chgData name="Aniket Chhabra" userId="598e0514-bef3-4e71-b6aa-f2edd6441cff" providerId="ADAL" clId="{6B709646-9B8B-914B-83A9-D81F12AFDE5E}" dt="2022-06-19T04:29:23.652" v="561"/>
          <ac:grpSpMkLst>
            <pc:docMk/>
            <pc:sldMk cId="0" sldId="264"/>
            <ac:grpSpMk id="7" creationId="{F120767C-0844-8F47-D752-94A2BAFE8CDB}"/>
          </ac:grpSpMkLst>
        </pc:grpChg>
        <pc:grpChg chg="del mod">
          <ac:chgData name="Aniket Chhabra" userId="598e0514-bef3-4e71-b6aa-f2edd6441cff" providerId="ADAL" clId="{6B709646-9B8B-914B-83A9-D81F12AFDE5E}" dt="2022-06-19T04:05:40.144" v="69"/>
          <ac:grpSpMkLst>
            <pc:docMk/>
            <pc:sldMk cId="0" sldId="264"/>
            <ac:grpSpMk id="10" creationId="{A3B59E6F-B654-D495-86D8-BA84524E311B}"/>
          </ac:grpSpMkLst>
        </pc:grpChg>
        <pc:grpChg chg="del mod">
          <ac:chgData name="Aniket Chhabra" userId="598e0514-bef3-4e71-b6aa-f2edd6441cff" providerId="ADAL" clId="{6B709646-9B8B-914B-83A9-D81F12AFDE5E}" dt="2022-06-19T04:05:46.537" v="82"/>
          <ac:grpSpMkLst>
            <pc:docMk/>
            <pc:sldMk cId="0" sldId="264"/>
            <ac:grpSpMk id="15" creationId="{EC8754FE-27D0-6874-3CC1-F0DFC76F57A8}"/>
          </ac:grpSpMkLst>
        </pc:grpChg>
        <pc:grpChg chg="mod">
          <ac:chgData name="Aniket Chhabra" userId="598e0514-bef3-4e71-b6aa-f2edd6441cff" providerId="ADAL" clId="{6B709646-9B8B-914B-83A9-D81F12AFDE5E}" dt="2022-06-19T04:05:46.537" v="82"/>
          <ac:grpSpMkLst>
            <pc:docMk/>
            <pc:sldMk cId="0" sldId="264"/>
            <ac:grpSpMk id="28" creationId="{55FE43A0-B186-6E42-78AD-5DF524AE3970}"/>
          </ac:grpSpMkLst>
        </pc:grpChg>
        <pc:grpChg chg="mod">
          <ac:chgData name="Aniket Chhabra" userId="598e0514-bef3-4e71-b6aa-f2edd6441cff" providerId="ADAL" clId="{6B709646-9B8B-914B-83A9-D81F12AFDE5E}" dt="2022-06-19T04:05:56.551" v="89"/>
          <ac:grpSpMkLst>
            <pc:docMk/>
            <pc:sldMk cId="0" sldId="264"/>
            <ac:grpSpMk id="35" creationId="{47037778-2FDB-F124-3ACA-D0F485CABFCD}"/>
          </ac:grpSpMkLst>
        </pc:grpChg>
        <pc:grpChg chg="del mod">
          <ac:chgData name="Aniket Chhabra" userId="598e0514-bef3-4e71-b6aa-f2edd6441cff" providerId="ADAL" clId="{6B709646-9B8B-914B-83A9-D81F12AFDE5E}" dt="2022-06-19T04:06:02.587" v="94"/>
          <ac:grpSpMkLst>
            <pc:docMk/>
            <pc:sldMk cId="0" sldId="264"/>
            <ac:grpSpMk id="38" creationId="{B7B754C6-EC4F-E5F8-1360-130274B9CD7C}"/>
          </ac:grpSpMkLst>
        </pc:grpChg>
        <pc:grpChg chg="del mod">
          <ac:chgData name="Aniket Chhabra" userId="598e0514-bef3-4e71-b6aa-f2edd6441cff" providerId="ADAL" clId="{6B709646-9B8B-914B-83A9-D81F12AFDE5E}" dt="2022-06-19T04:06:07.291" v="100"/>
          <ac:grpSpMkLst>
            <pc:docMk/>
            <pc:sldMk cId="0" sldId="264"/>
            <ac:grpSpMk id="40" creationId="{E34B34B7-6423-8949-1A72-4F3538376658}"/>
          </ac:grpSpMkLst>
        </pc:grpChg>
        <pc:grpChg chg="del mod">
          <ac:chgData name="Aniket Chhabra" userId="598e0514-bef3-4e71-b6aa-f2edd6441cff" providerId="ADAL" clId="{6B709646-9B8B-914B-83A9-D81F12AFDE5E}" dt="2022-06-19T04:06:12.307" v="104"/>
          <ac:grpSpMkLst>
            <pc:docMk/>
            <pc:sldMk cId="0" sldId="264"/>
            <ac:grpSpMk id="46" creationId="{A2C35D14-3E6D-C544-E3B9-73AB2811E622}"/>
          </ac:grpSpMkLst>
        </pc:grpChg>
        <pc:grpChg chg="del mod">
          <ac:chgData name="Aniket Chhabra" userId="598e0514-bef3-4e71-b6aa-f2edd6441cff" providerId="ADAL" clId="{6B709646-9B8B-914B-83A9-D81F12AFDE5E}" dt="2022-06-19T04:06:17.631" v="107"/>
          <ac:grpSpMkLst>
            <pc:docMk/>
            <pc:sldMk cId="0" sldId="264"/>
            <ac:grpSpMk id="50" creationId="{775FFC8A-3D55-13DB-CA27-331251D9AB49}"/>
          </ac:grpSpMkLst>
        </pc:grpChg>
        <pc:grpChg chg="del mod">
          <ac:chgData name="Aniket Chhabra" userId="598e0514-bef3-4e71-b6aa-f2edd6441cff" providerId="ADAL" clId="{6B709646-9B8B-914B-83A9-D81F12AFDE5E}" dt="2022-06-19T04:06:19.430" v="109"/>
          <ac:grpSpMkLst>
            <pc:docMk/>
            <pc:sldMk cId="0" sldId="264"/>
            <ac:grpSpMk id="53" creationId="{ADF53F6F-9AB0-C21A-3322-6B5D16757E12}"/>
          </ac:grpSpMkLst>
        </pc:grpChg>
        <pc:grpChg chg="mod">
          <ac:chgData name="Aniket Chhabra" userId="598e0514-bef3-4e71-b6aa-f2edd6441cff" providerId="ADAL" clId="{6B709646-9B8B-914B-83A9-D81F12AFDE5E}" dt="2022-06-19T04:06:19.430" v="109"/>
          <ac:grpSpMkLst>
            <pc:docMk/>
            <pc:sldMk cId="0" sldId="264"/>
            <ac:grpSpMk id="55" creationId="{74D9ED10-A5A2-C16D-AC80-782F57B01204}"/>
          </ac:grpSpMkLst>
        </pc:grpChg>
        <pc:grpChg chg="mod">
          <ac:chgData name="Aniket Chhabra" userId="598e0514-bef3-4e71-b6aa-f2edd6441cff" providerId="ADAL" clId="{6B709646-9B8B-914B-83A9-D81F12AFDE5E}" dt="2022-06-19T04:29:23.652" v="561"/>
          <ac:grpSpMkLst>
            <pc:docMk/>
            <pc:sldMk cId="0" sldId="264"/>
            <ac:grpSpMk id="58" creationId="{77E4AFD1-C732-EB8B-F40A-0D3C0A9B601D}"/>
          </ac:grpSpMkLst>
        </pc:grpChg>
        <pc:inkChg chg="add mod">
          <ac:chgData name="Aniket Chhabra" userId="598e0514-bef3-4e71-b6aa-f2edd6441cff" providerId="ADAL" clId="{6B709646-9B8B-914B-83A9-D81F12AFDE5E}" dt="2022-06-19T04:29:23.652" v="561"/>
          <ac:inkMkLst>
            <pc:docMk/>
            <pc:sldMk cId="0" sldId="264"/>
            <ac:inkMk id="2" creationId="{CA8E31A8-67A3-F2B1-F3C3-263D709EFAAB}"/>
          </ac:inkMkLst>
        </pc:inkChg>
        <pc:inkChg chg="add">
          <ac:chgData name="Aniket Chhabra" userId="598e0514-bef3-4e71-b6aa-f2edd6441cff" providerId="ADAL" clId="{6B709646-9B8B-914B-83A9-D81F12AFDE5E}" dt="2022-06-19T04:04:54.778" v="57" actId="9405"/>
          <ac:inkMkLst>
            <pc:docMk/>
            <pc:sldMk cId="0" sldId="264"/>
            <ac:inkMk id="3" creationId="{2AACCB81-3E7A-0EA1-F0EF-356B314DABDC}"/>
          </ac:inkMkLst>
        </pc:inkChg>
        <pc:inkChg chg="add mod">
          <ac:chgData name="Aniket Chhabra" userId="598e0514-bef3-4e71-b6aa-f2edd6441cff" providerId="ADAL" clId="{6B709646-9B8B-914B-83A9-D81F12AFDE5E}" dt="2022-06-19T04:29:23.652" v="561"/>
          <ac:inkMkLst>
            <pc:docMk/>
            <pc:sldMk cId="0" sldId="264"/>
            <ac:inkMk id="4" creationId="{3CD4C8CF-020A-07C7-AC7E-634040ED4CF0}"/>
          </ac:inkMkLst>
        </pc:inkChg>
        <pc:inkChg chg="add mod">
          <ac:chgData name="Aniket Chhabra" userId="598e0514-bef3-4e71-b6aa-f2edd6441cff" providerId="ADAL" clId="{6B709646-9B8B-914B-83A9-D81F12AFDE5E}" dt="2022-06-19T04:29:23.652" v="561"/>
          <ac:inkMkLst>
            <pc:docMk/>
            <pc:sldMk cId="0" sldId="264"/>
            <ac:inkMk id="5" creationId="{9062A1A8-8FFE-5492-FD4F-146AA26FBC7B}"/>
          </ac:inkMkLst>
        </pc:inkChg>
        <pc:inkChg chg="add mod">
          <ac:chgData name="Aniket Chhabra" userId="598e0514-bef3-4e71-b6aa-f2edd6441cff" providerId="ADAL" clId="{6B709646-9B8B-914B-83A9-D81F12AFDE5E}" dt="2022-06-19T04:29:23.652" v="561"/>
          <ac:inkMkLst>
            <pc:docMk/>
            <pc:sldMk cId="0" sldId="264"/>
            <ac:inkMk id="6" creationId="{9FA1BED2-62F2-1EE1-2756-3D3454922C21}"/>
          </ac:inkMkLst>
        </pc:inkChg>
        <pc:inkChg chg="add mod">
          <ac:chgData name="Aniket Chhabra" userId="598e0514-bef3-4e71-b6aa-f2edd6441cff" providerId="ADAL" clId="{6B709646-9B8B-914B-83A9-D81F12AFDE5E}" dt="2022-06-19T04:05:46.537" v="82"/>
          <ac:inkMkLst>
            <pc:docMk/>
            <pc:sldMk cId="0" sldId="264"/>
            <ac:inkMk id="8" creationId="{B89E4EEA-0592-8435-91EF-C3646F02D4D0}"/>
          </ac:inkMkLst>
        </pc:inkChg>
        <pc:inkChg chg="add mod">
          <ac:chgData name="Aniket Chhabra" userId="598e0514-bef3-4e71-b6aa-f2edd6441cff" providerId="ADAL" clId="{6B709646-9B8B-914B-83A9-D81F12AFDE5E}" dt="2022-06-19T04:05:46.537" v="82"/>
          <ac:inkMkLst>
            <pc:docMk/>
            <pc:sldMk cId="0" sldId="264"/>
            <ac:inkMk id="9" creationId="{F30AEA7D-2A1E-63F2-6AE6-D783E7B87381}"/>
          </ac:inkMkLst>
        </pc:inkChg>
        <pc:inkChg chg="add mod">
          <ac:chgData name="Aniket Chhabra" userId="598e0514-bef3-4e71-b6aa-f2edd6441cff" providerId="ADAL" clId="{6B709646-9B8B-914B-83A9-D81F12AFDE5E}" dt="2022-06-19T04:05:46.537" v="82"/>
          <ac:inkMkLst>
            <pc:docMk/>
            <pc:sldMk cId="0" sldId="264"/>
            <ac:inkMk id="11" creationId="{0ED995E6-0807-3C74-74B5-24DA549FE1DF}"/>
          </ac:inkMkLst>
        </pc:inkChg>
        <pc:inkChg chg="add mod">
          <ac:chgData name="Aniket Chhabra" userId="598e0514-bef3-4e71-b6aa-f2edd6441cff" providerId="ADAL" clId="{6B709646-9B8B-914B-83A9-D81F12AFDE5E}" dt="2022-06-19T04:05:46.537" v="82"/>
          <ac:inkMkLst>
            <pc:docMk/>
            <pc:sldMk cId="0" sldId="264"/>
            <ac:inkMk id="12" creationId="{1DA29898-41B3-DCEF-98BB-20BE972780EF}"/>
          </ac:inkMkLst>
        </pc:inkChg>
        <pc:inkChg chg="add mod">
          <ac:chgData name="Aniket Chhabra" userId="598e0514-bef3-4e71-b6aa-f2edd6441cff" providerId="ADAL" clId="{6B709646-9B8B-914B-83A9-D81F12AFDE5E}" dt="2022-06-19T04:05:46.537" v="82"/>
          <ac:inkMkLst>
            <pc:docMk/>
            <pc:sldMk cId="0" sldId="264"/>
            <ac:inkMk id="13" creationId="{3F30AA74-4E7E-31EF-8664-A4ECABB109BF}"/>
          </ac:inkMkLst>
        </pc:inkChg>
        <pc:inkChg chg="add mod">
          <ac:chgData name="Aniket Chhabra" userId="598e0514-bef3-4e71-b6aa-f2edd6441cff" providerId="ADAL" clId="{6B709646-9B8B-914B-83A9-D81F12AFDE5E}" dt="2022-06-19T04:05:46.537" v="82"/>
          <ac:inkMkLst>
            <pc:docMk/>
            <pc:sldMk cId="0" sldId="264"/>
            <ac:inkMk id="14" creationId="{3A0D1265-0E8F-C970-4CF4-D39E739709B5}"/>
          </ac:inkMkLst>
        </pc:inkChg>
        <pc:inkChg chg="add mod">
          <ac:chgData name="Aniket Chhabra" userId="598e0514-bef3-4e71-b6aa-f2edd6441cff" providerId="ADAL" clId="{6B709646-9B8B-914B-83A9-D81F12AFDE5E}" dt="2022-06-19T04:05:46.537" v="82"/>
          <ac:inkMkLst>
            <pc:docMk/>
            <pc:sldMk cId="0" sldId="264"/>
            <ac:inkMk id="16" creationId="{9BCA1F9A-D4FB-6767-93AE-9C6BACDE8A64}"/>
          </ac:inkMkLst>
        </pc:inkChg>
        <pc:inkChg chg="add mod">
          <ac:chgData name="Aniket Chhabra" userId="598e0514-bef3-4e71-b6aa-f2edd6441cff" providerId="ADAL" clId="{6B709646-9B8B-914B-83A9-D81F12AFDE5E}" dt="2022-06-19T04:05:46.537" v="82"/>
          <ac:inkMkLst>
            <pc:docMk/>
            <pc:sldMk cId="0" sldId="264"/>
            <ac:inkMk id="17" creationId="{01F87F58-9C81-CBDF-752D-F83C479D2761}"/>
          </ac:inkMkLst>
        </pc:inkChg>
        <pc:inkChg chg="add mod">
          <ac:chgData name="Aniket Chhabra" userId="598e0514-bef3-4e71-b6aa-f2edd6441cff" providerId="ADAL" clId="{6B709646-9B8B-914B-83A9-D81F12AFDE5E}" dt="2022-06-19T04:05:46.537" v="82"/>
          <ac:inkMkLst>
            <pc:docMk/>
            <pc:sldMk cId="0" sldId="264"/>
            <ac:inkMk id="18" creationId="{62D6D8DC-74F6-A9F6-5390-FAEEC5B8E730}"/>
          </ac:inkMkLst>
        </pc:inkChg>
        <pc:inkChg chg="add mod">
          <ac:chgData name="Aniket Chhabra" userId="598e0514-bef3-4e71-b6aa-f2edd6441cff" providerId="ADAL" clId="{6B709646-9B8B-914B-83A9-D81F12AFDE5E}" dt="2022-06-19T04:05:46.537" v="82"/>
          <ac:inkMkLst>
            <pc:docMk/>
            <pc:sldMk cId="0" sldId="264"/>
            <ac:inkMk id="19" creationId="{973152DA-19E6-59BA-895C-B58962440658}"/>
          </ac:inkMkLst>
        </pc:inkChg>
        <pc:inkChg chg="add mod">
          <ac:chgData name="Aniket Chhabra" userId="598e0514-bef3-4e71-b6aa-f2edd6441cff" providerId="ADAL" clId="{6B709646-9B8B-914B-83A9-D81F12AFDE5E}" dt="2022-06-19T04:05:46.537" v="82"/>
          <ac:inkMkLst>
            <pc:docMk/>
            <pc:sldMk cId="0" sldId="264"/>
            <ac:inkMk id="20" creationId="{0D122DAD-494D-016C-6873-F76082BF6A7B}"/>
          </ac:inkMkLst>
        </pc:inkChg>
        <pc:inkChg chg="add mod">
          <ac:chgData name="Aniket Chhabra" userId="598e0514-bef3-4e71-b6aa-f2edd6441cff" providerId="ADAL" clId="{6B709646-9B8B-914B-83A9-D81F12AFDE5E}" dt="2022-06-19T04:05:46.537" v="82"/>
          <ac:inkMkLst>
            <pc:docMk/>
            <pc:sldMk cId="0" sldId="264"/>
            <ac:inkMk id="21" creationId="{D3835E1D-7334-A2FB-07B3-EC40BB21916B}"/>
          </ac:inkMkLst>
        </pc:inkChg>
        <pc:inkChg chg="add mod">
          <ac:chgData name="Aniket Chhabra" userId="598e0514-bef3-4e71-b6aa-f2edd6441cff" providerId="ADAL" clId="{6B709646-9B8B-914B-83A9-D81F12AFDE5E}" dt="2022-06-19T04:05:46.537" v="82"/>
          <ac:inkMkLst>
            <pc:docMk/>
            <pc:sldMk cId="0" sldId="264"/>
            <ac:inkMk id="22" creationId="{299415F9-878B-D9E4-D05A-532D8C3FF688}"/>
          </ac:inkMkLst>
        </pc:inkChg>
        <pc:inkChg chg="add mod">
          <ac:chgData name="Aniket Chhabra" userId="598e0514-bef3-4e71-b6aa-f2edd6441cff" providerId="ADAL" clId="{6B709646-9B8B-914B-83A9-D81F12AFDE5E}" dt="2022-06-19T04:05:46.537" v="82"/>
          <ac:inkMkLst>
            <pc:docMk/>
            <pc:sldMk cId="0" sldId="264"/>
            <ac:inkMk id="23" creationId="{9FA934C8-018D-540E-9EA4-8B15BD285088}"/>
          </ac:inkMkLst>
        </pc:inkChg>
        <pc:inkChg chg="add mod">
          <ac:chgData name="Aniket Chhabra" userId="598e0514-bef3-4e71-b6aa-f2edd6441cff" providerId="ADAL" clId="{6B709646-9B8B-914B-83A9-D81F12AFDE5E}" dt="2022-06-19T04:05:46.537" v="82"/>
          <ac:inkMkLst>
            <pc:docMk/>
            <pc:sldMk cId="0" sldId="264"/>
            <ac:inkMk id="24" creationId="{3DEE98A0-8331-C918-AA83-0B9D71332C87}"/>
          </ac:inkMkLst>
        </pc:inkChg>
        <pc:inkChg chg="add mod">
          <ac:chgData name="Aniket Chhabra" userId="598e0514-bef3-4e71-b6aa-f2edd6441cff" providerId="ADAL" clId="{6B709646-9B8B-914B-83A9-D81F12AFDE5E}" dt="2022-06-19T04:05:46.537" v="82"/>
          <ac:inkMkLst>
            <pc:docMk/>
            <pc:sldMk cId="0" sldId="264"/>
            <ac:inkMk id="25" creationId="{B033FB8F-B68C-5309-60EF-AF02D77EC80F}"/>
          </ac:inkMkLst>
        </pc:inkChg>
        <pc:inkChg chg="add mod">
          <ac:chgData name="Aniket Chhabra" userId="598e0514-bef3-4e71-b6aa-f2edd6441cff" providerId="ADAL" clId="{6B709646-9B8B-914B-83A9-D81F12AFDE5E}" dt="2022-06-19T04:05:46.537" v="82"/>
          <ac:inkMkLst>
            <pc:docMk/>
            <pc:sldMk cId="0" sldId="264"/>
            <ac:inkMk id="26" creationId="{CF7A87AF-6A2C-2B1E-A8AC-D764842635D0}"/>
          </ac:inkMkLst>
        </pc:inkChg>
        <pc:inkChg chg="add mod">
          <ac:chgData name="Aniket Chhabra" userId="598e0514-bef3-4e71-b6aa-f2edd6441cff" providerId="ADAL" clId="{6B709646-9B8B-914B-83A9-D81F12AFDE5E}" dt="2022-06-19T04:05:46.537" v="82"/>
          <ac:inkMkLst>
            <pc:docMk/>
            <pc:sldMk cId="0" sldId="264"/>
            <ac:inkMk id="27" creationId="{3D9CF547-6DC7-5AEF-83DE-ED81727BAB9C}"/>
          </ac:inkMkLst>
        </pc:inkChg>
        <pc:inkChg chg="add mod">
          <ac:chgData name="Aniket Chhabra" userId="598e0514-bef3-4e71-b6aa-f2edd6441cff" providerId="ADAL" clId="{6B709646-9B8B-914B-83A9-D81F12AFDE5E}" dt="2022-06-19T04:05:56.551" v="89"/>
          <ac:inkMkLst>
            <pc:docMk/>
            <pc:sldMk cId="0" sldId="264"/>
            <ac:inkMk id="29" creationId="{B7A19E9F-4345-12AE-3A04-754E125CDB64}"/>
          </ac:inkMkLst>
        </pc:inkChg>
        <pc:inkChg chg="add mod">
          <ac:chgData name="Aniket Chhabra" userId="598e0514-bef3-4e71-b6aa-f2edd6441cff" providerId="ADAL" clId="{6B709646-9B8B-914B-83A9-D81F12AFDE5E}" dt="2022-06-19T04:05:56.551" v="89"/>
          <ac:inkMkLst>
            <pc:docMk/>
            <pc:sldMk cId="0" sldId="264"/>
            <ac:inkMk id="30" creationId="{EF1C61D5-1CD6-631E-5CCD-97B16ADC733C}"/>
          </ac:inkMkLst>
        </pc:inkChg>
        <pc:inkChg chg="add mod">
          <ac:chgData name="Aniket Chhabra" userId="598e0514-bef3-4e71-b6aa-f2edd6441cff" providerId="ADAL" clId="{6B709646-9B8B-914B-83A9-D81F12AFDE5E}" dt="2022-06-19T04:05:56.551" v="89"/>
          <ac:inkMkLst>
            <pc:docMk/>
            <pc:sldMk cId="0" sldId="264"/>
            <ac:inkMk id="31" creationId="{8C5987C2-7F64-12FA-85CB-7506C7C11EDE}"/>
          </ac:inkMkLst>
        </pc:inkChg>
        <pc:inkChg chg="add mod">
          <ac:chgData name="Aniket Chhabra" userId="598e0514-bef3-4e71-b6aa-f2edd6441cff" providerId="ADAL" clId="{6B709646-9B8B-914B-83A9-D81F12AFDE5E}" dt="2022-06-19T04:05:56.551" v="89"/>
          <ac:inkMkLst>
            <pc:docMk/>
            <pc:sldMk cId="0" sldId="264"/>
            <ac:inkMk id="32" creationId="{EEA01FFF-4396-C16F-04CE-0DD443375DE8}"/>
          </ac:inkMkLst>
        </pc:inkChg>
        <pc:inkChg chg="add mod">
          <ac:chgData name="Aniket Chhabra" userId="598e0514-bef3-4e71-b6aa-f2edd6441cff" providerId="ADAL" clId="{6B709646-9B8B-914B-83A9-D81F12AFDE5E}" dt="2022-06-19T04:05:56.551" v="89"/>
          <ac:inkMkLst>
            <pc:docMk/>
            <pc:sldMk cId="0" sldId="264"/>
            <ac:inkMk id="33" creationId="{3E7DD4E3-B6C1-1947-49CB-5E5D8BA446F4}"/>
          </ac:inkMkLst>
        </pc:inkChg>
        <pc:inkChg chg="add mod">
          <ac:chgData name="Aniket Chhabra" userId="598e0514-bef3-4e71-b6aa-f2edd6441cff" providerId="ADAL" clId="{6B709646-9B8B-914B-83A9-D81F12AFDE5E}" dt="2022-06-19T04:05:56.551" v="89"/>
          <ac:inkMkLst>
            <pc:docMk/>
            <pc:sldMk cId="0" sldId="264"/>
            <ac:inkMk id="34" creationId="{31F38BE7-A41C-0FEE-7E00-4C3EA80E20EE}"/>
          </ac:inkMkLst>
        </pc:inkChg>
        <pc:inkChg chg="add mod">
          <ac:chgData name="Aniket Chhabra" userId="598e0514-bef3-4e71-b6aa-f2edd6441cff" providerId="ADAL" clId="{6B709646-9B8B-914B-83A9-D81F12AFDE5E}" dt="2022-06-19T04:06:19.430" v="109"/>
          <ac:inkMkLst>
            <pc:docMk/>
            <pc:sldMk cId="0" sldId="264"/>
            <ac:inkMk id="36" creationId="{2DEA2280-3005-5CB9-DF35-1D7925AE18CE}"/>
          </ac:inkMkLst>
        </pc:inkChg>
        <pc:inkChg chg="add mod">
          <ac:chgData name="Aniket Chhabra" userId="598e0514-bef3-4e71-b6aa-f2edd6441cff" providerId="ADAL" clId="{6B709646-9B8B-914B-83A9-D81F12AFDE5E}" dt="2022-06-19T04:06:19.430" v="109"/>
          <ac:inkMkLst>
            <pc:docMk/>
            <pc:sldMk cId="0" sldId="264"/>
            <ac:inkMk id="37" creationId="{0D27FC10-E81E-A0C7-09D7-15BC15CF32BD}"/>
          </ac:inkMkLst>
        </pc:inkChg>
        <pc:inkChg chg="add mod">
          <ac:chgData name="Aniket Chhabra" userId="598e0514-bef3-4e71-b6aa-f2edd6441cff" providerId="ADAL" clId="{6B709646-9B8B-914B-83A9-D81F12AFDE5E}" dt="2022-06-19T04:06:19.430" v="109"/>
          <ac:inkMkLst>
            <pc:docMk/>
            <pc:sldMk cId="0" sldId="264"/>
            <ac:inkMk id="39" creationId="{BF0D940F-97B2-A4A1-6968-A03B1D1D5762}"/>
          </ac:inkMkLst>
        </pc:inkChg>
        <pc:inkChg chg="add mod">
          <ac:chgData name="Aniket Chhabra" userId="598e0514-bef3-4e71-b6aa-f2edd6441cff" providerId="ADAL" clId="{6B709646-9B8B-914B-83A9-D81F12AFDE5E}" dt="2022-06-19T04:06:19.430" v="109"/>
          <ac:inkMkLst>
            <pc:docMk/>
            <pc:sldMk cId="0" sldId="264"/>
            <ac:inkMk id="41" creationId="{3304D658-0428-2ADC-240E-211950833BB3}"/>
          </ac:inkMkLst>
        </pc:inkChg>
        <pc:inkChg chg="add mod">
          <ac:chgData name="Aniket Chhabra" userId="598e0514-bef3-4e71-b6aa-f2edd6441cff" providerId="ADAL" clId="{6B709646-9B8B-914B-83A9-D81F12AFDE5E}" dt="2022-06-19T04:06:19.430" v="109"/>
          <ac:inkMkLst>
            <pc:docMk/>
            <pc:sldMk cId="0" sldId="264"/>
            <ac:inkMk id="42" creationId="{6E8B1FA6-4020-EDD7-2549-F2FF1D3A8A3E}"/>
          </ac:inkMkLst>
        </pc:inkChg>
        <pc:inkChg chg="add mod">
          <ac:chgData name="Aniket Chhabra" userId="598e0514-bef3-4e71-b6aa-f2edd6441cff" providerId="ADAL" clId="{6B709646-9B8B-914B-83A9-D81F12AFDE5E}" dt="2022-06-19T04:06:19.430" v="109"/>
          <ac:inkMkLst>
            <pc:docMk/>
            <pc:sldMk cId="0" sldId="264"/>
            <ac:inkMk id="43" creationId="{55B16355-38E1-FAAF-F4A7-D37BC0DC8C1E}"/>
          </ac:inkMkLst>
        </pc:inkChg>
        <pc:inkChg chg="add mod">
          <ac:chgData name="Aniket Chhabra" userId="598e0514-bef3-4e71-b6aa-f2edd6441cff" providerId="ADAL" clId="{6B709646-9B8B-914B-83A9-D81F12AFDE5E}" dt="2022-06-19T04:06:19.430" v="109"/>
          <ac:inkMkLst>
            <pc:docMk/>
            <pc:sldMk cId="0" sldId="264"/>
            <ac:inkMk id="44" creationId="{8C31EB10-FF99-6633-3609-084BEF42C194}"/>
          </ac:inkMkLst>
        </pc:inkChg>
        <pc:inkChg chg="add mod">
          <ac:chgData name="Aniket Chhabra" userId="598e0514-bef3-4e71-b6aa-f2edd6441cff" providerId="ADAL" clId="{6B709646-9B8B-914B-83A9-D81F12AFDE5E}" dt="2022-06-19T04:06:19.430" v="109"/>
          <ac:inkMkLst>
            <pc:docMk/>
            <pc:sldMk cId="0" sldId="264"/>
            <ac:inkMk id="45" creationId="{6EA399DE-3AFB-F155-5B32-FB318A14206E}"/>
          </ac:inkMkLst>
        </pc:inkChg>
        <pc:inkChg chg="add">
          <ac:chgData name="Aniket Chhabra" userId="598e0514-bef3-4e71-b6aa-f2edd6441cff" providerId="ADAL" clId="{6B709646-9B8B-914B-83A9-D81F12AFDE5E}" dt="2022-06-19T04:06:08.490" v="101" actId="9405"/>
          <ac:inkMkLst>
            <pc:docMk/>
            <pc:sldMk cId="0" sldId="264"/>
            <ac:inkMk id="47" creationId="{D8531EBA-BD76-D031-A54C-C290E6A1F779}"/>
          </ac:inkMkLst>
        </pc:inkChg>
        <pc:inkChg chg="add">
          <ac:chgData name="Aniket Chhabra" userId="598e0514-bef3-4e71-b6aa-f2edd6441cff" providerId="ADAL" clId="{6B709646-9B8B-914B-83A9-D81F12AFDE5E}" dt="2022-06-19T04:06:08.809" v="102" actId="9405"/>
          <ac:inkMkLst>
            <pc:docMk/>
            <pc:sldMk cId="0" sldId="264"/>
            <ac:inkMk id="48" creationId="{5993BD04-3DAC-64E9-24B1-470163E14043}"/>
          </ac:inkMkLst>
        </pc:inkChg>
        <pc:inkChg chg="add mod">
          <ac:chgData name="Aniket Chhabra" userId="598e0514-bef3-4e71-b6aa-f2edd6441cff" providerId="ADAL" clId="{6B709646-9B8B-914B-83A9-D81F12AFDE5E}" dt="2022-06-19T04:06:17.631" v="107"/>
          <ac:inkMkLst>
            <pc:docMk/>
            <pc:sldMk cId="0" sldId="264"/>
            <ac:inkMk id="49" creationId="{8652E0A6-071F-9E56-F550-02BBA9BABC95}"/>
          </ac:inkMkLst>
        </pc:inkChg>
        <pc:inkChg chg="add">
          <ac:chgData name="Aniket Chhabra" userId="598e0514-bef3-4e71-b6aa-f2edd6441cff" providerId="ADAL" clId="{6B709646-9B8B-914B-83A9-D81F12AFDE5E}" dt="2022-06-19T04:06:12.848" v="105" actId="9405"/>
          <ac:inkMkLst>
            <pc:docMk/>
            <pc:sldMk cId="0" sldId="264"/>
            <ac:inkMk id="51" creationId="{78E96AAF-EC51-71E8-C3E7-D4166590F773}"/>
          </ac:inkMkLst>
        </pc:inkChg>
        <pc:inkChg chg="add mod">
          <ac:chgData name="Aniket Chhabra" userId="598e0514-bef3-4e71-b6aa-f2edd6441cff" providerId="ADAL" clId="{6B709646-9B8B-914B-83A9-D81F12AFDE5E}" dt="2022-06-19T04:06:19.430" v="109"/>
          <ac:inkMkLst>
            <pc:docMk/>
            <pc:sldMk cId="0" sldId="264"/>
            <ac:inkMk id="52" creationId="{C1643FB2-6D58-F3C1-6313-04F18652164C}"/>
          </ac:inkMkLst>
        </pc:inkChg>
        <pc:inkChg chg="add mod">
          <ac:chgData name="Aniket Chhabra" userId="598e0514-bef3-4e71-b6aa-f2edd6441cff" providerId="ADAL" clId="{6B709646-9B8B-914B-83A9-D81F12AFDE5E}" dt="2022-06-19T04:06:19.430" v="109"/>
          <ac:inkMkLst>
            <pc:docMk/>
            <pc:sldMk cId="0" sldId="264"/>
            <ac:inkMk id="54" creationId="{55E72CFB-FB3C-796F-0FA0-F4DC84ADBDF2}"/>
          </ac:inkMkLst>
        </pc:inkChg>
        <pc:inkChg chg="add">
          <ac:chgData name="Aniket Chhabra" userId="598e0514-bef3-4e71-b6aa-f2edd6441cff" providerId="ADAL" clId="{6B709646-9B8B-914B-83A9-D81F12AFDE5E}" dt="2022-06-19T04:06:19.663" v="110" actId="9405"/>
          <ac:inkMkLst>
            <pc:docMk/>
            <pc:sldMk cId="0" sldId="264"/>
            <ac:inkMk id="56" creationId="{366324E4-141D-A173-D2BF-C283002318D8}"/>
          </ac:inkMkLst>
        </pc:inkChg>
        <pc:inkChg chg="add mod">
          <ac:chgData name="Aniket Chhabra" userId="598e0514-bef3-4e71-b6aa-f2edd6441cff" providerId="ADAL" clId="{6B709646-9B8B-914B-83A9-D81F12AFDE5E}" dt="2022-06-19T04:29:23.652" v="561"/>
          <ac:inkMkLst>
            <pc:docMk/>
            <pc:sldMk cId="0" sldId="264"/>
            <ac:inkMk id="57" creationId="{D684F0C6-29C5-27A4-1B7B-E7576286A51D}"/>
          </ac:inkMkLst>
        </pc:inkChg>
      </pc:sldChg>
      <pc:sldChg chg="addSp modSp mod">
        <pc:chgData name="Aniket Chhabra" userId="598e0514-bef3-4e71-b6aa-f2edd6441cff" providerId="ADAL" clId="{6B709646-9B8B-914B-83A9-D81F12AFDE5E}" dt="2022-06-19T04:07:36.969" v="138"/>
        <pc:sldMkLst>
          <pc:docMk/>
          <pc:sldMk cId="0" sldId="266"/>
        </pc:sldMkLst>
        <pc:grpChg chg="mod">
          <ac:chgData name="Aniket Chhabra" userId="598e0514-bef3-4e71-b6aa-f2edd6441cff" providerId="ADAL" clId="{6B709646-9B8B-914B-83A9-D81F12AFDE5E}" dt="2022-06-19T04:07:29.143" v="135" actId="1076"/>
          <ac:grpSpMkLst>
            <pc:docMk/>
            <pc:sldMk cId="0" sldId="266"/>
            <ac:grpSpMk id="25" creationId="{6DB30CB4-077A-627F-CD4F-88F57D0F116C}"/>
          </ac:grpSpMkLst>
        </pc:grpChg>
        <pc:grpChg chg="mod">
          <ac:chgData name="Aniket Chhabra" userId="598e0514-bef3-4e71-b6aa-f2edd6441cff" providerId="ADAL" clId="{6B709646-9B8B-914B-83A9-D81F12AFDE5E}" dt="2022-06-19T04:07:36.969" v="138"/>
          <ac:grpSpMkLst>
            <pc:docMk/>
            <pc:sldMk cId="0" sldId="266"/>
            <ac:grpSpMk id="29" creationId="{FE47765E-6864-735B-B540-83A6756DA445}"/>
          </ac:grpSpMkLst>
        </pc:grpChg>
        <pc:inkChg chg="add">
          <ac:chgData name="Aniket Chhabra" userId="598e0514-bef3-4e71-b6aa-f2edd6441cff" providerId="ADAL" clId="{6B709646-9B8B-914B-83A9-D81F12AFDE5E}" dt="2022-06-19T03:59:20.804" v="24" actId="9405"/>
          <ac:inkMkLst>
            <pc:docMk/>
            <pc:sldMk cId="0" sldId="266"/>
            <ac:inkMk id="2" creationId="{FAF03DFE-E193-5022-E9BB-2C723E22BE25}"/>
          </ac:inkMkLst>
        </pc:inkChg>
        <pc:inkChg chg="add mod">
          <ac:chgData name="Aniket Chhabra" userId="598e0514-bef3-4e71-b6aa-f2edd6441cff" providerId="ADAL" clId="{6B709646-9B8B-914B-83A9-D81F12AFDE5E}" dt="2022-06-19T04:07:12.529" v="133"/>
          <ac:inkMkLst>
            <pc:docMk/>
            <pc:sldMk cId="0" sldId="266"/>
            <ac:inkMk id="3" creationId="{2026C077-FBEF-05F3-C416-BB59DFC75718}"/>
          </ac:inkMkLst>
        </pc:inkChg>
        <pc:inkChg chg="add mod">
          <ac:chgData name="Aniket Chhabra" userId="598e0514-bef3-4e71-b6aa-f2edd6441cff" providerId="ADAL" clId="{6B709646-9B8B-914B-83A9-D81F12AFDE5E}" dt="2022-06-19T04:07:12.529" v="133"/>
          <ac:inkMkLst>
            <pc:docMk/>
            <pc:sldMk cId="0" sldId="266"/>
            <ac:inkMk id="4" creationId="{94693732-BB43-EFD6-A930-49855B76D5C3}"/>
          </ac:inkMkLst>
        </pc:inkChg>
        <pc:inkChg chg="add mod">
          <ac:chgData name="Aniket Chhabra" userId="598e0514-bef3-4e71-b6aa-f2edd6441cff" providerId="ADAL" clId="{6B709646-9B8B-914B-83A9-D81F12AFDE5E}" dt="2022-06-19T04:07:12.529" v="133"/>
          <ac:inkMkLst>
            <pc:docMk/>
            <pc:sldMk cId="0" sldId="266"/>
            <ac:inkMk id="5" creationId="{EACB06FE-95F1-7863-A6A0-C879DB8D4C1C}"/>
          </ac:inkMkLst>
        </pc:inkChg>
        <pc:inkChg chg="add mod">
          <ac:chgData name="Aniket Chhabra" userId="598e0514-bef3-4e71-b6aa-f2edd6441cff" providerId="ADAL" clId="{6B709646-9B8B-914B-83A9-D81F12AFDE5E}" dt="2022-06-19T04:07:12.529" v="133"/>
          <ac:inkMkLst>
            <pc:docMk/>
            <pc:sldMk cId="0" sldId="266"/>
            <ac:inkMk id="6" creationId="{0EA88EA8-1574-D8D0-38B8-8FCE81A972F5}"/>
          </ac:inkMkLst>
        </pc:inkChg>
        <pc:inkChg chg="add mod">
          <ac:chgData name="Aniket Chhabra" userId="598e0514-bef3-4e71-b6aa-f2edd6441cff" providerId="ADAL" clId="{6B709646-9B8B-914B-83A9-D81F12AFDE5E}" dt="2022-06-19T04:07:12.529" v="133"/>
          <ac:inkMkLst>
            <pc:docMk/>
            <pc:sldMk cId="0" sldId="266"/>
            <ac:inkMk id="7" creationId="{46796B34-65E6-0935-99CF-C8C4B8A9ABB2}"/>
          </ac:inkMkLst>
        </pc:inkChg>
        <pc:inkChg chg="add mod">
          <ac:chgData name="Aniket Chhabra" userId="598e0514-bef3-4e71-b6aa-f2edd6441cff" providerId="ADAL" clId="{6B709646-9B8B-914B-83A9-D81F12AFDE5E}" dt="2022-06-19T04:07:12.529" v="133"/>
          <ac:inkMkLst>
            <pc:docMk/>
            <pc:sldMk cId="0" sldId="266"/>
            <ac:inkMk id="8" creationId="{B9CA47D0-0F33-F1CF-AC46-98BE183D2E0C}"/>
          </ac:inkMkLst>
        </pc:inkChg>
        <pc:inkChg chg="add mod">
          <ac:chgData name="Aniket Chhabra" userId="598e0514-bef3-4e71-b6aa-f2edd6441cff" providerId="ADAL" clId="{6B709646-9B8B-914B-83A9-D81F12AFDE5E}" dt="2022-06-19T04:07:12.529" v="133"/>
          <ac:inkMkLst>
            <pc:docMk/>
            <pc:sldMk cId="0" sldId="266"/>
            <ac:inkMk id="9" creationId="{F23DE4AD-0C49-FF2A-8944-C301A65681EB}"/>
          </ac:inkMkLst>
        </pc:inkChg>
        <pc:inkChg chg="add mod">
          <ac:chgData name="Aniket Chhabra" userId="598e0514-bef3-4e71-b6aa-f2edd6441cff" providerId="ADAL" clId="{6B709646-9B8B-914B-83A9-D81F12AFDE5E}" dt="2022-06-19T04:07:12.529" v="133"/>
          <ac:inkMkLst>
            <pc:docMk/>
            <pc:sldMk cId="0" sldId="266"/>
            <ac:inkMk id="10" creationId="{215C5AF2-F02C-4CB0-EDFD-403CA88D67DD}"/>
          </ac:inkMkLst>
        </pc:inkChg>
        <pc:inkChg chg="add mod">
          <ac:chgData name="Aniket Chhabra" userId="598e0514-bef3-4e71-b6aa-f2edd6441cff" providerId="ADAL" clId="{6B709646-9B8B-914B-83A9-D81F12AFDE5E}" dt="2022-06-19T04:07:12.529" v="133"/>
          <ac:inkMkLst>
            <pc:docMk/>
            <pc:sldMk cId="0" sldId="266"/>
            <ac:inkMk id="11" creationId="{4890239B-B67A-32F3-0B18-C4F4C04ADD09}"/>
          </ac:inkMkLst>
        </pc:inkChg>
        <pc:inkChg chg="add mod">
          <ac:chgData name="Aniket Chhabra" userId="598e0514-bef3-4e71-b6aa-f2edd6441cff" providerId="ADAL" clId="{6B709646-9B8B-914B-83A9-D81F12AFDE5E}" dt="2022-06-19T04:07:12.529" v="133"/>
          <ac:inkMkLst>
            <pc:docMk/>
            <pc:sldMk cId="0" sldId="266"/>
            <ac:inkMk id="12" creationId="{3301123C-F7F0-FBBE-E75D-3B779734CA62}"/>
          </ac:inkMkLst>
        </pc:inkChg>
        <pc:inkChg chg="add mod">
          <ac:chgData name="Aniket Chhabra" userId="598e0514-bef3-4e71-b6aa-f2edd6441cff" providerId="ADAL" clId="{6B709646-9B8B-914B-83A9-D81F12AFDE5E}" dt="2022-06-19T04:07:12.529" v="133"/>
          <ac:inkMkLst>
            <pc:docMk/>
            <pc:sldMk cId="0" sldId="266"/>
            <ac:inkMk id="13" creationId="{0F7CB3BB-E33D-9551-9CB5-8B5813102EFA}"/>
          </ac:inkMkLst>
        </pc:inkChg>
        <pc:inkChg chg="add mod">
          <ac:chgData name="Aniket Chhabra" userId="598e0514-bef3-4e71-b6aa-f2edd6441cff" providerId="ADAL" clId="{6B709646-9B8B-914B-83A9-D81F12AFDE5E}" dt="2022-06-19T04:07:12.529" v="133"/>
          <ac:inkMkLst>
            <pc:docMk/>
            <pc:sldMk cId="0" sldId="266"/>
            <ac:inkMk id="14" creationId="{7CAF5DBA-4D88-9C94-C976-18582BD29721}"/>
          </ac:inkMkLst>
        </pc:inkChg>
        <pc:inkChg chg="add mod">
          <ac:chgData name="Aniket Chhabra" userId="598e0514-bef3-4e71-b6aa-f2edd6441cff" providerId="ADAL" clId="{6B709646-9B8B-914B-83A9-D81F12AFDE5E}" dt="2022-06-19T04:07:12.529" v="133"/>
          <ac:inkMkLst>
            <pc:docMk/>
            <pc:sldMk cId="0" sldId="266"/>
            <ac:inkMk id="15" creationId="{A57CD122-1E6B-FAA1-EF3E-E651542C5B73}"/>
          </ac:inkMkLst>
        </pc:inkChg>
        <pc:inkChg chg="add mod">
          <ac:chgData name="Aniket Chhabra" userId="598e0514-bef3-4e71-b6aa-f2edd6441cff" providerId="ADAL" clId="{6B709646-9B8B-914B-83A9-D81F12AFDE5E}" dt="2022-06-19T04:07:12.529" v="133"/>
          <ac:inkMkLst>
            <pc:docMk/>
            <pc:sldMk cId="0" sldId="266"/>
            <ac:inkMk id="16" creationId="{4F1692A3-A5B6-967E-BFE0-01061B4C928B}"/>
          </ac:inkMkLst>
        </pc:inkChg>
        <pc:inkChg chg="add mod">
          <ac:chgData name="Aniket Chhabra" userId="598e0514-bef3-4e71-b6aa-f2edd6441cff" providerId="ADAL" clId="{6B709646-9B8B-914B-83A9-D81F12AFDE5E}" dt="2022-06-19T04:07:12.529" v="133"/>
          <ac:inkMkLst>
            <pc:docMk/>
            <pc:sldMk cId="0" sldId="266"/>
            <ac:inkMk id="17" creationId="{B010DE17-03CA-94A6-739E-A2D22A94D46D}"/>
          </ac:inkMkLst>
        </pc:inkChg>
        <pc:inkChg chg="add mod">
          <ac:chgData name="Aniket Chhabra" userId="598e0514-bef3-4e71-b6aa-f2edd6441cff" providerId="ADAL" clId="{6B709646-9B8B-914B-83A9-D81F12AFDE5E}" dt="2022-06-19T04:07:12.529" v="133"/>
          <ac:inkMkLst>
            <pc:docMk/>
            <pc:sldMk cId="0" sldId="266"/>
            <ac:inkMk id="18" creationId="{C9867DD7-99EA-E4A8-A2D7-64E058098ECA}"/>
          </ac:inkMkLst>
        </pc:inkChg>
        <pc:inkChg chg="add mod">
          <ac:chgData name="Aniket Chhabra" userId="598e0514-bef3-4e71-b6aa-f2edd6441cff" providerId="ADAL" clId="{6B709646-9B8B-914B-83A9-D81F12AFDE5E}" dt="2022-06-19T04:07:12.529" v="133"/>
          <ac:inkMkLst>
            <pc:docMk/>
            <pc:sldMk cId="0" sldId="266"/>
            <ac:inkMk id="19" creationId="{8341819E-0DA0-DBEF-8C30-F6CB4730E561}"/>
          </ac:inkMkLst>
        </pc:inkChg>
        <pc:inkChg chg="add mod">
          <ac:chgData name="Aniket Chhabra" userId="598e0514-bef3-4e71-b6aa-f2edd6441cff" providerId="ADAL" clId="{6B709646-9B8B-914B-83A9-D81F12AFDE5E}" dt="2022-06-19T04:07:12.529" v="133"/>
          <ac:inkMkLst>
            <pc:docMk/>
            <pc:sldMk cId="0" sldId="266"/>
            <ac:inkMk id="20" creationId="{05180B6F-091A-F9AB-0E80-AE7D6EC9032D}"/>
          </ac:inkMkLst>
        </pc:inkChg>
        <pc:inkChg chg="add mod">
          <ac:chgData name="Aniket Chhabra" userId="598e0514-bef3-4e71-b6aa-f2edd6441cff" providerId="ADAL" clId="{6B709646-9B8B-914B-83A9-D81F12AFDE5E}" dt="2022-06-19T04:07:12.529" v="133"/>
          <ac:inkMkLst>
            <pc:docMk/>
            <pc:sldMk cId="0" sldId="266"/>
            <ac:inkMk id="21" creationId="{6AA27F3A-4372-E1B3-8FD7-936FCE90A68F}"/>
          </ac:inkMkLst>
        </pc:inkChg>
        <pc:inkChg chg="add mod">
          <ac:chgData name="Aniket Chhabra" userId="598e0514-bef3-4e71-b6aa-f2edd6441cff" providerId="ADAL" clId="{6B709646-9B8B-914B-83A9-D81F12AFDE5E}" dt="2022-06-19T04:07:12.529" v="133"/>
          <ac:inkMkLst>
            <pc:docMk/>
            <pc:sldMk cId="0" sldId="266"/>
            <ac:inkMk id="22" creationId="{441CEE5E-A6B1-10B1-970E-9C9D482ECA35}"/>
          </ac:inkMkLst>
        </pc:inkChg>
        <pc:inkChg chg="add mod">
          <ac:chgData name="Aniket Chhabra" userId="598e0514-bef3-4e71-b6aa-f2edd6441cff" providerId="ADAL" clId="{6B709646-9B8B-914B-83A9-D81F12AFDE5E}" dt="2022-06-19T04:07:12.529" v="133"/>
          <ac:inkMkLst>
            <pc:docMk/>
            <pc:sldMk cId="0" sldId="266"/>
            <ac:inkMk id="23" creationId="{73108260-FB44-E951-B70D-1BBD0B7A84AF}"/>
          </ac:inkMkLst>
        </pc:inkChg>
        <pc:inkChg chg="add mod">
          <ac:chgData name="Aniket Chhabra" userId="598e0514-bef3-4e71-b6aa-f2edd6441cff" providerId="ADAL" clId="{6B709646-9B8B-914B-83A9-D81F12AFDE5E}" dt="2022-06-19T04:07:12.529" v="133"/>
          <ac:inkMkLst>
            <pc:docMk/>
            <pc:sldMk cId="0" sldId="266"/>
            <ac:inkMk id="24" creationId="{7535DD81-608E-BA5F-4011-FEBAE1A80C28}"/>
          </ac:inkMkLst>
        </pc:inkChg>
        <pc:inkChg chg="add">
          <ac:chgData name="Aniket Chhabra" userId="598e0514-bef3-4e71-b6aa-f2edd6441cff" providerId="ADAL" clId="{6B709646-9B8B-914B-83A9-D81F12AFDE5E}" dt="2022-06-19T04:07:17.112" v="134" actId="9405"/>
          <ac:inkMkLst>
            <pc:docMk/>
            <pc:sldMk cId="0" sldId="266"/>
            <ac:inkMk id="26" creationId="{C145CD7C-6011-84C8-ABEE-BEC13E6BBF78}"/>
          </ac:inkMkLst>
        </pc:inkChg>
        <pc:inkChg chg="add mod">
          <ac:chgData name="Aniket Chhabra" userId="598e0514-bef3-4e71-b6aa-f2edd6441cff" providerId="ADAL" clId="{6B709646-9B8B-914B-83A9-D81F12AFDE5E}" dt="2022-06-19T04:07:36.969" v="138"/>
          <ac:inkMkLst>
            <pc:docMk/>
            <pc:sldMk cId="0" sldId="266"/>
            <ac:inkMk id="27" creationId="{0870B91A-AF29-C9BD-C2C5-46FC49E31268}"/>
          </ac:inkMkLst>
        </pc:inkChg>
        <pc:inkChg chg="add mod">
          <ac:chgData name="Aniket Chhabra" userId="598e0514-bef3-4e71-b6aa-f2edd6441cff" providerId="ADAL" clId="{6B709646-9B8B-914B-83A9-D81F12AFDE5E}" dt="2022-06-19T04:07:36.969" v="138"/>
          <ac:inkMkLst>
            <pc:docMk/>
            <pc:sldMk cId="0" sldId="266"/>
            <ac:inkMk id="28" creationId="{AB673C82-9147-8A48-3FD8-7271881CBDCE}"/>
          </ac:inkMkLst>
        </pc:inkChg>
      </pc:sldChg>
      <pc:sldChg chg="addSp delSp modSp mod">
        <pc:chgData name="Aniket Chhabra" userId="598e0514-bef3-4e71-b6aa-f2edd6441cff" providerId="ADAL" clId="{6B709646-9B8B-914B-83A9-D81F12AFDE5E}" dt="2022-06-19T04:12:00.258" v="321"/>
        <pc:sldMkLst>
          <pc:docMk/>
          <pc:sldMk cId="0" sldId="267"/>
        </pc:sldMkLst>
        <pc:grpChg chg="mod">
          <ac:chgData name="Aniket Chhabra" userId="598e0514-bef3-4e71-b6aa-f2edd6441cff" providerId="ADAL" clId="{6B709646-9B8B-914B-83A9-D81F12AFDE5E}" dt="2022-06-19T04:08:14.369" v="162"/>
          <ac:grpSpMkLst>
            <pc:docMk/>
            <pc:sldMk cId="0" sldId="267"/>
            <ac:grpSpMk id="20" creationId="{94102B9E-E274-618B-191B-FBCBF3182E89}"/>
          </ac:grpSpMkLst>
        </pc:grpChg>
        <pc:grpChg chg="mod">
          <ac:chgData name="Aniket Chhabra" userId="598e0514-bef3-4e71-b6aa-f2edd6441cff" providerId="ADAL" clId="{6B709646-9B8B-914B-83A9-D81F12AFDE5E}" dt="2022-06-19T04:08:14.369" v="162"/>
          <ac:grpSpMkLst>
            <pc:docMk/>
            <pc:sldMk cId="0" sldId="267"/>
            <ac:grpSpMk id="21" creationId="{FCF0DF1A-A636-9019-3DBA-497B34D94E89}"/>
          </ac:grpSpMkLst>
        </pc:grpChg>
        <pc:grpChg chg="del mod">
          <ac:chgData name="Aniket Chhabra" userId="598e0514-bef3-4e71-b6aa-f2edd6441cff" providerId="ADAL" clId="{6B709646-9B8B-914B-83A9-D81F12AFDE5E}" dt="2022-06-19T04:09:29.955" v="190"/>
          <ac:grpSpMkLst>
            <pc:docMk/>
            <pc:sldMk cId="0" sldId="267"/>
            <ac:grpSpMk id="42" creationId="{A48B2EE1-D4DD-E46E-F83D-6C7DF082618E}"/>
          </ac:grpSpMkLst>
        </pc:grpChg>
        <pc:grpChg chg="mod">
          <ac:chgData name="Aniket Chhabra" userId="598e0514-bef3-4e71-b6aa-f2edd6441cff" providerId="ADAL" clId="{6B709646-9B8B-914B-83A9-D81F12AFDE5E}" dt="2022-06-19T04:09:27.734" v="183"/>
          <ac:grpSpMkLst>
            <pc:docMk/>
            <pc:sldMk cId="0" sldId="267"/>
            <ac:grpSpMk id="43" creationId="{C263FEE7-BD90-8F79-1060-B076196EBD53}"/>
          </ac:grpSpMkLst>
        </pc:grpChg>
        <pc:grpChg chg="mod">
          <ac:chgData name="Aniket Chhabra" userId="598e0514-bef3-4e71-b6aa-f2edd6441cff" providerId="ADAL" clId="{6B709646-9B8B-914B-83A9-D81F12AFDE5E}" dt="2022-06-19T04:09:27.734" v="183"/>
          <ac:grpSpMkLst>
            <pc:docMk/>
            <pc:sldMk cId="0" sldId="267"/>
            <ac:grpSpMk id="44" creationId="{42C159E6-ADB6-4835-C37D-9ED491FF0AAD}"/>
          </ac:grpSpMkLst>
        </pc:grpChg>
        <pc:grpChg chg="del mod">
          <ac:chgData name="Aniket Chhabra" userId="598e0514-bef3-4e71-b6aa-f2edd6441cff" providerId="ADAL" clId="{6B709646-9B8B-914B-83A9-D81F12AFDE5E}" dt="2022-06-19T04:10:51.357" v="272"/>
          <ac:grpSpMkLst>
            <pc:docMk/>
            <pc:sldMk cId="0" sldId="267"/>
            <ac:grpSpMk id="51" creationId="{92957781-FFF8-992A-3973-E20C8BB78B2D}"/>
          </ac:grpSpMkLst>
        </pc:grpChg>
        <pc:grpChg chg="del mod">
          <ac:chgData name="Aniket Chhabra" userId="598e0514-bef3-4e71-b6aa-f2edd6441cff" providerId="ADAL" clId="{6B709646-9B8B-914B-83A9-D81F12AFDE5E}" dt="2022-06-19T04:10:12.821" v="242"/>
          <ac:grpSpMkLst>
            <pc:docMk/>
            <pc:sldMk cId="0" sldId="267"/>
            <ac:grpSpMk id="52" creationId="{0AE90158-1E72-6F8B-0CC1-80CCF0E75B48}"/>
          </ac:grpSpMkLst>
        </pc:grpChg>
        <pc:grpChg chg="mod">
          <ac:chgData name="Aniket Chhabra" userId="598e0514-bef3-4e71-b6aa-f2edd6441cff" providerId="ADAL" clId="{6B709646-9B8B-914B-83A9-D81F12AFDE5E}" dt="2022-06-19T04:09:41.196" v="196"/>
          <ac:grpSpMkLst>
            <pc:docMk/>
            <pc:sldMk cId="0" sldId="267"/>
            <ac:grpSpMk id="58" creationId="{BE9BFD39-DE8A-825E-7B89-3CC87D050FD5}"/>
          </ac:grpSpMkLst>
        </pc:grpChg>
        <pc:grpChg chg="mod">
          <ac:chgData name="Aniket Chhabra" userId="598e0514-bef3-4e71-b6aa-f2edd6441cff" providerId="ADAL" clId="{6B709646-9B8B-914B-83A9-D81F12AFDE5E}" dt="2022-06-19T04:09:43.924" v="202"/>
          <ac:grpSpMkLst>
            <pc:docMk/>
            <pc:sldMk cId="0" sldId="267"/>
            <ac:grpSpMk id="128" creationId="{EFD29583-3CDB-E644-7854-6A44197E776E}"/>
          </ac:grpSpMkLst>
        </pc:grpChg>
        <pc:grpChg chg="del mod">
          <ac:chgData name="Aniket Chhabra" userId="598e0514-bef3-4e71-b6aa-f2edd6441cff" providerId="ADAL" clId="{6B709646-9B8B-914B-83A9-D81F12AFDE5E}" dt="2022-06-19T04:10:04.784" v="224"/>
          <ac:grpSpMkLst>
            <pc:docMk/>
            <pc:sldMk cId="0" sldId="267"/>
            <ac:grpSpMk id="135" creationId="{62087733-BA2A-49B2-8DA4-AD280ACFE5A4}"/>
          </ac:grpSpMkLst>
        </pc:grpChg>
        <pc:grpChg chg="mod">
          <ac:chgData name="Aniket Chhabra" userId="598e0514-bef3-4e71-b6aa-f2edd6441cff" providerId="ADAL" clId="{6B709646-9B8B-914B-83A9-D81F12AFDE5E}" dt="2022-06-19T04:09:51.351" v="215"/>
          <ac:grpSpMkLst>
            <pc:docMk/>
            <pc:sldMk cId="0" sldId="267"/>
            <ac:grpSpMk id="141" creationId="{748785B9-26C1-4C9D-0379-740B2AABB1DF}"/>
          </ac:grpSpMkLst>
        </pc:grpChg>
        <pc:grpChg chg="mod">
          <ac:chgData name="Aniket Chhabra" userId="598e0514-bef3-4e71-b6aa-f2edd6441cff" providerId="ADAL" clId="{6B709646-9B8B-914B-83A9-D81F12AFDE5E}" dt="2022-06-19T04:09:58.932" v="221"/>
          <ac:grpSpMkLst>
            <pc:docMk/>
            <pc:sldMk cId="0" sldId="267"/>
            <ac:grpSpMk id="147" creationId="{96E0FF77-6E6F-4532-9F95-0932BD3CC922}"/>
          </ac:grpSpMkLst>
        </pc:grpChg>
        <pc:grpChg chg="mod">
          <ac:chgData name="Aniket Chhabra" userId="598e0514-bef3-4e71-b6aa-f2edd6441cff" providerId="ADAL" clId="{6B709646-9B8B-914B-83A9-D81F12AFDE5E}" dt="2022-06-19T04:10:04.784" v="224"/>
          <ac:grpSpMkLst>
            <pc:docMk/>
            <pc:sldMk cId="0" sldId="267"/>
            <ac:grpSpMk id="152" creationId="{8380FEDF-BB0B-9EA8-6E2C-3B7B522BE33E}"/>
          </ac:grpSpMkLst>
        </pc:grpChg>
        <pc:grpChg chg="del mod">
          <ac:chgData name="Aniket Chhabra" userId="598e0514-bef3-4e71-b6aa-f2edd6441cff" providerId="ADAL" clId="{6B709646-9B8B-914B-83A9-D81F12AFDE5E}" dt="2022-06-19T04:10:09.889" v="234"/>
          <ac:grpSpMkLst>
            <pc:docMk/>
            <pc:sldMk cId="0" sldId="267"/>
            <ac:grpSpMk id="162" creationId="{AF1DA96D-BDED-3A39-F6C1-CB2408E95C69}"/>
          </ac:grpSpMkLst>
        </pc:grpChg>
        <pc:grpChg chg="del mod">
          <ac:chgData name="Aniket Chhabra" userId="598e0514-bef3-4e71-b6aa-f2edd6441cff" providerId="ADAL" clId="{6B709646-9B8B-914B-83A9-D81F12AFDE5E}" dt="2022-06-19T04:10:12.821" v="242"/>
          <ac:grpSpMkLst>
            <pc:docMk/>
            <pc:sldMk cId="0" sldId="267"/>
            <ac:grpSpMk id="163" creationId="{D6F714D3-74E9-DF38-24C1-4BE8079EB24B}"/>
          </ac:grpSpMkLst>
        </pc:grpChg>
        <pc:grpChg chg="del mod">
          <ac:chgData name="Aniket Chhabra" userId="598e0514-bef3-4e71-b6aa-f2edd6441cff" providerId="ADAL" clId="{6B709646-9B8B-914B-83A9-D81F12AFDE5E}" dt="2022-06-19T04:10:17.199" v="245"/>
          <ac:grpSpMkLst>
            <pc:docMk/>
            <pc:sldMk cId="0" sldId="267"/>
            <ac:grpSpMk id="171" creationId="{9D24EC64-0E59-920B-7728-515EAC5123C4}"/>
          </ac:grpSpMkLst>
        </pc:grpChg>
        <pc:grpChg chg="del mod">
          <ac:chgData name="Aniket Chhabra" userId="598e0514-bef3-4e71-b6aa-f2edd6441cff" providerId="ADAL" clId="{6B709646-9B8B-914B-83A9-D81F12AFDE5E}" dt="2022-06-19T04:10:20.023" v="247"/>
          <ac:grpSpMkLst>
            <pc:docMk/>
            <pc:sldMk cId="0" sldId="267"/>
            <ac:grpSpMk id="174" creationId="{E8676DEB-B123-F764-6919-4589777162AB}"/>
          </ac:grpSpMkLst>
        </pc:grpChg>
        <pc:grpChg chg="mod">
          <ac:chgData name="Aniket Chhabra" userId="598e0514-bef3-4e71-b6aa-f2edd6441cff" providerId="ADAL" clId="{6B709646-9B8B-914B-83A9-D81F12AFDE5E}" dt="2022-06-19T04:10:20.023" v="247"/>
          <ac:grpSpMkLst>
            <pc:docMk/>
            <pc:sldMk cId="0" sldId="267"/>
            <ac:grpSpMk id="176" creationId="{ADE5FE4A-731C-FCC4-0C1C-63CACC54DD07}"/>
          </ac:grpSpMkLst>
        </pc:grpChg>
        <pc:grpChg chg="mod">
          <ac:chgData name="Aniket Chhabra" userId="598e0514-bef3-4e71-b6aa-f2edd6441cff" providerId="ADAL" clId="{6B709646-9B8B-914B-83A9-D81F12AFDE5E}" dt="2022-06-19T04:10:38.639" v="268"/>
          <ac:grpSpMkLst>
            <pc:docMk/>
            <pc:sldMk cId="0" sldId="267"/>
            <ac:grpSpMk id="197" creationId="{ADBC1752-809D-F63A-A8D5-A6C3BE1C831B}"/>
          </ac:grpSpMkLst>
        </pc:grpChg>
        <pc:grpChg chg="mod">
          <ac:chgData name="Aniket Chhabra" userId="598e0514-bef3-4e71-b6aa-f2edd6441cff" providerId="ADAL" clId="{6B709646-9B8B-914B-83A9-D81F12AFDE5E}" dt="2022-06-19T04:10:38.639" v="268"/>
          <ac:grpSpMkLst>
            <pc:docMk/>
            <pc:sldMk cId="0" sldId="267"/>
            <ac:grpSpMk id="198" creationId="{B3C300C0-A4F4-4EA5-D1DD-3EE4F68D5B07}"/>
          </ac:grpSpMkLst>
        </pc:grpChg>
        <pc:grpChg chg="mod">
          <ac:chgData name="Aniket Chhabra" userId="598e0514-bef3-4e71-b6aa-f2edd6441cff" providerId="ADAL" clId="{6B709646-9B8B-914B-83A9-D81F12AFDE5E}" dt="2022-06-19T04:10:51.357" v="272"/>
          <ac:grpSpMkLst>
            <pc:docMk/>
            <pc:sldMk cId="0" sldId="267"/>
            <ac:grpSpMk id="202" creationId="{68C4CEDA-05AB-A2C3-5DB3-01845B60A96B}"/>
          </ac:grpSpMkLst>
        </pc:grpChg>
        <pc:grpChg chg="mod">
          <ac:chgData name="Aniket Chhabra" userId="598e0514-bef3-4e71-b6aa-f2edd6441cff" providerId="ADAL" clId="{6B709646-9B8B-914B-83A9-D81F12AFDE5E}" dt="2022-06-19T04:10:51.357" v="272"/>
          <ac:grpSpMkLst>
            <pc:docMk/>
            <pc:sldMk cId="0" sldId="267"/>
            <ac:grpSpMk id="203" creationId="{DD97CF37-35D7-E6EF-D5EA-BC633968C6D8}"/>
          </ac:grpSpMkLst>
        </pc:grpChg>
        <pc:grpChg chg="del mod">
          <ac:chgData name="Aniket Chhabra" userId="598e0514-bef3-4e71-b6aa-f2edd6441cff" providerId="ADAL" clId="{6B709646-9B8B-914B-83A9-D81F12AFDE5E}" dt="2022-06-19T04:11:18.235" v="276"/>
          <ac:grpSpMkLst>
            <pc:docMk/>
            <pc:sldMk cId="0" sldId="267"/>
            <ac:grpSpMk id="206" creationId="{CF6C1DE7-D6C8-91B7-1D63-2D318003D6A1}"/>
          </ac:grpSpMkLst>
        </pc:grpChg>
        <pc:grpChg chg="mod">
          <ac:chgData name="Aniket Chhabra" userId="598e0514-bef3-4e71-b6aa-f2edd6441cff" providerId="ADAL" clId="{6B709646-9B8B-914B-83A9-D81F12AFDE5E}" dt="2022-06-19T04:11:26.324" v="288"/>
          <ac:grpSpMkLst>
            <pc:docMk/>
            <pc:sldMk cId="0" sldId="267"/>
            <ac:grpSpMk id="217" creationId="{FB016B9B-3950-E5A0-8B11-0773BB025224}"/>
          </ac:grpSpMkLst>
        </pc:grpChg>
        <pc:grpChg chg="mod">
          <ac:chgData name="Aniket Chhabra" userId="598e0514-bef3-4e71-b6aa-f2edd6441cff" providerId="ADAL" clId="{6B709646-9B8B-914B-83A9-D81F12AFDE5E}" dt="2022-06-19T04:11:26.324" v="288"/>
          <ac:grpSpMkLst>
            <pc:docMk/>
            <pc:sldMk cId="0" sldId="267"/>
            <ac:grpSpMk id="218" creationId="{ACD5D4B1-5596-5E04-278C-7C943DE85A3B}"/>
          </ac:grpSpMkLst>
        </pc:grpChg>
        <pc:grpChg chg="del mod">
          <ac:chgData name="Aniket Chhabra" userId="598e0514-bef3-4e71-b6aa-f2edd6441cff" providerId="ADAL" clId="{6B709646-9B8B-914B-83A9-D81F12AFDE5E}" dt="2022-06-19T04:11:33.587" v="296"/>
          <ac:grpSpMkLst>
            <pc:docMk/>
            <pc:sldMk cId="0" sldId="267"/>
            <ac:grpSpMk id="221" creationId="{4157B028-F38B-5353-B9F3-A50647360674}"/>
          </ac:grpSpMkLst>
        </pc:grpChg>
        <pc:grpChg chg="mod">
          <ac:chgData name="Aniket Chhabra" userId="598e0514-bef3-4e71-b6aa-f2edd6441cff" providerId="ADAL" clId="{6B709646-9B8B-914B-83A9-D81F12AFDE5E}" dt="2022-06-19T04:11:33.587" v="296"/>
          <ac:grpSpMkLst>
            <pc:docMk/>
            <pc:sldMk cId="0" sldId="267"/>
            <ac:grpSpMk id="226" creationId="{B35E47F6-3AB7-6D99-1C2F-EA7B39EEADDC}"/>
          </ac:grpSpMkLst>
        </pc:grpChg>
        <pc:grpChg chg="mod">
          <ac:chgData name="Aniket Chhabra" userId="598e0514-bef3-4e71-b6aa-f2edd6441cff" providerId="ADAL" clId="{6B709646-9B8B-914B-83A9-D81F12AFDE5E}" dt="2022-06-19T04:11:39.290" v="305"/>
          <ac:grpSpMkLst>
            <pc:docMk/>
            <pc:sldMk cId="0" sldId="267"/>
            <ac:grpSpMk id="235" creationId="{F9871B9E-397B-5DED-43D3-26A48B7F3BFE}"/>
          </ac:grpSpMkLst>
        </pc:grpChg>
        <pc:grpChg chg="mod">
          <ac:chgData name="Aniket Chhabra" userId="598e0514-bef3-4e71-b6aa-f2edd6441cff" providerId="ADAL" clId="{6B709646-9B8B-914B-83A9-D81F12AFDE5E}" dt="2022-06-19T04:12:00.258" v="321"/>
          <ac:grpSpMkLst>
            <pc:docMk/>
            <pc:sldMk cId="0" sldId="267"/>
            <ac:grpSpMk id="251" creationId="{A9C627C2-55E7-3F30-0E3B-DB6DDDAF42D0}"/>
          </ac:grpSpMkLst>
        </pc:grpChg>
        <pc:grpChg chg="mod">
          <ac:chgData name="Aniket Chhabra" userId="598e0514-bef3-4e71-b6aa-f2edd6441cff" providerId="ADAL" clId="{6B709646-9B8B-914B-83A9-D81F12AFDE5E}" dt="2022-06-19T04:12:00.258" v="321"/>
          <ac:grpSpMkLst>
            <pc:docMk/>
            <pc:sldMk cId="0" sldId="267"/>
            <ac:grpSpMk id="252" creationId="{0192A463-01D8-2E8C-2A29-9317C4684D88}"/>
          </ac:grpSpMkLst>
        </pc:grpChg>
        <pc:grpChg chg="mod">
          <ac:chgData name="Aniket Chhabra" userId="598e0514-bef3-4e71-b6aa-f2edd6441cff" providerId="ADAL" clId="{6B709646-9B8B-914B-83A9-D81F12AFDE5E}" dt="2022-06-19T04:12:00.258" v="321"/>
          <ac:grpSpMkLst>
            <pc:docMk/>
            <pc:sldMk cId="0" sldId="267"/>
            <ac:grpSpMk id="253" creationId="{3EAD9291-E0AC-DC0D-6B6D-9CB0752721D0}"/>
          </ac:grpSpMkLst>
        </pc:grpChg>
        <pc:inkChg chg="add mod">
          <ac:chgData name="Aniket Chhabra" userId="598e0514-bef3-4e71-b6aa-f2edd6441cff" providerId="ADAL" clId="{6B709646-9B8B-914B-83A9-D81F12AFDE5E}" dt="2022-06-19T04:08:14.369" v="162"/>
          <ac:inkMkLst>
            <pc:docMk/>
            <pc:sldMk cId="0" sldId="267"/>
            <ac:inkMk id="2" creationId="{CAF8FE01-BDF5-53B4-F66C-0F5E01996929}"/>
          </ac:inkMkLst>
        </pc:inkChg>
        <pc:inkChg chg="add mod">
          <ac:chgData name="Aniket Chhabra" userId="598e0514-bef3-4e71-b6aa-f2edd6441cff" providerId="ADAL" clId="{6B709646-9B8B-914B-83A9-D81F12AFDE5E}" dt="2022-06-19T04:08:14.369" v="162"/>
          <ac:inkMkLst>
            <pc:docMk/>
            <pc:sldMk cId="0" sldId="267"/>
            <ac:inkMk id="3" creationId="{E4451384-45AB-CF0A-4EA6-E2A0FB84CAC8}"/>
          </ac:inkMkLst>
        </pc:inkChg>
        <pc:inkChg chg="add mod">
          <ac:chgData name="Aniket Chhabra" userId="598e0514-bef3-4e71-b6aa-f2edd6441cff" providerId="ADAL" clId="{6B709646-9B8B-914B-83A9-D81F12AFDE5E}" dt="2022-06-19T04:08:14.369" v="162"/>
          <ac:inkMkLst>
            <pc:docMk/>
            <pc:sldMk cId="0" sldId="267"/>
            <ac:inkMk id="4" creationId="{FA437175-8D73-0A3B-8277-E35C421260F1}"/>
          </ac:inkMkLst>
        </pc:inkChg>
        <pc:inkChg chg="add mod">
          <ac:chgData name="Aniket Chhabra" userId="598e0514-bef3-4e71-b6aa-f2edd6441cff" providerId="ADAL" clId="{6B709646-9B8B-914B-83A9-D81F12AFDE5E}" dt="2022-06-19T04:08:14.369" v="162"/>
          <ac:inkMkLst>
            <pc:docMk/>
            <pc:sldMk cId="0" sldId="267"/>
            <ac:inkMk id="5" creationId="{FA7C9FAC-0842-0ABA-D051-A401C25B0CDF}"/>
          </ac:inkMkLst>
        </pc:inkChg>
        <pc:inkChg chg="add mod">
          <ac:chgData name="Aniket Chhabra" userId="598e0514-bef3-4e71-b6aa-f2edd6441cff" providerId="ADAL" clId="{6B709646-9B8B-914B-83A9-D81F12AFDE5E}" dt="2022-06-19T04:08:14.369" v="162"/>
          <ac:inkMkLst>
            <pc:docMk/>
            <pc:sldMk cId="0" sldId="267"/>
            <ac:inkMk id="6" creationId="{704D4511-AE10-6ECE-4D26-D76C2E277AA6}"/>
          </ac:inkMkLst>
        </pc:inkChg>
        <pc:inkChg chg="add mod">
          <ac:chgData name="Aniket Chhabra" userId="598e0514-bef3-4e71-b6aa-f2edd6441cff" providerId="ADAL" clId="{6B709646-9B8B-914B-83A9-D81F12AFDE5E}" dt="2022-06-19T04:08:14.369" v="162"/>
          <ac:inkMkLst>
            <pc:docMk/>
            <pc:sldMk cId="0" sldId="267"/>
            <ac:inkMk id="7" creationId="{C477C021-58CE-9F3A-B1C8-9DFAB539908D}"/>
          </ac:inkMkLst>
        </pc:inkChg>
        <pc:inkChg chg="add mod">
          <ac:chgData name="Aniket Chhabra" userId="598e0514-bef3-4e71-b6aa-f2edd6441cff" providerId="ADAL" clId="{6B709646-9B8B-914B-83A9-D81F12AFDE5E}" dt="2022-06-19T04:08:14.369" v="162"/>
          <ac:inkMkLst>
            <pc:docMk/>
            <pc:sldMk cId="0" sldId="267"/>
            <ac:inkMk id="8" creationId="{604656D7-4B07-EFBE-6683-1E37C4C63D36}"/>
          </ac:inkMkLst>
        </pc:inkChg>
        <pc:inkChg chg="add mod">
          <ac:chgData name="Aniket Chhabra" userId="598e0514-bef3-4e71-b6aa-f2edd6441cff" providerId="ADAL" clId="{6B709646-9B8B-914B-83A9-D81F12AFDE5E}" dt="2022-06-19T04:08:14.369" v="162"/>
          <ac:inkMkLst>
            <pc:docMk/>
            <pc:sldMk cId="0" sldId="267"/>
            <ac:inkMk id="9" creationId="{057935BA-177A-4CF2-48E1-BB4F8F4F02AA}"/>
          </ac:inkMkLst>
        </pc:inkChg>
        <pc:inkChg chg="add mod">
          <ac:chgData name="Aniket Chhabra" userId="598e0514-bef3-4e71-b6aa-f2edd6441cff" providerId="ADAL" clId="{6B709646-9B8B-914B-83A9-D81F12AFDE5E}" dt="2022-06-19T04:08:14.369" v="162"/>
          <ac:inkMkLst>
            <pc:docMk/>
            <pc:sldMk cId="0" sldId="267"/>
            <ac:inkMk id="10" creationId="{60AFD871-D32B-3220-63A9-E85E919DD61F}"/>
          </ac:inkMkLst>
        </pc:inkChg>
        <pc:inkChg chg="add mod">
          <ac:chgData name="Aniket Chhabra" userId="598e0514-bef3-4e71-b6aa-f2edd6441cff" providerId="ADAL" clId="{6B709646-9B8B-914B-83A9-D81F12AFDE5E}" dt="2022-06-19T04:08:14.369" v="162"/>
          <ac:inkMkLst>
            <pc:docMk/>
            <pc:sldMk cId="0" sldId="267"/>
            <ac:inkMk id="11" creationId="{19DD0D7E-05AA-AC57-BD48-D06433BBA313}"/>
          </ac:inkMkLst>
        </pc:inkChg>
        <pc:inkChg chg="add mod">
          <ac:chgData name="Aniket Chhabra" userId="598e0514-bef3-4e71-b6aa-f2edd6441cff" providerId="ADAL" clId="{6B709646-9B8B-914B-83A9-D81F12AFDE5E}" dt="2022-06-19T04:08:14.369" v="162"/>
          <ac:inkMkLst>
            <pc:docMk/>
            <pc:sldMk cId="0" sldId="267"/>
            <ac:inkMk id="12" creationId="{06A82D7D-7BF5-BA34-48FD-4ADBB6225B81}"/>
          </ac:inkMkLst>
        </pc:inkChg>
        <pc:inkChg chg="add mod">
          <ac:chgData name="Aniket Chhabra" userId="598e0514-bef3-4e71-b6aa-f2edd6441cff" providerId="ADAL" clId="{6B709646-9B8B-914B-83A9-D81F12AFDE5E}" dt="2022-06-19T04:08:14.369" v="162"/>
          <ac:inkMkLst>
            <pc:docMk/>
            <pc:sldMk cId="0" sldId="267"/>
            <ac:inkMk id="13" creationId="{35D4826C-0301-A136-2093-46B0D2604A5B}"/>
          </ac:inkMkLst>
        </pc:inkChg>
        <pc:inkChg chg="add mod">
          <ac:chgData name="Aniket Chhabra" userId="598e0514-bef3-4e71-b6aa-f2edd6441cff" providerId="ADAL" clId="{6B709646-9B8B-914B-83A9-D81F12AFDE5E}" dt="2022-06-19T04:08:14.369" v="162"/>
          <ac:inkMkLst>
            <pc:docMk/>
            <pc:sldMk cId="0" sldId="267"/>
            <ac:inkMk id="14" creationId="{8BB253EF-6E62-BDCE-373F-896AFB6B1040}"/>
          </ac:inkMkLst>
        </pc:inkChg>
        <pc:inkChg chg="add mod">
          <ac:chgData name="Aniket Chhabra" userId="598e0514-bef3-4e71-b6aa-f2edd6441cff" providerId="ADAL" clId="{6B709646-9B8B-914B-83A9-D81F12AFDE5E}" dt="2022-06-19T04:08:14.369" v="162"/>
          <ac:inkMkLst>
            <pc:docMk/>
            <pc:sldMk cId="0" sldId="267"/>
            <ac:inkMk id="15" creationId="{4DA37784-D421-B422-D6CA-D4F9566E8B09}"/>
          </ac:inkMkLst>
        </pc:inkChg>
        <pc:inkChg chg="add mod">
          <ac:chgData name="Aniket Chhabra" userId="598e0514-bef3-4e71-b6aa-f2edd6441cff" providerId="ADAL" clId="{6B709646-9B8B-914B-83A9-D81F12AFDE5E}" dt="2022-06-19T04:08:14.369" v="162"/>
          <ac:inkMkLst>
            <pc:docMk/>
            <pc:sldMk cId="0" sldId="267"/>
            <ac:inkMk id="16" creationId="{5DED092D-BE37-0DED-5BFD-8AF93FAE7B1C}"/>
          </ac:inkMkLst>
        </pc:inkChg>
        <pc:inkChg chg="add mod">
          <ac:chgData name="Aniket Chhabra" userId="598e0514-bef3-4e71-b6aa-f2edd6441cff" providerId="ADAL" clId="{6B709646-9B8B-914B-83A9-D81F12AFDE5E}" dt="2022-06-19T04:08:14.369" v="162"/>
          <ac:inkMkLst>
            <pc:docMk/>
            <pc:sldMk cId="0" sldId="267"/>
            <ac:inkMk id="17" creationId="{22CC8139-538B-549B-F211-C8651FA7DAFE}"/>
          </ac:inkMkLst>
        </pc:inkChg>
        <pc:inkChg chg="add mod">
          <ac:chgData name="Aniket Chhabra" userId="598e0514-bef3-4e71-b6aa-f2edd6441cff" providerId="ADAL" clId="{6B709646-9B8B-914B-83A9-D81F12AFDE5E}" dt="2022-06-19T04:08:14.369" v="162"/>
          <ac:inkMkLst>
            <pc:docMk/>
            <pc:sldMk cId="0" sldId="267"/>
            <ac:inkMk id="18" creationId="{CB74262F-4FD9-1F93-D6C9-20AF6F65A450}"/>
          </ac:inkMkLst>
        </pc:inkChg>
        <pc:inkChg chg="add">
          <ac:chgData name="Aniket Chhabra" userId="598e0514-bef3-4e71-b6aa-f2edd6441cff" providerId="ADAL" clId="{6B709646-9B8B-914B-83A9-D81F12AFDE5E}" dt="2022-06-19T04:08:13.459" v="161" actId="9405"/>
          <ac:inkMkLst>
            <pc:docMk/>
            <pc:sldMk cId="0" sldId="267"/>
            <ac:inkMk id="19" creationId="{9A6DE1FD-0DEC-AB2E-2250-B628D3EDFB64}"/>
          </ac:inkMkLst>
        </pc:inkChg>
        <pc:inkChg chg="add mod">
          <ac:chgData name="Aniket Chhabra" userId="598e0514-bef3-4e71-b6aa-f2edd6441cff" providerId="ADAL" clId="{6B709646-9B8B-914B-83A9-D81F12AFDE5E}" dt="2022-06-19T04:09:27.734" v="183"/>
          <ac:inkMkLst>
            <pc:docMk/>
            <pc:sldMk cId="0" sldId="267"/>
            <ac:inkMk id="22" creationId="{C45CC823-11F1-E04E-F1C3-89E7856961ED}"/>
          </ac:inkMkLst>
        </pc:inkChg>
        <pc:inkChg chg="add mod">
          <ac:chgData name="Aniket Chhabra" userId="598e0514-bef3-4e71-b6aa-f2edd6441cff" providerId="ADAL" clId="{6B709646-9B8B-914B-83A9-D81F12AFDE5E}" dt="2022-06-19T04:09:27.734" v="183"/>
          <ac:inkMkLst>
            <pc:docMk/>
            <pc:sldMk cId="0" sldId="267"/>
            <ac:inkMk id="23" creationId="{2D5A4D5A-D4F0-CD68-2F08-AA608EBA49D6}"/>
          </ac:inkMkLst>
        </pc:inkChg>
        <pc:inkChg chg="add mod">
          <ac:chgData name="Aniket Chhabra" userId="598e0514-bef3-4e71-b6aa-f2edd6441cff" providerId="ADAL" clId="{6B709646-9B8B-914B-83A9-D81F12AFDE5E}" dt="2022-06-19T04:09:27.734" v="183"/>
          <ac:inkMkLst>
            <pc:docMk/>
            <pc:sldMk cId="0" sldId="267"/>
            <ac:inkMk id="24" creationId="{8F134E4E-C5A8-907D-1FC3-EE1500E9966F}"/>
          </ac:inkMkLst>
        </pc:inkChg>
        <pc:inkChg chg="add mod">
          <ac:chgData name="Aniket Chhabra" userId="598e0514-bef3-4e71-b6aa-f2edd6441cff" providerId="ADAL" clId="{6B709646-9B8B-914B-83A9-D81F12AFDE5E}" dt="2022-06-19T04:09:27.734" v="183"/>
          <ac:inkMkLst>
            <pc:docMk/>
            <pc:sldMk cId="0" sldId="267"/>
            <ac:inkMk id="25" creationId="{38FEBC7A-C559-D411-BEB0-18BBBEE58DD6}"/>
          </ac:inkMkLst>
        </pc:inkChg>
        <pc:inkChg chg="add mod">
          <ac:chgData name="Aniket Chhabra" userId="598e0514-bef3-4e71-b6aa-f2edd6441cff" providerId="ADAL" clId="{6B709646-9B8B-914B-83A9-D81F12AFDE5E}" dt="2022-06-19T04:09:27.734" v="183"/>
          <ac:inkMkLst>
            <pc:docMk/>
            <pc:sldMk cId="0" sldId="267"/>
            <ac:inkMk id="26" creationId="{D07207B4-7273-6666-62D0-9F36DFBD94A5}"/>
          </ac:inkMkLst>
        </pc:inkChg>
        <pc:inkChg chg="add mod">
          <ac:chgData name="Aniket Chhabra" userId="598e0514-bef3-4e71-b6aa-f2edd6441cff" providerId="ADAL" clId="{6B709646-9B8B-914B-83A9-D81F12AFDE5E}" dt="2022-06-19T04:09:27.734" v="183"/>
          <ac:inkMkLst>
            <pc:docMk/>
            <pc:sldMk cId="0" sldId="267"/>
            <ac:inkMk id="27" creationId="{AE4D23CF-10EC-8B69-AF81-FBDAC1E75EB4}"/>
          </ac:inkMkLst>
        </pc:inkChg>
        <pc:inkChg chg="add mod">
          <ac:chgData name="Aniket Chhabra" userId="598e0514-bef3-4e71-b6aa-f2edd6441cff" providerId="ADAL" clId="{6B709646-9B8B-914B-83A9-D81F12AFDE5E}" dt="2022-06-19T04:09:27.734" v="183"/>
          <ac:inkMkLst>
            <pc:docMk/>
            <pc:sldMk cId="0" sldId="267"/>
            <ac:inkMk id="28" creationId="{EB67B0CC-9E8C-545F-BE78-F07975EDE2CA}"/>
          </ac:inkMkLst>
        </pc:inkChg>
        <pc:inkChg chg="add mod">
          <ac:chgData name="Aniket Chhabra" userId="598e0514-bef3-4e71-b6aa-f2edd6441cff" providerId="ADAL" clId="{6B709646-9B8B-914B-83A9-D81F12AFDE5E}" dt="2022-06-19T04:09:27.734" v="183"/>
          <ac:inkMkLst>
            <pc:docMk/>
            <pc:sldMk cId="0" sldId="267"/>
            <ac:inkMk id="29" creationId="{2C43988F-955B-726E-2765-55B3E726FCDB}"/>
          </ac:inkMkLst>
        </pc:inkChg>
        <pc:inkChg chg="add mod">
          <ac:chgData name="Aniket Chhabra" userId="598e0514-bef3-4e71-b6aa-f2edd6441cff" providerId="ADAL" clId="{6B709646-9B8B-914B-83A9-D81F12AFDE5E}" dt="2022-06-19T04:09:27.734" v="183"/>
          <ac:inkMkLst>
            <pc:docMk/>
            <pc:sldMk cId="0" sldId="267"/>
            <ac:inkMk id="30" creationId="{DCE68E2B-103B-75CA-DF52-0D29B9336CF2}"/>
          </ac:inkMkLst>
        </pc:inkChg>
        <pc:inkChg chg="add mod">
          <ac:chgData name="Aniket Chhabra" userId="598e0514-bef3-4e71-b6aa-f2edd6441cff" providerId="ADAL" clId="{6B709646-9B8B-914B-83A9-D81F12AFDE5E}" dt="2022-06-19T04:09:27.734" v="183"/>
          <ac:inkMkLst>
            <pc:docMk/>
            <pc:sldMk cId="0" sldId="267"/>
            <ac:inkMk id="31" creationId="{DE840FA7-B5CC-AB3A-281B-C5E4494C721A}"/>
          </ac:inkMkLst>
        </pc:inkChg>
        <pc:inkChg chg="add mod">
          <ac:chgData name="Aniket Chhabra" userId="598e0514-bef3-4e71-b6aa-f2edd6441cff" providerId="ADAL" clId="{6B709646-9B8B-914B-83A9-D81F12AFDE5E}" dt="2022-06-19T04:09:27.734" v="183"/>
          <ac:inkMkLst>
            <pc:docMk/>
            <pc:sldMk cId="0" sldId="267"/>
            <ac:inkMk id="32" creationId="{C7B3FDDC-1D0D-832C-93A5-F9A83485D96F}"/>
          </ac:inkMkLst>
        </pc:inkChg>
        <pc:inkChg chg="add mod">
          <ac:chgData name="Aniket Chhabra" userId="598e0514-bef3-4e71-b6aa-f2edd6441cff" providerId="ADAL" clId="{6B709646-9B8B-914B-83A9-D81F12AFDE5E}" dt="2022-06-19T04:10:20.023" v="247"/>
          <ac:inkMkLst>
            <pc:docMk/>
            <pc:sldMk cId="0" sldId="267"/>
            <ac:inkMk id="33" creationId="{75F66ED5-37E6-ACE2-B387-58C3C65EAEBC}"/>
          </ac:inkMkLst>
        </pc:inkChg>
        <pc:inkChg chg="add mod">
          <ac:chgData name="Aniket Chhabra" userId="598e0514-bef3-4e71-b6aa-f2edd6441cff" providerId="ADAL" clId="{6B709646-9B8B-914B-83A9-D81F12AFDE5E}" dt="2022-06-19T04:10:20.023" v="247"/>
          <ac:inkMkLst>
            <pc:docMk/>
            <pc:sldMk cId="0" sldId="267"/>
            <ac:inkMk id="34" creationId="{CE659BE6-A54A-D102-172F-4E73AF739251}"/>
          </ac:inkMkLst>
        </pc:inkChg>
        <pc:inkChg chg="add mod">
          <ac:chgData name="Aniket Chhabra" userId="598e0514-bef3-4e71-b6aa-f2edd6441cff" providerId="ADAL" clId="{6B709646-9B8B-914B-83A9-D81F12AFDE5E}" dt="2022-06-19T04:10:20.023" v="247"/>
          <ac:inkMkLst>
            <pc:docMk/>
            <pc:sldMk cId="0" sldId="267"/>
            <ac:inkMk id="35" creationId="{5082FAD5-FE61-4C4B-F48A-A2683ACDD1C7}"/>
          </ac:inkMkLst>
        </pc:inkChg>
        <pc:inkChg chg="add mod">
          <ac:chgData name="Aniket Chhabra" userId="598e0514-bef3-4e71-b6aa-f2edd6441cff" providerId="ADAL" clId="{6B709646-9B8B-914B-83A9-D81F12AFDE5E}" dt="2022-06-19T04:10:20.023" v="247"/>
          <ac:inkMkLst>
            <pc:docMk/>
            <pc:sldMk cId="0" sldId="267"/>
            <ac:inkMk id="36" creationId="{5D6EC483-8FF5-42AD-B908-907E764551E7}"/>
          </ac:inkMkLst>
        </pc:inkChg>
        <pc:inkChg chg="add mod">
          <ac:chgData name="Aniket Chhabra" userId="598e0514-bef3-4e71-b6aa-f2edd6441cff" providerId="ADAL" clId="{6B709646-9B8B-914B-83A9-D81F12AFDE5E}" dt="2022-06-19T04:10:20.023" v="247"/>
          <ac:inkMkLst>
            <pc:docMk/>
            <pc:sldMk cId="0" sldId="267"/>
            <ac:inkMk id="37" creationId="{1C5131BB-E713-0ECC-EFCE-79D76D94D34A}"/>
          </ac:inkMkLst>
        </pc:inkChg>
        <pc:inkChg chg="add mod">
          <ac:chgData name="Aniket Chhabra" userId="598e0514-bef3-4e71-b6aa-f2edd6441cff" providerId="ADAL" clId="{6B709646-9B8B-914B-83A9-D81F12AFDE5E}" dt="2022-06-19T04:10:20.023" v="247"/>
          <ac:inkMkLst>
            <pc:docMk/>
            <pc:sldMk cId="0" sldId="267"/>
            <ac:inkMk id="38" creationId="{A95235C4-78FE-128A-30F1-42A93D25D2FC}"/>
          </ac:inkMkLst>
        </pc:inkChg>
        <pc:inkChg chg="add mod">
          <ac:chgData name="Aniket Chhabra" userId="598e0514-bef3-4e71-b6aa-f2edd6441cff" providerId="ADAL" clId="{6B709646-9B8B-914B-83A9-D81F12AFDE5E}" dt="2022-06-19T04:10:20.023" v="247"/>
          <ac:inkMkLst>
            <pc:docMk/>
            <pc:sldMk cId="0" sldId="267"/>
            <ac:inkMk id="39" creationId="{E1AB1356-B3E4-A90E-78B9-954ECF249135}"/>
          </ac:inkMkLst>
        </pc:inkChg>
        <pc:inkChg chg="add mod">
          <ac:chgData name="Aniket Chhabra" userId="598e0514-bef3-4e71-b6aa-f2edd6441cff" providerId="ADAL" clId="{6B709646-9B8B-914B-83A9-D81F12AFDE5E}" dt="2022-06-19T04:10:20.023" v="247"/>
          <ac:inkMkLst>
            <pc:docMk/>
            <pc:sldMk cId="0" sldId="267"/>
            <ac:inkMk id="40" creationId="{08085FB8-6893-A06C-80D8-AE148E5FF982}"/>
          </ac:inkMkLst>
        </pc:inkChg>
        <pc:inkChg chg="add mod">
          <ac:chgData name="Aniket Chhabra" userId="598e0514-bef3-4e71-b6aa-f2edd6441cff" providerId="ADAL" clId="{6B709646-9B8B-914B-83A9-D81F12AFDE5E}" dt="2022-06-19T04:10:20.023" v="247"/>
          <ac:inkMkLst>
            <pc:docMk/>
            <pc:sldMk cId="0" sldId="267"/>
            <ac:inkMk id="41" creationId="{1F69126C-061D-73D7-2C7F-611244D63CF5}"/>
          </ac:inkMkLst>
        </pc:inkChg>
        <pc:inkChg chg="add mod">
          <ac:chgData name="Aniket Chhabra" userId="598e0514-bef3-4e71-b6aa-f2edd6441cff" providerId="ADAL" clId="{6B709646-9B8B-914B-83A9-D81F12AFDE5E}" dt="2022-06-19T04:10:20.023" v="247"/>
          <ac:inkMkLst>
            <pc:docMk/>
            <pc:sldMk cId="0" sldId="267"/>
            <ac:inkMk id="45" creationId="{630E91D3-7FC7-B42F-C7F6-A7360FD31AD7}"/>
          </ac:inkMkLst>
        </pc:inkChg>
        <pc:inkChg chg="add mod">
          <ac:chgData name="Aniket Chhabra" userId="598e0514-bef3-4e71-b6aa-f2edd6441cff" providerId="ADAL" clId="{6B709646-9B8B-914B-83A9-D81F12AFDE5E}" dt="2022-06-19T04:10:20.023" v="247"/>
          <ac:inkMkLst>
            <pc:docMk/>
            <pc:sldMk cId="0" sldId="267"/>
            <ac:inkMk id="46" creationId="{F83B782A-FD00-792F-0B01-3C67AD8AA396}"/>
          </ac:inkMkLst>
        </pc:inkChg>
        <pc:inkChg chg="add mod">
          <ac:chgData name="Aniket Chhabra" userId="598e0514-bef3-4e71-b6aa-f2edd6441cff" providerId="ADAL" clId="{6B709646-9B8B-914B-83A9-D81F12AFDE5E}" dt="2022-06-19T04:10:20.023" v="247"/>
          <ac:inkMkLst>
            <pc:docMk/>
            <pc:sldMk cId="0" sldId="267"/>
            <ac:inkMk id="47" creationId="{E3A02520-45AE-A544-DC30-FA017B10B676}"/>
          </ac:inkMkLst>
        </pc:inkChg>
        <pc:inkChg chg="add mod">
          <ac:chgData name="Aniket Chhabra" userId="598e0514-bef3-4e71-b6aa-f2edd6441cff" providerId="ADAL" clId="{6B709646-9B8B-914B-83A9-D81F12AFDE5E}" dt="2022-06-19T04:10:20.023" v="247"/>
          <ac:inkMkLst>
            <pc:docMk/>
            <pc:sldMk cId="0" sldId="267"/>
            <ac:inkMk id="48" creationId="{6090D4CB-47B4-F4C9-01C0-DCEBF6AE4A48}"/>
          </ac:inkMkLst>
        </pc:inkChg>
        <pc:inkChg chg="add mod">
          <ac:chgData name="Aniket Chhabra" userId="598e0514-bef3-4e71-b6aa-f2edd6441cff" providerId="ADAL" clId="{6B709646-9B8B-914B-83A9-D81F12AFDE5E}" dt="2022-06-19T04:10:51.357" v="272"/>
          <ac:inkMkLst>
            <pc:docMk/>
            <pc:sldMk cId="0" sldId="267"/>
            <ac:inkMk id="49" creationId="{B5AF5C02-EF4C-5DCC-AF3C-68FF6B8E83DE}"/>
          </ac:inkMkLst>
        </pc:inkChg>
        <pc:inkChg chg="add mod">
          <ac:chgData name="Aniket Chhabra" userId="598e0514-bef3-4e71-b6aa-f2edd6441cff" providerId="ADAL" clId="{6B709646-9B8B-914B-83A9-D81F12AFDE5E}" dt="2022-06-19T04:10:51.357" v="272"/>
          <ac:inkMkLst>
            <pc:docMk/>
            <pc:sldMk cId="0" sldId="267"/>
            <ac:inkMk id="50" creationId="{DB602054-8BB4-1A75-5236-CA4A583824BF}"/>
          </ac:inkMkLst>
        </pc:inkChg>
        <pc:inkChg chg="add mod">
          <ac:chgData name="Aniket Chhabra" userId="598e0514-bef3-4e71-b6aa-f2edd6441cff" providerId="ADAL" clId="{6B709646-9B8B-914B-83A9-D81F12AFDE5E}" dt="2022-06-19T04:09:41.196" v="196"/>
          <ac:inkMkLst>
            <pc:docMk/>
            <pc:sldMk cId="0" sldId="267"/>
            <ac:inkMk id="53" creationId="{D3643B9F-9BDE-9CC4-9A80-248B8AFE0C94}"/>
          </ac:inkMkLst>
        </pc:inkChg>
        <pc:inkChg chg="add mod">
          <ac:chgData name="Aniket Chhabra" userId="598e0514-bef3-4e71-b6aa-f2edd6441cff" providerId="ADAL" clId="{6B709646-9B8B-914B-83A9-D81F12AFDE5E}" dt="2022-06-19T04:09:41.196" v="196"/>
          <ac:inkMkLst>
            <pc:docMk/>
            <pc:sldMk cId="0" sldId="267"/>
            <ac:inkMk id="54" creationId="{D5D46BBD-31B7-AE9B-0A1A-3D62B381DA21}"/>
          </ac:inkMkLst>
        </pc:inkChg>
        <pc:inkChg chg="add mod">
          <ac:chgData name="Aniket Chhabra" userId="598e0514-bef3-4e71-b6aa-f2edd6441cff" providerId="ADAL" clId="{6B709646-9B8B-914B-83A9-D81F12AFDE5E}" dt="2022-06-19T04:09:41.196" v="196"/>
          <ac:inkMkLst>
            <pc:docMk/>
            <pc:sldMk cId="0" sldId="267"/>
            <ac:inkMk id="55" creationId="{D0935D11-47A2-EABD-A4F9-42457F0E3369}"/>
          </ac:inkMkLst>
        </pc:inkChg>
        <pc:inkChg chg="add mod">
          <ac:chgData name="Aniket Chhabra" userId="598e0514-bef3-4e71-b6aa-f2edd6441cff" providerId="ADAL" clId="{6B709646-9B8B-914B-83A9-D81F12AFDE5E}" dt="2022-06-19T04:09:41.196" v="196"/>
          <ac:inkMkLst>
            <pc:docMk/>
            <pc:sldMk cId="0" sldId="267"/>
            <ac:inkMk id="56" creationId="{EFFDDC84-4394-4456-ED7A-33D4E5560679}"/>
          </ac:inkMkLst>
        </pc:inkChg>
        <pc:inkChg chg="add mod">
          <ac:chgData name="Aniket Chhabra" userId="598e0514-bef3-4e71-b6aa-f2edd6441cff" providerId="ADAL" clId="{6B709646-9B8B-914B-83A9-D81F12AFDE5E}" dt="2022-06-19T04:09:41.196" v="196"/>
          <ac:inkMkLst>
            <pc:docMk/>
            <pc:sldMk cId="0" sldId="267"/>
            <ac:inkMk id="57" creationId="{0B33BF7B-66B2-B899-72CD-2F9922B285CC}"/>
          </ac:inkMkLst>
        </pc:inkChg>
        <pc:inkChg chg="add mod">
          <ac:chgData name="Aniket Chhabra" userId="598e0514-bef3-4e71-b6aa-f2edd6441cff" providerId="ADAL" clId="{6B709646-9B8B-914B-83A9-D81F12AFDE5E}" dt="2022-06-19T04:09:43.924" v="202"/>
          <ac:inkMkLst>
            <pc:docMk/>
            <pc:sldMk cId="0" sldId="267"/>
            <ac:inkMk id="59" creationId="{B4EEF696-F5C9-E6EF-2E9A-7BBCCAFD3974}"/>
          </ac:inkMkLst>
        </pc:inkChg>
        <pc:inkChg chg="add mod">
          <ac:chgData name="Aniket Chhabra" userId="598e0514-bef3-4e71-b6aa-f2edd6441cff" providerId="ADAL" clId="{6B709646-9B8B-914B-83A9-D81F12AFDE5E}" dt="2022-06-19T04:09:43.924" v="202"/>
          <ac:inkMkLst>
            <pc:docMk/>
            <pc:sldMk cId="0" sldId="267"/>
            <ac:inkMk id="60" creationId="{FBA2603C-F6DA-D0BF-9D0F-772726BB9654}"/>
          </ac:inkMkLst>
        </pc:inkChg>
        <pc:inkChg chg="add mod">
          <ac:chgData name="Aniket Chhabra" userId="598e0514-bef3-4e71-b6aa-f2edd6441cff" providerId="ADAL" clId="{6B709646-9B8B-914B-83A9-D81F12AFDE5E}" dt="2022-06-19T04:09:43.924" v="202"/>
          <ac:inkMkLst>
            <pc:docMk/>
            <pc:sldMk cId="0" sldId="267"/>
            <ac:inkMk id="61" creationId="{8F112E8F-3E6F-19FA-5B7B-A697F1DA69C7}"/>
          </ac:inkMkLst>
        </pc:inkChg>
        <pc:inkChg chg="add mod">
          <ac:chgData name="Aniket Chhabra" userId="598e0514-bef3-4e71-b6aa-f2edd6441cff" providerId="ADAL" clId="{6B709646-9B8B-914B-83A9-D81F12AFDE5E}" dt="2022-06-19T04:09:43.924" v="202"/>
          <ac:inkMkLst>
            <pc:docMk/>
            <pc:sldMk cId="0" sldId="267"/>
            <ac:inkMk id="62" creationId="{A71DAB18-AD95-9964-FEFE-17567FDEB5F2}"/>
          </ac:inkMkLst>
        </pc:inkChg>
        <pc:inkChg chg="add mod">
          <ac:chgData name="Aniket Chhabra" userId="598e0514-bef3-4e71-b6aa-f2edd6441cff" providerId="ADAL" clId="{6B709646-9B8B-914B-83A9-D81F12AFDE5E}" dt="2022-06-19T04:09:43.924" v="202"/>
          <ac:inkMkLst>
            <pc:docMk/>
            <pc:sldMk cId="0" sldId="267"/>
            <ac:inkMk id="63" creationId="{07442E13-09E0-6BED-AA85-4FC87ECD9A3E}"/>
          </ac:inkMkLst>
        </pc:inkChg>
        <pc:inkChg chg="add mod">
          <ac:chgData name="Aniket Chhabra" userId="598e0514-bef3-4e71-b6aa-f2edd6441cff" providerId="ADAL" clId="{6B709646-9B8B-914B-83A9-D81F12AFDE5E}" dt="2022-06-19T04:10:04.784" v="224"/>
          <ac:inkMkLst>
            <pc:docMk/>
            <pc:sldMk cId="0" sldId="267"/>
            <ac:inkMk id="129" creationId="{0B144F44-764C-A8D8-EB47-C8F1A78FA074}"/>
          </ac:inkMkLst>
        </pc:inkChg>
        <pc:inkChg chg="add mod">
          <ac:chgData name="Aniket Chhabra" userId="598e0514-bef3-4e71-b6aa-f2edd6441cff" providerId="ADAL" clId="{6B709646-9B8B-914B-83A9-D81F12AFDE5E}" dt="2022-06-19T04:10:04.784" v="224"/>
          <ac:inkMkLst>
            <pc:docMk/>
            <pc:sldMk cId="0" sldId="267"/>
            <ac:inkMk id="130" creationId="{0B783E7A-BC6E-2D4A-52D5-F951F33A3CE9}"/>
          </ac:inkMkLst>
        </pc:inkChg>
        <pc:inkChg chg="add mod">
          <ac:chgData name="Aniket Chhabra" userId="598e0514-bef3-4e71-b6aa-f2edd6441cff" providerId="ADAL" clId="{6B709646-9B8B-914B-83A9-D81F12AFDE5E}" dt="2022-06-19T04:10:04.784" v="224"/>
          <ac:inkMkLst>
            <pc:docMk/>
            <pc:sldMk cId="0" sldId="267"/>
            <ac:inkMk id="131" creationId="{8B6017E6-0C1A-93E6-FB8F-7E8E47C918A8}"/>
          </ac:inkMkLst>
        </pc:inkChg>
        <pc:inkChg chg="add mod">
          <ac:chgData name="Aniket Chhabra" userId="598e0514-bef3-4e71-b6aa-f2edd6441cff" providerId="ADAL" clId="{6B709646-9B8B-914B-83A9-D81F12AFDE5E}" dt="2022-06-19T04:10:04.784" v="224"/>
          <ac:inkMkLst>
            <pc:docMk/>
            <pc:sldMk cId="0" sldId="267"/>
            <ac:inkMk id="132" creationId="{FD780029-FF3E-97B4-81C2-782766A6BC93}"/>
          </ac:inkMkLst>
        </pc:inkChg>
        <pc:inkChg chg="add mod">
          <ac:chgData name="Aniket Chhabra" userId="598e0514-bef3-4e71-b6aa-f2edd6441cff" providerId="ADAL" clId="{6B709646-9B8B-914B-83A9-D81F12AFDE5E}" dt="2022-06-19T04:10:04.784" v="224"/>
          <ac:inkMkLst>
            <pc:docMk/>
            <pc:sldMk cId="0" sldId="267"/>
            <ac:inkMk id="133" creationId="{EBE90E8B-5B8F-0051-B4D6-0131579E6301}"/>
          </ac:inkMkLst>
        </pc:inkChg>
        <pc:inkChg chg="add mod">
          <ac:chgData name="Aniket Chhabra" userId="598e0514-bef3-4e71-b6aa-f2edd6441cff" providerId="ADAL" clId="{6B709646-9B8B-914B-83A9-D81F12AFDE5E}" dt="2022-06-19T04:10:04.784" v="224"/>
          <ac:inkMkLst>
            <pc:docMk/>
            <pc:sldMk cId="0" sldId="267"/>
            <ac:inkMk id="134" creationId="{CC75EBA3-E380-C386-288A-4A358BFA3CD5}"/>
          </ac:inkMkLst>
        </pc:inkChg>
        <pc:inkChg chg="add mod">
          <ac:chgData name="Aniket Chhabra" userId="598e0514-bef3-4e71-b6aa-f2edd6441cff" providerId="ADAL" clId="{6B709646-9B8B-914B-83A9-D81F12AFDE5E}" dt="2022-06-19T04:09:51.351" v="215"/>
          <ac:inkMkLst>
            <pc:docMk/>
            <pc:sldMk cId="0" sldId="267"/>
            <ac:inkMk id="136" creationId="{3BE1DEC2-BE93-BB6E-AA16-14B42216DAF3}"/>
          </ac:inkMkLst>
        </pc:inkChg>
        <pc:inkChg chg="add mod">
          <ac:chgData name="Aniket Chhabra" userId="598e0514-bef3-4e71-b6aa-f2edd6441cff" providerId="ADAL" clId="{6B709646-9B8B-914B-83A9-D81F12AFDE5E}" dt="2022-06-19T04:09:51.351" v="215"/>
          <ac:inkMkLst>
            <pc:docMk/>
            <pc:sldMk cId="0" sldId="267"/>
            <ac:inkMk id="137" creationId="{819DBC52-8D29-2B98-8D7A-32F22B445B16}"/>
          </ac:inkMkLst>
        </pc:inkChg>
        <pc:inkChg chg="add mod">
          <ac:chgData name="Aniket Chhabra" userId="598e0514-bef3-4e71-b6aa-f2edd6441cff" providerId="ADAL" clId="{6B709646-9B8B-914B-83A9-D81F12AFDE5E}" dt="2022-06-19T04:09:51.351" v="215"/>
          <ac:inkMkLst>
            <pc:docMk/>
            <pc:sldMk cId="0" sldId="267"/>
            <ac:inkMk id="138" creationId="{1E496702-9426-568A-55F1-A485AE16CFED}"/>
          </ac:inkMkLst>
        </pc:inkChg>
        <pc:inkChg chg="add mod">
          <ac:chgData name="Aniket Chhabra" userId="598e0514-bef3-4e71-b6aa-f2edd6441cff" providerId="ADAL" clId="{6B709646-9B8B-914B-83A9-D81F12AFDE5E}" dt="2022-06-19T04:09:51.351" v="215"/>
          <ac:inkMkLst>
            <pc:docMk/>
            <pc:sldMk cId="0" sldId="267"/>
            <ac:inkMk id="139" creationId="{3F9ADA00-B2FE-DCEE-86CA-41C4E89B02B7}"/>
          </ac:inkMkLst>
        </pc:inkChg>
        <pc:inkChg chg="add mod">
          <ac:chgData name="Aniket Chhabra" userId="598e0514-bef3-4e71-b6aa-f2edd6441cff" providerId="ADAL" clId="{6B709646-9B8B-914B-83A9-D81F12AFDE5E}" dt="2022-06-19T04:09:51.351" v="215"/>
          <ac:inkMkLst>
            <pc:docMk/>
            <pc:sldMk cId="0" sldId="267"/>
            <ac:inkMk id="140" creationId="{26D07DC2-2BBF-2229-18B8-67B215255162}"/>
          </ac:inkMkLst>
        </pc:inkChg>
        <pc:inkChg chg="add mod">
          <ac:chgData name="Aniket Chhabra" userId="598e0514-bef3-4e71-b6aa-f2edd6441cff" providerId="ADAL" clId="{6B709646-9B8B-914B-83A9-D81F12AFDE5E}" dt="2022-06-19T04:09:58.932" v="221"/>
          <ac:inkMkLst>
            <pc:docMk/>
            <pc:sldMk cId="0" sldId="267"/>
            <ac:inkMk id="142" creationId="{ED54C92E-3F81-949C-A9DC-9478D93AC495}"/>
          </ac:inkMkLst>
        </pc:inkChg>
        <pc:inkChg chg="add mod">
          <ac:chgData name="Aniket Chhabra" userId="598e0514-bef3-4e71-b6aa-f2edd6441cff" providerId="ADAL" clId="{6B709646-9B8B-914B-83A9-D81F12AFDE5E}" dt="2022-06-19T04:09:58.932" v="221"/>
          <ac:inkMkLst>
            <pc:docMk/>
            <pc:sldMk cId="0" sldId="267"/>
            <ac:inkMk id="143" creationId="{75E9C7F0-C0F0-E6DA-1E10-682408D60491}"/>
          </ac:inkMkLst>
        </pc:inkChg>
        <pc:inkChg chg="add mod">
          <ac:chgData name="Aniket Chhabra" userId="598e0514-bef3-4e71-b6aa-f2edd6441cff" providerId="ADAL" clId="{6B709646-9B8B-914B-83A9-D81F12AFDE5E}" dt="2022-06-19T04:09:58.932" v="221"/>
          <ac:inkMkLst>
            <pc:docMk/>
            <pc:sldMk cId="0" sldId="267"/>
            <ac:inkMk id="144" creationId="{A09C67B7-0B93-09D4-12C3-E42B6D8E97E6}"/>
          </ac:inkMkLst>
        </pc:inkChg>
        <pc:inkChg chg="add mod">
          <ac:chgData name="Aniket Chhabra" userId="598e0514-bef3-4e71-b6aa-f2edd6441cff" providerId="ADAL" clId="{6B709646-9B8B-914B-83A9-D81F12AFDE5E}" dt="2022-06-19T04:09:58.932" v="221"/>
          <ac:inkMkLst>
            <pc:docMk/>
            <pc:sldMk cId="0" sldId="267"/>
            <ac:inkMk id="145" creationId="{84D5807B-37E6-C41E-323F-137B12E6FF6B}"/>
          </ac:inkMkLst>
        </pc:inkChg>
        <pc:inkChg chg="add mod">
          <ac:chgData name="Aniket Chhabra" userId="598e0514-bef3-4e71-b6aa-f2edd6441cff" providerId="ADAL" clId="{6B709646-9B8B-914B-83A9-D81F12AFDE5E}" dt="2022-06-19T04:09:58.932" v="221"/>
          <ac:inkMkLst>
            <pc:docMk/>
            <pc:sldMk cId="0" sldId="267"/>
            <ac:inkMk id="146" creationId="{0A0D0D7D-B9AC-AD35-23D5-AA0E8AC5BD0B}"/>
          </ac:inkMkLst>
        </pc:inkChg>
        <pc:inkChg chg="add mod">
          <ac:chgData name="Aniket Chhabra" userId="598e0514-bef3-4e71-b6aa-f2edd6441cff" providerId="ADAL" clId="{6B709646-9B8B-914B-83A9-D81F12AFDE5E}" dt="2022-06-19T04:10:20.023" v="247"/>
          <ac:inkMkLst>
            <pc:docMk/>
            <pc:sldMk cId="0" sldId="267"/>
            <ac:inkMk id="148" creationId="{FF938368-A2A2-43B2-827A-29A9C720CD65}"/>
          </ac:inkMkLst>
        </pc:inkChg>
        <pc:inkChg chg="add mod">
          <ac:chgData name="Aniket Chhabra" userId="598e0514-bef3-4e71-b6aa-f2edd6441cff" providerId="ADAL" clId="{6B709646-9B8B-914B-83A9-D81F12AFDE5E}" dt="2022-06-19T04:10:04.784" v="224"/>
          <ac:inkMkLst>
            <pc:docMk/>
            <pc:sldMk cId="0" sldId="267"/>
            <ac:inkMk id="149" creationId="{51E6C654-BDA8-77E4-1D40-92C1CC4F8FDC}"/>
          </ac:inkMkLst>
        </pc:inkChg>
        <pc:inkChg chg="add mod">
          <ac:chgData name="Aniket Chhabra" userId="598e0514-bef3-4e71-b6aa-f2edd6441cff" providerId="ADAL" clId="{6B709646-9B8B-914B-83A9-D81F12AFDE5E}" dt="2022-06-19T04:10:20.023" v="247"/>
          <ac:inkMkLst>
            <pc:docMk/>
            <pc:sldMk cId="0" sldId="267"/>
            <ac:inkMk id="153" creationId="{EE5F8050-A16E-CF04-A68B-9BB66B4AD2EB}"/>
          </ac:inkMkLst>
        </pc:inkChg>
        <pc:inkChg chg="add mod">
          <ac:chgData name="Aniket Chhabra" userId="598e0514-bef3-4e71-b6aa-f2edd6441cff" providerId="ADAL" clId="{6B709646-9B8B-914B-83A9-D81F12AFDE5E}" dt="2022-06-19T04:10:20.023" v="247"/>
          <ac:inkMkLst>
            <pc:docMk/>
            <pc:sldMk cId="0" sldId="267"/>
            <ac:inkMk id="154" creationId="{19FF7F8E-AEF8-D446-B34D-56D51ACB4B79}"/>
          </ac:inkMkLst>
        </pc:inkChg>
        <pc:inkChg chg="add mod">
          <ac:chgData name="Aniket Chhabra" userId="598e0514-bef3-4e71-b6aa-f2edd6441cff" providerId="ADAL" clId="{6B709646-9B8B-914B-83A9-D81F12AFDE5E}" dt="2022-06-19T04:10:20.023" v="247"/>
          <ac:inkMkLst>
            <pc:docMk/>
            <pc:sldMk cId="0" sldId="267"/>
            <ac:inkMk id="155" creationId="{6C0ED17B-FBCE-A898-07C1-4531C8D42CBC}"/>
          </ac:inkMkLst>
        </pc:inkChg>
        <pc:inkChg chg="add mod">
          <ac:chgData name="Aniket Chhabra" userId="598e0514-bef3-4e71-b6aa-f2edd6441cff" providerId="ADAL" clId="{6B709646-9B8B-914B-83A9-D81F12AFDE5E}" dt="2022-06-19T04:10:20.023" v="247"/>
          <ac:inkMkLst>
            <pc:docMk/>
            <pc:sldMk cId="0" sldId="267"/>
            <ac:inkMk id="156" creationId="{B4CF7E7A-7A59-90AB-572E-D363826BD880}"/>
          </ac:inkMkLst>
        </pc:inkChg>
        <pc:inkChg chg="add mod">
          <ac:chgData name="Aniket Chhabra" userId="598e0514-bef3-4e71-b6aa-f2edd6441cff" providerId="ADAL" clId="{6B709646-9B8B-914B-83A9-D81F12AFDE5E}" dt="2022-06-19T04:10:20.023" v="247"/>
          <ac:inkMkLst>
            <pc:docMk/>
            <pc:sldMk cId="0" sldId="267"/>
            <ac:inkMk id="157" creationId="{7FD74F4D-C746-6C37-107B-A5017BED8FE4}"/>
          </ac:inkMkLst>
        </pc:inkChg>
        <pc:inkChg chg="add mod">
          <ac:chgData name="Aniket Chhabra" userId="598e0514-bef3-4e71-b6aa-f2edd6441cff" providerId="ADAL" clId="{6B709646-9B8B-914B-83A9-D81F12AFDE5E}" dt="2022-06-19T04:10:20.023" v="247"/>
          <ac:inkMkLst>
            <pc:docMk/>
            <pc:sldMk cId="0" sldId="267"/>
            <ac:inkMk id="158" creationId="{794A78B0-85F0-6F54-C3BB-78A567403F5C}"/>
          </ac:inkMkLst>
        </pc:inkChg>
        <pc:inkChg chg="add mod">
          <ac:chgData name="Aniket Chhabra" userId="598e0514-bef3-4e71-b6aa-f2edd6441cff" providerId="ADAL" clId="{6B709646-9B8B-914B-83A9-D81F12AFDE5E}" dt="2022-06-19T04:10:20.023" v="247"/>
          <ac:inkMkLst>
            <pc:docMk/>
            <pc:sldMk cId="0" sldId="267"/>
            <ac:inkMk id="159" creationId="{8E3CB0A7-BE34-9CBC-0DFE-8F295FB1A0C6}"/>
          </ac:inkMkLst>
        </pc:inkChg>
        <pc:inkChg chg="add mod">
          <ac:chgData name="Aniket Chhabra" userId="598e0514-bef3-4e71-b6aa-f2edd6441cff" providerId="ADAL" clId="{6B709646-9B8B-914B-83A9-D81F12AFDE5E}" dt="2022-06-19T04:10:20.023" v="247"/>
          <ac:inkMkLst>
            <pc:docMk/>
            <pc:sldMk cId="0" sldId="267"/>
            <ac:inkMk id="160" creationId="{701AB75E-46A1-0BE1-C2E0-65CD9FBF02AB}"/>
          </ac:inkMkLst>
        </pc:inkChg>
        <pc:inkChg chg="add mod">
          <ac:chgData name="Aniket Chhabra" userId="598e0514-bef3-4e71-b6aa-f2edd6441cff" providerId="ADAL" clId="{6B709646-9B8B-914B-83A9-D81F12AFDE5E}" dt="2022-06-19T04:10:20.023" v="247"/>
          <ac:inkMkLst>
            <pc:docMk/>
            <pc:sldMk cId="0" sldId="267"/>
            <ac:inkMk id="161" creationId="{FA6D3500-7EB9-0720-839F-262771E95A9D}"/>
          </ac:inkMkLst>
        </pc:inkChg>
        <pc:inkChg chg="add mod">
          <ac:chgData name="Aniket Chhabra" userId="598e0514-bef3-4e71-b6aa-f2edd6441cff" providerId="ADAL" clId="{6B709646-9B8B-914B-83A9-D81F12AFDE5E}" dt="2022-06-19T04:10:20.023" v="247"/>
          <ac:inkMkLst>
            <pc:docMk/>
            <pc:sldMk cId="0" sldId="267"/>
            <ac:inkMk id="164" creationId="{B9DCDD05-B828-A61B-E39F-0F1ECE7F56D0}"/>
          </ac:inkMkLst>
        </pc:inkChg>
        <pc:inkChg chg="add mod">
          <ac:chgData name="Aniket Chhabra" userId="598e0514-bef3-4e71-b6aa-f2edd6441cff" providerId="ADAL" clId="{6B709646-9B8B-914B-83A9-D81F12AFDE5E}" dt="2022-06-19T04:10:20.023" v="247"/>
          <ac:inkMkLst>
            <pc:docMk/>
            <pc:sldMk cId="0" sldId="267"/>
            <ac:inkMk id="165" creationId="{32427D83-1F00-CE7B-A5C3-1D9BD43D83DD}"/>
          </ac:inkMkLst>
        </pc:inkChg>
        <pc:inkChg chg="add mod">
          <ac:chgData name="Aniket Chhabra" userId="598e0514-bef3-4e71-b6aa-f2edd6441cff" providerId="ADAL" clId="{6B709646-9B8B-914B-83A9-D81F12AFDE5E}" dt="2022-06-19T04:10:20.023" v="247"/>
          <ac:inkMkLst>
            <pc:docMk/>
            <pc:sldMk cId="0" sldId="267"/>
            <ac:inkMk id="166" creationId="{A2199ECB-A1B2-FFE8-7E09-B4B2949C30FD}"/>
          </ac:inkMkLst>
        </pc:inkChg>
        <pc:inkChg chg="add mod">
          <ac:chgData name="Aniket Chhabra" userId="598e0514-bef3-4e71-b6aa-f2edd6441cff" providerId="ADAL" clId="{6B709646-9B8B-914B-83A9-D81F12AFDE5E}" dt="2022-06-19T04:10:20.023" v="247"/>
          <ac:inkMkLst>
            <pc:docMk/>
            <pc:sldMk cId="0" sldId="267"/>
            <ac:inkMk id="167" creationId="{85F82C41-090A-7318-91BE-6D5C875F0174}"/>
          </ac:inkMkLst>
        </pc:inkChg>
        <pc:inkChg chg="add mod">
          <ac:chgData name="Aniket Chhabra" userId="598e0514-bef3-4e71-b6aa-f2edd6441cff" providerId="ADAL" clId="{6B709646-9B8B-914B-83A9-D81F12AFDE5E}" dt="2022-06-19T04:10:20.023" v="247"/>
          <ac:inkMkLst>
            <pc:docMk/>
            <pc:sldMk cId="0" sldId="267"/>
            <ac:inkMk id="168" creationId="{FE5DF9C2-7C55-C2C4-6BCC-EE53AC8A4C59}"/>
          </ac:inkMkLst>
        </pc:inkChg>
        <pc:inkChg chg="add mod">
          <ac:chgData name="Aniket Chhabra" userId="598e0514-bef3-4e71-b6aa-f2edd6441cff" providerId="ADAL" clId="{6B709646-9B8B-914B-83A9-D81F12AFDE5E}" dt="2022-06-19T04:10:20.023" v="247"/>
          <ac:inkMkLst>
            <pc:docMk/>
            <pc:sldMk cId="0" sldId="267"/>
            <ac:inkMk id="169" creationId="{149E7D20-4F95-B6FB-35E8-7643B174C6D4}"/>
          </ac:inkMkLst>
        </pc:inkChg>
        <pc:inkChg chg="add mod">
          <ac:chgData name="Aniket Chhabra" userId="598e0514-bef3-4e71-b6aa-f2edd6441cff" providerId="ADAL" clId="{6B709646-9B8B-914B-83A9-D81F12AFDE5E}" dt="2022-06-19T04:10:20.023" v="247"/>
          <ac:inkMkLst>
            <pc:docMk/>
            <pc:sldMk cId="0" sldId="267"/>
            <ac:inkMk id="170" creationId="{FC17BF2A-2E4E-8C00-F75F-BA1B107C4C12}"/>
          </ac:inkMkLst>
        </pc:inkChg>
        <pc:inkChg chg="add mod">
          <ac:chgData name="Aniket Chhabra" userId="598e0514-bef3-4e71-b6aa-f2edd6441cff" providerId="ADAL" clId="{6B709646-9B8B-914B-83A9-D81F12AFDE5E}" dt="2022-06-19T04:10:20.023" v="247"/>
          <ac:inkMkLst>
            <pc:docMk/>
            <pc:sldMk cId="0" sldId="267"/>
            <ac:inkMk id="172" creationId="{7E1D2D49-EF6F-AC00-104B-8BE53DF17CCD}"/>
          </ac:inkMkLst>
        </pc:inkChg>
        <pc:inkChg chg="add mod">
          <ac:chgData name="Aniket Chhabra" userId="598e0514-bef3-4e71-b6aa-f2edd6441cff" providerId="ADAL" clId="{6B709646-9B8B-914B-83A9-D81F12AFDE5E}" dt="2022-06-19T04:10:20.023" v="247"/>
          <ac:inkMkLst>
            <pc:docMk/>
            <pc:sldMk cId="0" sldId="267"/>
            <ac:inkMk id="173" creationId="{1514733B-93AC-7BE4-D858-F006DBEDC5AF}"/>
          </ac:inkMkLst>
        </pc:inkChg>
        <pc:inkChg chg="add mod">
          <ac:chgData name="Aniket Chhabra" userId="598e0514-bef3-4e71-b6aa-f2edd6441cff" providerId="ADAL" clId="{6B709646-9B8B-914B-83A9-D81F12AFDE5E}" dt="2022-06-19T04:10:20.023" v="247"/>
          <ac:inkMkLst>
            <pc:docMk/>
            <pc:sldMk cId="0" sldId="267"/>
            <ac:inkMk id="175" creationId="{A993475A-F8A5-6CF5-03EA-258EA2A4CC74}"/>
          </ac:inkMkLst>
        </pc:inkChg>
        <pc:inkChg chg="add mod">
          <ac:chgData name="Aniket Chhabra" userId="598e0514-bef3-4e71-b6aa-f2edd6441cff" providerId="ADAL" clId="{6B709646-9B8B-914B-83A9-D81F12AFDE5E}" dt="2022-06-19T04:10:38.639" v="268"/>
          <ac:inkMkLst>
            <pc:docMk/>
            <pc:sldMk cId="0" sldId="267"/>
            <ac:inkMk id="177" creationId="{05F6DBFE-299A-74A0-9DB9-837B01D494EE}"/>
          </ac:inkMkLst>
        </pc:inkChg>
        <pc:inkChg chg="add mod">
          <ac:chgData name="Aniket Chhabra" userId="598e0514-bef3-4e71-b6aa-f2edd6441cff" providerId="ADAL" clId="{6B709646-9B8B-914B-83A9-D81F12AFDE5E}" dt="2022-06-19T04:10:38.639" v="268"/>
          <ac:inkMkLst>
            <pc:docMk/>
            <pc:sldMk cId="0" sldId="267"/>
            <ac:inkMk id="178" creationId="{082DCF99-A8BE-0B26-473E-8E433C1A152F}"/>
          </ac:inkMkLst>
        </pc:inkChg>
        <pc:inkChg chg="add mod">
          <ac:chgData name="Aniket Chhabra" userId="598e0514-bef3-4e71-b6aa-f2edd6441cff" providerId="ADAL" clId="{6B709646-9B8B-914B-83A9-D81F12AFDE5E}" dt="2022-06-19T04:10:38.639" v="268"/>
          <ac:inkMkLst>
            <pc:docMk/>
            <pc:sldMk cId="0" sldId="267"/>
            <ac:inkMk id="179" creationId="{837088BF-65BD-0660-8F3A-29BE8A28BF21}"/>
          </ac:inkMkLst>
        </pc:inkChg>
        <pc:inkChg chg="add mod">
          <ac:chgData name="Aniket Chhabra" userId="598e0514-bef3-4e71-b6aa-f2edd6441cff" providerId="ADAL" clId="{6B709646-9B8B-914B-83A9-D81F12AFDE5E}" dt="2022-06-19T04:10:38.639" v="268"/>
          <ac:inkMkLst>
            <pc:docMk/>
            <pc:sldMk cId="0" sldId="267"/>
            <ac:inkMk id="180" creationId="{EFEBAE25-1CED-3930-3C9C-B8BF4C00ADEC}"/>
          </ac:inkMkLst>
        </pc:inkChg>
        <pc:inkChg chg="add mod">
          <ac:chgData name="Aniket Chhabra" userId="598e0514-bef3-4e71-b6aa-f2edd6441cff" providerId="ADAL" clId="{6B709646-9B8B-914B-83A9-D81F12AFDE5E}" dt="2022-06-19T04:10:38.639" v="268"/>
          <ac:inkMkLst>
            <pc:docMk/>
            <pc:sldMk cId="0" sldId="267"/>
            <ac:inkMk id="181" creationId="{5E4521C2-7A14-655D-EBE4-24651BFE22EE}"/>
          </ac:inkMkLst>
        </pc:inkChg>
        <pc:inkChg chg="add mod">
          <ac:chgData name="Aniket Chhabra" userId="598e0514-bef3-4e71-b6aa-f2edd6441cff" providerId="ADAL" clId="{6B709646-9B8B-914B-83A9-D81F12AFDE5E}" dt="2022-06-19T04:10:38.639" v="268"/>
          <ac:inkMkLst>
            <pc:docMk/>
            <pc:sldMk cId="0" sldId="267"/>
            <ac:inkMk id="182" creationId="{0DCC2450-EC2F-E3F5-B31F-483877A55279}"/>
          </ac:inkMkLst>
        </pc:inkChg>
        <pc:inkChg chg="add mod">
          <ac:chgData name="Aniket Chhabra" userId="598e0514-bef3-4e71-b6aa-f2edd6441cff" providerId="ADAL" clId="{6B709646-9B8B-914B-83A9-D81F12AFDE5E}" dt="2022-06-19T04:10:38.639" v="268"/>
          <ac:inkMkLst>
            <pc:docMk/>
            <pc:sldMk cId="0" sldId="267"/>
            <ac:inkMk id="183" creationId="{A385F83E-D556-AC13-C6AD-F64562ADC73A}"/>
          </ac:inkMkLst>
        </pc:inkChg>
        <pc:inkChg chg="add mod">
          <ac:chgData name="Aniket Chhabra" userId="598e0514-bef3-4e71-b6aa-f2edd6441cff" providerId="ADAL" clId="{6B709646-9B8B-914B-83A9-D81F12AFDE5E}" dt="2022-06-19T04:10:38.639" v="268"/>
          <ac:inkMkLst>
            <pc:docMk/>
            <pc:sldMk cId="0" sldId="267"/>
            <ac:inkMk id="184" creationId="{EAFD88FC-D6BB-2783-19F5-DF739FE1D646}"/>
          </ac:inkMkLst>
        </pc:inkChg>
        <pc:inkChg chg="add mod">
          <ac:chgData name="Aniket Chhabra" userId="598e0514-bef3-4e71-b6aa-f2edd6441cff" providerId="ADAL" clId="{6B709646-9B8B-914B-83A9-D81F12AFDE5E}" dt="2022-06-19T04:10:38.639" v="268"/>
          <ac:inkMkLst>
            <pc:docMk/>
            <pc:sldMk cId="0" sldId="267"/>
            <ac:inkMk id="185" creationId="{73466173-6A00-1D55-6E2A-722C405F36FE}"/>
          </ac:inkMkLst>
        </pc:inkChg>
        <pc:inkChg chg="add mod">
          <ac:chgData name="Aniket Chhabra" userId="598e0514-bef3-4e71-b6aa-f2edd6441cff" providerId="ADAL" clId="{6B709646-9B8B-914B-83A9-D81F12AFDE5E}" dt="2022-06-19T04:10:38.639" v="268"/>
          <ac:inkMkLst>
            <pc:docMk/>
            <pc:sldMk cId="0" sldId="267"/>
            <ac:inkMk id="186" creationId="{544BA841-46B3-275B-3B8B-5CBAB462D9B1}"/>
          </ac:inkMkLst>
        </pc:inkChg>
        <pc:inkChg chg="add mod">
          <ac:chgData name="Aniket Chhabra" userId="598e0514-bef3-4e71-b6aa-f2edd6441cff" providerId="ADAL" clId="{6B709646-9B8B-914B-83A9-D81F12AFDE5E}" dt="2022-06-19T04:10:38.639" v="268"/>
          <ac:inkMkLst>
            <pc:docMk/>
            <pc:sldMk cId="0" sldId="267"/>
            <ac:inkMk id="187" creationId="{95D64680-F29D-DC9E-5AF8-971B97EF5795}"/>
          </ac:inkMkLst>
        </pc:inkChg>
        <pc:inkChg chg="add mod">
          <ac:chgData name="Aniket Chhabra" userId="598e0514-bef3-4e71-b6aa-f2edd6441cff" providerId="ADAL" clId="{6B709646-9B8B-914B-83A9-D81F12AFDE5E}" dt="2022-06-19T04:10:38.639" v="268"/>
          <ac:inkMkLst>
            <pc:docMk/>
            <pc:sldMk cId="0" sldId="267"/>
            <ac:inkMk id="188" creationId="{02D614B7-F41B-D47A-8655-D5E94D82657D}"/>
          </ac:inkMkLst>
        </pc:inkChg>
        <pc:inkChg chg="add mod">
          <ac:chgData name="Aniket Chhabra" userId="598e0514-bef3-4e71-b6aa-f2edd6441cff" providerId="ADAL" clId="{6B709646-9B8B-914B-83A9-D81F12AFDE5E}" dt="2022-06-19T04:10:38.639" v="268"/>
          <ac:inkMkLst>
            <pc:docMk/>
            <pc:sldMk cId="0" sldId="267"/>
            <ac:inkMk id="189" creationId="{8A49783B-28D5-EDA2-6348-83D0734DEAC5}"/>
          </ac:inkMkLst>
        </pc:inkChg>
        <pc:inkChg chg="add mod">
          <ac:chgData name="Aniket Chhabra" userId="598e0514-bef3-4e71-b6aa-f2edd6441cff" providerId="ADAL" clId="{6B709646-9B8B-914B-83A9-D81F12AFDE5E}" dt="2022-06-19T04:10:38.639" v="268"/>
          <ac:inkMkLst>
            <pc:docMk/>
            <pc:sldMk cId="0" sldId="267"/>
            <ac:inkMk id="190" creationId="{BFEB89A3-241D-06A6-989B-26C01E81BD34}"/>
          </ac:inkMkLst>
        </pc:inkChg>
        <pc:inkChg chg="add mod">
          <ac:chgData name="Aniket Chhabra" userId="598e0514-bef3-4e71-b6aa-f2edd6441cff" providerId="ADAL" clId="{6B709646-9B8B-914B-83A9-D81F12AFDE5E}" dt="2022-06-19T04:10:38.639" v="268"/>
          <ac:inkMkLst>
            <pc:docMk/>
            <pc:sldMk cId="0" sldId="267"/>
            <ac:inkMk id="191" creationId="{04C248BD-74B1-D8DD-51ED-F1A7AC95D75E}"/>
          </ac:inkMkLst>
        </pc:inkChg>
        <pc:inkChg chg="add mod">
          <ac:chgData name="Aniket Chhabra" userId="598e0514-bef3-4e71-b6aa-f2edd6441cff" providerId="ADAL" clId="{6B709646-9B8B-914B-83A9-D81F12AFDE5E}" dt="2022-06-19T04:10:38.639" v="268"/>
          <ac:inkMkLst>
            <pc:docMk/>
            <pc:sldMk cId="0" sldId="267"/>
            <ac:inkMk id="192" creationId="{1BF1A31F-0025-808A-60CB-20132A627AB9}"/>
          </ac:inkMkLst>
        </pc:inkChg>
        <pc:inkChg chg="add mod">
          <ac:chgData name="Aniket Chhabra" userId="598e0514-bef3-4e71-b6aa-f2edd6441cff" providerId="ADAL" clId="{6B709646-9B8B-914B-83A9-D81F12AFDE5E}" dt="2022-06-19T04:10:38.639" v="268"/>
          <ac:inkMkLst>
            <pc:docMk/>
            <pc:sldMk cId="0" sldId="267"/>
            <ac:inkMk id="193" creationId="{AB0F0EA3-4CCE-B8AE-312C-574A5A3075CB}"/>
          </ac:inkMkLst>
        </pc:inkChg>
        <pc:inkChg chg="add mod">
          <ac:chgData name="Aniket Chhabra" userId="598e0514-bef3-4e71-b6aa-f2edd6441cff" providerId="ADAL" clId="{6B709646-9B8B-914B-83A9-D81F12AFDE5E}" dt="2022-06-19T04:10:38.639" v="268"/>
          <ac:inkMkLst>
            <pc:docMk/>
            <pc:sldMk cId="0" sldId="267"/>
            <ac:inkMk id="194" creationId="{74E46C74-0873-74CE-1B3C-7A33DD6E7EA2}"/>
          </ac:inkMkLst>
        </pc:inkChg>
        <pc:inkChg chg="add mod">
          <ac:chgData name="Aniket Chhabra" userId="598e0514-bef3-4e71-b6aa-f2edd6441cff" providerId="ADAL" clId="{6B709646-9B8B-914B-83A9-D81F12AFDE5E}" dt="2022-06-19T04:10:38.639" v="268"/>
          <ac:inkMkLst>
            <pc:docMk/>
            <pc:sldMk cId="0" sldId="267"/>
            <ac:inkMk id="195" creationId="{CDCBF652-D767-43B0-2E8F-90984D1C0662}"/>
          </ac:inkMkLst>
        </pc:inkChg>
        <pc:inkChg chg="add mod">
          <ac:chgData name="Aniket Chhabra" userId="598e0514-bef3-4e71-b6aa-f2edd6441cff" providerId="ADAL" clId="{6B709646-9B8B-914B-83A9-D81F12AFDE5E}" dt="2022-06-19T04:10:38.639" v="268"/>
          <ac:inkMkLst>
            <pc:docMk/>
            <pc:sldMk cId="0" sldId="267"/>
            <ac:inkMk id="196" creationId="{1B47980A-4555-1B8A-BF6B-68BACC460723}"/>
          </ac:inkMkLst>
        </pc:inkChg>
        <pc:inkChg chg="add mod">
          <ac:chgData name="Aniket Chhabra" userId="598e0514-bef3-4e71-b6aa-f2edd6441cff" providerId="ADAL" clId="{6B709646-9B8B-914B-83A9-D81F12AFDE5E}" dt="2022-06-19T04:10:51.357" v="272"/>
          <ac:inkMkLst>
            <pc:docMk/>
            <pc:sldMk cId="0" sldId="267"/>
            <ac:inkMk id="199" creationId="{86FEFA45-3F3D-8E20-7E47-60D502CD58CA}"/>
          </ac:inkMkLst>
        </pc:inkChg>
        <pc:inkChg chg="add mod">
          <ac:chgData name="Aniket Chhabra" userId="598e0514-bef3-4e71-b6aa-f2edd6441cff" providerId="ADAL" clId="{6B709646-9B8B-914B-83A9-D81F12AFDE5E}" dt="2022-06-19T04:10:51.357" v="272"/>
          <ac:inkMkLst>
            <pc:docMk/>
            <pc:sldMk cId="0" sldId="267"/>
            <ac:inkMk id="200" creationId="{95C0FD38-57A1-B750-7B7D-0874776765F3}"/>
          </ac:inkMkLst>
        </pc:inkChg>
        <pc:inkChg chg="add mod">
          <ac:chgData name="Aniket Chhabra" userId="598e0514-bef3-4e71-b6aa-f2edd6441cff" providerId="ADAL" clId="{6B709646-9B8B-914B-83A9-D81F12AFDE5E}" dt="2022-06-19T04:10:51.357" v="272"/>
          <ac:inkMkLst>
            <pc:docMk/>
            <pc:sldMk cId="0" sldId="267"/>
            <ac:inkMk id="201" creationId="{9E12F647-8425-4BD1-7867-12279C25D993}"/>
          </ac:inkMkLst>
        </pc:inkChg>
        <pc:inkChg chg="add del mod">
          <ac:chgData name="Aniket Chhabra" userId="598e0514-bef3-4e71-b6aa-f2edd6441cff" providerId="ADAL" clId="{6B709646-9B8B-914B-83A9-D81F12AFDE5E}" dt="2022-06-19T04:11:18.235" v="276"/>
          <ac:inkMkLst>
            <pc:docMk/>
            <pc:sldMk cId="0" sldId="267"/>
            <ac:inkMk id="204" creationId="{C792467B-3C0A-99ED-CF2B-31CE1E3D028D}"/>
          </ac:inkMkLst>
        </pc:inkChg>
        <pc:inkChg chg="add del mod">
          <ac:chgData name="Aniket Chhabra" userId="598e0514-bef3-4e71-b6aa-f2edd6441cff" providerId="ADAL" clId="{6B709646-9B8B-914B-83A9-D81F12AFDE5E}" dt="2022-06-19T04:11:18.235" v="277"/>
          <ac:inkMkLst>
            <pc:docMk/>
            <pc:sldMk cId="0" sldId="267"/>
            <ac:inkMk id="205" creationId="{565E51E0-617B-C276-C6C5-302E910051D1}"/>
          </ac:inkMkLst>
        </pc:inkChg>
        <pc:inkChg chg="add mod">
          <ac:chgData name="Aniket Chhabra" userId="598e0514-bef3-4e71-b6aa-f2edd6441cff" providerId="ADAL" clId="{6B709646-9B8B-914B-83A9-D81F12AFDE5E}" dt="2022-06-19T04:11:26.324" v="288"/>
          <ac:inkMkLst>
            <pc:docMk/>
            <pc:sldMk cId="0" sldId="267"/>
            <ac:inkMk id="207" creationId="{EAB8789C-A490-6EFF-2B38-D8AA44F38717}"/>
          </ac:inkMkLst>
        </pc:inkChg>
        <pc:inkChg chg="add mod">
          <ac:chgData name="Aniket Chhabra" userId="598e0514-bef3-4e71-b6aa-f2edd6441cff" providerId="ADAL" clId="{6B709646-9B8B-914B-83A9-D81F12AFDE5E}" dt="2022-06-19T04:11:26.324" v="288"/>
          <ac:inkMkLst>
            <pc:docMk/>
            <pc:sldMk cId="0" sldId="267"/>
            <ac:inkMk id="208" creationId="{7546E464-B552-46F6-CD2A-6C7435B447FE}"/>
          </ac:inkMkLst>
        </pc:inkChg>
        <pc:inkChg chg="add mod">
          <ac:chgData name="Aniket Chhabra" userId="598e0514-bef3-4e71-b6aa-f2edd6441cff" providerId="ADAL" clId="{6B709646-9B8B-914B-83A9-D81F12AFDE5E}" dt="2022-06-19T04:11:26.324" v="288"/>
          <ac:inkMkLst>
            <pc:docMk/>
            <pc:sldMk cId="0" sldId="267"/>
            <ac:inkMk id="209" creationId="{6ACDCA80-5E13-54AA-CDCB-F72A6D484129}"/>
          </ac:inkMkLst>
        </pc:inkChg>
        <pc:inkChg chg="add mod">
          <ac:chgData name="Aniket Chhabra" userId="598e0514-bef3-4e71-b6aa-f2edd6441cff" providerId="ADAL" clId="{6B709646-9B8B-914B-83A9-D81F12AFDE5E}" dt="2022-06-19T04:11:26.324" v="288"/>
          <ac:inkMkLst>
            <pc:docMk/>
            <pc:sldMk cId="0" sldId="267"/>
            <ac:inkMk id="210" creationId="{7151E474-F153-39FF-E53D-0CD2891FC2A2}"/>
          </ac:inkMkLst>
        </pc:inkChg>
        <pc:inkChg chg="add mod">
          <ac:chgData name="Aniket Chhabra" userId="598e0514-bef3-4e71-b6aa-f2edd6441cff" providerId="ADAL" clId="{6B709646-9B8B-914B-83A9-D81F12AFDE5E}" dt="2022-06-19T04:11:26.324" v="288"/>
          <ac:inkMkLst>
            <pc:docMk/>
            <pc:sldMk cId="0" sldId="267"/>
            <ac:inkMk id="211" creationId="{669C1D51-D313-EED7-5F62-51285F99C97B}"/>
          </ac:inkMkLst>
        </pc:inkChg>
        <pc:inkChg chg="add mod">
          <ac:chgData name="Aniket Chhabra" userId="598e0514-bef3-4e71-b6aa-f2edd6441cff" providerId="ADAL" clId="{6B709646-9B8B-914B-83A9-D81F12AFDE5E}" dt="2022-06-19T04:11:26.324" v="288"/>
          <ac:inkMkLst>
            <pc:docMk/>
            <pc:sldMk cId="0" sldId="267"/>
            <ac:inkMk id="212" creationId="{6D191858-8C11-4CE6-5DB9-C2ADF4F50132}"/>
          </ac:inkMkLst>
        </pc:inkChg>
        <pc:inkChg chg="add mod">
          <ac:chgData name="Aniket Chhabra" userId="598e0514-bef3-4e71-b6aa-f2edd6441cff" providerId="ADAL" clId="{6B709646-9B8B-914B-83A9-D81F12AFDE5E}" dt="2022-06-19T04:11:26.324" v="288"/>
          <ac:inkMkLst>
            <pc:docMk/>
            <pc:sldMk cId="0" sldId="267"/>
            <ac:inkMk id="213" creationId="{E238EFC3-8429-5F5E-2198-34BFB491F337}"/>
          </ac:inkMkLst>
        </pc:inkChg>
        <pc:inkChg chg="add mod">
          <ac:chgData name="Aniket Chhabra" userId="598e0514-bef3-4e71-b6aa-f2edd6441cff" providerId="ADAL" clId="{6B709646-9B8B-914B-83A9-D81F12AFDE5E}" dt="2022-06-19T04:11:26.324" v="288"/>
          <ac:inkMkLst>
            <pc:docMk/>
            <pc:sldMk cId="0" sldId="267"/>
            <ac:inkMk id="214" creationId="{A76F4283-4532-7FB7-729B-09246A4F05EC}"/>
          </ac:inkMkLst>
        </pc:inkChg>
        <pc:inkChg chg="add mod">
          <ac:chgData name="Aniket Chhabra" userId="598e0514-bef3-4e71-b6aa-f2edd6441cff" providerId="ADAL" clId="{6B709646-9B8B-914B-83A9-D81F12AFDE5E}" dt="2022-06-19T04:11:26.324" v="288"/>
          <ac:inkMkLst>
            <pc:docMk/>
            <pc:sldMk cId="0" sldId="267"/>
            <ac:inkMk id="215" creationId="{033A9B04-58FE-87EF-D86C-4EB7177326D0}"/>
          </ac:inkMkLst>
        </pc:inkChg>
        <pc:inkChg chg="add mod">
          <ac:chgData name="Aniket Chhabra" userId="598e0514-bef3-4e71-b6aa-f2edd6441cff" providerId="ADAL" clId="{6B709646-9B8B-914B-83A9-D81F12AFDE5E}" dt="2022-06-19T04:11:26.324" v="288"/>
          <ac:inkMkLst>
            <pc:docMk/>
            <pc:sldMk cId="0" sldId="267"/>
            <ac:inkMk id="216" creationId="{C7EE846D-010E-7AA6-06E3-4D5B4CF620DD}"/>
          </ac:inkMkLst>
        </pc:inkChg>
        <pc:inkChg chg="add mod">
          <ac:chgData name="Aniket Chhabra" userId="598e0514-bef3-4e71-b6aa-f2edd6441cff" providerId="ADAL" clId="{6B709646-9B8B-914B-83A9-D81F12AFDE5E}" dt="2022-06-19T04:11:33.587" v="296"/>
          <ac:inkMkLst>
            <pc:docMk/>
            <pc:sldMk cId="0" sldId="267"/>
            <ac:inkMk id="219" creationId="{8EDC40EF-712D-A373-8584-049F70F5C9AE}"/>
          </ac:inkMkLst>
        </pc:inkChg>
        <pc:inkChg chg="add mod">
          <ac:chgData name="Aniket Chhabra" userId="598e0514-bef3-4e71-b6aa-f2edd6441cff" providerId="ADAL" clId="{6B709646-9B8B-914B-83A9-D81F12AFDE5E}" dt="2022-06-19T04:11:33.587" v="296"/>
          <ac:inkMkLst>
            <pc:docMk/>
            <pc:sldMk cId="0" sldId="267"/>
            <ac:inkMk id="220" creationId="{0A3853FF-E940-53F9-FE21-1712494CAD70}"/>
          </ac:inkMkLst>
        </pc:inkChg>
        <pc:inkChg chg="add mod">
          <ac:chgData name="Aniket Chhabra" userId="598e0514-bef3-4e71-b6aa-f2edd6441cff" providerId="ADAL" clId="{6B709646-9B8B-914B-83A9-D81F12AFDE5E}" dt="2022-06-19T04:11:33.587" v="296"/>
          <ac:inkMkLst>
            <pc:docMk/>
            <pc:sldMk cId="0" sldId="267"/>
            <ac:inkMk id="222" creationId="{527C89AE-2410-210A-128A-B78F3A75E104}"/>
          </ac:inkMkLst>
        </pc:inkChg>
        <pc:inkChg chg="add mod">
          <ac:chgData name="Aniket Chhabra" userId="598e0514-bef3-4e71-b6aa-f2edd6441cff" providerId="ADAL" clId="{6B709646-9B8B-914B-83A9-D81F12AFDE5E}" dt="2022-06-19T04:11:33.587" v="296"/>
          <ac:inkMkLst>
            <pc:docMk/>
            <pc:sldMk cId="0" sldId="267"/>
            <ac:inkMk id="223" creationId="{6D3C4816-3E96-498B-A2E7-7A028B41CF8A}"/>
          </ac:inkMkLst>
        </pc:inkChg>
        <pc:inkChg chg="add mod">
          <ac:chgData name="Aniket Chhabra" userId="598e0514-bef3-4e71-b6aa-f2edd6441cff" providerId="ADAL" clId="{6B709646-9B8B-914B-83A9-D81F12AFDE5E}" dt="2022-06-19T04:11:33.587" v="296"/>
          <ac:inkMkLst>
            <pc:docMk/>
            <pc:sldMk cId="0" sldId="267"/>
            <ac:inkMk id="224" creationId="{F12F5512-9174-6763-235E-605FBCA529BA}"/>
          </ac:inkMkLst>
        </pc:inkChg>
        <pc:inkChg chg="add">
          <ac:chgData name="Aniket Chhabra" userId="598e0514-bef3-4e71-b6aa-f2edd6441cff" providerId="ADAL" clId="{6B709646-9B8B-914B-83A9-D81F12AFDE5E}" dt="2022-06-19T04:11:32.723" v="295" actId="9405"/>
          <ac:inkMkLst>
            <pc:docMk/>
            <pc:sldMk cId="0" sldId="267"/>
            <ac:inkMk id="225" creationId="{D4A035EF-1B53-3007-FBA9-390ECC576034}"/>
          </ac:inkMkLst>
        </pc:inkChg>
        <pc:inkChg chg="add mod">
          <ac:chgData name="Aniket Chhabra" userId="598e0514-bef3-4e71-b6aa-f2edd6441cff" providerId="ADAL" clId="{6B709646-9B8B-914B-83A9-D81F12AFDE5E}" dt="2022-06-19T04:11:39.290" v="305"/>
          <ac:inkMkLst>
            <pc:docMk/>
            <pc:sldMk cId="0" sldId="267"/>
            <ac:inkMk id="227" creationId="{77D3F46F-03EA-A0FA-3EAC-F90082368B78}"/>
          </ac:inkMkLst>
        </pc:inkChg>
        <pc:inkChg chg="add mod">
          <ac:chgData name="Aniket Chhabra" userId="598e0514-bef3-4e71-b6aa-f2edd6441cff" providerId="ADAL" clId="{6B709646-9B8B-914B-83A9-D81F12AFDE5E}" dt="2022-06-19T04:11:39.290" v="305"/>
          <ac:inkMkLst>
            <pc:docMk/>
            <pc:sldMk cId="0" sldId="267"/>
            <ac:inkMk id="228" creationId="{E9AD9169-2589-879A-B98A-34B78E0B71A4}"/>
          </ac:inkMkLst>
        </pc:inkChg>
        <pc:inkChg chg="add mod">
          <ac:chgData name="Aniket Chhabra" userId="598e0514-bef3-4e71-b6aa-f2edd6441cff" providerId="ADAL" clId="{6B709646-9B8B-914B-83A9-D81F12AFDE5E}" dt="2022-06-19T04:11:39.290" v="305"/>
          <ac:inkMkLst>
            <pc:docMk/>
            <pc:sldMk cId="0" sldId="267"/>
            <ac:inkMk id="229" creationId="{5A43F82F-3124-DC77-3C13-B4FAF2ABAC74}"/>
          </ac:inkMkLst>
        </pc:inkChg>
        <pc:inkChg chg="add mod">
          <ac:chgData name="Aniket Chhabra" userId="598e0514-bef3-4e71-b6aa-f2edd6441cff" providerId="ADAL" clId="{6B709646-9B8B-914B-83A9-D81F12AFDE5E}" dt="2022-06-19T04:11:39.290" v="305"/>
          <ac:inkMkLst>
            <pc:docMk/>
            <pc:sldMk cId="0" sldId="267"/>
            <ac:inkMk id="230" creationId="{02D2E022-C140-C572-507B-332AE31AF3BA}"/>
          </ac:inkMkLst>
        </pc:inkChg>
        <pc:inkChg chg="add mod">
          <ac:chgData name="Aniket Chhabra" userId="598e0514-bef3-4e71-b6aa-f2edd6441cff" providerId="ADAL" clId="{6B709646-9B8B-914B-83A9-D81F12AFDE5E}" dt="2022-06-19T04:11:39.290" v="305"/>
          <ac:inkMkLst>
            <pc:docMk/>
            <pc:sldMk cId="0" sldId="267"/>
            <ac:inkMk id="231" creationId="{7FC7A702-D39E-0FD2-7E78-726CE572F30F}"/>
          </ac:inkMkLst>
        </pc:inkChg>
        <pc:inkChg chg="add mod">
          <ac:chgData name="Aniket Chhabra" userId="598e0514-bef3-4e71-b6aa-f2edd6441cff" providerId="ADAL" clId="{6B709646-9B8B-914B-83A9-D81F12AFDE5E}" dt="2022-06-19T04:11:39.290" v="305"/>
          <ac:inkMkLst>
            <pc:docMk/>
            <pc:sldMk cId="0" sldId="267"/>
            <ac:inkMk id="232" creationId="{06AAE123-3CF5-1D8C-3368-C0D7B93601A3}"/>
          </ac:inkMkLst>
        </pc:inkChg>
        <pc:inkChg chg="add mod">
          <ac:chgData name="Aniket Chhabra" userId="598e0514-bef3-4e71-b6aa-f2edd6441cff" providerId="ADAL" clId="{6B709646-9B8B-914B-83A9-D81F12AFDE5E}" dt="2022-06-19T04:11:39.290" v="305"/>
          <ac:inkMkLst>
            <pc:docMk/>
            <pc:sldMk cId="0" sldId="267"/>
            <ac:inkMk id="233" creationId="{1B49AF9B-80D8-BE4B-2ECD-3557489BFB88}"/>
          </ac:inkMkLst>
        </pc:inkChg>
        <pc:inkChg chg="add mod">
          <ac:chgData name="Aniket Chhabra" userId="598e0514-bef3-4e71-b6aa-f2edd6441cff" providerId="ADAL" clId="{6B709646-9B8B-914B-83A9-D81F12AFDE5E}" dt="2022-06-19T04:11:39.290" v="305"/>
          <ac:inkMkLst>
            <pc:docMk/>
            <pc:sldMk cId="0" sldId="267"/>
            <ac:inkMk id="234" creationId="{7501F85C-731B-A424-EE77-FDDBAF067DDE}"/>
          </ac:inkMkLst>
        </pc:inkChg>
        <pc:inkChg chg="add mod">
          <ac:chgData name="Aniket Chhabra" userId="598e0514-bef3-4e71-b6aa-f2edd6441cff" providerId="ADAL" clId="{6B709646-9B8B-914B-83A9-D81F12AFDE5E}" dt="2022-06-19T04:12:00.258" v="321"/>
          <ac:inkMkLst>
            <pc:docMk/>
            <pc:sldMk cId="0" sldId="267"/>
            <ac:inkMk id="236" creationId="{D5D424B8-69F6-7314-60D5-9D3530239494}"/>
          </ac:inkMkLst>
        </pc:inkChg>
        <pc:inkChg chg="add mod">
          <ac:chgData name="Aniket Chhabra" userId="598e0514-bef3-4e71-b6aa-f2edd6441cff" providerId="ADAL" clId="{6B709646-9B8B-914B-83A9-D81F12AFDE5E}" dt="2022-06-19T04:12:00.258" v="321"/>
          <ac:inkMkLst>
            <pc:docMk/>
            <pc:sldMk cId="0" sldId="267"/>
            <ac:inkMk id="237" creationId="{1872A369-A958-8EEE-EC2E-0BA40808C5F9}"/>
          </ac:inkMkLst>
        </pc:inkChg>
        <pc:inkChg chg="add mod">
          <ac:chgData name="Aniket Chhabra" userId="598e0514-bef3-4e71-b6aa-f2edd6441cff" providerId="ADAL" clId="{6B709646-9B8B-914B-83A9-D81F12AFDE5E}" dt="2022-06-19T04:12:00.258" v="321"/>
          <ac:inkMkLst>
            <pc:docMk/>
            <pc:sldMk cId="0" sldId="267"/>
            <ac:inkMk id="238" creationId="{A0FB451D-F861-4678-8956-7BC0A648544C}"/>
          </ac:inkMkLst>
        </pc:inkChg>
        <pc:inkChg chg="add mod">
          <ac:chgData name="Aniket Chhabra" userId="598e0514-bef3-4e71-b6aa-f2edd6441cff" providerId="ADAL" clId="{6B709646-9B8B-914B-83A9-D81F12AFDE5E}" dt="2022-06-19T04:12:00.258" v="321"/>
          <ac:inkMkLst>
            <pc:docMk/>
            <pc:sldMk cId="0" sldId="267"/>
            <ac:inkMk id="239" creationId="{1D539DFB-6696-72C0-EC23-8615F6D4F6C4}"/>
          </ac:inkMkLst>
        </pc:inkChg>
        <pc:inkChg chg="add mod">
          <ac:chgData name="Aniket Chhabra" userId="598e0514-bef3-4e71-b6aa-f2edd6441cff" providerId="ADAL" clId="{6B709646-9B8B-914B-83A9-D81F12AFDE5E}" dt="2022-06-19T04:12:00.258" v="321"/>
          <ac:inkMkLst>
            <pc:docMk/>
            <pc:sldMk cId="0" sldId="267"/>
            <ac:inkMk id="240" creationId="{F70A898C-9379-3BC3-E0C7-0E8F9BBFFC95}"/>
          </ac:inkMkLst>
        </pc:inkChg>
        <pc:inkChg chg="add mod">
          <ac:chgData name="Aniket Chhabra" userId="598e0514-bef3-4e71-b6aa-f2edd6441cff" providerId="ADAL" clId="{6B709646-9B8B-914B-83A9-D81F12AFDE5E}" dt="2022-06-19T04:12:00.258" v="321"/>
          <ac:inkMkLst>
            <pc:docMk/>
            <pc:sldMk cId="0" sldId="267"/>
            <ac:inkMk id="241" creationId="{83F93A03-9826-3F2B-4D12-5D233E76FF15}"/>
          </ac:inkMkLst>
        </pc:inkChg>
        <pc:inkChg chg="add mod">
          <ac:chgData name="Aniket Chhabra" userId="598e0514-bef3-4e71-b6aa-f2edd6441cff" providerId="ADAL" clId="{6B709646-9B8B-914B-83A9-D81F12AFDE5E}" dt="2022-06-19T04:12:00.258" v="321"/>
          <ac:inkMkLst>
            <pc:docMk/>
            <pc:sldMk cId="0" sldId="267"/>
            <ac:inkMk id="242" creationId="{0765EE7C-A875-6E96-A97C-918DBEF02E17}"/>
          </ac:inkMkLst>
        </pc:inkChg>
        <pc:inkChg chg="add mod">
          <ac:chgData name="Aniket Chhabra" userId="598e0514-bef3-4e71-b6aa-f2edd6441cff" providerId="ADAL" clId="{6B709646-9B8B-914B-83A9-D81F12AFDE5E}" dt="2022-06-19T04:12:00.258" v="321"/>
          <ac:inkMkLst>
            <pc:docMk/>
            <pc:sldMk cId="0" sldId="267"/>
            <ac:inkMk id="243" creationId="{141EE434-1F15-85D8-DC08-7B5525DF50B8}"/>
          </ac:inkMkLst>
        </pc:inkChg>
        <pc:inkChg chg="add mod">
          <ac:chgData name="Aniket Chhabra" userId="598e0514-bef3-4e71-b6aa-f2edd6441cff" providerId="ADAL" clId="{6B709646-9B8B-914B-83A9-D81F12AFDE5E}" dt="2022-06-19T04:12:00.258" v="321"/>
          <ac:inkMkLst>
            <pc:docMk/>
            <pc:sldMk cId="0" sldId="267"/>
            <ac:inkMk id="244" creationId="{F50CF570-17C9-902C-A5BD-FE1D7CA2CFB4}"/>
          </ac:inkMkLst>
        </pc:inkChg>
        <pc:inkChg chg="add mod">
          <ac:chgData name="Aniket Chhabra" userId="598e0514-bef3-4e71-b6aa-f2edd6441cff" providerId="ADAL" clId="{6B709646-9B8B-914B-83A9-D81F12AFDE5E}" dt="2022-06-19T04:12:00.258" v="321"/>
          <ac:inkMkLst>
            <pc:docMk/>
            <pc:sldMk cId="0" sldId="267"/>
            <ac:inkMk id="245" creationId="{E0A5AD9E-EC4B-1291-0D76-A418210C0F66}"/>
          </ac:inkMkLst>
        </pc:inkChg>
        <pc:inkChg chg="add mod">
          <ac:chgData name="Aniket Chhabra" userId="598e0514-bef3-4e71-b6aa-f2edd6441cff" providerId="ADAL" clId="{6B709646-9B8B-914B-83A9-D81F12AFDE5E}" dt="2022-06-19T04:12:00.258" v="321"/>
          <ac:inkMkLst>
            <pc:docMk/>
            <pc:sldMk cId="0" sldId="267"/>
            <ac:inkMk id="246" creationId="{3C0CD8F3-DBE2-DDCA-8908-71F578CC43E5}"/>
          </ac:inkMkLst>
        </pc:inkChg>
        <pc:inkChg chg="add mod">
          <ac:chgData name="Aniket Chhabra" userId="598e0514-bef3-4e71-b6aa-f2edd6441cff" providerId="ADAL" clId="{6B709646-9B8B-914B-83A9-D81F12AFDE5E}" dt="2022-06-19T04:12:00.258" v="321"/>
          <ac:inkMkLst>
            <pc:docMk/>
            <pc:sldMk cId="0" sldId="267"/>
            <ac:inkMk id="247" creationId="{5D05A7C7-0FBB-CD6E-0AF6-12EA513E1478}"/>
          </ac:inkMkLst>
        </pc:inkChg>
        <pc:inkChg chg="add mod">
          <ac:chgData name="Aniket Chhabra" userId="598e0514-bef3-4e71-b6aa-f2edd6441cff" providerId="ADAL" clId="{6B709646-9B8B-914B-83A9-D81F12AFDE5E}" dt="2022-06-19T04:12:00.258" v="321"/>
          <ac:inkMkLst>
            <pc:docMk/>
            <pc:sldMk cId="0" sldId="267"/>
            <ac:inkMk id="248" creationId="{92E45100-13A1-2019-1FD3-72D873069EFD}"/>
          </ac:inkMkLst>
        </pc:inkChg>
        <pc:inkChg chg="add mod">
          <ac:chgData name="Aniket Chhabra" userId="598e0514-bef3-4e71-b6aa-f2edd6441cff" providerId="ADAL" clId="{6B709646-9B8B-914B-83A9-D81F12AFDE5E}" dt="2022-06-19T04:12:00.258" v="321"/>
          <ac:inkMkLst>
            <pc:docMk/>
            <pc:sldMk cId="0" sldId="267"/>
            <ac:inkMk id="249" creationId="{A0667ADD-310A-26B8-A88E-267944C9226F}"/>
          </ac:inkMkLst>
        </pc:inkChg>
        <pc:inkChg chg="add mod">
          <ac:chgData name="Aniket Chhabra" userId="598e0514-bef3-4e71-b6aa-f2edd6441cff" providerId="ADAL" clId="{6B709646-9B8B-914B-83A9-D81F12AFDE5E}" dt="2022-06-19T04:12:00.258" v="321"/>
          <ac:inkMkLst>
            <pc:docMk/>
            <pc:sldMk cId="0" sldId="267"/>
            <ac:inkMk id="250" creationId="{06BFBE79-71BF-A9B0-B444-13E545F19A5C}"/>
          </ac:inkMkLst>
        </pc:inkChg>
      </pc:sldChg>
      <pc:sldChg chg="addSp mod">
        <pc:chgData name="Aniket Chhabra" userId="598e0514-bef3-4e71-b6aa-f2edd6441cff" providerId="ADAL" clId="{6B709646-9B8B-914B-83A9-D81F12AFDE5E}" dt="2022-06-19T04:20:57.202" v="502" actId="9405"/>
        <pc:sldMkLst>
          <pc:docMk/>
          <pc:sldMk cId="0" sldId="268"/>
        </pc:sldMkLst>
        <pc:inkChg chg="add">
          <ac:chgData name="Aniket Chhabra" userId="598e0514-bef3-4e71-b6aa-f2edd6441cff" providerId="ADAL" clId="{6B709646-9B8B-914B-83A9-D81F12AFDE5E}" dt="2022-06-19T04:20:52.852" v="501" actId="9405"/>
          <ac:inkMkLst>
            <pc:docMk/>
            <pc:sldMk cId="0" sldId="268"/>
            <ac:inkMk id="2" creationId="{759EB146-A9C1-22FA-CE68-46DA929D8E89}"/>
          </ac:inkMkLst>
        </pc:inkChg>
        <pc:inkChg chg="add">
          <ac:chgData name="Aniket Chhabra" userId="598e0514-bef3-4e71-b6aa-f2edd6441cff" providerId="ADAL" clId="{6B709646-9B8B-914B-83A9-D81F12AFDE5E}" dt="2022-06-19T04:20:57.202" v="502" actId="9405"/>
          <ac:inkMkLst>
            <pc:docMk/>
            <pc:sldMk cId="0" sldId="268"/>
            <ac:inkMk id="3" creationId="{911D1D7C-5492-F6A4-4CB1-BBA92544E388}"/>
          </ac:inkMkLst>
        </pc:inkChg>
      </pc:sldChg>
      <pc:sldChg chg="addSp modSp mod">
        <pc:chgData name="Aniket Chhabra" userId="598e0514-bef3-4e71-b6aa-f2edd6441cff" providerId="ADAL" clId="{6B709646-9B8B-914B-83A9-D81F12AFDE5E}" dt="2022-06-19T04:33:45.234" v="632"/>
        <pc:sldMkLst>
          <pc:docMk/>
          <pc:sldMk cId="0" sldId="270"/>
        </pc:sldMkLst>
        <pc:grpChg chg="mod">
          <ac:chgData name="Aniket Chhabra" userId="598e0514-bef3-4e71-b6aa-f2edd6441cff" providerId="ADAL" clId="{6B709646-9B8B-914B-83A9-D81F12AFDE5E}" dt="2022-06-19T04:33:43.233" v="629"/>
          <ac:grpSpMkLst>
            <pc:docMk/>
            <pc:sldMk cId="0" sldId="270"/>
            <ac:grpSpMk id="34" creationId="{578B6438-2085-A24C-A685-5A042181E54F}"/>
          </ac:grpSpMkLst>
        </pc:grpChg>
        <pc:grpChg chg="mod">
          <ac:chgData name="Aniket Chhabra" userId="598e0514-bef3-4e71-b6aa-f2edd6441cff" providerId="ADAL" clId="{6B709646-9B8B-914B-83A9-D81F12AFDE5E}" dt="2022-06-19T04:33:45.234" v="632"/>
          <ac:grpSpMkLst>
            <pc:docMk/>
            <pc:sldMk cId="0" sldId="270"/>
            <ac:grpSpMk id="37" creationId="{FF45C990-31AA-2280-E2CB-50F0697ECF3E}"/>
          </ac:grpSpMkLst>
        </pc:grpChg>
        <pc:inkChg chg="add">
          <ac:chgData name="Aniket Chhabra" userId="598e0514-bef3-4e71-b6aa-f2edd6441cff" providerId="ADAL" clId="{6B709646-9B8B-914B-83A9-D81F12AFDE5E}" dt="2022-06-19T04:31:10.749" v="562" actId="9405"/>
          <ac:inkMkLst>
            <pc:docMk/>
            <pc:sldMk cId="0" sldId="270"/>
            <ac:inkMk id="5" creationId="{44C565A0-468B-7580-1FBF-21C608024B0F}"/>
          </ac:inkMkLst>
        </pc:inkChg>
        <pc:inkChg chg="add">
          <ac:chgData name="Aniket Chhabra" userId="598e0514-bef3-4e71-b6aa-f2edd6441cff" providerId="ADAL" clId="{6B709646-9B8B-914B-83A9-D81F12AFDE5E}" dt="2022-06-19T04:31:12.122" v="563" actId="9405"/>
          <ac:inkMkLst>
            <pc:docMk/>
            <pc:sldMk cId="0" sldId="270"/>
            <ac:inkMk id="9" creationId="{D773F4FC-5A30-C5B9-5F5C-2F1384DA3600}"/>
          </ac:inkMkLst>
        </pc:inkChg>
        <pc:inkChg chg="add mod">
          <ac:chgData name="Aniket Chhabra" userId="598e0514-bef3-4e71-b6aa-f2edd6441cff" providerId="ADAL" clId="{6B709646-9B8B-914B-83A9-D81F12AFDE5E}" dt="2022-06-19T04:33:43.233" v="629"/>
          <ac:inkMkLst>
            <pc:docMk/>
            <pc:sldMk cId="0" sldId="270"/>
            <ac:inkMk id="10" creationId="{A6C833E3-F017-B97D-94D4-F8A704677ED6}"/>
          </ac:inkMkLst>
        </pc:inkChg>
        <pc:inkChg chg="add mod">
          <ac:chgData name="Aniket Chhabra" userId="598e0514-bef3-4e71-b6aa-f2edd6441cff" providerId="ADAL" clId="{6B709646-9B8B-914B-83A9-D81F12AFDE5E}" dt="2022-06-19T04:33:43.233" v="629"/>
          <ac:inkMkLst>
            <pc:docMk/>
            <pc:sldMk cId="0" sldId="270"/>
            <ac:inkMk id="32" creationId="{88C0824C-DE87-31E7-4530-131F119F517F}"/>
          </ac:inkMkLst>
        </pc:inkChg>
        <pc:inkChg chg="add mod">
          <ac:chgData name="Aniket Chhabra" userId="598e0514-bef3-4e71-b6aa-f2edd6441cff" providerId="ADAL" clId="{6B709646-9B8B-914B-83A9-D81F12AFDE5E}" dt="2022-06-19T04:33:43.233" v="629"/>
          <ac:inkMkLst>
            <pc:docMk/>
            <pc:sldMk cId="0" sldId="270"/>
            <ac:inkMk id="33" creationId="{DDAF4FF4-AD6E-8E2B-7945-624D54A862DB}"/>
          </ac:inkMkLst>
        </pc:inkChg>
        <pc:inkChg chg="add mod">
          <ac:chgData name="Aniket Chhabra" userId="598e0514-bef3-4e71-b6aa-f2edd6441cff" providerId="ADAL" clId="{6B709646-9B8B-914B-83A9-D81F12AFDE5E}" dt="2022-06-19T04:33:45.234" v="632"/>
          <ac:inkMkLst>
            <pc:docMk/>
            <pc:sldMk cId="0" sldId="270"/>
            <ac:inkMk id="35" creationId="{E5ED5994-1AB7-5717-B503-AC8952B32C29}"/>
          </ac:inkMkLst>
        </pc:inkChg>
        <pc:inkChg chg="add mod">
          <ac:chgData name="Aniket Chhabra" userId="598e0514-bef3-4e71-b6aa-f2edd6441cff" providerId="ADAL" clId="{6B709646-9B8B-914B-83A9-D81F12AFDE5E}" dt="2022-06-19T04:33:45.234" v="632"/>
          <ac:inkMkLst>
            <pc:docMk/>
            <pc:sldMk cId="0" sldId="270"/>
            <ac:inkMk id="36" creationId="{94C5B897-74A7-08FF-2BAF-29259DD51BAA}"/>
          </ac:inkMkLst>
        </pc:inkChg>
      </pc:sldChg>
      <pc:sldChg chg="addSp delSp modSp mod">
        <pc:chgData name="Aniket Chhabra" userId="598e0514-bef3-4e71-b6aa-f2edd6441cff" providerId="ADAL" clId="{6B709646-9B8B-914B-83A9-D81F12AFDE5E}" dt="2022-06-19T04:45:51.321" v="1031"/>
        <pc:sldMkLst>
          <pc:docMk/>
          <pc:sldMk cId="0" sldId="271"/>
        </pc:sldMkLst>
        <pc:grpChg chg="del mod">
          <ac:chgData name="Aniket Chhabra" userId="598e0514-bef3-4e71-b6aa-f2edd6441cff" providerId="ADAL" clId="{6B709646-9B8B-914B-83A9-D81F12AFDE5E}" dt="2022-06-19T04:44:49.377" v="967"/>
          <ac:grpSpMkLst>
            <pc:docMk/>
            <pc:sldMk cId="0" sldId="271"/>
            <ac:grpSpMk id="6" creationId="{ABF16780-E289-46C2-6BEA-161F29997F85}"/>
          </ac:grpSpMkLst>
        </pc:grpChg>
        <pc:grpChg chg="mod">
          <ac:chgData name="Aniket Chhabra" userId="598e0514-bef3-4e71-b6aa-f2edd6441cff" providerId="ADAL" clId="{6B709646-9B8B-914B-83A9-D81F12AFDE5E}" dt="2022-06-19T04:44:49.377" v="967"/>
          <ac:grpSpMkLst>
            <pc:docMk/>
            <pc:sldMk cId="0" sldId="271"/>
            <ac:grpSpMk id="43" creationId="{555FC8AE-CF91-F473-3F5C-3E928DE4A81A}"/>
          </ac:grpSpMkLst>
        </pc:grpChg>
        <pc:grpChg chg="mod">
          <ac:chgData name="Aniket Chhabra" userId="598e0514-bef3-4e71-b6aa-f2edd6441cff" providerId="ADAL" clId="{6B709646-9B8B-914B-83A9-D81F12AFDE5E}" dt="2022-06-19T04:44:49.377" v="967"/>
          <ac:grpSpMkLst>
            <pc:docMk/>
            <pc:sldMk cId="0" sldId="271"/>
            <ac:grpSpMk id="44" creationId="{1896E7DF-FB23-07E8-88EB-4BD361D93DD5}"/>
          </ac:grpSpMkLst>
        </pc:grpChg>
        <pc:grpChg chg="mod">
          <ac:chgData name="Aniket Chhabra" userId="598e0514-bef3-4e71-b6aa-f2edd6441cff" providerId="ADAL" clId="{6B709646-9B8B-914B-83A9-D81F12AFDE5E}" dt="2022-06-19T04:44:49.377" v="967"/>
          <ac:grpSpMkLst>
            <pc:docMk/>
            <pc:sldMk cId="0" sldId="271"/>
            <ac:grpSpMk id="45" creationId="{38080095-9A25-6D63-CA35-2FDDD53C4E35}"/>
          </ac:grpSpMkLst>
        </pc:grpChg>
        <pc:grpChg chg="mod">
          <ac:chgData name="Aniket Chhabra" userId="598e0514-bef3-4e71-b6aa-f2edd6441cff" providerId="ADAL" clId="{6B709646-9B8B-914B-83A9-D81F12AFDE5E}" dt="2022-06-19T04:44:49.377" v="967"/>
          <ac:grpSpMkLst>
            <pc:docMk/>
            <pc:sldMk cId="0" sldId="271"/>
            <ac:grpSpMk id="46" creationId="{D7AC433A-8AE9-769F-87DB-661BE4A82137}"/>
          </ac:grpSpMkLst>
        </pc:grpChg>
        <pc:grpChg chg="mod">
          <ac:chgData name="Aniket Chhabra" userId="598e0514-bef3-4e71-b6aa-f2edd6441cff" providerId="ADAL" clId="{6B709646-9B8B-914B-83A9-D81F12AFDE5E}" dt="2022-06-19T04:44:49.377" v="967"/>
          <ac:grpSpMkLst>
            <pc:docMk/>
            <pc:sldMk cId="0" sldId="271"/>
            <ac:grpSpMk id="47" creationId="{DE992DA0-F0C4-F565-5D5A-A7ECF0CA73C2}"/>
          </ac:grpSpMkLst>
        </pc:grpChg>
        <pc:grpChg chg="del mod">
          <ac:chgData name="Aniket Chhabra" userId="598e0514-bef3-4e71-b6aa-f2edd6441cff" providerId="ADAL" clId="{6B709646-9B8B-914B-83A9-D81F12AFDE5E}" dt="2022-06-19T04:45:02.158" v="990"/>
          <ac:grpSpMkLst>
            <pc:docMk/>
            <pc:sldMk cId="0" sldId="271"/>
            <ac:grpSpMk id="61" creationId="{6BFBBC55-3E1D-CFD1-6134-0728BC3FD57B}"/>
          </ac:grpSpMkLst>
        </pc:grpChg>
        <pc:grpChg chg="mod">
          <ac:chgData name="Aniket Chhabra" userId="598e0514-bef3-4e71-b6aa-f2edd6441cff" providerId="ADAL" clId="{6B709646-9B8B-914B-83A9-D81F12AFDE5E}" dt="2022-06-19T04:45:02.158" v="990"/>
          <ac:grpSpMkLst>
            <pc:docMk/>
            <pc:sldMk cId="0" sldId="271"/>
            <ac:grpSpMk id="134" creationId="{2E5D41AA-AA36-4ECE-0B53-79AFCB109527}"/>
          </ac:grpSpMkLst>
        </pc:grpChg>
        <pc:grpChg chg="del mod">
          <ac:chgData name="Aniket Chhabra" userId="598e0514-bef3-4e71-b6aa-f2edd6441cff" providerId="ADAL" clId="{6B709646-9B8B-914B-83A9-D81F12AFDE5E}" dt="2022-06-19T04:45:40.030" v="1009"/>
          <ac:grpSpMkLst>
            <pc:docMk/>
            <pc:sldMk cId="0" sldId="271"/>
            <ac:grpSpMk id="143" creationId="{1B284424-F3BF-97A2-0A69-78D3E7FAC1E5}"/>
          </ac:grpSpMkLst>
        </pc:grpChg>
        <pc:grpChg chg="del mod">
          <ac:chgData name="Aniket Chhabra" userId="598e0514-bef3-4e71-b6aa-f2edd6441cff" providerId="ADAL" clId="{6B709646-9B8B-914B-83A9-D81F12AFDE5E}" dt="2022-06-19T04:45:44.843" v="1019"/>
          <ac:grpSpMkLst>
            <pc:docMk/>
            <pc:sldMk cId="0" sldId="271"/>
            <ac:grpSpMk id="153" creationId="{DF45D2CD-01AD-CF2F-C079-69D54802AD92}"/>
          </ac:grpSpMkLst>
        </pc:grpChg>
        <pc:grpChg chg="del mod">
          <ac:chgData name="Aniket Chhabra" userId="598e0514-bef3-4e71-b6aa-f2edd6441cff" providerId="ADAL" clId="{6B709646-9B8B-914B-83A9-D81F12AFDE5E}" dt="2022-06-19T04:45:51.321" v="1031"/>
          <ac:grpSpMkLst>
            <pc:docMk/>
            <pc:sldMk cId="0" sldId="271"/>
            <ac:grpSpMk id="163" creationId="{14647F1D-59D0-D257-D190-E6B6357AA29E}"/>
          </ac:grpSpMkLst>
        </pc:grpChg>
        <pc:grpChg chg="mod">
          <ac:chgData name="Aniket Chhabra" userId="598e0514-bef3-4e71-b6aa-f2edd6441cff" providerId="ADAL" clId="{6B709646-9B8B-914B-83A9-D81F12AFDE5E}" dt="2022-06-19T04:45:51.321" v="1031"/>
          <ac:grpSpMkLst>
            <pc:docMk/>
            <pc:sldMk cId="0" sldId="271"/>
            <ac:grpSpMk id="177" creationId="{88B164A5-76D5-EACF-C61E-B87FC7A07114}"/>
          </ac:grpSpMkLst>
        </pc:grpChg>
        <pc:grpChg chg="mod">
          <ac:chgData name="Aniket Chhabra" userId="598e0514-bef3-4e71-b6aa-f2edd6441cff" providerId="ADAL" clId="{6B709646-9B8B-914B-83A9-D81F12AFDE5E}" dt="2022-06-19T04:45:51.321" v="1031"/>
          <ac:grpSpMkLst>
            <pc:docMk/>
            <pc:sldMk cId="0" sldId="271"/>
            <ac:grpSpMk id="178" creationId="{A5D18C1E-4A24-F05E-24DD-4BE158ABB9F3}"/>
          </ac:grpSpMkLst>
        </pc:grpChg>
        <pc:inkChg chg="add mod">
          <ac:chgData name="Aniket Chhabra" userId="598e0514-bef3-4e71-b6aa-f2edd6441cff" providerId="ADAL" clId="{6B709646-9B8B-914B-83A9-D81F12AFDE5E}" dt="2022-06-19T04:44:49.377" v="967"/>
          <ac:inkMkLst>
            <pc:docMk/>
            <pc:sldMk cId="0" sldId="271"/>
            <ac:inkMk id="2" creationId="{40964E05-A329-FFF6-BA50-80F4B5B0EB2F}"/>
          </ac:inkMkLst>
        </pc:inkChg>
        <pc:inkChg chg="add mod">
          <ac:chgData name="Aniket Chhabra" userId="598e0514-bef3-4e71-b6aa-f2edd6441cff" providerId="ADAL" clId="{6B709646-9B8B-914B-83A9-D81F12AFDE5E}" dt="2022-06-19T04:44:49.377" v="967"/>
          <ac:inkMkLst>
            <pc:docMk/>
            <pc:sldMk cId="0" sldId="271"/>
            <ac:inkMk id="3" creationId="{32C44859-20F6-625E-390D-61A306999D81}"/>
          </ac:inkMkLst>
        </pc:inkChg>
        <pc:inkChg chg="add mod">
          <ac:chgData name="Aniket Chhabra" userId="598e0514-bef3-4e71-b6aa-f2edd6441cff" providerId="ADAL" clId="{6B709646-9B8B-914B-83A9-D81F12AFDE5E}" dt="2022-06-19T04:44:49.377" v="967"/>
          <ac:inkMkLst>
            <pc:docMk/>
            <pc:sldMk cId="0" sldId="271"/>
            <ac:inkMk id="4" creationId="{920EB504-50D0-5AB2-1E2B-F47906EF2E69}"/>
          </ac:inkMkLst>
        </pc:inkChg>
        <pc:inkChg chg="add mod">
          <ac:chgData name="Aniket Chhabra" userId="598e0514-bef3-4e71-b6aa-f2edd6441cff" providerId="ADAL" clId="{6B709646-9B8B-914B-83A9-D81F12AFDE5E}" dt="2022-06-19T04:44:49.377" v="967"/>
          <ac:inkMkLst>
            <pc:docMk/>
            <pc:sldMk cId="0" sldId="271"/>
            <ac:inkMk id="5" creationId="{0009A701-FDBB-F50F-5969-1482E1C8B644}"/>
          </ac:inkMkLst>
        </pc:inkChg>
        <pc:inkChg chg="add mod">
          <ac:chgData name="Aniket Chhabra" userId="598e0514-bef3-4e71-b6aa-f2edd6441cff" providerId="ADAL" clId="{6B709646-9B8B-914B-83A9-D81F12AFDE5E}" dt="2022-06-19T04:44:49.377" v="967"/>
          <ac:inkMkLst>
            <pc:docMk/>
            <pc:sldMk cId="0" sldId="271"/>
            <ac:inkMk id="7" creationId="{1EC3DF56-2FFC-C33C-4A95-3F1DF443A5AB}"/>
          </ac:inkMkLst>
        </pc:inkChg>
        <pc:inkChg chg="add mod">
          <ac:chgData name="Aniket Chhabra" userId="598e0514-bef3-4e71-b6aa-f2edd6441cff" providerId="ADAL" clId="{6B709646-9B8B-914B-83A9-D81F12AFDE5E}" dt="2022-06-19T04:44:49.377" v="967"/>
          <ac:inkMkLst>
            <pc:docMk/>
            <pc:sldMk cId="0" sldId="271"/>
            <ac:inkMk id="8" creationId="{DCE61552-3B74-199A-854F-6DCA6FBE790C}"/>
          </ac:inkMkLst>
        </pc:inkChg>
        <pc:inkChg chg="add mod">
          <ac:chgData name="Aniket Chhabra" userId="598e0514-bef3-4e71-b6aa-f2edd6441cff" providerId="ADAL" clId="{6B709646-9B8B-914B-83A9-D81F12AFDE5E}" dt="2022-06-19T04:44:49.377" v="967"/>
          <ac:inkMkLst>
            <pc:docMk/>
            <pc:sldMk cId="0" sldId="271"/>
            <ac:inkMk id="9" creationId="{23E528EC-C433-D640-513F-344EFA256383}"/>
          </ac:inkMkLst>
        </pc:inkChg>
        <pc:inkChg chg="add mod">
          <ac:chgData name="Aniket Chhabra" userId="598e0514-bef3-4e71-b6aa-f2edd6441cff" providerId="ADAL" clId="{6B709646-9B8B-914B-83A9-D81F12AFDE5E}" dt="2022-06-19T04:44:49.377" v="967"/>
          <ac:inkMkLst>
            <pc:docMk/>
            <pc:sldMk cId="0" sldId="271"/>
            <ac:inkMk id="10" creationId="{5253D54C-7660-34A0-56BA-EE47C5152FB9}"/>
          </ac:inkMkLst>
        </pc:inkChg>
        <pc:inkChg chg="add mod">
          <ac:chgData name="Aniket Chhabra" userId="598e0514-bef3-4e71-b6aa-f2edd6441cff" providerId="ADAL" clId="{6B709646-9B8B-914B-83A9-D81F12AFDE5E}" dt="2022-06-19T04:44:49.377" v="967"/>
          <ac:inkMkLst>
            <pc:docMk/>
            <pc:sldMk cId="0" sldId="271"/>
            <ac:inkMk id="11" creationId="{18E5E991-2BF1-80FC-9566-CF260792D785}"/>
          </ac:inkMkLst>
        </pc:inkChg>
        <pc:inkChg chg="add mod">
          <ac:chgData name="Aniket Chhabra" userId="598e0514-bef3-4e71-b6aa-f2edd6441cff" providerId="ADAL" clId="{6B709646-9B8B-914B-83A9-D81F12AFDE5E}" dt="2022-06-19T04:44:49.377" v="967"/>
          <ac:inkMkLst>
            <pc:docMk/>
            <pc:sldMk cId="0" sldId="271"/>
            <ac:inkMk id="12" creationId="{CA4B783B-6144-7509-BDA2-C0E31248E904}"/>
          </ac:inkMkLst>
        </pc:inkChg>
        <pc:inkChg chg="add">
          <ac:chgData name="Aniket Chhabra" userId="598e0514-bef3-4e71-b6aa-f2edd6441cff" providerId="ADAL" clId="{6B709646-9B8B-914B-83A9-D81F12AFDE5E}" dt="2022-06-19T04:44:36.537" v="937" actId="9405"/>
          <ac:inkMkLst>
            <pc:docMk/>
            <pc:sldMk cId="0" sldId="271"/>
            <ac:inkMk id="13" creationId="{F5FB335F-2E32-A27D-EC51-C2C1A5257BD4}"/>
          </ac:inkMkLst>
        </pc:inkChg>
        <pc:inkChg chg="add mod">
          <ac:chgData name="Aniket Chhabra" userId="598e0514-bef3-4e71-b6aa-f2edd6441cff" providerId="ADAL" clId="{6B709646-9B8B-914B-83A9-D81F12AFDE5E}" dt="2022-06-19T04:44:49.377" v="967"/>
          <ac:inkMkLst>
            <pc:docMk/>
            <pc:sldMk cId="0" sldId="271"/>
            <ac:inkMk id="14" creationId="{267CF327-07A7-BD79-BCF7-D7D58D06FB58}"/>
          </ac:inkMkLst>
        </pc:inkChg>
        <pc:inkChg chg="add mod">
          <ac:chgData name="Aniket Chhabra" userId="598e0514-bef3-4e71-b6aa-f2edd6441cff" providerId="ADAL" clId="{6B709646-9B8B-914B-83A9-D81F12AFDE5E}" dt="2022-06-19T04:44:49.377" v="967"/>
          <ac:inkMkLst>
            <pc:docMk/>
            <pc:sldMk cId="0" sldId="271"/>
            <ac:inkMk id="15" creationId="{36B88F16-5B11-F88A-0387-963FE3D5C7F1}"/>
          </ac:inkMkLst>
        </pc:inkChg>
        <pc:inkChg chg="add mod">
          <ac:chgData name="Aniket Chhabra" userId="598e0514-bef3-4e71-b6aa-f2edd6441cff" providerId="ADAL" clId="{6B709646-9B8B-914B-83A9-D81F12AFDE5E}" dt="2022-06-19T04:44:49.377" v="967"/>
          <ac:inkMkLst>
            <pc:docMk/>
            <pc:sldMk cId="0" sldId="271"/>
            <ac:inkMk id="16" creationId="{A4B125CE-8F97-75E0-36B7-AFDF32C70806}"/>
          </ac:inkMkLst>
        </pc:inkChg>
        <pc:inkChg chg="add mod">
          <ac:chgData name="Aniket Chhabra" userId="598e0514-bef3-4e71-b6aa-f2edd6441cff" providerId="ADAL" clId="{6B709646-9B8B-914B-83A9-D81F12AFDE5E}" dt="2022-06-19T04:44:49.377" v="967"/>
          <ac:inkMkLst>
            <pc:docMk/>
            <pc:sldMk cId="0" sldId="271"/>
            <ac:inkMk id="17" creationId="{B7D9AF17-D0C3-9353-1AC8-0D92F4349E38}"/>
          </ac:inkMkLst>
        </pc:inkChg>
        <pc:inkChg chg="add mod">
          <ac:chgData name="Aniket Chhabra" userId="598e0514-bef3-4e71-b6aa-f2edd6441cff" providerId="ADAL" clId="{6B709646-9B8B-914B-83A9-D81F12AFDE5E}" dt="2022-06-19T04:44:49.377" v="967"/>
          <ac:inkMkLst>
            <pc:docMk/>
            <pc:sldMk cId="0" sldId="271"/>
            <ac:inkMk id="18" creationId="{96E65045-E513-9B80-CD43-1D0793DD66A0}"/>
          </ac:inkMkLst>
        </pc:inkChg>
        <pc:inkChg chg="add mod">
          <ac:chgData name="Aniket Chhabra" userId="598e0514-bef3-4e71-b6aa-f2edd6441cff" providerId="ADAL" clId="{6B709646-9B8B-914B-83A9-D81F12AFDE5E}" dt="2022-06-19T04:44:49.377" v="967"/>
          <ac:inkMkLst>
            <pc:docMk/>
            <pc:sldMk cId="0" sldId="271"/>
            <ac:inkMk id="19" creationId="{16696D72-1B22-8815-38BF-2E2367D2C44E}"/>
          </ac:inkMkLst>
        </pc:inkChg>
        <pc:inkChg chg="add mod">
          <ac:chgData name="Aniket Chhabra" userId="598e0514-bef3-4e71-b6aa-f2edd6441cff" providerId="ADAL" clId="{6B709646-9B8B-914B-83A9-D81F12AFDE5E}" dt="2022-06-19T04:44:49.377" v="967"/>
          <ac:inkMkLst>
            <pc:docMk/>
            <pc:sldMk cId="0" sldId="271"/>
            <ac:inkMk id="20" creationId="{496EB3D0-8104-3D21-0197-47725DA795F4}"/>
          </ac:inkMkLst>
        </pc:inkChg>
        <pc:inkChg chg="add mod">
          <ac:chgData name="Aniket Chhabra" userId="598e0514-bef3-4e71-b6aa-f2edd6441cff" providerId="ADAL" clId="{6B709646-9B8B-914B-83A9-D81F12AFDE5E}" dt="2022-06-19T04:44:49.377" v="967"/>
          <ac:inkMkLst>
            <pc:docMk/>
            <pc:sldMk cId="0" sldId="271"/>
            <ac:inkMk id="21" creationId="{7801487E-3FA8-071B-99D7-62C271EEB4F4}"/>
          </ac:inkMkLst>
        </pc:inkChg>
        <pc:inkChg chg="add mod">
          <ac:chgData name="Aniket Chhabra" userId="598e0514-bef3-4e71-b6aa-f2edd6441cff" providerId="ADAL" clId="{6B709646-9B8B-914B-83A9-D81F12AFDE5E}" dt="2022-06-19T04:44:49.377" v="967"/>
          <ac:inkMkLst>
            <pc:docMk/>
            <pc:sldMk cId="0" sldId="271"/>
            <ac:inkMk id="22" creationId="{12B00885-1A46-F447-49B6-F9F0205C0B22}"/>
          </ac:inkMkLst>
        </pc:inkChg>
        <pc:inkChg chg="add mod">
          <ac:chgData name="Aniket Chhabra" userId="598e0514-bef3-4e71-b6aa-f2edd6441cff" providerId="ADAL" clId="{6B709646-9B8B-914B-83A9-D81F12AFDE5E}" dt="2022-06-19T04:44:49.377" v="967"/>
          <ac:inkMkLst>
            <pc:docMk/>
            <pc:sldMk cId="0" sldId="271"/>
            <ac:inkMk id="23" creationId="{C6B81CD8-7FEA-6959-7720-C70909B85E91}"/>
          </ac:inkMkLst>
        </pc:inkChg>
        <pc:inkChg chg="add mod">
          <ac:chgData name="Aniket Chhabra" userId="598e0514-bef3-4e71-b6aa-f2edd6441cff" providerId="ADAL" clId="{6B709646-9B8B-914B-83A9-D81F12AFDE5E}" dt="2022-06-19T04:44:49.377" v="967"/>
          <ac:inkMkLst>
            <pc:docMk/>
            <pc:sldMk cId="0" sldId="271"/>
            <ac:inkMk id="24" creationId="{17DC9F94-9B58-60C1-F95A-986C7E9B6664}"/>
          </ac:inkMkLst>
        </pc:inkChg>
        <pc:inkChg chg="add mod">
          <ac:chgData name="Aniket Chhabra" userId="598e0514-bef3-4e71-b6aa-f2edd6441cff" providerId="ADAL" clId="{6B709646-9B8B-914B-83A9-D81F12AFDE5E}" dt="2022-06-19T04:44:49.377" v="967"/>
          <ac:inkMkLst>
            <pc:docMk/>
            <pc:sldMk cId="0" sldId="271"/>
            <ac:inkMk id="25" creationId="{AD7A2A40-8934-31B2-11F9-759680553A55}"/>
          </ac:inkMkLst>
        </pc:inkChg>
        <pc:inkChg chg="add mod">
          <ac:chgData name="Aniket Chhabra" userId="598e0514-bef3-4e71-b6aa-f2edd6441cff" providerId="ADAL" clId="{6B709646-9B8B-914B-83A9-D81F12AFDE5E}" dt="2022-06-19T04:44:49.377" v="967"/>
          <ac:inkMkLst>
            <pc:docMk/>
            <pc:sldMk cId="0" sldId="271"/>
            <ac:inkMk id="26" creationId="{CB2E104D-2A53-7807-AAE2-555B811A6012}"/>
          </ac:inkMkLst>
        </pc:inkChg>
        <pc:inkChg chg="add mod">
          <ac:chgData name="Aniket Chhabra" userId="598e0514-bef3-4e71-b6aa-f2edd6441cff" providerId="ADAL" clId="{6B709646-9B8B-914B-83A9-D81F12AFDE5E}" dt="2022-06-19T04:44:49.377" v="967"/>
          <ac:inkMkLst>
            <pc:docMk/>
            <pc:sldMk cId="0" sldId="271"/>
            <ac:inkMk id="27" creationId="{231D94BF-2D78-F6A6-FBDE-96B0F05BF4D6}"/>
          </ac:inkMkLst>
        </pc:inkChg>
        <pc:inkChg chg="add mod">
          <ac:chgData name="Aniket Chhabra" userId="598e0514-bef3-4e71-b6aa-f2edd6441cff" providerId="ADAL" clId="{6B709646-9B8B-914B-83A9-D81F12AFDE5E}" dt="2022-06-19T04:44:49.377" v="967"/>
          <ac:inkMkLst>
            <pc:docMk/>
            <pc:sldMk cId="0" sldId="271"/>
            <ac:inkMk id="28" creationId="{CECD5085-24BE-8969-A135-9DC7D9999B61}"/>
          </ac:inkMkLst>
        </pc:inkChg>
        <pc:inkChg chg="add mod">
          <ac:chgData name="Aniket Chhabra" userId="598e0514-bef3-4e71-b6aa-f2edd6441cff" providerId="ADAL" clId="{6B709646-9B8B-914B-83A9-D81F12AFDE5E}" dt="2022-06-19T04:44:49.377" v="967"/>
          <ac:inkMkLst>
            <pc:docMk/>
            <pc:sldMk cId="0" sldId="271"/>
            <ac:inkMk id="29" creationId="{B9B77C32-95EF-3905-AB1B-6C42ACD18BC7}"/>
          </ac:inkMkLst>
        </pc:inkChg>
        <pc:inkChg chg="add mod">
          <ac:chgData name="Aniket Chhabra" userId="598e0514-bef3-4e71-b6aa-f2edd6441cff" providerId="ADAL" clId="{6B709646-9B8B-914B-83A9-D81F12AFDE5E}" dt="2022-06-19T04:44:49.377" v="967"/>
          <ac:inkMkLst>
            <pc:docMk/>
            <pc:sldMk cId="0" sldId="271"/>
            <ac:inkMk id="30" creationId="{DDFA3E68-5C72-5A55-46E2-1922962FCBAD}"/>
          </ac:inkMkLst>
        </pc:inkChg>
        <pc:inkChg chg="add mod">
          <ac:chgData name="Aniket Chhabra" userId="598e0514-bef3-4e71-b6aa-f2edd6441cff" providerId="ADAL" clId="{6B709646-9B8B-914B-83A9-D81F12AFDE5E}" dt="2022-06-19T04:44:49.377" v="967"/>
          <ac:inkMkLst>
            <pc:docMk/>
            <pc:sldMk cId="0" sldId="271"/>
            <ac:inkMk id="31" creationId="{5FDB60A3-4A3A-C06D-B45C-A8D4748C4DC1}"/>
          </ac:inkMkLst>
        </pc:inkChg>
        <pc:inkChg chg="add">
          <ac:chgData name="Aniket Chhabra" userId="598e0514-bef3-4e71-b6aa-f2edd6441cff" providerId="ADAL" clId="{6B709646-9B8B-914B-83A9-D81F12AFDE5E}" dt="2022-06-19T04:44:44.605" v="956" actId="9405"/>
          <ac:inkMkLst>
            <pc:docMk/>
            <pc:sldMk cId="0" sldId="271"/>
            <ac:inkMk id="32" creationId="{4899FF78-7310-8446-D769-48011821C186}"/>
          </ac:inkMkLst>
        </pc:inkChg>
        <pc:inkChg chg="add mod">
          <ac:chgData name="Aniket Chhabra" userId="598e0514-bef3-4e71-b6aa-f2edd6441cff" providerId="ADAL" clId="{6B709646-9B8B-914B-83A9-D81F12AFDE5E}" dt="2022-06-19T04:44:49.377" v="967"/>
          <ac:inkMkLst>
            <pc:docMk/>
            <pc:sldMk cId="0" sldId="271"/>
            <ac:inkMk id="33" creationId="{5C34C691-0301-F278-A339-472D377CF0FF}"/>
          </ac:inkMkLst>
        </pc:inkChg>
        <pc:inkChg chg="add mod">
          <ac:chgData name="Aniket Chhabra" userId="598e0514-bef3-4e71-b6aa-f2edd6441cff" providerId="ADAL" clId="{6B709646-9B8B-914B-83A9-D81F12AFDE5E}" dt="2022-06-19T04:44:49.377" v="967"/>
          <ac:inkMkLst>
            <pc:docMk/>
            <pc:sldMk cId="0" sldId="271"/>
            <ac:inkMk id="34" creationId="{060AA161-AAEB-3F52-5893-C56C6A51356E}"/>
          </ac:inkMkLst>
        </pc:inkChg>
        <pc:inkChg chg="add mod">
          <ac:chgData name="Aniket Chhabra" userId="598e0514-bef3-4e71-b6aa-f2edd6441cff" providerId="ADAL" clId="{6B709646-9B8B-914B-83A9-D81F12AFDE5E}" dt="2022-06-19T04:44:49.377" v="967"/>
          <ac:inkMkLst>
            <pc:docMk/>
            <pc:sldMk cId="0" sldId="271"/>
            <ac:inkMk id="35" creationId="{5C64E35D-0F72-B3D4-F34C-7BAE0BC8190A}"/>
          </ac:inkMkLst>
        </pc:inkChg>
        <pc:inkChg chg="add mod">
          <ac:chgData name="Aniket Chhabra" userId="598e0514-bef3-4e71-b6aa-f2edd6441cff" providerId="ADAL" clId="{6B709646-9B8B-914B-83A9-D81F12AFDE5E}" dt="2022-06-19T04:44:49.377" v="967"/>
          <ac:inkMkLst>
            <pc:docMk/>
            <pc:sldMk cId="0" sldId="271"/>
            <ac:inkMk id="36" creationId="{43DEC6C2-3C85-C605-A2C1-A0D1F6B77461}"/>
          </ac:inkMkLst>
        </pc:inkChg>
        <pc:inkChg chg="add mod">
          <ac:chgData name="Aniket Chhabra" userId="598e0514-bef3-4e71-b6aa-f2edd6441cff" providerId="ADAL" clId="{6B709646-9B8B-914B-83A9-D81F12AFDE5E}" dt="2022-06-19T04:44:49.377" v="967"/>
          <ac:inkMkLst>
            <pc:docMk/>
            <pc:sldMk cId="0" sldId="271"/>
            <ac:inkMk id="37" creationId="{F0CA842D-535C-C610-BFAE-F131F7DFDBA0}"/>
          </ac:inkMkLst>
        </pc:inkChg>
        <pc:inkChg chg="add mod">
          <ac:chgData name="Aniket Chhabra" userId="598e0514-bef3-4e71-b6aa-f2edd6441cff" providerId="ADAL" clId="{6B709646-9B8B-914B-83A9-D81F12AFDE5E}" dt="2022-06-19T04:44:49.377" v="967"/>
          <ac:inkMkLst>
            <pc:docMk/>
            <pc:sldMk cId="0" sldId="271"/>
            <ac:inkMk id="38" creationId="{F6C3C74D-B9A6-7B0B-88B3-BAFFFFAB18AF}"/>
          </ac:inkMkLst>
        </pc:inkChg>
        <pc:inkChg chg="add mod">
          <ac:chgData name="Aniket Chhabra" userId="598e0514-bef3-4e71-b6aa-f2edd6441cff" providerId="ADAL" clId="{6B709646-9B8B-914B-83A9-D81F12AFDE5E}" dt="2022-06-19T04:44:49.377" v="967"/>
          <ac:inkMkLst>
            <pc:docMk/>
            <pc:sldMk cId="0" sldId="271"/>
            <ac:inkMk id="39" creationId="{9A2503CF-9262-D5BB-386C-DD07CBCF1C00}"/>
          </ac:inkMkLst>
        </pc:inkChg>
        <pc:inkChg chg="add mod">
          <ac:chgData name="Aniket Chhabra" userId="598e0514-bef3-4e71-b6aa-f2edd6441cff" providerId="ADAL" clId="{6B709646-9B8B-914B-83A9-D81F12AFDE5E}" dt="2022-06-19T04:44:49.377" v="967"/>
          <ac:inkMkLst>
            <pc:docMk/>
            <pc:sldMk cId="0" sldId="271"/>
            <ac:inkMk id="40" creationId="{5912DA54-ABDA-23A4-AEFC-A804A99CBBDC}"/>
          </ac:inkMkLst>
        </pc:inkChg>
        <pc:inkChg chg="add mod">
          <ac:chgData name="Aniket Chhabra" userId="598e0514-bef3-4e71-b6aa-f2edd6441cff" providerId="ADAL" clId="{6B709646-9B8B-914B-83A9-D81F12AFDE5E}" dt="2022-06-19T04:44:49.377" v="967"/>
          <ac:inkMkLst>
            <pc:docMk/>
            <pc:sldMk cId="0" sldId="271"/>
            <ac:inkMk id="41" creationId="{12369411-22E8-8D08-002F-26A2B5CB0508}"/>
          </ac:inkMkLst>
        </pc:inkChg>
        <pc:inkChg chg="add mod">
          <ac:chgData name="Aniket Chhabra" userId="598e0514-bef3-4e71-b6aa-f2edd6441cff" providerId="ADAL" clId="{6B709646-9B8B-914B-83A9-D81F12AFDE5E}" dt="2022-06-19T04:44:49.377" v="967"/>
          <ac:inkMkLst>
            <pc:docMk/>
            <pc:sldMk cId="0" sldId="271"/>
            <ac:inkMk id="42" creationId="{676FBCF4-A24F-33B6-9E3E-B24426CB083D}"/>
          </ac:inkMkLst>
        </pc:inkChg>
        <pc:inkChg chg="add mod">
          <ac:chgData name="Aniket Chhabra" userId="598e0514-bef3-4e71-b6aa-f2edd6441cff" providerId="ADAL" clId="{6B709646-9B8B-914B-83A9-D81F12AFDE5E}" dt="2022-06-19T04:45:02.158" v="990"/>
          <ac:inkMkLst>
            <pc:docMk/>
            <pc:sldMk cId="0" sldId="271"/>
            <ac:inkMk id="48" creationId="{93D1D3B2-E454-2DFF-F11A-4C4B6C913700}"/>
          </ac:inkMkLst>
        </pc:inkChg>
        <pc:inkChg chg="add mod">
          <ac:chgData name="Aniket Chhabra" userId="598e0514-bef3-4e71-b6aa-f2edd6441cff" providerId="ADAL" clId="{6B709646-9B8B-914B-83A9-D81F12AFDE5E}" dt="2022-06-19T04:45:02.158" v="990"/>
          <ac:inkMkLst>
            <pc:docMk/>
            <pc:sldMk cId="0" sldId="271"/>
            <ac:inkMk id="49" creationId="{89AEED46-B93D-E8F7-F2E1-0E44F66FE755}"/>
          </ac:inkMkLst>
        </pc:inkChg>
        <pc:inkChg chg="add mod">
          <ac:chgData name="Aniket Chhabra" userId="598e0514-bef3-4e71-b6aa-f2edd6441cff" providerId="ADAL" clId="{6B709646-9B8B-914B-83A9-D81F12AFDE5E}" dt="2022-06-19T04:45:02.158" v="990"/>
          <ac:inkMkLst>
            <pc:docMk/>
            <pc:sldMk cId="0" sldId="271"/>
            <ac:inkMk id="50" creationId="{7B42E405-4ED3-DAA5-5520-9D1CF87615E0}"/>
          </ac:inkMkLst>
        </pc:inkChg>
        <pc:inkChg chg="add mod">
          <ac:chgData name="Aniket Chhabra" userId="598e0514-bef3-4e71-b6aa-f2edd6441cff" providerId="ADAL" clId="{6B709646-9B8B-914B-83A9-D81F12AFDE5E}" dt="2022-06-19T04:45:02.158" v="990"/>
          <ac:inkMkLst>
            <pc:docMk/>
            <pc:sldMk cId="0" sldId="271"/>
            <ac:inkMk id="51" creationId="{E40A7CCD-3093-2939-C86E-15C09F903962}"/>
          </ac:inkMkLst>
        </pc:inkChg>
        <pc:inkChg chg="add mod">
          <ac:chgData name="Aniket Chhabra" userId="598e0514-bef3-4e71-b6aa-f2edd6441cff" providerId="ADAL" clId="{6B709646-9B8B-914B-83A9-D81F12AFDE5E}" dt="2022-06-19T04:45:02.158" v="990"/>
          <ac:inkMkLst>
            <pc:docMk/>
            <pc:sldMk cId="0" sldId="271"/>
            <ac:inkMk id="52" creationId="{C7666A01-506B-8C7D-123F-04E2038343F8}"/>
          </ac:inkMkLst>
        </pc:inkChg>
        <pc:inkChg chg="add mod">
          <ac:chgData name="Aniket Chhabra" userId="598e0514-bef3-4e71-b6aa-f2edd6441cff" providerId="ADAL" clId="{6B709646-9B8B-914B-83A9-D81F12AFDE5E}" dt="2022-06-19T04:45:02.158" v="990"/>
          <ac:inkMkLst>
            <pc:docMk/>
            <pc:sldMk cId="0" sldId="271"/>
            <ac:inkMk id="53" creationId="{FC1F7E62-E20B-DB3C-EF6D-23F3EEFAE043}"/>
          </ac:inkMkLst>
        </pc:inkChg>
        <pc:inkChg chg="add mod">
          <ac:chgData name="Aniket Chhabra" userId="598e0514-bef3-4e71-b6aa-f2edd6441cff" providerId="ADAL" clId="{6B709646-9B8B-914B-83A9-D81F12AFDE5E}" dt="2022-06-19T04:45:02.158" v="990"/>
          <ac:inkMkLst>
            <pc:docMk/>
            <pc:sldMk cId="0" sldId="271"/>
            <ac:inkMk id="54" creationId="{1DF6938F-D8FD-2A1D-ADB8-A53F4C531FF3}"/>
          </ac:inkMkLst>
        </pc:inkChg>
        <pc:inkChg chg="add mod">
          <ac:chgData name="Aniket Chhabra" userId="598e0514-bef3-4e71-b6aa-f2edd6441cff" providerId="ADAL" clId="{6B709646-9B8B-914B-83A9-D81F12AFDE5E}" dt="2022-06-19T04:45:02.158" v="990"/>
          <ac:inkMkLst>
            <pc:docMk/>
            <pc:sldMk cId="0" sldId="271"/>
            <ac:inkMk id="55" creationId="{858C92D8-326A-06A6-F272-C3525191AAC4}"/>
          </ac:inkMkLst>
        </pc:inkChg>
        <pc:inkChg chg="add mod">
          <ac:chgData name="Aniket Chhabra" userId="598e0514-bef3-4e71-b6aa-f2edd6441cff" providerId="ADAL" clId="{6B709646-9B8B-914B-83A9-D81F12AFDE5E}" dt="2022-06-19T04:45:02.158" v="990"/>
          <ac:inkMkLst>
            <pc:docMk/>
            <pc:sldMk cId="0" sldId="271"/>
            <ac:inkMk id="56" creationId="{22661110-0BF9-DDE0-3CC6-C4F5BFA683EC}"/>
          </ac:inkMkLst>
        </pc:inkChg>
        <pc:inkChg chg="add mod">
          <ac:chgData name="Aniket Chhabra" userId="598e0514-bef3-4e71-b6aa-f2edd6441cff" providerId="ADAL" clId="{6B709646-9B8B-914B-83A9-D81F12AFDE5E}" dt="2022-06-19T04:45:02.158" v="990"/>
          <ac:inkMkLst>
            <pc:docMk/>
            <pc:sldMk cId="0" sldId="271"/>
            <ac:inkMk id="57" creationId="{D1EE4AEE-B066-E00F-649F-E222A95962FB}"/>
          </ac:inkMkLst>
        </pc:inkChg>
        <pc:inkChg chg="add mod">
          <ac:chgData name="Aniket Chhabra" userId="598e0514-bef3-4e71-b6aa-f2edd6441cff" providerId="ADAL" clId="{6B709646-9B8B-914B-83A9-D81F12AFDE5E}" dt="2022-06-19T04:45:02.158" v="990"/>
          <ac:inkMkLst>
            <pc:docMk/>
            <pc:sldMk cId="0" sldId="271"/>
            <ac:inkMk id="58" creationId="{DB5E2929-E7F1-1A80-6D11-4BCEF6DEBE25}"/>
          </ac:inkMkLst>
        </pc:inkChg>
        <pc:inkChg chg="add mod">
          <ac:chgData name="Aniket Chhabra" userId="598e0514-bef3-4e71-b6aa-f2edd6441cff" providerId="ADAL" clId="{6B709646-9B8B-914B-83A9-D81F12AFDE5E}" dt="2022-06-19T04:45:02.158" v="990"/>
          <ac:inkMkLst>
            <pc:docMk/>
            <pc:sldMk cId="0" sldId="271"/>
            <ac:inkMk id="59" creationId="{57CBF38C-F1D3-8D6C-0FEB-D9D7366B0922}"/>
          </ac:inkMkLst>
        </pc:inkChg>
        <pc:inkChg chg="add mod">
          <ac:chgData name="Aniket Chhabra" userId="598e0514-bef3-4e71-b6aa-f2edd6441cff" providerId="ADAL" clId="{6B709646-9B8B-914B-83A9-D81F12AFDE5E}" dt="2022-06-19T04:45:02.158" v="990"/>
          <ac:inkMkLst>
            <pc:docMk/>
            <pc:sldMk cId="0" sldId="271"/>
            <ac:inkMk id="60" creationId="{166AFD7D-89B8-3D16-0D6D-0DD27056B029}"/>
          </ac:inkMkLst>
        </pc:inkChg>
        <pc:inkChg chg="add mod">
          <ac:chgData name="Aniket Chhabra" userId="598e0514-bef3-4e71-b6aa-f2edd6441cff" providerId="ADAL" clId="{6B709646-9B8B-914B-83A9-D81F12AFDE5E}" dt="2022-06-19T04:45:02.158" v="990"/>
          <ac:inkMkLst>
            <pc:docMk/>
            <pc:sldMk cId="0" sldId="271"/>
            <ac:inkMk id="62" creationId="{735EB8ED-38AA-8E13-63C0-8D8F9204BFC4}"/>
          </ac:inkMkLst>
        </pc:inkChg>
        <pc:inkChg chg="add mod">
          <ac:chgData name="Aniket Chhabra" userId="598e0514-bef3-4e71-b6aa-f2edd6441cff" providerId="ADAL" clId="{6B709646-9B8B-914B-83A9-D81F12AFDE5E}" dt="2022-06-19T04:45:02.158" v="990"/>
          <ac:inkMkLst>
            <pc:docMk/>
            <pc:sldMk cId="0" sldId="271"/>
            <ac:inkMk id="63" creationId="{3CA0A078-BC01-8726-5E16-CF5118F129C0}"/>
          </ac:inkMkLst>
        </pc:inkChg>
        <pc:inkChg chg="add mod">
          <ac:chgData name="Aniket Chhabra" userId="598e0514-bef3-4e71-b6aa-f2edd6441cff" providerId="ADAL" clId="{6B709646-9B8B-914B-83A9-D81F12AFDE5E}" dt="2022-06-19T04:45:02.158" v="990"/>
          <ac:inkMkLst>
            <pc:docMk/>
            <pc:sldMk cId="0" sldId="271"/>
            <ac:inkMk id="128" creationId="{E1818EF7-6067-3FFA-F799-50FA866365ED}"/>
          </ac:inkMkLst>
        </pc:inkChg>
        <pc:inkChg chg="add mod">
          <ac:chgData name="Aniket Chhabra" userId="598e0514-bef3-4e71-b6aa-f2edd6441cff" providerId="ADAL" clId="{6B709646-9B8B-914B-83A9-D81F12AFDE5E}" dt="2022-06-19T04:45:02.158" v="990"/>
          <ac:inkMkLst>
            <pc:docMk/>
            <pc:sldMk cId="0" sldId="271"/>
            <ac:inkMk id="129" creationId="{4EA3F63A-CEEE-66B7-548D-22339D5ED4B4}"/>
          </ac:inkMkLst>
        </pc:inkChg>
        <pc:inkChg chg="add mod">
          <ac:chgData name="Aniket Chhabra" userId="598e0514-bef3-4e71-b6aa-f2edd6441cff" providerId="ADAL" clId="{6B709646-9B8B-914B-83A9-D81F12AFDE5E}" dt="2022-06-19T04:45:02.158" v="990"/>
          <ac:inkMkLst>
            <pc:docMk/>
            <pc:sldMk cId="0" sldId="271"/>
            <ac:inkMk id="130" creationId="{2169651B-09C3-A351-54B0-D0590A55F99D}"/>
          </ac:inkMkLst>
        </pc:inkChg>
        <pc:inkChg chg="add mod">
          <ac:chgData name="Aniket Chhabra" userId="598e0514-bef3-4e71-b6aa-f2edd6441cff" providerId="ADAL" clId="{6B709646-9B8B-914B-83A9-D81F12AFDE5E}" dt="2022-06-19T04:45:02.158" v="990"/>
          <ac:inkMkLst>
            <pc:docMk/>
            <pc:sldMk cId="0" sldId="271"/>
            <ac:inkMk id="131" creationId="{122F831C-7F80-090E-1897-A7CB86D00D53}"/>
          </ac:inkMkLst>
        </pc:inkChg>
        <pc:inkChg chg="add mod">
          <ac:chgData name="Aniket Chhabra" userId="598e0514-bef3-4e71-b6aa-f2edd6441cff" providerId="ADAL" clId="{6B709646-9B8B-914B-83A9-D81F12AFDE5E}" dt="2022-06-19T04:45:02.158" v="990"/>
          <ac:inkMkLst>
            <pc:docMk/>
            <pc:sldMk cId="0" sldId="271"/>
            <ac:inkMk id="132" creationId="{C47AE6B1-0799-AF5D-66D2-F0E8C6D6A076}"/>
          </ac:inkMkLst>
        </pc:inkChg>
        <pc:inkChg chg="add mod">
          <ac:chgData name="Aniket Chhabra" userId="598e0514-bef3-4e71-b6aa-f2edd6441cff" providerId="ADAL" clId="{6B709646-9B8B-914B-83A9-D81F12AFDE5E}" dt="2022-06-19T04:45:02.158" v="990"/>
          <ac:inkMkLst>
            <pc:docMk/>
            <pc:sldMk cId="0" sldId="271"/>
            <ac:inkMk id="133" creationId="{E966611C-9D81-4D08-0E42-BF5BC45582C8}"/>
          </ac:inkMkLst>
        </pc:inkChg>
        <pc:inkChg chg="add mod">
          <ac:chgData name="Aniket Chhabra" userId="598e0514-bef3-4e71-b6aa-f2edd6441cff" providerId="ADAL" clId="{6B709646-9B8B-914B-83A9-D81F12AFDE5E}" dt="2022-06-19T04:45:51.321" v="1031"/>
          <ac:inkMkLst>
            <pc:docMk/>
            <pc:sldMk cId="0" sldId="271"/>
            <ac:inkMk id="135" creationId="{48275347-5E0E-DCD9-1B33-D1CE92B84EE1}"/>
          </ac:inkMkLst>
        </pc:inkChg>
        <pc:inkChg chg="add mod">
          <ac:chgData name="Aniket Chhabra" userId="598e0514-bef3-4e71-b6aa-f2edd6441cff" providerId="ADAL" clId="{6B709646-9B8B-914B-83A9-D81F12AFDE5E}" dt="2022-06-19T04:45:51.321" v="1031"/>
          <ac:inkMkLst>
            <pc:docMk/>
            <pc:sldMk cId="0" sldId="271"/>
            <ac:inkMk id="136" creationId="{6B51DF02-CAA6-913E-E923-701CDEE94F3A}"/>
          </ac:inkMkLst>
        </pc:inkChg>
        <pc:inkChg chg="add mod">
          <ac:chgData name="Aniket Chhabra" userId="598e0514-bef3-4e71-b6aa-f2edd6441cff" providerId="ADAL" clId="{6B709646-9B8B-914B-83A9-D81F12AFDE5E}" dt="2022-06-19T04:45:51.321" v="1031"/>
          <ac:inkMkLst>
            <pc:docMk/>
            <pc:sldMk cId="0" sldId="271"/>
            <ac:inkMk id="137" creationId="{9F6BBE90-7029-8FEB-49D1-C052B14F27B7}"/>
          </ac:inkMkLst>
        </pc:inkChg>
        <pc:inkChg chg="add mod">
          <ac:chgData name="Aniket Chhabra" userId="598e0514-bef3-4e71-b6aa-f2edd6441cff" providerId="ADAL" clId="{6B709646-9B8B-914B-83A9-D81F12AFDE5E}" dt="2022-06-19T04:45:51.321" v="1031"/>
          <ac:inkMkLst>
            <pc:docMk/>
            <pc:sldMk cId="0" sldId="271"/>
            <ac:inkMk id="138" creationId="{71EA67C2-0368-52B0-78A8-373DD59B117F}"/>
          </ac:inkMkLst>
        </pc:inkChg>
        <pc:inkChg chg="add mod">
          <ac:chgData name="Aniket Chhabra" userId="598e0514-bef3-4e71-b6aa-f2edd6441cff" providerId="ADAL" clId="{6B709646-9B8B-914B-83A9-D81F12AFDE5E}" dt="2022-06-19T04:45:51.321" v="1031"/>
          <ac:inkMkLst>
            <pc:docMk/>
            <pc:sldMk cId="0" sldId="271"/>
            <ac:inkMk id="139" creationId="{2A74FD99-75D5-6F3A-9FF9-0B7F3C062E8A}"/>
          </ac:inkMkLst>
        </pc:inkChg>
        <pc:inkChg chg="add mod">
          <ac:chgData name="Aniket Chhabra" userId="598e0514-bef3-4e71-b6aa-f2edd6441cff" providerId="ADAL" clId="{6B709646-9B8B-914B-83A9-D81F12AFDE5E}" dt="2022-06-19T04:45:51.321" v="1031"/>
          <ac:inkMkLst>
            <pc:docMk/>
            <pc:sldMk cId="0" sldId="271"/>
            <ac:inkMk id="140" creationId="{C222BF08-3C5B-6817-1DAC-3ED15BEE19FA}"/>
          </ac:inkMkLst>
        </pc:inkChg>
        <pc:inkChg chg="add mod">
          <ac:chgData name="Aniket Chhabra" userId="598e0514-bef3-4e71-b6aa-f2edd6441cff" providerId="ADAL" clId="{6B709646-9B8B-914B-83A9-D81F12AFDE5E}" dt="2022-06-19T04:45:51.321" v="1031"/>
          <ac:inkMkLst>
            <pc:docMk/>
            <pc:sldMk cId="0" sldId="271"/>
            <ac:inkMk id="141" creationId="{4E399903-A562-A11F-00F8-BFCD785AC45D}"/>
          </ac:inkMkLst>
        </pc:inkChg>
        <pc:inkChg chg="add mod">
          <ac:chgData name="Aniket Chhabra" userId="598e0514-bef3-4e71-b6aa-f2edd6441cff" providerId="ADAL" clId="{6B709646-9B8B-914B-83A9-D81F12AFDE5E}" dt="2022-06-19T04:45:51.321" v="1031"/>
          <ac:inkMkLst>
            <pc:docMk/>
            <pc:sldMk cId="0" sldId="271"/>
            <ac:inkMk id="142" creationId="{B7515EC8-FF67-0EA5-F377-9E281FF9663B}"/>
          </ac:inkMkLst>
        </pc:inkChg>
        <pc:inkChg chg="add mod">
          <ac:chgData name="Aniket Chhabra" userId="598e0514-bef3-4e71-b6aa-f2edd6441cff" providerId="ADAL" clId="{6B709646-9B8B-914B-83A9-D81F12AFDE5E}" dt="2022-06-19T04:45:51.321" v="1031"/>
          <ac:inkMkLst>
            <pc:docMk/>
            <pc:sldMk cId="0" sldId="271"/>
            <ac:inkMk id="144" creationId="{8E7F8CA3-31FE-7714-853F-ADBFAEB86E5E}"/>
          </ac:inkMkLst>
        </pc:inkChg>
        <pc:inkChg chg="add mod">
          <ac:chgData name="Aniket Chhabra" userId="598e0514-bef3-4e71-b6aa-f2edd6441cff" providerId="ADAL" clId="{6B709646-9B8B-914B-83A9-D81F12AFDE5E}" dt="2022-06-19T04:45:51.321" v="1031"/>
          <ac:inkMkLst>
            <pc:docMk/>
            <pc:sldMk cId="0" sldId="271"/>
            <ac:inkMk id="145" creationId="{EBC9E07B-3D14-0B57-86D1-2DABD7E4A27E}"/>
          </ac:inkMkLst>
        </pc:inkChg>
        <pc:inkChg chg="add mod">
          <ac:chgData name="Aniket Chhabra" userId="598e0514-bef3-4e71-b6aa-f2edd6441cff" providerId="ADAL" clId="{6B709646-9B8B-914B-83A9-D81F12AFDE5E}" dt="2022-06-19T04:45:51.321" v="1031"/>
          <ac:inkMkLst>
            <pc:docMk/>
            <pc:sldMk cId="0" sldId="271"/>
            <ac:inkMk id="146" creationId="{22188893-2F4C-DBA8-F49C-CBCF136C54D9}"/>
          </ac:inkMkLst>
        </pc:inkChg>
        <pc:inkChg chg="add mod">
          <ac:chgData name="Aniket Chhabra" userId="598e0514-bef3-4e71-b6aa-f2edd6441cff" providerId="ADAL" clId="{6B709646-9B8B-914B-83A9-D81F12AFDE5E}" dt="2022-06-19T04:45:51.321" v="1031"/>
          <ac:inkMkLst>
            <pc:docMk/>
            <pc:sldMk cId="0" sldId="271"/>
            <ac:inkMk id="147" creationId="{2C562B16-A0FC-0BAA-BB7B-30F0CC674805}"/>
          </ac:inkMkLst>
        </pc:inkChg>
        <pc:inkChg chg="add mod">
          <ac:chgData name="Aniket Chhabra" userId="598e0514-bef3-4e71-b6aa-f2edd6441cff" providerId="ADAL" clId="{6B709646-9B8B-914B-83A9-D81F12AFDE5E}" dt="2022-06-19T04:45:51.321" v="1031"/>
          <ac:inkMkLst>
            <pc:docMk/>
            <pc:sldMk cId="0" sldId="271"/>
            <ac:inkMk id="148" creationId="{5EE33D9A-EFDD-BC59-E9F0-2EF1214A5FE1}"/>
          </ac:inkMkLst>
        </pc:inkChg>
        <pc:inkChg chg="add mod">
          <ac:chgData name="Aniket Chhabra" userId="598e0514-bef3-4e71-b6aa-f2edd6441cff" providerId="ADAL" clId="{6B709646-9B8B-914B-83A9-D81F12AFDE5E}" dt="2022-06-19T04:45:51.321" v="1031"/>
          <ac:inkMkLst>
            <pc:docMk/>
            <pc:sldMk cId="0" sldId="271"/>
            <ac:inkMk id="149" creationId="{A2664D98-2CE6-BEF1-920E-677358E177B5}"/>
          </ac:inkMkLst>
        </pc:inkChg>
        <pc:inkChg chg="add mod">
          <ac:chgData name="Aniket Chhabra" userId="598e0514-bef3-4e71-b6aa-f2edd6441cff" providerId="ADAL" clId="{6B709646-9B8B-914B-83A9-D81F12AFDE5E}" dt="2022-06-19T04:45:51.321" v="1031"/>
          <ac:inkMkLst>
            <pc:docMk/>
            <pc:sldMk cId="0" sldId="271"/>
            <ac:inkMk id="150" creationId="{A5FDA8D4-F190-BAF3-455F-19043C1E3490}"/>
          </ac:inkMkLst>
        </pc:inkChg>
        <pc:inkChg chg="add mod">
          <ac:chgData name="Aniket Chhabra" userId="598e0514-bef3-4e71-b6aa-f2edd6441cff" providerId="ADAL" clId="{6B709646-9B8B-914B-83A9-D81F12AFDE5E}" dt="2022-06-19T04:45:51.321" v="1031"/>
          <ac:inkMkLst>
            <pc:docMk/>
            <pc:sldMk cId="0" sldId="271"/>
            <ac:inkMk id="151" creationId="{761592B9-AC43-A7AB-1D88-94E6ED5E6A09}"/>
          </ac:inkMkLst>
        </pc:inkChg>
        <pc:inkChg chg="add mod">
          <ac:chgData name="Aniket Chhabra" userId="598e0514-bef3-4e71-b6aa-f2edd6441cff" providerId="ADAL" clId="{6B709646-9B8B-914B-83A9-D81F12AFDE5E}" dt="2022-06-19T04:45:51.321" v="1031"/>
          <ac:inkMkLst>
            <pc:docMk/>
            <pc:sldMk cId="0" sldId="271"/>
            <ac:inkMk id="152" creationId="{1EFB0E26-B5C4-B900-8880-01C313DE96BF}"/>
          </ac:inkMkLst>
        </pc:inkChg>
        <pc:inkChg chg="add mod">
          <ac:chgData name="Aniket Chhabra" userId="598e0514-bef3-4e71-b6aa-f2edd6441cff" providerId="ADAL" clId="{6B709646-9B8B-914B-83A9-D81F12AFDE5E}" dt="2022-06-19T04:45:51.321" v="1031"/>
          <ac:inkMkLst>
            <pc:docMk/>
            <pc:sldMk cId="0" sldId="271"/>
            <ac:inkMk id="154" creationId="{1A0B890B-0897-FBA7-B2C0-7DD673CFE5A2}"/>
          </ac:inkMkLst>
        </pc:inkChg>
        <pc:inkChg chg="add mod">
          <ac:chgData name="Aniket Chhabra" userId="598e0514-bef3-4e71-b6aa-f2edd6441cff" providerId="ADAL" clId="{6B709646-9B8B-914B-83A9-D81F12AFDE5E}" dt="2022-06-19T04:45:51.321" v="1031"/>
          <ac:inkMkLst>
            <pc:docMk/>
            <pc:sldMk cId="0" sldId="271"/>
            <ac:inkMk id="155" creationId="{CF8ACB4E-328C-EDC8-CDD1-C225140613E5}"/>
          </ac:inkMkLst>
        </pc:inkChg>
        <pc:inkChg chg="add mod">
          <ac:chgData name="Aniket Chhabra" userId="598e0514-bef3-4e71-b6aa-f2edd6441cff" providerId="ADAL" clId="{6B709646-9B8B-914B-83A9-D81F12AFDE5E}" dt="2022-06-19T04:45:51.321" v="1031"/>
          <ac:inkMkLst>
            <pc:docMk/>
            <pc:sldMk cId="0" sldId="271"/>
            <ac:inkMk id="156" creationId="{647F46DC-4F32-68F0-C435-8D734C4BA5AA}"/>
          </ac:inkMkLst>
        </pc:inkChg>
        <pc:inkChg chg="add mod">
          <ac:chgData name="Aniket Chhabra" userId="598e0514-bef3-4e71-b6aa-f2edd6441cff" providerId="ADAL" clId="{6B709646-9B8B-914B-83A9-D81F12AFDE5E}" dt="2022-06-19T04:45:51.321" v="1031"/>
          <ac:inkMkLst>
            <pc:docMk/>
            <pc:sldMk cId="0" sldId="271"/>
            <ac:inkMk id="157" creationId="{C2601FE9-F350-6562-EFB4-E7E071D2E9DC}"/>
          </ac:inkMkLst>
        </pc:inkChg>
        <pc:inkChg chg="add mod">
          <ac:chgData name="Aniket Chhabra" userId="598e0514-bef3-4e71-b6aa-f2edd6441cff" providerId="ADAL" clId="{6B709646-9B8B-914B-83A9-D81F12AFDE5E}" dt="2022-06-19T04:45:51.321" v="1031"/>
          <ac:inkMkLst>
            <pc:docMk/>
            <pc:sldMk cId="0" sldId="271"/>
            <ac:inkMk id="158" creationId="{136B4147-6D18-0B6A-7A35-09D5A2D7E840}"/>
          </ac:inkMkLst>
        </pc:inkChg>
        <pc:inkChg chg="add mod">
          <ac:chgData name="Aniket Chhabra" userId="598e0514-bef3-4e71-b6aa-f2edd6441cff" providerId="ADAL" clId="{6B709646-9B8B-914B-83A9-D81F12AFDE5E}" dt="2022-06-19T04:45:51.321" v="1031"/>
          <ac:inkMkLst>
            <pc:docMk/>
            <pc:sldMk cId="0" sldId="271"/>
            <ac:inkMk id="159" creationId="{835DD742-1B1E-8B8A-FA96-98A367D2DE30}"/>
          </ac:inkMkLst>
        </pc:inkChg>
        <pc:inkChg chg="add mod">
          <ac:chgData name="Aniket Chhabra" userId="598e0514-bef3-4e71-b6aa-f2edd6441cff" providerId="ADAL" clId="{6B709646-9B8B-914B-83A9-D81F12AFDE5E}" dt="2022-06-19T04:45:51.321" v="1031"/>
          <ac:inkMkLst>
            <pc:docMk/>
            <pc:sldMk cId="0" sldId="271"/>
            <ac:inkMk id="160" creationId="{48D3FA6B-51BD-74B9-B7E1-9B21A767E264}"/>
          </ac:inkMkLst>
        </pc:inkChg>
        <pc:inkChg chg="add mod">
          <ac:chgData name="Aniket Chhabra" userId="598e0514-bef3-4e71-b6aa-f2edd6441cff" providerId="ADAL" clId="{6B709646-9B8B-914B-83A9-D81F12AFDE5E}" dt="2022-06-19T04:45:51.321" v="1031"/>
          <ac:inkMkLst>
            <pc:docMk/>
            <pc:sldMk cId="0" sldId="271"/>
            <ac:inkMk id="161" creationId="{C7AD5613-9A3C-8A8E-9C79-BB9F73CEA507}"/>
          </ac:inkMkLst>
        </pc:inkChg>
        <pc:inkChg chg="add mod">
          <ac:chgData name="Aniket Chhabra" userId="598e0514-bef3-4e71-b6aa-f2edd6441cff" providerId="ADAL" clId="{6B709646-9B8B-914B-83A9-D81F12AFDE5E}" dt="2022-06-19T04:45:51.321" v="1031"/>
          <ac:inkMkLst>
            <pc:docMk/>
            <pc:sldMk cId="0" sldId="271"/>
            <ac:inkMk id="162" creationId="{E35E822C-AF13-ED07-C257-ECC61B871E99}"/>
          </ac:inkMkLst>
        </pc:inkChg>
        <pc:inkChg chg="add mod">
          <ac:chgData name="Aniket Chhabra" userId="598e0514-bef3-4e71-b6aa-f2edd6441cff" providerId="ADAL" clId="{6B709646-9B8B-914B-83A9-D81F12AFDE5E}" dt="2022-06-19T04:45:51.321" v="1031"/>
          <ac:inkMkLst>
            <pc:docMk/>
            <pc:sldMk cId="0" sldId="271"/>
            <ac:inkMk id="164" creationId="{F5B58BBF-552A-9B30-5BDC-785F0961975E}"/>
          </ac:inkMkLst>
        </pc:inkChg>
        <pc:inkChg chg="add mod">
          <ac:chgData name="Aniket Chhabra" userId="598e0514-bef3-4e71-b6aa-f2edd6441cff" providerId="ADAL" clId="{6B709646-9B8B-914B-83A9-D81F12AFDE5E}" dt="2022-06-19T04:45:51.321" v="1031"/>
          <ac:inkMkLst>
            <pc:docMk/>
            <pc:sldMk cId="0" sldId="271"/>
            <ac:inkMk id="165" creationId="{E891F75B-211E-A5B5-2773-DBA295975944}"/>
          </ac:inkMkLst>
        </pc:inkChg>
        <pc:inkChg chg="add mod">
          <ac:chgData name="Aniket Chhabra" userId="598e0514-bef3-4e71-b6aa-f2edd6441cff" providerId="ADAL" clId="{6B709646-9B8B-914B-83A9-D81F12AFDE5E}" dt="2022-06-19T04:45:51.321" v="1031"/>
          <ac:inkMkLst>
            <pc:docMk/>
            <pc:sldMk cId="0" sldId="271"/>
            <ac:inkMk id="166" creationId="{4E392BEC-D563-1B50-9A44-18EBC9F35636}"/>
          </ac:inkMkLst>
        </pc:inkChg>
        <pc:inkChg chg="add mod">
          <ac:chgData name="Aniket Chhabra" userId="598e0514-bef3-4e71-b6aa-f2edd6441cff" providerId="ADAL" clId="{6B709646-9B8B-914B-83A9-D81F12AFDE5E}" dt="2022-06-19T04:45:51.321" v="1031"/>
          <ac:inkMkLst>
            <pc:docMk/>
            <pc:sldMk cId="0" sldId="271"/>
            <ac:inkMk id="167" creationId="{577CBD8E-598A-14E4-6198-22B1B458A7DE}"/>
          </ac:inkMkLst>
        </pc:inkChg>
        <pc:inkChg chg="add mod">
          <ac:chgData name="Aniket Chhabra" userId="598e0514-bef3-4e71-b6aa-f2edd6441cff" providerId="ADAL" clId="{6B709646-9B8B-914B-83A9-D81F12AFDE5E}" dt="2022-06-19T04:45:51.321" v="1031"/>
          <ac:inkMkLst>
            <pc:docMk/>
            <pc:sldMk cId="0" sldId="271"/>
            <ac:inkMk id="168" creationId="{601363EA-298B-AC8E-FAA7-544DC647DCE6}"/>
          </ac:inkMkLst>
        </pc:inkChg>
        <pc:inkChg chg="add mod">
          <ac:chgData name="Aniket Chhabra" userId="598e0514-bef3-4e71-b6aa-f2edd6441cff" providerId="ADAL" clId="{6B709646-9B8B-914B-83A9-D81F12AFDE5E}" dt="2022-06-19T04:45:51.321" v="1031"/>
          <ac:inkMkLst>
            <pc:docMk/>
            <pc:sldMk cId="0" sldId="271"/>
            <ac:inkMk id="169" creationId="{23F9532D-C509-C92A-7202-789F243F6793}"/>
          </ac:inkMkLst>
        </pc:inkChg>
        <pc:inkChg chg="add mod">
          <ac:chgData name="Aniket Chhabra" userId="598e0514-bef3-4e71-b6aa-f2edd6441cff" providerId="ADAL" clId="{6B709646-9B8B-914B-83A9-D81F12AFDE5E}" dt="2022-06-19T04:45:51.321" v="1031"/>
          <ac:inkMkLst>
            <pc:docMk/>
            <pc:sldMk cId="0" sldId="271"/>
            <ac:inkMk id="170" creationId="{3DE52CB1-B87E-E5B8-5E40-96C60FE79352}"/>
          </ac:inkMkLst>
        </pc:inkChg>
        <pc:inkChg chg="add mod">
          <ac:chgData name="Aniket Chhabra" userId="598e0514-bef3-4e71-b6aa-f2edd6441cff" providerId="ADAL" clId="{6B709646-9B8B-914B-83A9-D81F12AFDE5E}" dt="2022-06-19T04:45:51.321" v="1031"/>
          <ac:inkMkLst>
            <pc:docMk/>
            <pc:sldMk cId="0" sldId="271"/>
            <ac:inkMk id="171" creationId="{67B3C4A8-2E2C-5E24-D75A-59B662517DE5}"/>
          </ac:inkMkLst>
        </pc:inkChg>
        <pc:inkChg chg="add mod">
          <ac:chgData name="Aniket Chhabra" userId="598e0514-bef3-4e71-b6aa-f2edd6441cff" providerId="ADAL" clId="{6B709646-9B8B-914B-83A9-D81F12AFDE5E}" dt="2022-06-19T04:45:51.321" v="1031"/>
          <ac:inkMkLst>
            <pc:docMk/>
            <pc:sldMk cId="0" sldId="271"/>
            <ac:inkMk id="172" creationId="{B99B39D2-FF21-14F7-1842-615919F3363A}"/>
          </ac:inkMkLst>
        </pc:inkChg>
        <pc:inkChg chg="add mod">
          <ac:chgData name="Aniket Chhabra" userId="598e0514-bef3-4e71-b6aa-f2edd6441cff" providerId="ADAL" clId="{6B709646-9B8B-914B-83A9-D81F12AFDE5E}" dt="2022-06-19T04:45:51.321" v="1031"/>
          <ac:inkMkLst>
            <pc:docMk/>
            <pc:sldMk cId="0" sldId="271"/>
            <ac:inkMk id="173" creationId="{4CBC0129-0860-96CD-1AD2-7720746BF103}"/>
          </ac:inkMkLst>
        </pc:inkChg>
        <pc:inkChg chg="add mod">
          <ac:chgData name="Aniket Chhabra" userId="598e0514-bef3-4e71-b6aa-f2edd6441cff" providerId="ADAL" clId="{6B709646-9B8B-914B-83A9-D81F12AFDE5E}" dt="2022-06-19T04:45:51.321" v="1031"/>
          <ac:inkMkLst>
            <pc:docMk/>
            <pc:sldMk cId="0" sldId="271"/>
            <ac:inkMk id="174" creationId="{CDCED5E2-8EF8-014B-311D-69F3ACE54426}"/>
          </ac:inkMkLst>
        </pc:inkChg>
      </pc:sldChg>
      <pc:sldChg chg="ord">
        <pc:chgData name="Aniket Chhabra" userId="598e0514-bef3-4e71-b6aa-f2edd6441cff" providerId="ADAL" clId="{6B709646-9B8B-914B-83A9-D81F12AFDE5E}" dt="2022-06-19T02:24:08.846" v="0" actId="20578"/>
        <pc:sldMkLst>
          <pc:docMk/>
          <pc:sldMk cId="1818286724" sldId="565"/>
        </pc:sldMkLst>
      </pc:sldChg>
      <pc:sldChg chg="addSp modSp new mod">
        <pc:chgData name="Aniket Chhabra" userId="598e0514-bef3-4e71-b6aa-f2edd6441cff" providerId="ADAL" clId="{6B709646-9B8B-914B-83A9-D81F12AFDE5E}" dt="2022-06-19T04:27:07.276" v="559"/>
        <pc:sldMkLst>
          <pc:docMk/>
          <pc:sldMk cId="1672978264" sldId="566"/>
        </pc:sldMkLst>
        <pc:grpChg chg="mod">
          <ac:chgData name="Aniket Chhabra" userId="598e0514-bef3-4e71-b6aa-f2edd6441cff" providerId="ADAL" clId="{6B709646-9B8B-914B-83A9-D81F12AFDE5E}" dt="2022-06-19T04:14:42.117" v="331"/>
          <ac:grpSpMkLst>
            <pc:docMk/>
            <pc:sldMk cId="1672978264" sldId="566"/>
            <ac:grpSpMk id="12" creationId="{FD48CF8E-DFCD-DB19-42F7-C6BDEE0E1CB6}"/>
          </ac:grpSpMkLst>
        </pc:grpChg>
        <pc:grpChg chg="mod">
          <ac:chgData name="Aniket Chhabra" userId="598e0514-bef3-4e71-b6aa-f2edd6441cff" providerId="ADAL" clId="{6B709646-9B8B-914B-83A9-D81F12AFDE5E}" dt="2022-06-19T04:14:44.082" v="334"/>
          <ac:grpSpMkLst>
            <pc:docMk/>
            <pc:sldMk cId="1672978264" sldId="566"/>
            <ac:grpSpMk id="15" creationId="{0D52B708-B1B3-9107-7CB1-40E35D208B0D}"/>
          </ac:grpSpMkLst>
        </pc:grpChg>
        <pc:grpChg chg="mod">
          <ac:chgData name="Aniket Chhabra" userId="598e0514-bef3-4e71-b6aa-f2edd6441cff" providerId="ADAL" clId="{6B709646-9B8B-914B-83A9-D81F12AFDE5E}" dt="2022-06-19T04:26:32.185" v="512"/>
          <ac:grpSpMkLst>
            <pc:docMk/>
            <pc:sldMk cId="1672978264" sldId="566"/>
            <ac:grpSpMk id="191" creationId="{EEED5240-3974-4455-75BB-713418D126B4}"/>
          </ac:grpSpMkLst>
        </pc:grpChg>
        <pc:grpChg chg="mod">
          <ac:chgData name="Aniket Chhabra" userId="598e0514-bef3-4e71-b6aa-f2edd6441cff" providerId="ADAL" clId="{6B709646-9B8B-914B-83A9-D81F12AFDE5E}" dt="2022-06-19T04:26:50.275" v="553"/>
          <ac:grpSpMkLst>
            <pc:docMk/>
            <pc:sldMk cId="1672978264" sldId="566"/>
            <ac:grpSpMk id="232" creationId="{C8F5CBCE-3E9F-4FDC-DE79-1D0D1C063FA8}"/>
          </ac:grpSpMkLst>
        </pc:grpChg>
        <pc:grpChg chg="mod">
          <ac:chgData name="Aniket Chhabra" userId="598e0514-bef3-4e71-b6aa-f2edd6441cff" providerId="ADAL" clId="{6B709646-9B8B-914B-83A9-D81F12AFDE5E}" dt="2022-06-19T04:26:50.275" v="553"/>
          <ac:grpSpMkLst>
            <pc:docMk/>
            <pc:sldMk cId="1672978264" sldId="566"/>
            <ac:grpSpMk id="233" creationId="{B4F8EE71-E8F6-D557-A09C-9C6B3371B4FD}"/>
          </ac:grpSpMkLst>
        </pc:grpChg>
        <pc:grpChg chg="mod">
          <ac:chgData name="Aniket Chhabra" userId="598e0514-bef3-4e71-b6aa-f2edd6441cff" providerId="ADAL" clId="{6B709646-9B8B-914B-83A9-D81F12AFDE5E}" dt="2022-06-19T04:27:07.276" v="559"/>
          <ac:grpSpMkLst>
            <pc:docMk/>
            <pc:sldMk cId="1672978264" sldId="566"/>
            <ac:grpSpMk id="239" creationId="{5A34995B-6D90-FB58-1E99-0146B053E321}"/>
          </ac:grpSpMkLst>
        </pc:grpChg>
        <pc:inkChg chg="add">
          <ac:chgData name="Aniket Chhabra" userId="598e0514-bef3-4e71-b6aa-f2edd6441cff" providerId="ADAL" clId="{6B709646-9B8B-914B-83A9-D81F12AFDE5E}" dt="2022-06-19T04:14:33.911" v="323" actId="9405"/>
          <ac:inkMkLst>
            <pc:docMk/>
            <pc:sldMk cId="1672978264" sldId="566"/>
            <ac:inkMk id="4" creationId="{454E8AE9-5EF5-649A-DFC0-84EB316709D6}"/>
          </ac:inkMkLst>
        </pc:inkChg>
        <pc:inkChg chg="add mod">
          <ac:chgData name="Aniket Chhabra" userId="598e0514-bef3-4e71-b6aa-f2edd6441cff" providerId="ADAL" clId="{6B709646-9B8B-914B-83A9-D81F12AFDE5E}" dt="2022-06-19T04:14:42.117" v="331"/>
          <ac:inkMkLst>
            <pc:docMk/>
            <pc:sldMk cId="1672978264" sldId="566"/>
            <ac:inkMk id="5" creationId="{E39E315B-6488-EFBD-69D1-B62A78CF9BE3}"/>
          </ac:inkMkLst>
        </pc:inkChg>
        <pc:inkChg chg="add mod">
          <ac:chgData name="Aniket Chhabra" userId="598e0514-bef3-4e71-b6aa-f2edd6441cff" providerId="ADAL" clId="{6B709646-9B8B-914B-83A9-D81F12AFDE5E}" dt="2022-06-19T04:14:42.117" v="331"/>
          <ac:inkMkLst>
            <pc:docMk/>
            <pc:sldMk cId="1672978264" sldId="566"/>
            <ac:inkMk id="6" creationId="{1FC2BC25-A787-9026-9C78-D071626D32FB}"/>
          </ac:inkMkLst>
        </pc:inkChg>
        <pc:inkChg chg="add mod">
          <ac:chgData name="Aniket Chhabra" userId="598e0514-bef3-4e71-b6aa-f2edd6441cff" providerId="ADAL" clId="{6B709646-9B8B-914B-83A9-D81F12AFDE5E}" dt="2022-06-19T04:14:42.117" v="331"/>
          <ac:inkMkLst>
            <pc:docMk/>
            <pc:sldMk cId="1672978264" sldId="566"/>
            <ac:inkMk id="7" creationId="{5C11AA4D-2327-93A0-BF67-8B5DABE064BE}"/>
          </ac:inkMkLst>
        </pc:inkChg>
        <pc:inkChg chg="add mod">
          <ac:chgData name="Aniket Chhabra" userId="598e0514-bef3-4e71-b6aa-f2edd6441cff" providerId="ADAL" clId="{6B709646-9B8B-914B-83A9-D81F12AFDE5E}" dt="2022-06-19T04:14:42.117" v="331"/>
          <ac:inkMkLst>
            <pc:docMk/>
            <pc:sldMk cId="1672978264" sldId="566"/>
            <ac:inkMk id="8" creationId="{0B1D8029-AE22-460D-71DC-E4CDABBA4C3D}"/>
          </ac:inkMkLst>
        </pc:inkChg>
        <pc:inkChg chg="add mod">
          <ac:chgData name="Aniket Chhabra" userId="598e0514-bef3-4e71-b6aa-f2edd6441cff" providerId="ADAL" clId="{6B709646-9B8B-914B-83A9-D81F12AFDE5E}" dt="2022-06-19T04:14:42.117" v="331"/>
          <ac:inkMkLst>
            <pc:docMk/>
            <pc:sldMk cId="1672978264" sldId="566"/>
            <ac:inkMk id="9" creationId="{2D57EAB5-C250-7DA7-DE7D-E9046AB0CC70}"/>
          </ac:inkMkLst>
        </pc:inkChg>
        <pc:inkChg chg="add mod">
          <ac:chgData name="Aniket Chhabra" userId="598e0514-bef3-4e71-b6aa-f2edd6441cff" providerId="ADAL" clId="{6B709646-9B8B-914B-83A9-D81F12AFDE5E}" dt="2022-06-19T04:14:42.117" v="331"/>
          <ac:inkMkLst>
            <pc:docMk/>
            <pc:sldMk cId="1672978264" sldId="566"/>
            <ac:inkMk id="10" creationId="{7C29A168-C6C2-889D-BCB4-A91FEDA5D9A8}"/>
          </ac:inkMkLst>
        </pc:inkChg>
        <pc:inkChg chg="add mod">
          <ac:chgData name="Aniket Chhabra" userId="598e0514-bef3-4e71-b6aa-f2edd6441cff" providerId="ADAL" clId="{6B709646-9B8B-914B-83A9-D81F12AFDE5E}" dt="2022-06-19T04:14:42.117" v="331"/>
          <ac:inkMkLst>
            <pc:docMk/>
            <pc:sldMk cId="1672978264" sldId="566"/>
            <ac:inkMk id="11" creationId="{CBB83A3D-45B3-C5B7-89EC-7D83379C2BA5}"/>
          </ac:inkMkLst>
        </pc:inkChg>
        <pc:inkChg chg="add mod">
          <ac:chgData name="Aniket Chhabra" userId="598e0514-bef3-4e71-b6aa-f2edd6441cff" providerId="ADAL" clId="{6B709646-9B8B-914B-83A9-D81F12AFDE5E}" dt="2022-06-19T04:14:44.082" v="334"/>
          <ac:inkMkLst>
            <pc:docMk/>
            <pc:sldMk cId="1672978264" sldId="566"/>
            <ac:inkMk id="13" creationId="{DFB844D6-8AB5-01C0-23F7-6C9BDF6DAE88}"/>
          </ac:inkMkLst>
        </pc:inkChg>
        <pc:inkChg chg="add mod">
          <ac:chgData name="Aniket Chhabra" userId="598e0514-bef3-4e71-b6aa-f2edd6441cff" providerId="ADAL" clId="{6B709646-9B8B-914B-83A9-D81F12AFDE5E}" dt="2022-06-19T04:14:44.082" v="334"/>
          <ac:inkMkLst>
            <pc:docMk/>
            <pc:sldMk cId="1672978264" sldId="566"/>
            <ac:inkMk id="14" creationId="{F31F7AB4-F1DE-F9B3-DC6F-45A5F79F3BD8}"/>
          </ac:inkMkLst>
        </pc:inkChg>
        <pc:inkChg chg="add">
          <ac:chgData name="Aniket Chhabra" userId="598e0514-bef3-4e71-b6aa-f2edd6441cff" providerId="ADAL" clId="{6B709646-9B8B-914B-83A9-D81F12AFDE5E}" dt="2022-06-19T04:14:54.589" v="335" actId="9405"/>
          <ac:inkMkLst>
            <pc:docMk/>
            <pc:sldMk cId="1672978264" sldId="566"/>
            <ac:inkMk id="16" creationId="{2C9EECB3-2895-649C-BF0D-FDBC5994861C}"/>
          </ac:inkMkLst>
        </pc:inkChg>
        <pc:inkChg chg="add">
          <ac:chgData name="Aniket Chhabra" userId="598e0514-bef3-4e71-b6aa-f2edd6441cff" providerId="ADAL" clId="{6B709646-9B8B-914B-83A9-D81F12AFDE5E}" dt="2022-06-19T04:14:54.733" v="336" actId="9405"/>
          <ac:inkMkLst>
            <pc:docMk/>
            <pc:sldMk cId="1672978264" sldId="566"/>
            <ac:inkMk id="17" creationId="{63F7B58F-6054-16C3-192F-9BDBECD115DF}"/>
          </ac:inkMkLst>
        </pc:inkChg>
        <pc:inkChg chg="add">
          <ac:chgData name="Aniket Chhabra" userId="598e0514-bef3-4e71-b6aa-f2edd6441cff" providerId="ADAL" clId="{6B709646-9B8B-914B-83A9-D81F12AFDE5E}" dt="2022-06-19T04:14:55.157" v="337" actId="9405"/>
          <ac:inkMkLst>
            <pc:docMk/>
            <pc:sldMk cId="1672978264" sldId="566"/>
            <ac:inkMk id="18" creationId="{E61146E6-B594-F783-60A8-527F3B8D401B}"/>
          </ac:inkMkLst>
        </pc:inkChg>
        <pc:inkChg chg="add">
          <ac:chgData name="Aniket Chhabra" userId="598e0514-bef3-4e71-b6aa-f2edd6441cff" providerId="ADAL" clId="{6B709646-9B8B-914B-83A9-D81F12AFDE5E}" dt="2022-06-19T04:14:56.205" v="338" actId="9405"/>
          <ac:inkMkLst>
            <pc:docMk/>
            <pc:sldMk cId="1672978264" sldId="566"/>
            <ac:inkMk id="19" creationId="{A2CFD5BC-9F6F-D27E-0EB3-13B53FCE8BF8}"/>
          </ac:inkMkLst>
        </pc:inkChg>
        <pc:inkChg chg="add">
          <ac:chgData name="Aniket Chhabra" userId="598e0514-bef3-4e71-b6aa-f2edd6441cff" providerId="ADAL" clId="{6B709646-9B8B-914B-83A9-D81F12AFDE5E}" dt="2022-06-19T04:14:56.382" v="339" actId="9405"/>
          <ac:inkMkLst>
            <pc:docMk/>
            <pc:sldMk cId="1672978264" sldId="566"/>
            <ac:inkMk id="20" creationId="{B8770A02-872D-3D8B-168B-E084653153E3}"/>
          </ac:inkMkLst>
        </pc:inkChg>
        <pc:inkChg chg="add">
          <ac:chgData name="Aniket Chhabra" userId="598e0514-bef3-4e71-b6aa-f2edd6441cff" providerId="ADAL" clId="{6B709646-9B8B-914B-83A9-D81F12AFDE5E}" dt="2022-06-19T04:14:56.696" v="340" actId="9405"/>
          <ac:inkMkLst>
            <pc:docMk/>
            <pc:sldMk cId="1672978264" sldId="566"/>
            <ac:inkMk id="21" creationId="{5A7C9096-9ED2-60B2-6CD6-B50FBB191C87}"/>
          </ac:inkMkLst>
        </pc:inkChg>
        <pc:inkChg chg="add">
          <ac:chgData name="Aniket Chhabra" userId="598e0514-bef3-4e71-b6aa-f2edd6441cff" providerId="ADAL" clId="{6B709646-9B8B-914B-83A9-D81F12AFDE5E}" dt="2022-06-19T04:14:56.844" v="341" actId="9405"/>
          <ac:inkMkLst>
            <pc:docMk/>
            <pc:sldMk cId="1672978264" sldId="566"/>
            <ac:inkMk id="22" creationId="{E3003147-4297-AA1F-C1F7-7DFA25086C7D}"/>
          </ac:inkMkLst>
        </pc:inkChg>
        <pc:inkChg chg="add">
          <ac:chgData name="Aniket Chhabra" userId="598e0514-bef3-4e71-b6aa-f2edd6441cff" providerId="ADAL" clId="{6B709646-9B8B-914B-83A9-D81F12AFDE5E}" dt="2022-06-19T04:14:57.414" v="342" actId="9405"/>
          <ac:inkMkLst>
            <pc:docMk/>
            <pc:sldMk cId="1672978264" sldId="566"/>
            <ac:inkMk id="23" creationId="{EC086B8C-193E-B1CE-7431-1C3FE7AD2E80}"/>
          </ac:inkMkLst>
        </pc:inkChg>
        <pc:inkChg chg="add">
          <ac:chgData name="Aniket Chhabra" userId="598e0514-bef3-4e71-b6aa-f2edd6441cff" providerId="ADAL" clId="{6B709646-9B8B-914B-83A9-D81F12AFDE5E}" dt="2022-06-19T04:14:57.706" v="343" actId="9405"/>
          <ac:inkMkLst>
            <pc:docMk/>
            <pc:sldMk cId="1672978264" sldId="566"/>
            <ac:inkMk id="24" creationId="{B1905748-DBEB-711A-840A-DEF720349E06}"/>
          </ac:inkMkLst>
        </pc:inkChg>
        <pc:inkChg chg="add">
          <ac:chgData name="Aniket Chhabra" userId="598e0514-bef3-4e71-b6aa-f2edd6441cff" providerId="ADAL" clId="{6B709646-9B8B-914B-83A9-D81F12AFDE5E}" dt="2022-06-19T04:14:57.939" v="344" actId="9405"/>
          <ac:inkMkLst>
            <pc:docMk/>
            <pc:sldMk cId="1672978264" sldId="566"/>
            <ac:inkMk id="25" creationId="{9AF4D9E3-0044-25CE-D2BF-2E48DE65D4A3}"/>
          </ac:inkMkLst>
        </pc:inkChg>
        <pc:inkChg chg="add">
          <ac:chgData name="Aniket Chhabra" userId="598e0514-bef3-4e71-b6aa-f2edd6441cff" providerId="ADAL" clId="{6B709646-9B8B-914B-83A9-D81F12AFDE5E}" dt="2022-06-19T04:14:58.133" v="345" actId="9405"/>
          <ac:inkMkLst>
            <pc:docMk/>
            <pc:sldMk cId="1672978264" sldId="566"/>
            <ac:inkMk id="26" creationId="{DD5E9089-F663-5BFC-566E-06709B02DC53}"/>
          </ac:inkMkLst>
        </pc:inkChg>
        <pc:inkChg chg="add">
          <ac:chgData name="Aniket Chhabra" userId="598e0514-bef3-4e71-b6aa-f2edd6441cff" providerId="ADAL" clId="{6B709646-9B8B-914B-83A9-D81F12AFDE5E}" dt="2022-06-19T04:14:58.442" v="346" actId="9405"/>
          <ac:inkMkLst>
            <pc:docMk/>
            <pc:sldMk cId="1672978264" sldId="566"/>
            <ac:inkMk id="27" creationId="{8D08E8A8-CA9D-2016-E6F4-5C4BF742ABA1}"/>
          </ac:inkMkLst>
        </pc:inkChg>
        <pc:inkChg chg="add">
          <ac:chgData name="Aniket Chhabra" userId="598e0514-bef3-4e71-b6aa-f2edd6441cff" providerId="ADAL" clId="{6B709646-9B8B-914B-83A9-D81F12AFDE5E}" dt="2022-06-19T04:14:58.694" v="347" actId="9405"/>
          <ac:inkMkLst>
            <pc:docMk/>
            <pc:sldMk cId="1672978264" sldId="566"/>
            <ac:inkMk id="28" creationId="{BDC23854-9307-4725-561D-7CB59FCC08CE}"/>
          </ac:inkMkLst>
        </pc:inkChg>
        <pc:inkChg chg="add">
          <ac:chgData name="Aniket Chhabra" userId="598e0514-bef3-4e71-b6aa-f2edd6441cff" providerId="ADAL" clId="{6B709646-9B8B-914B-83A9-D81F12AFDE5E}" dt="2022-06-19T04:14:59.754" v="348" actId="9405"/>
          <ac:inkMkLst>
            <pc:docMk/>
            <pc:sldMk cId="1672978264" sldId="566"/>
            <ac:inkMk id="29" creationId="{565DE5C2-7081-F5D3-3A94-C86A68201C82}"/>
          </ac:inkMkLst>
        </pc:inkChg>
        <pc:inkChg chg="add">
          <ac:chgData name="Aniket Chhabra" userId="598e0514-bef3-4e71-b6aa-f2edd6441cff" providerId="ADAL" clId="{6B709646-9B8B-914B-83A9-D81F12AFDE5E}" dt="2022-06-19T04:15:00.381" v="349" actId="9405"/>
          <ac:inkMkLst>
            <pc:docMk/>
            <pc:sldMk cId="1672978264" sldId="566"/>
            <ac:inkMk id="30" creationId="{65EDFA56-7BA1-AEF0-F94E-056B83DA8C4F}"/>
          </ac:inkMkLst>
        </pc:inkChg>
        <pc:inkChg chg="add">
          <ac:chgData name="Aniket Chhabra" userId="598e0514-bef3-4e71-b6aa-f2edd6441cff" providerId="ADAL" clId="{6B709646-9B8B-914B-83A9-D81F12AFDE5E}" dt="2022-06-19T04:15:01" v="350" actId="9405"/>
          <ac:inkMkLst>
            <pc:docMk/>
            <pc:sldMk cId="1672978264" sldId="566"/>
            <ac:inkMk id="31" creationId="{A76EE899-202C-A7A5-322E-5F2806C98E8D}"/>
          </ac:inkMkLst>
        </pc:inkChg>
        <pc:inkChg chg="add">
          <ac:chgData name="Aniket Chhabra" userId="598e0514-bef3-4e71-b6aa-f2edd6441cff" providerId="ADAL" clId="{6B709646-9B8B-914B-83A9-D81F12AFDE5E}" dt="2022-06-19T04:15:01.370" v="351" actId="9405"/>
          <ac:inkMkLst>
            <pc:docMk/>
            <pc:sldMk cId="1672978264" sldId="566"/>
            <ac:inkMk id="32" creationId="{4BF63290-EEDE-29C6-9CD2-1DB1ABFCE2D4}"/>
          </ac:inkMkLst>
        </pc:inkChg>
        <pc:inkChg chg="add">
          <ac:chgData name="Aniket Chhabra" userId="598e0514-bef3-4e71-b6aa-f2edd6441cff" providerId="ADAL" clId="{6B709646-9B8B-914B-83A9-D81F12AFDE5E}" dt="2022-06-19T04:15:01.739" v="352" actId="9405"/>
          <ac:inkMkLst>
            <pc:docMk/>
            <pc:sldMk cId="1672978264" sldId="566"/>
            <ac:inkMk id="33" creationId="{8207F779-E49D-80BB-61F6-BA73E82D3263}"/>
          </ac:inkMkLst>
        </pc:inkChg>
        <pc:inkChg chg="add">
          <ac:chgData name="Aniket Chhabra" userId="598e0514-bef3-4e71-b6aa-f2edd6441cff" providerId="ADAL" clId="{6B709646-9B8B-914B-83A9-D81F12AFDE5E}" dt="2022-06-19T04:15:02.223" v="353" actId="9405"/>
          <ac:inkMkLst>
            <pc:docMk/>
            <pc:sldMk cId="1672978264" sldId="566"/>
            <ac:inkMk id="34" creationId="{C534929B-86E5-E89C-A490-CF0677014595}"/>
          </ac:inkMkLst>
        </pc:inkChg>
        <pc:inkChg chg="add">
          <ac:chgData name="Aniket Chhabra" userId="598e0514-bef3-4e71-b6aa-f2edd6441cff" providerId="ADAL" clId="{6B709646-9B8B-914B-83A9-D81F12AFDE5E}" dt="2022-06-19T04:15:02.486" v="354" actId="9405"/>
          <ac:inkMkLst>
            <pc:docMk/>
            <pc:sldMk cId="1672978264" sldId="566"/>
            <ac:inkMk id="35" creationId="{291A89A6-2AF9-A6F5-FABF-8B706BB8CC90}"/>
          </ac:inkMkLst>
        </pc:inkChg>
        <pc:inkChg chg="add">
          <ac:chgData name="Aniket Chhabra" userId="598e0514-bef3-4e71-b6aa-f2edd6441cff" providerId="ADAL" clId="{6B709646-9B8B-914B-83A9-D81F12AFDE5E}" dt="2022-06-19T04:15:02.997" v="355" actId="9405"/>
          <ac:inkMkLst>
            <pc:docMk/>
            <pc:sldMk cId="1672978264" sldId="566"/>
            <ac:inkMk id="36" creationId="{091D678D-CCC5-C1D4-E018-125049AB78C1}"/>
          </ac:inkMkLst>
        </pc:inkChg>
        <pc:inkChg chg="add">
          <ac:chgData name="Aniket Chhabra" userId="598e0514-bef3-4e71-b6aa-f2edd6441cff" providerId="ADAL" clId="{6B709646-9B8B-914B-83A9-D81F12AFDE5E}" dt="2022-06-19T04:15:03.274" v="356" actId="9405"/>
          <ac:inkMkLst>
            <pc:docMk/>
            <pc:sldMk cId="1672978264" sldId="566"/>
            <ac:inkMk id="37" creationId="{FB280095-EBA1-42D8-7725-EA8474A05ADB}"/>
          </ac:inkMkLst>
        </pc:inkChg>
        <pc:inkChg chg="add">
          <ac:chgData name="Aniket Chhabra" userId="598e0514-bef3-4e71-b6aa-f2edd6441cff" providerId="ADAL" clId="{6B709646-9B8B-914B-83A9-D81F12AFDE5E}" dt="2022-06-19T04:15:03.437" v="357" actId="9405"/>
          <ac:inkMkLst>
            <pc:docMk/>
            <pc:sldMk cId="1672978264" sldId="566"/>
            <ac:inkMk id="38" creationId="{D98E6CD0-87AB-7CE0-9F4A-9AE7C5E7E64F}"/>
          </ac:inkMkLst>
        </pc:inkChg>
        <pc:inkChg chg="add">
          <ac:chgData name="Aniket Chhabra" userId="598e0514-bef3-4e71-b6aa-f2edd6441cff" providerId="ADAL" clId="{6B709646-9B8B-914B-83A9-D81F12AFDE5E}" dt="2022-06-19T04:15:03.585" v="358" actId="9405"/>
          <ac:inkMkLst>
            <pc:docMk/>
            <pc:sldMk cId="1672978264" sldId="566"/>
            <ac:inkMk id="39" creationId="{2C7E9625-BFFB-9429-F7F0-E1452BBE2F0F}"/>
          </ac:inkMkLst>
        </pc:inkChg>
        <pc:inkChg chg="add">
          <ac:chgData name="Aniket Chhabra" userId="598e0514-bef3-4e71-b6aa-f2edd6441cff" providerId="ADAL" clId="{6B709646-9B8B-914B-83A9-D81F12AFDE5E}" dt="2022-06-19T04:15:04.041" v="359" actId="9405"/>
          <ac:inkMkLst>
            <pc:docMk/>
            <pc:sldMk cId="1672978264" sldId="566"/>
            <ac:inkMk id="40" creationId="{82705013-E558-D51E-C9DB-2855ED890229}"/>
          </ac:inkMkLst>
        </pc:inkChg>
        <pc:inkChg chg="add">
          <ac:chgData name="Aniket Chhabra" userId="598e0514-bef3-4e71-b6aa-f2edd6441cff" providerId="ADAL" clId="{6B709646-9B8B-914B-83A9-D81F12AFDE5E}" dt="2022-06-19T04:15:04.301" v="360" actId="9405"/>
          <ac:inkMkLst>
            <pc:docMk/>
            <pc:sldMk cId="1672978264" sldId="566"/>
            <ac:inkMk id="41" creationId="{A09758EC-2E14-FDBB-3E1B-F2A5FE4737E3}"/>
          </ac:inkMkLst>
        </pc:inkChg>
        <pc:inkChg chg="add">
          <ac:chgData name="Aniket Chhabra" userId="598e0514-bef3-4e71-b6aa-f2edd6441cff" providerId="ADAL" clId="{6B709646-9B8B-914B-83A9-D81F12AFDE5E}" dt="2022-06-19T04:15:04.628" v="361" actId="9405"/>
          <ac:inkMkLst>
            <pc:docMk/>
            <pc:sldMk cId="1672978264" sldId="566"/>
            <ac:inkMk id="42" creationId="{7AC16328-6AC6-A2B8-634F-422593C0017E}"/>
          </ac:inkMkLst>
        </pc:inkChg>
        <pc:inkChg chg="add">
          <ac:chgData name="Aniket Chhabra" userId="598e0514-bef3-4e71-b6aa-f2edd6441cff" providerId="ADAL" clId="{6B709646-9B8B-914B-83A9-D81F12AFDE5E}" dt="2022-06-19T04:15:04.838" v="362" actId="9405"/>
          <ac:inkMkLst>
            <pc:docMk/>
            <pc:sldMk cId="1672978264" sldId="566"/>
            <ac:inkMk id="43" creationId="{8F61AD72-F6AE-08EC-1CBC-6B469E8F3763}"/>
          </ac:inkMkLst>
        </pc:inkChg>
        <pc:inkChg chg="add">
          <ac:chgData name="Aniket Chhabra" userId="598e0514-bef3-4e71-b6aa-f2edd6441cff" providerId="ADAL" clId="{6B709646-9B8B-914B-83A9-D81F12AFDE5E}" dt="2022-06-19T04:15:05.156" v="363" actId="9405"/>
          <ac:inkMkLst>
            <pc:docMk/>
            <pc:sldMk cId="1672978264" sldId="566"/>
            <ac:inkMk id="44" creationId="{7E8D71EC-2B7F-53DF-0796-AB7483B79CC5}"/>
          </ac:inkMkLst>
        </pc:inkChg>
        <pc:inkChg chg="add">
          <ac:chgData name="Aniket Chhabra" userId="598e0514-bef3-4e71-b6aa-f2edd6441cff" providerId="ADAL" clId="{6B709646-9B8B-914B-83A9-D81F12AFDE5E}" dt="2022-06-19T04:15:05.439" v="364" actId="9405"/>
          <ac:inkMkLst>
            <pc:docMk/>
            <pc:sldMk cId="1672978264" sldId="566"/>
            <ac:inkMk id="45" creationId="{96F1BABB-4706-EAB0-4918-D8A06B8284EE}"/>
          </ac:inkMkLst>
        </pc:inkChg>
        <pc:inkChg chg="add">
          <ac:chgData name="Aniket Chhabra" userId="598e0514-bef3-4e71-b6aa-f2edd6441cff" providerId="ADAL" clId="{6B709646-9B8B-914B-83A9-D81F12AFDE5E}" dt="2022-06-19T04:15:08.202" v="365" actId="9405"/>
          <ac:inkMkLst>
            <pc:docMk/>
            <pc:sldMk cId="1672978264" sldId="566"/>
            <ac:inkMk id="46" creationId="{385C112E-949C-E0FA-6E7A-5C0835C19902}"/>
          </ac:inkMkLst>
        </pc:inkChg>
        <pc:inkChg chg="add">
          <ac:chgData name="Aniket Chhabra" userId="598e0514-bef3-4e71-b6aa-f2edd6441cff" providerId="ADAL" clId="{6B709646-9B8B-914B-83A9-D81F12AFDE5E}" dt="2022-06-19T04:15:08.499" v="366" actId="9405"/>
          <ac:inkMkLst>
            <pc:docMk/>
            <pc:sldMk cId="1672978264" sldId="566"/>
            <ac:inkMk id="47" creationId="{901838C3-8E0D-E4BB-CE08-D8D5DD641358}"/>
          </ac:inkMkLst>
        </pc:inkChg>
        <pc:inkChg chg="add">
          <ac:chgData name="Aniket Chhabra" userId="598e0514-bef3-4e71-b6aa-f2edd6441cff" providerId="ADAL" clId="{6B709646-9B8B-914B-83A9-D81F12AFDE5E}" dt="2022-06-19T04:15:09.807" v="367" actId="9405"/>
          <ac:inkMkLst>
            <pc:docMk/>
            <pc:sldMk cId="1672978264" sldId="566"/>
            <ac:inkMk id="48" creationId="{7F31796E-C1C9-D484-F52D-BC7E4EC39047}"/>
          </ac:inkMkLst>
        </pc:inkChg>
        <pc:inkChg chg="add">
          <ac:chgData name="Aniket Chhabra" userId="598e0514-bef3-4e71-b6aa-f2edd6441cff" providerId="ADAL" clId="{6B709646-9B8B-914B-83A9-D81F12AFDE5E}" dt="2022-06-19T04:15:09.943" v="368" actId="9405"/>
          <ac:inkMkLst>
            <pc:docMk/>
            <pc:sldMk cId="1672978264" sldId="566"/>
            <ac:inkMk id="49" creationId="{9B864216-48B8-FC1A-4241-7F3399E3FF33}"/>
          </ac:inkMkLst>
        </pc:inkChg>
        <pc:inkChg chg="add">
          <ac:chgData name="Aniket Chhabra" userId="598e0514-bef3-4e71-b6aa-f2edd6441cff" providerId="ADAL" clId="{6B709646-9B8B-914B-83A9-D81F12AFDE5E}" dt="2022-06-19T04:15:10.399" v="369" actId="9405"/>
          <ac:inkMkLst>
            <pc:docMk/>
            <pc:sldMk cId="1672978264" sldId="566"/>
            <ac:inkMk id="50" creationId="{B9CD395E-2DF7-6F26-3A00-DEC2D2E1902F}"/>
          </ac:inkMkLst>
        </pc:inkChg>
        <pc:inkChg chg="add">
          <ac:chgData name="Aniket Chhabra" userId="598e0514-bef3-4e71-b6aa-f2edd6441cff" providerId="ADAL" clId="{6B709646-9B8B-914B-83A9-D81F12AFDE5E}" dt="2022-06-19T04:15:11.935" v="370" actId="9405"/>
          <ac:inkMkLst>
            <pc:docMk/>
            <pc:sldMk cId="1672978264" sldId="566"/>
            <ac:inkMk id="51" creationId="{66969F89-2F13-D52D-56F3-4E8930DF994D}"/>
          </ac:inkMkLst>
        </pc:inkChg>
        <pc:inkChg chg="add">
          <ac:chgData name="Aniket Chhabra" userId="598e0514-bef3-4e71-b6aa-f2edd6441cff" providerId="ADAL" clId="{6B709646-9B8B-914B-83A9-D81F12AFDE5E}" dt="2022-06-19T04:15:12.157" v="371" actId="9405"/>
          <ac:inkMkLst>
            <pc:docMk/>
            <pc:sldMk cId="1672978264" sldId="566"/>
            <ac:inkMk id="52" creationId="{C0FCAFE0-8DF9-C555-1FAB-50AEDAD0E9FA}"/>
          </ac:inkMkLst>
        </pc:inkChg>
        <pc:inkChg chg="add">
          <ac:chgData name="Aniket Chhabra" userId="598e0514-bef3-4e71-b6aa-f2edd6441cff" providerId="ADAL" clId="{6B709646-9B8B-914B-83A9-D81F12AFDE5E}" dt="2022-06-19T04:15:12.497" v="372" actId="9405"/>
          <ac:inkMkLst>
            <pc:docMk/>
            <pc:sldMk cId="1672978264" sldId="566"/>
            <ac:inkMk id="53" creationId="{0EE40C64-3C4E-A6B5-FC49-380AAE9DFD79}"/>
          </ac:inkMkLst>
        </pc:inkChg>
        <pc:inkChg chg="add">
          <ac:chgData name="Aniket Chhabra" userId="598e0514-bef3-4e71-b6aa-f2edd6441cff" providerId="ADAL" clId="{6B709646-9B8B-914B-83A9-D81F12AFDE5E}" dt="2022-06-19T04:15:12.677" v="373" actId="9405"/>
          <ac:inkMkLst>
            <pc:docMk/>
            <pc:sldMk cId="1672978264" sldId="566"/>
            <ac:inkMk id="54" creationId="{3C52C55A-B7FF-BC0C-C367-D29A513BD48D}"/>
          </ac:inkMkLst>
        </pc:inkChg>
        <pc:inkChg chg="add">
          <ac:chgData name="Aniket Chhabra" userId="598e0514-bef3-4e71-b6aa-f2edd6441cff" providerId="ADAL" clId="{6B709646-9B8B-914B-83A9-D81F12AFDE5E}" dt="2022-06-19T04:15:13.668" v="374" actId="9405"/>
          <ac:inkMkLst>
            <pc:docMk/>
            <pc:sldMk cId="1672978264" sldId="566"/>
            <ac:inkMk id="55" creationId="{C881C0A0-09EF-01F2-361F-C8FA1C05E989}"/>
          </ac:inkMkLst>
        </pc:inkChg>
        <pc:inkChg chg="add">
          <ac:chgData name="Aniket Chhabra" userId="598e0514-bef3-4e71-b6aa-f2edd6441cff" providerId="ADAL" clId="{6B709646-9B8B-914B-83A9-D81F12AFDE5E}" dt="2022-06-19T04:15:14.007" v="375" actId="9405"/>
          <ac:inkMkLst>
            <pc:docMk/>
            <pc:sldMk cId="1672978264" sldId="566"/>
            <ac:inkMk id="56" creationId="{49D442F9-0F2E-9EF2-B108-DE097A84B5A1}"/>
          </ac:inkMkLst>
        </pc:inkChg>
        <pc:inkChg chg="add">
          <ac:chgData name="Aniket Chhabra" userId="598e0514-bef3-4e71-b6aa-f2edd6441cff" providerId="ADAL" clId="{6B709646-9B8B-914B-83A9-D81F12AFDE5E}" dt="2022-06-19T04:15:14.480" v="376" actId="9405"/>
          <ac:inkMkLst>
            <pc:docMk/>
            <pc:sldMk cId="1672978264" sldId="566"/>
            <ac:inkMk id="57" creationId="{BFB56DE6-5D83-6D81-5C38-76E39695D685}"/>
          </ac:inkMkLst>
        </pc:inkChg>
        <pc:inkChg chg="add">
          <ac:chgData name="Aniket Chhabra" userId="598e0514-bef3-4e71-b6aa-f2edd6441cff" providerId="ADAL" clId="{6B709646-9B8B-914B-83A9-D81F12AFDE5E}" dt="2022-06-19T04:15:14.802" v="377" actId="9405"/>
          <ac:inkMkLst>
            <pc:docMk/>
            <pc:sldMk cId="1672978264" sldId="566"/>
            <ac:inkMk id="58" creationId="{FC3966A1-BBCC-1874-DAC6-0A27671661A1}"/>
          </ac:inkMkLst>
        </pc:inkChg>
        <pc:inkChg chg="add">
          <ac:chgData name="Aniket Chhabra" userId="598e0514-bef3-4e71-b6aa-f2edd6441cff" providerId="ADAL" clId="{6B709646-9B8B-914B-83A9-D81F12AFDE5E}" dt="2022-06-19T04:15:15.081" v="378" actId="9405"/>
          <ac:inkMkLst>
            <pc:docMk/>
            <pc:sldMk cId="1672978264" sldId="566"/>
            <ac:inkMk id="59" creationId="{A44797C1-9E02-7B07-332A-BAB81737798E}"/>
          </ac:inkMkLst>
        </pc:inkChg>
        <pc:inkChg chg="add">
          <ac:chgData name="Aniket Chhabra" userId="598e0514-bef3-4e71-b6aa-f2edd6441cff" providerId="ADAL" clId="{6B709646-9B8B-914B-83A9-D81F12AFDE5E}" dt="2022-06-19T04:15:15.801" v="379" actId="9405"/>
          <ac:inkMkLst>
            <pc:docMk/>
            <pc:sldMk cId="1672978264" sldId="566"/>
            <ac:inkMk id="60" creationId="{4AF96710-ACDE-9222-58BE-DE035BDB79F9}"/>
          </ac:inkMkLst>
        </pc:inkChg>
        <pc:inkChg chg="add">
          <ac:chgData name="Aniket Chhabra" userId="598e0514-bef3-4e71-b6aa-f2edd6441cff" providerId="ADAL" clId="{6B709646-9B8B-914B-83A9-D81F12AFDE5E}" dt="2022-06-19T04:15:16.094" v="380" actId="9405"/>
          <ac:inkMkLst>
            <pc:docMk/>
            <pc:sldMk cId="1672978264" sldId="566"/>
            <ac:inkMk id="61" creationId="{CB4428D7-8F55-3E45-F946-8CF03701EB82}"/>
          </ac:inkMkLst>
        </pc:inkChg>
        <pc:inkChg chg="add">
          <ac:chgData name="Aniket Chhabra" userId="598e0514-bef3-4e71-b6aa-f2edd6441cff" providerId="ADAL" clId="{6B709646-9B8B-914B-83A9-D81F12AFDE5E}" dt="2022-06-19T04:15:22.681" v="381" actId="9405"/>
          <ac:inkMkLst>
            <pc:docMk/>
            <pc:sldMk cId="1672978264" sldId="566"/>
            <ac:inkMk id="62" creationId="{7F17FCF1-21A1-80A5-9496-31875E76DBBC}"/>
          </ac:inkMkLst>
        </pc:inkChg>
        <pc:inkChg chg="add">
          <ac:chgData name="Aniket Chhabra" userId="598e0514-bef3-4e71-b6aa-f2edd6441cff" providerId="ADAL" clId="{6B709646-9B8B-914B-83A9-D81F12AFDE5E}" dt="2022-06-19T04:15:22.933" v="382" actId="9405"/>
          <ac:inkMkLst>
            <pc:docMk/>
            <pc:sldMk cId="1672978264" sldId="566"/>
            <ac:inkMk id="63" creationId="{52C5660F-392C-B760-355D-F73BE5F6A9AB}"/>
          </ac:inkMkLst>
        </pc:inkChg>
        <pc:inkChg chg="add">
          <ac:chgData name="Aniket Chhabra" userId="598e0514-bef3-4e71-b6aa-f2edd6441cff" providerId="ADAL" clId="{6B709646-9B8B-914B-83A9-D81F12AFDE5E}" dt="2022-06-19T04:15:24.021" v="383" actId="9405"/>
          <ac:inkMkLst>
            <pc:docMk/>
            <pc:sldMk cId="1672978264" sldId="566"/>
            <ac:inkMk id="64" creationId="{F6BA12EF-422B-FF8A-6365-A42E71E534CF}"/>
          </ac:inkMkLst>
        </pc:inkChg>
        <pc:inkChg chg="add">
          <ac:chgData name="Aniket Chhabra" userId="598e0514-bef3-4e71-b6aa-f2edd6441cff" providerId="ADAL" clId="{6B709646-9B8B-914B-83A9-D81F12AFDE5E}" dt="2022-06-19T04:15:25.961" v="384" actId="9405"/>
          <ac:inkMkLst>
            <pc:docMk/>
            <pc:sldMk cId="1672978264" sldId="566"/>
            <ac:inkMk id="65" creationId="{F3EE0C84-7826-B621-3C2A-A449F3600242}"/>
          </ac:inkMkLst>
        </pc:inkChg>
        <pc:inkChg chg="add">
          <ac:chgData name="Aniket Chhabra" userId="598e0514-bef3-4e71-b6aa-f2edd6441cff" providerId="ADAL" clId="{6B709646-9B8B-914B-83A9-D81F12AFDE5E}" dt="2022-06-19T04:15:26.544" v="385" actId="9405"/>
          <ac:inkMkLst>
            <pc:docMk/>
            <pc:sldMk cId="1672978264" sldId="566"/>
            <ac:inkMk id="66" creationId="{C94B4D54-9D2F-59BB-EF84-D53214C8A323}"/>
          </ac:inkMkLst>
        </pc:inkChg>
        <pc:inkChg chg="add">
          <ac:chgData name="Aniket Chhabra" userId="598e0514-bef3-4e71-b6aa-f2edd6441cff" providerId="ADAL" clId="{6B709646-9B8B-914B-83A9-D81F12AFDE5E}" dt="2022-06-19T04:15:26.693" v="386" actId="9405"/>
          <ac:inkMkLst>
            <pc:docMk/>
            <pc:sldMk cId="1672978264" sldId="566"/>
            <ac:inkMk id="67" creationId="{7D7BDA47-B338-3929-599C-4145883FED6A}"/>
          </ac:inkMkLst>
        </pc:inkChg>
        <pc:inkChg chg="add">
          <ac:chgData name="Aniket Chhabra" userId="598e0514-bef3-4e71-b6aa-f2edd6441cff" providerId="ADAL" clId="{6B709646-9B8B-914B-83A9-D81F12AFDE5E}" dt="2022-06-19T04:15:27.545" v="387" actId="9405"/>
          <ac:inkMkLst>
            <pc:docMk/>
            <pc:sldMk cId="1672978264" sldId="566"/>
            <ac:inkMk id="68" creationId="{90AF1F66-0B3A-4CCA-E7E4-2B9C30B5B683}"/>
          </ac:inkMkLst>
        </pc:inkChg>
        <pc:inkChg chg="add">
          <ac:chgData name="Aniket Chhabra" userId="598e0514-bef3-4e71-b6aa-f2edd6441cff" providerId="ADAL" clId="{6B709646-9B8B-914B-83A9-D81F12AFDE5E}" dt="2022-06-19T04:15:28.145" v="388" actId="9405"/>
          <ac:inkMkLst>
            <pc:docMk/>
            <pc:sldMk cId="1672978264" sldId="566"/>
            <ac:inkMk id="69" creationId="{F8D970E1-AD7D-A187-1797-152984C428D2}"/>
          </ac:inkMkLst>
        </pc:inkChg>
        <pc:inkChg chg="add">
          <ac:chgData name="Aniket Chhabra" userId="598e0514-bef3-4e71-b6aa-f2edd6441cff" providerId="ADAL" clId="{6B709646-9B8B-914B-83A9-D81F12AFDE5E}" dt="2022-06-19T04:15:28.835" v="389" actId="9405"/>
          <ac:inkMkLst>
            <pc:docMk/>
            <pc:sldMk cId="1672978264" sldId="566"/>
            <ac:inkMk id="70" creationId="{8ABBA164-94D0-F37D-A497-4EC35BAE3310}"/>
          </ac:inkMkLst>
        </pc:inkChg>
        <pc:inkChg chg="add">
          <ac:chgData name="Aniket Chhabra" userId="598e0514-bef3-4e71-b6aa-f2edd6441cff" providerId="ADAL" clId="{6B709646-9B8B-914B-83A9-D81F12AFDE5E}" dt="2022-06-19T04:15:29.419" v="390" actId="9405"/>
          <ac:inkMkLst>
            <pc:docMk/>
            <pc:sldMk cId="1672978264" sldId="566"/>
            <ac:inkMk id="71" creationId="{5EE08FF7-13B3-8104-51BC-7B391B61246C}"/>
          </ac:inkMkLst>
        </pc:inkChg>
        <pc:inkChg chg="add">
          <ac:chgData name="Aniket Chhabra" userId="598e0514-bef3-4e71-b6aa-f2edd6441cff" providerId="ADAL" clId="{6B709646-9B8B-914B-83A9-D81F12AFDE5E}" dt="2022-06-19T04:15:29.606" v="391" actId="9405"/>
          <ac:inkMkLst>
            <pc:docMk/>
            <pc:sldMk cId="1672978264" sldId="566"/>
            <ac:inkMk id="72" creationId="{72B52A6C-8DE5-9608-DDE1-4A5CF8DAD418}"/>
          </ac:inkMkLst>
        </pc:inkChg>
        <pc:inkChg chg="add">
          <ac:chgData name="Aniket Chhabra" userId="598e0514-bef3-4e71-b6aa-f2edd6441cff" providerId="ADAL" clId="{6B709646-9B8B-914B-83A9-D81F12AFDE5E}" dt="2022-06-19T04:15:33.342" v="392" actId="9405"/>
          <ac:inkMkLst>
            <pc:docMk/>
            <pc:sldMk cId="1672978264" sldId="566"/>
            <ac:inkMk id="73" creationId="{CDB4F80C-91E2-03BF-4340-D185DB0DEE1B}"/>
          </ac:inkMkLst>
        </pc:inkChg>
        <pc:inkChg chg="add">
          <ac:chgData name="Aniket Chhabra" userId="598e0514-bef3-4e71-b6aa-f2edd6441cff" providerId="ADAL" clId="{6B709646-9B8B-914B-83A9-D81F12AFDE5E}" dt="2022-06-19T04:15:33.565" v="393" actId="9405"/>
          <ac:inkMkLst>
            <pc:docMk/>
            <pc:sldMk cId="1672978264" sldId="566"/>
            <ac:inkMk id="74" creationId="{AC75129B-A9FE-2DAF-D65C-2A07D09C52A7}"/>
          </ac:inkMkLst>
        </pc:inkChg>
        <pc:inkChg chg="add">
          <ac:chgData name="Aniket Chhabra" userId="598e0514-bef3-4e71-b6aa-f2edd6441cff" providerId="ADAL" clId="{6B709646-9B8B-914B-83A9-D81F12AFDE5E}" dt="2022-06-19T04:15:33.825" v="394" actId="9405"/>
          <ac:inkMkLst>
            <pc:docMk/>
            <pc:sldMk cId="1672978264" sldId="566"/>
            <ac:inkMk id="75" creationId="{8CEB1EA2-DDDF-7B37-BB9C-1887811C10E1}"/>
          </ac:inkMkLst>
        </pc:inkChg>
        <pc:inkChg chg="add">
          <ac:chgData name="Aniket Chhabra" userId="598e0514-bef3-4e71-b6aa-f2edd6441cff" providerId="ADAL" clId="{6B709646-9B8B-914B-83A9-D81F12AFDE5E}" dt="2022-06-19T04:15:33.969" v="395" actId="9405"/>
          <ac:inkMkLst>
            <pc:docMk/>
            <pc:sldMk cId="1672978264" sldId="566"/>
            <ac:inkMk id="76" creationId="{EEB73C84-A3B0-ED7C-4F71-87D15655F6C2}"/>
          </ac:inkMkLst>
        </pc:inkChg>
        <pc:inkChg chg="add">
          <ac:chgData name="Aniket Chhabra" userId="598e0514-bef3-4e71-b6aa-f2edd6441cff" providerId="ADAL" clId="{6B709646-9B8B-914B-83A9-D81F12AFDE5E}" dt="2022-06-19T04:15:34.142" v="396" actId="9405"/>
          <ac:inkMkLst>
            <pc:docMk/>
            <pc:sldMk cId="1672978264" sldId="566"/>
            <ac:inkMk id="77" creationId="{9BA0E79D-3000-AF2C-909B-0434DFFB144C}"/>
          </ac:inkMkLst>
        </pc:inkChg>
        <pc:inkChg chg="add">
          <ac:chgData name="Aniket Chhabra" userId="598e0514-bef3-4e71-b6aa-f2edd6441cff" providerId="ADAL" clId="{6B709646-9B8B-914B-83A9-D81F12AFDE5E}" dt="2022-06-19T04:15:34.767" v="397" actId="9405"/>
          <ac:inkMkLst>
            <pc:docMk/>
            <pc:sldMk cId="1672978264" sldId="566"/>
            <ac:inkMk id="78" creationId="{80E65C74-CA11-53BA-40FF-4F1646F83944}"/>
          </ac:inkMkLst>
        </pc:inkChg>
        <pc:inkChg chg="add">
          <ac:chgData name="Aniket Chhabra" userId="598e0514-bef3-4e71-b6aa-f2edd6441cff" providerId="ADAL" clId="{6B709646-9B8B-914B-83A9-D81F12AFDE5E}" dt="2022-06-19T04:15:35.361" v="398" actId="9405"/>
          <ac:inkMkLst>
            <pc:docMk/>
            <pc:sldMk cId="1672978264" sldId="566"/>
            <ac:inkMk id="79" creationId="{AE26FC0F-0C36-8713-AD47-B42053CF79A2}"/>
          </ac:inkMkLst>
        </pc:inkChg>
        <pc:inkChg chg="add">
          <ac:chgData name="Aniket Chhabra" userId="598e0514-bef3-4e71-b6aa-f2edd6441cff" providerId="ADAL" clId="{6B709646-9B8B-914B-83A9-D81F12AFDE5E}" dt="2022-06-19T04:15:35.539" v="399" actId="9405"/>
          <ac:inkMkLst>
            <pc:docMk/>
            <pc:sldMk cId="1672978264" sldId="566"/>
            <ac:inkMk id="80" creationId="{2C8A3EDD-5323-586A-5135-F21A3DC6E12B}"/>
          </ac:inkMkLst>
        </pc:inkChg>
        <pc:inkChg chg="add">
          <ac:chgData name="Aniket Chhabra" userId="598e0514-bef3-4e71-b6aa-f2edd6441cff" providerId="ADAL" clId="{6B709646-9B8B-914B-83A9-D81F12AFDE5E}" dt="2022-06-19T04:15:35.577" v="400" actId="9405"/>
          <ac:inkMkLst>
            <pc:docMk/>
            <pc:sldMk cId="1672978264" sldId="566"/>
            <ac:inkMk id="81" creationId="{6C7AD4E9-1FC2-3C56-08F8-5E89FAF02E18}"/>
          </ac:inkMkLst>
        </pc:inkChg>
        <pc:inkChg chg="add">
          <ac:chgData name="Aniket Chhabra" userId="598e0514-bef3-4e71-b6aa-f2edd6441cff" providerId="ADAL" clId="{6B709646-9B8B-914B-83A9-D81F12AFDE5E}" dt="2022-06-19T04:15:35.724" v="401" actId="9405"/>
          <ac:inkMkLst>
            <pc:docMk/>
            <pc:sldMk cId="1672978264" sldId="566"/>
            <ac:inkMk id="82" creationId="{BC840F65-0861-3B43-D209-E42768BF7B12}"/>
          </ac:inkMkLst>
        </pc:inkChg>
        <pc:inkChg chg="add">
          <ac:chgData name="Aniket Chhabra" userId="598e0514-bef3-4e71-b6aa-f2edd6441cff" providerId="ADAL" clId="{6B709646-9B8B-914B-83A9-D81F12AFDE5E}" dt="2022-06-19T04:15:35.847" v="402" actId="9405"/>
          <ac:inkMkLst>
            <pc:docMk/>
            <pc:sldMk cId="1672978264" sldId="566"/>
            <ac:inkMk id="83" creationId="{39D0C58C-F3E5-8BE3-2D44-0C536D1361C6}"/>
          </ac:inkMkLst>
        </pc:inkChg>
        <pc:inkChg chg="add">
          <ac:chgData name="Aniket Chhabra" userId="598e0514-bef3-4e71-b6aa-f2edd6441cff" providerId="ADAL" clId="{6B709646-9B8B-914B-83A9-D81F12AFDE5E}" dt="2022-06-19T04:15:37.197" v="403" actId="9405"/>
          <ac:inkMkLst>
            <pc:docMk/>
            <pc:sldMk cId="1672978264" sldId="566"/>
            <ac:inkMk id="84" creationId="{5A729F74-C59D-C7F8-FD27-EA77BA6C2939}"/>
          </ac:inkMkLst>
        </pc:inkChg>
        <pc:inkChg chg="add">
          <ac:chgData name="Aniket Chhabra" userId="598e0514-bef3-4e71-b6aa-f2edd6441cff" providerId="ADAL" clId="{6B709646-9B8B-914B-83A9-D81F12AFDE5E}" dt="2022-06-19T04:15:38.178" v="404" actId="9405"/>
          <ac:inkMkLst>
            <pc:docMk/>
            <pc:sldMk cId="1672978264" sldId="566"/>
            <ac:inkMk id="85" creationId="{5932576B-71E4-16F1-078B-D62FAAD46795}"/>
          </ac:inkMkLst>
        </pc:inkChg>
        <pc:inkChg chg="add">
          <ac:chgData name="Aniket Chhabra" userId="598e0514-bef3-4e71-b6aa-f2edd6441cff" providerId="ADAL" clId="{6B709646-9B8B-914B-83A9-D81F12AFDE5E}" dt="2022-06-19T04:15:38.357" v="405" actId="9405"/>
          <ac:inkMkLst>
            <pc:docMk/>
            <pc:sldMk cId="1672978264" sldId="566"/>
            <ac:inkMk id="86" creationId="{B9471544-59BE-600F-B030-DF8059EB418F}"/>
          </ac:inkMkLst>
        </pc:inkChg>
        <pc:inkChg chg="add">
          <ac:chgData name="Aniket Chhabra" userId="598e0514-bef3-4e71-b6aa-f2edd6441cff" providerId="ADAL" clId="{6B709646-9B8B-914B-83A9-D81F12AFDE5E}" dt="2022-06-19T04:15:38.718" v="406" actId="9405"/>
          <ac:inkMkLst>
            <pc:docMk/>
            <pc:sldMk cId="1672978264" sldId="566"/>
            <ac:inkMk id="87" creationId="{868264BD-A15C-77B1-F6BA-30274F6F5CD8}"/>
          </ac:inkMkLst>
        </pc:inkChg>
        <pc:inkChg chg="add">
          <ac:chgData name="Aniket Chhabra" userId="598e0514-bef3-4e71-b6aa-f2edd6441cff" providerId="ADAL" clId="{6B709646-9B8B-914B-83A9-D81F12AFDE5E}" dt="2022-06-19T04:15:38.955" v="407" actId="9405"/>
          <ac:inkMkLst>
            <pc:docMk/>
            <pc:sldMk cId="1672978264" sldId="566"/>
            <ac:inkMk id="88" creationId="{0A719C7F-9CA2-7450-A619-9E1C206305A9}"/>
          </ac:inkMkLst>
        </pc:inkChg>
        <pc:inkChg chg="add">
          <ac:chgData name="Aniket Chhabra" userId="598e0514-bef3-4e71-b6aa-f2edd6441cff" providerId="ADAL" clId="{6B709646-9B8B-914B-83A9-D81F12AFDE5E}" dt="2022-06-19T04:15:39.170" v="408" actId="9405"/>
          <ac:inkMkLst>
            <pc:docMk/>
            <pc:sldMk cId="1672978264" sldId="566"/>
            <ac:inkMk id="89" creationId="{05B71E90-7AE5-0A61-4342-FAEF35E1E2DA}"/>
          </ac:inkMkLst>
        </pc:inkChg>
        <pc:inkChg chg="add">
          <ac:chgData name="Aniket Chhabra" userId="598e0514-bef3-4e71-b6aa-f2edd6441cff" providerId="ADAL" clId="{6B709646-9B8B-914B-83A9-D81F12AFDE5E}" dt="2022-06-19T04:15:39.991" v="409" actId="9405"/>
          <ac:inkMkLst>
            <pc:docMk/>
            <pc:sldMk cId="1672978264" sldId="566"/>
            <ac:inkMk id="90" creationId="{F00834B0-0D83-07B1-4401-6C78489AB479}"/>
          </ac:inkMkLst>
        </pc:inkChg>
        <pc:inkChg chg="add">
          <ac:chgData name="Aniket Chhabra" userId="598e0514-bef3-4e71-b6aa-f2edd6441cff" providerId="ADAL" clId="{6B709646-9B8B-914B-83A9-D81F12AFDE5E}" dt="2022-06-19T04:15:40.224" v="410" actId="9405"/>
          <ac:inkMkLst>
            <pc:docMk/>
            <pc:sldMk cId="1672978264" sldId="566"/>
            <ac:inkMk id="91" creationId="{32C1840E-35B3-6CD0-4771-16CD4C21CCF5}"/>
          </ac:inkMkLst>
        </pc:inkChg>
        <pc:inkChg chg="add">
          <ac:chgData name="Aniket Chhabra" userId="598e0514-bef3-4e71-b6aa-f2edd6441cff" providerId="ADAL" clId="{6B709646-9B8B-914B-83A9-D81F12AFDE5E}" dt="2022-06-19T04:15:40.740" v="411" actId="9405"/>
          <ac:inkMkLst>
            <pc:docMk/>
            <pc:sldMk cId="1672978264" sldId="566"/>
            <ac:inkMk id="92" creationId="{743FC3BB-4632-FB87-7A3D-2A2F03C4F52B}"/>
          </ac:inkMkLst>
        </pc:inkChg>
        <pc:inkChg chg="add">
          <ac:chgData name="Aniket Chhabra" userId="598e0514-bef3-4e71-b6aa-f2edd6441cff" providerId="ADAL" clId="{6B709646-9B8B-914B-83A9-D81F12AFDE5E}" dt="2022-06-19T04:15:40.941" v="412" actId="9405"/>
          <ac:inkMkLst>
            <pc:docMk/>
            <pc:sldMk cId="1672978264" sldId="566"/>
            <ac:inkMk id="93" creationId="{7752FA15-3717-2E6B-45FF-86AFFA269204}"/>
          </ac:inkMkLst>
        </pc:inkChg>
        <pc:inkChg chg="add">
          <ac:chgData name="Aniket Chhabra" userId="598e0514-bef3-4e71-b6aa-f2edd6441cff" providerId="ADAL" clId="{6B709646-9B8B-914B-83A9-D81F12AFDE5E}" dt="2022-06-19T04:15:41.365" v="413" actId="9405"/>
          <ac:inkMkLst>
            <pc:docMk/>
            <pc:sldMk cId="1672978264" sldId="566"/>
            <ac:inkMk id="94" creationId="{44430E25-8877-B1C7-8DB6-205D8D69BB60}"/>
          </ac:inkMkLst>
        </pc:inkChg>
        <pc:inkChg chg="add">
          <ac:chgData name="Aniket Chhabra" userId="598e0514-bef3-4e71-b6aa-f2edd6441cff" providerId="ADAL" clId="{6B709646-9B8B-914B-83A9-D81F12AFDE5E}" dt="2022-06-19T04:15:41.482" v="414" actId="9405"/>
          <ac:inkMkLst>
            <pc:docMk/>
            <pc:sldMk cId="1672978264" sldId="566"/>
            <ac:inkMk id="95" creationId="{78072F91-900E-D7EA-C10A-D9602E3D9B4B}"/>
          </ac:inkMkLst>
        </pc:inkChg>
        <pc:inkChg chg="add">
          <ac:chgData name="Aniket Chhabra" userId="598e0514-bef3-4e71-b6aa-f2edd6441cff" providerId="ADAL" clId="{6B709646-9B8B-914B-83A9-D81F12AFDE5E}" dt="2022-06-19T04:15:41.655" v="415" actId="9405"/>
          <ac:inkMkLst>
            <pc:docMk/>
            <pc:sldMk cId="1672978264" sldId="566"/>
            <ac:inkMk id="96" creationId="{38E56456-F98B-E034-7495-AD299FCE37E2}"/>
          </ac:inkMkLst>
        </pc:inkChg>
        <pc:inkChg chg="add">
          <ac:chgData name="Aniket Chhabra" userId="598e0514-bef3-4e71-b6aa-f2edd6441cff" providerId="ADAL" clId="{6B709646-9B8B-914B-83A9-D81F12AFDE5E}" dt="2022-06-19T04:15:42.169" v="416" actId="9405"/>
          <ac:inkMkLst>
            <pc:docMk/>
            <pc:sldMk cId="1672978264" sldId="566"/>
            <ac:inkMk id="97" creationId="{94076768-A1CF-E8A5-87CC-B4A9D868B48C}"/>
          </ac:inkMkLst>
        </pc:inkChg>
        <pc:inkChg chg="add">
          <ac:chgData name="Aniket Chhabra" userId="598e0514-bef3-4e71-b6aa-f2edd6441cff" providerId="ADAL" clId="{6B709646-9B8B-914B-83A9-D81F12AFDE5E}" dt="2022-06-19T04:15:52.799" v="417" actId="9405"/>
          <ac:inkMkLst>
            <pc:docMk/>
            <pc:sldMk cId="1672978264" sldId="566"/>
            <ac:inkMk id="98" creationId="{9C7C2506-0501-12E9-3D3D-87D22253A32B}"/>
          </ac:inkMkLst>
        </pc:inkChg>
        <pc:inkChg chg="add">
          <ac:chgData name="Aniket Chhabra" userId="598e0514-bef3-4e71-b6aa-f2edd6441cff" providerId="ADAL" clId="{6B709646-9B8B-914B-83A9-D81F12AFDE5E}" dt="2022-06-19T04:16:09.131" v="418" actId="9405"/>
          <ac:inkMkLst>
            <pc:docMk/>
            <pc:sldMk cId="1672978264" sldId="566"/>
            <ac:inkMk id="99" creationId="{89C736B7-251C-2C8B-44EF-9CC859B4AEFE}"/>
          </ac:inkMkLst>
        </pc:inkChg>
        <pc:inkChg chg="add">
          <ac:chgData name="Aniket Chhabra" userId="598e0514-bef3-4e71-b6aa-f2edd6441cff" providerId="ADAL" clId="{6B709646-9B8B-914B-83A9-D81F12AFDE5E}" dt="2022-06-19T04:16:10.526" v="419" actId="9405"/>
          <ac:inkMkLst>
            <pc:docMk/>
            <pc:sldMk cId="1672978264" sldId="566"/>
            <ac:inkMk id="100" creationId="{70318551-BF06-AC6F-3F4E-02BD085A8707}"/>
          </ac:inkMkLst>
        </pc:inkChg>
        <pc:inkChg chg="add">
          <ac:chgData name="Aniket Chhabra" userId="598e0514-bef3-4e71-b6aa-f2edd6441cff" providerId="ADAL" clId="{6B709646-9B8B-914B-83A9-D81F12AFDE5E}" dt="2022-06-19T04:16:11.342" v="420" actId="9405"/>
          <ac:inkMkLst>
            <pc:docMk/>
            <pc:sldMk cId="1672978264" sldId="566"/>
            <ac:inkMk id="101" creationId="{1CDC9C21-9817-206E-A67D-1745C9376C74}"/>
          </ac:inkMkLst>
        </pc:inkChg>
        <pc:inkChg chg="add">
          <ac:chgData name="Aniket Chhabra" userId="598e0514-bef3-4e71-b6aa-f2edd6441cff" providerId="ADAL" clId="{6B709646-9B8B-914B-83A9-D81F12AFDE5E}" dt="2022-06-19T04:16:12.016" v="421" actId="9405"/>
          <ac:inkMkLst>
            <pc:docMk/>
            <pc:sldMk cId="1672978264" sldId="566"/>
            <ac:inkMk id="102" creationId="{56244868-6A9D-A11E-A860-EA16C6F7E9F9}"/>
          </ac:inkMkLst>
        </pc:inkChg>
        <pc:inkChg chg="add">
          <ac:chgData name="Aniket Chhabra" userId="598e0514-bef3-4e71-b6aa-f2edd6441cff" providerId="ADAL" clId="{6B709646-9B8B-914B-83A9-D81F12AFDE5E}" dt="2022-06-19T04:16:12.152" v="422" actId="9405"/>
          <ac:inkMkLst>
            <pc:docMk/>
            <pc:sldMk cId="1672978264" sldId="566"/>
            <ac:inkMk id="103" creationId="{3BE79AFC-2DB5-AC29-1433-B0956EA8F960}"/>
          </ac:inkMkLst>
        </pc:inkChg>
        <pc:inkChg chg="add">
          <ac:chgData name="Aniket Chhabra" userId="598e0514-bef3-4e71-b6aa-f2edd6441cff" providerId="ADAL" clId="{6B709646-9B8B-914B-83A9-D81F12AFDE5E}" dt="2022-06-19T04:16:12.598" v="423" actId="9405"/>
          <ac:inkMkLst>
            <pc:docMk/>
            <pc:sldMk cId="1672978264" sldId="566"/>
            <ac:inkMk id="104" creationId="{DF99B5B3-86F7-1FC3-BB2C-A33256C0DEAB}"/>
          </ac:inkMkLst>
        </pc:inkChg>
        <pc:inkChg chg="add">
          <ac:chgData name="Aniket Chhabra" userId="598e0514-bef3-4e71-b6aa-f2edd6441cff" providerId="ADAL" clId="{6B709646-9B8B-914B-83A9-D81F12AFDE5E}" dt="2022-06-19T04:16:13.206" v="424" actId="9405"/>
          <ac:inkMkLst>
            <pc:docMk/>
            <pc:sldMk cId="1672978264" sldId="566"/>
            <ac:inkMk id="105" creationId="{774AF5C8-7396-9D2F-E8AF-D4665748A922}"/>
          </ac:inkMkLst>
        </pc:inkChg>
        <pc:inkChg chg="add">
          <ac:chgData name="Aniket Chhabra" userId="598e0514-bef3-4e71-b6aa-f2edd6441cff" providerId="ADAL" clId="{6B709646-9B8B-914B-83A9-D81F12AFDE5E}" dt="2022-06-19T04:16:13.632" v="425" actId="9405"/>
          <ac:inkMkLst>
            <pc:docMk/>
            <pc:sldMk cId="1672978264" sldId="566"/>
            <ac:inkMk id="106" creationId="{B5ECDFF4-254C-1422-D2CB-BC078EEAED75}"/>
          </ac:inkMkLst>
        </pc:inkChg>
        <pc:inkChg chg="add">
          <ac:chgData name="Aniket Chhabra" userId="598e0514-bef3-4e71-b6aa-f2edd6441cff" providerId="ADAL" clId="{6B709646-9B8B-914B-83A9-D81F12AFDE5E}" dt="2022-06-19T04:16:14.246" v="426" actId="9405"/>
          <ac:inkMkLst>
            <pc:docMk/>
            <pc:sldMk cId="1672978264" sldId="566"/>
            <ac:inkMk id="107" creationId="{2BA0943A-3F19-7F3B-027B-513D53AC9E5A}"/>
          </ac:inkMkLst>
        </pc:inkChg>
        <pc:inkChg chg="add">
          <ac:chgData name="Aniket Chhabra" userId="598e0514-bef3-4e71-b6aa-f2edd6441cff" providerId="ADAL" clId="{6B709646-9B8B-914B-83A9-D81F12AFDE5E}" dt="2022-06-19T04:16:14.778" v="427" actId="9405"/>
          <ac:inkMkLst>
            <pc:docMk/>
            <pc:sldMk cId="1672978264" sldId="566"/>
            <ac:inkMk id="108" creationId="{4D1B5D73-E6CD-EE4C-EC16-915A098AF38D}"/>
          </ac:inkMkLst>
        </pc:inkChg>
        <pc:inkChg chg="add">
          <ac:chgData name="Aniket Chhabra" userId="598e0514-bef3-4e71-b6aa-f2edd6441cff" providerId="ADAL" clId="{6B709646-9B8B-914B-83A9-D81F12AFDE5E}" dt="2022-06-19T04:16:16.211" v="428" actId="9405"/>
          <ac:inkMkLst>
            <pc:docMk/>
            <pc:sldMk cId="1672978264" sldId="566"/>
            <ac:inkMk id="109" creationId="{2ED8F0A3-3DFC-9951-08F3-E25FEE4008F5}"/>
          </ac:inkMkLst>
        </pc:inkChg>
        <pc:inkChg chg="add">
          <ac:chgData name="Aniket Chhabra" userId="598e0514-bef3-4e71-b6aa-f2edd6441cff" providerId="ADAL" clId="{6B709646-9B8B-914B-83A9-D81F12AFDE5E}" dt="2022-06-19T04:16:16.659" v="429" actId="9405"/>
          <ac:inkMkLst>
            <pc:docMk/>
            <pc:sldMk cId="1672978264" sldId="566"/>
            <ac:inkMk id="110" creationId="{4BCCEC1C-21EA-37D8-5AAB-40BB69FDF9FA}"/>
          </ac:inkMkLst>
        </pc:inkChg>
        <pc:inkChg chg="add">
          <ac:chgData name="Aniket Chhabra" userId="598e0514-bef3-4e71-b6aa-f2edd6441cff" providerId="ADAL" clId="{6B709646-9B8B-914B-83A9-D81F12AFDE5E}" dt="2022-06-19T04:16:16.794" v="430" actId="9405"/>
          <ac:inkMkLst>
            <pc:docMk/>
            <pc:sldMk cId="1672978264" sldId="566"/>
            <ac:inkMk id="111" creationId="{B54C3EED-DC5C-275A-A268-244289C576F4}"/>
          </ac:inkMkLst>
        </pc:inkChg>
        <pc:inkChg chg="add">
          <ac:chgData name="Aniket Chhabra" userId="598e0514-bef3-4e71-b6aa-f2edd6441cff" providerId="ADAL" clId="{6B709646-9B8B-914B-83A9-D81F12AFDE5E}" dt="2022-06-19T04:16:16.953" v="431" actId="9405"/>
          <ac:inkMkLst>
            <pc:docMk/>
            <pc:sldMk cId="1672978264" sldId="566"/>
            <ac:inkMk id="112" creationId="{C3B42F24-0FBC-A7E1-A991-DAB156EC5C3E}"/>
          </ac:inkMkLst>
        </pc:inkChg>
        <pc:inkChg chg="add">
          <ac:chgData name="Aniket Chhabra" userId="598e0514-bef3-4e71-b6aa-f2edd6441cff" providerId="ADAL" clId="{6B709646-9B8B-914B-83A9-D81F12AFDE5E}" dt="2022-06-19T04:16:17.298" v="432" actId="9405"/>
          <ac:inkMkLst>
            <pc:docMk/>
            <pc:sldMk cId="1672978264" sldId="566"/>
            <ac:inkMk id="113" creationId="{5BA642D3-FD94-9F21-EE62-A114B940C44F}"/>
          </ac:inkMkLst>
        </pc:inkChg>
        <pc:inkChg chg="add">
          <ac:chgData name="Aniket Chhabra" userId="598e0514-bef3-4e71-b6aa-f2edd6441cff" providerId="ADAL" clId="{6B709646-9B8B-914B-83A9-D81F12AFDE5E}" dt="2022-06-19T04:16:17.892" v="433" actId="9405"/>
          <ac:inkMkLst>
            <pc:docMk/>
            <pc:sldMk cId="1672978264" sldId="566"/>
            <ac:inkMk id="114" creationId="{0B78DCB1-27A3-93D3-A097-4B5F4B8BB5FC}"/>
          </ac:inkMkLst>
        </pc:inkChg>
        <pc:inkChg chg="add">
          <ac:chgData name="Aniket Chhabra" userId="598e0514-bef3-4e71-b6aa-f2edd6441cff" providerId="ADAL" clId="{6B709646-9B8B-914B-83A9-D81F12AFDE5E}" dt="2022-06-19T04:16:18.090" v="434" actId="9405"/>
          <ac:inkMkLst>
            <pc:docMk/>
            <pc:sldMk cId="1672978264" sldId="566"/>
            <ac:inkMk id="115" creationId="{EF7073D5-5E4B-5CC5-0A5A-FFEA4C545EF2}"/>
          </ac:inkMkLst>
        </pc:inkChg>
        <pc:inkChg chg="add">
          <ac:chgData name="Aniket Chhabra" userId="598e0514-bef3-4e71-b6aa-f2edd6441cff" providerId="ADAL" clId="{6B709646-9B8B-914B-83A9-D81F12AFDE5E}" dt="2022-06-19T04:16:19.293" v="435" actId="9405"/>
          <ac:inkMkLst>
            <pc:docMk/>
            <pc:sldMk cId="1672978264" sldId="566"/>
            <ac:inkMk id="116" creationId="{3FFD9FBA-306C-848C-06DC-F1F5856B3325}"/>
          </ac:inkMkLst>
        </pc:inkChg>
        <pc:inkChg chg="add">
          <ac:chgData name="Aniket Chhabra" userId="598e0514-bef3-4e71-b6aa-f2edd6441cff" providerId="ADAL" clId="{6B709646-9B8B-914B-83A9-D81F12AFDE5E}" dt="2022-06-19T04:16:19.518" v="436" actId="9405"/>
          <ac:inkMkLst>
            <pc:docMk/>
            <pc:sldMk cId="1672978264" sldId="566"/>
            <ac:inkMk id="117" creationId="{284A05EC-A15B-5AAB-8973-D3027A63CEC8}"/>
          </ac:inkMkLst>
        </pc:inkChg>
        <pc:inkChg chg="add">
          <ac:chgData name="Aniket Chhabra" userId="598e0514-bef3-4e71-b6aa-f2edd6441cff" providerId="ADAL" clId="{6B709646-9B8B-914B-83A9-D81F12AFDE5E}" dt="2022-06-19T04:16:19.736" v="437" actId="9405"/>
          <ac:inkMkLst>
            <pc:docMk/>
            <pc:sldMk cId="1672978264" sldId="566"/>
            <ac:inkMk id="118" creationId="{C8FCAA20-08D2-BF80-A005-B1C2C9E91039}"/>
          </ac:inkMkLst>
        </pc:inkChg>
        <pc:inkChg chg="add">
          <ac:chgData name="Aniket Chhabra" userId="598e0514-bef3-4e71-b6aa-f2edd6441cff" providerId="ADAL" clId="{6B709646-9B8B-914B-83A9-D81F12AFDE5E}" dt="2022-06-19T04:16:20.004" v="438" actId="9405"/>
          <ac:inkMkLst>
            <pc:docMk/>
            <pc:sldMk cId="1672978264" sldId="566"/>
            <ac:inkMk id="119" creationId="{01C71045-BFC1-A9FF-BCD1-4601163FD0F0}"/>
          </ac:inkMkLst>
        </pc:inkChg>
        <pc:inkChg chg="add">
          <ac:chgData name="Aniket Chhabra" userId="598e0514-bef3-4e71-b6aa-f2edd6441cff" providerId="ADAL" clId="{6B709646-9B8B-914B-83A9-D81F12AFDE5E}" dt="2022-06-19T04:16:20.259" v="439" actId="9405"/>
          <ac:inkMkLst>
            <pc:docMk/>
            <pc:sldMk cId="1672978264" sldId="566"/>
            <ac:inkMk id="120" creationId="{DD933D27-C1D4-4941-39F6-75A0CB120B62}"/>
          </ac:inkMkLst>
        </pc:inkChg>
        <pc:inkChg chg="add">
          <ac:chgData name="Aniket Chhabra" userId="598e0514-bef3-4e71-b6aa-f2edd6441cff" providerId="ADAL" clId="{6B709646-9B8B-914B-83A9-D81F12AFDE5E}" dt="2022-06-19T04:16:20.658" v="440" actId="9405"/>
          <ac:inkMkLst>
            <pc:docMk/>
            <pc:sldMk cId="1672978264" sldId="566"/>
            <ac:inkMk id="121" creationId="{85ECF94C-9659-1BA5-4029-34D3830D9832}"/>
          </ac:inkMkLst>
        </pc:inkChg>
        <pc:inkChg chg="add">
          <ac:chgData name="Aniket Chhabra" userId="598e0514-bef3-4e71-b6aa-f2edd6441cff" providerId="ADAL" clId="{6B709646-9B8B-914B-83A9-D81F12AFDE5E}" dt="2022-06-19T04:16:21.899" v="441" actId="9405"/>
          <ac:inkMkLst>
            <pc:docMk/>
            <pc:sldMk cId="1672978264" sldId="566"/>
            <ac:inkMk id="122" creationId="{0BDB96C0-C9CB-4A59-A3E9-269368CF169B}"/>
          </ac:inkMkLst>
        </pc:inkChg>
        <pc:inkChg chg="add">
          <ac:chgData name="Aniket Chhabra" userId="598e0514-bef3-4e71-b6aa-f2edd6441cff" providerId="ADAL" clId="{6B709646-9B8B-914B-83A9-D81F12AFDE5E}" dt="2022-06-19T04:16:24" v="442" actId="9405"/>
          <ac:inkMkLst>
            <pc:docMk/>
            <pc:sldMk cId="1672978264" sldId="566"/>
            <ac:inkMk id="123" creationId="{F4505B97-66AF-C35E-C50E-9FEB7334BBD3}"/>
          </ac:inkMkLst>
        </pc:inkChg>
        <pc:inkChg chg="add">
          <ac:chgData name="Aniket Chhabra" userId="598e0514-bef3-4e71-b6aa-f2edd6441cff" providerId="ADAL" clId="{6B709646-9B8B-914B-83A9-D81F12AFDE5E}" dt="2022-06-19T04:16:24.301" v="443" actId="9405"/>
          <ac:inkMkLst>
            <pc:docMk/>
            <pc:sldMk cId="1672978264" sldId="566"/>
            <ac:inkMk id="124" creationId="{6C2CFF96-F33A-856A-EBA4-762E563D22E0}"/>
          </ac:inkMkLst>
        </pc:inkChg>
        <pc:inkChg chg="add">
          <ac:chgData name="Aniket Chhabra" userId="598e0514-bef3-4e71-b6aa-f2edd6441cff" providerId="ADAL" clId="{6B709646-9B8B-914B-83A9-D81F12AFDE5E}" dt="2022-06-19T04:16:24.517" v="444" actId="9405"/>
          <ac:inkMkLst>
            <pc:docMk/>
            <pc:sldMk cId="1672978264" sldId="566"/>
            <ac:inkMk id="125" creationId="{D99DEDF5-1286-D931-15BB-AAE7FC0127EA}"/>
          </ac:inkMkLst>
        </pc:inkChg>
        <pc:inkChg chg="add">
          <ac:chgData name="Aniket Chhabra" userId="598e0514-bef3-4e71-b6aa-f2edd6441cff" providerId="ADAL" clId="{6B709646-9B8B-914B-83A9-D81F12AFDE5E}" dt="2022-06-19T04:16:24.724" v="445" actId="9405"/>
          <ac:inkMkLst>
            <pc:docMk/>
            <pc:sldMk cId="1672978264" sldId="566"/>
            <ac:inkMk id="126" creationId="{A16E307F-AEFD-7EDA-A60E-9B705AE4C8E1}"/>
          </ac:inkMkLst>
        </pc:inkChg>
        <pc:inkChg chg="add">
          <ac:chgData name="Aniket Chhabra" userId="598e0514-bef3-4e71-b6aa-f2edd6441cff" providerId="ADAL" clId="{6B709646-9B8B-914B-83A9-D81F12AFDE5E}" dt="2022-06-19T04:16:25" v="446" actId="9405"/>
          <ac:inkMkLst>
            <pc:docMk/>
            <pc:sldMk cId="1672978264" sldId="566"/>
            <ac:inkMk id="127" creationId="{F4422B82-20BF-8402-3D29-95716C916A60}"/>
          </ac:inkMkLst>
        </pc:inkChg>
        <pc:inkChg chg="add">
          <ac:chgData name="Aniket Chhabra" userId="598e0514-bef3-4e71-b6aa-f2edd6441cff" providerId="ADAL" clId="{6B709646-9B8B-914B-83A9-D81F12AFDE5E}" dt="2022-06-19T04:16:25.345" v="447" actId="9405"/>
          <ac:inkMkLst>
            <pc:docMk/>
            <pc:sldMk cId="1672978264" sldId="566"/>
            <ac:inkMk id="128" creationId="{A7C87508-6619-6AEB-6D7E-4FF28788DEF8}"/>
          </ac:inkMkLst>
        </pc:inkChg>
        <pc:inkChg chg="add">
          <ac:chgData name="Aniket Chhabra" userId="598e0514-bef3-4e71-b6aa-f2edd6441cff" providerId="ADAL" clId="{6B709646-9B8B-914B-83A9-D81F12AFDE5E}" dt="2022-06-19T04:16:25.793" v="448" actId="9405"/>
          <ac:inkMkLst>
            <pc:docMk/>
            <pc:sldMk cId="1672978264" sldId="566"/>
            <ac:inkMk id="129" creationId="{0411C188-A81B-5951-EF2F-EE33583F8AF7}"/>
          </ac:inkMkLst>
        </pc:inkChg>
        <pc:inkChg chg="add">
          <ac:chgData name="Aniket Chhabra" userId="598e0514-bef3-4e71-b6aa-f2edd6441cff" providerId="ADAL" clId="{6B709646-9B8B-914B-83A9-D81F12AFDE5E}" dt="2022-06-19T04:16:25.984" v="449" actId="9405"/>
          <ac:inkMkLst>
            <pc:docMk/>
            <pc:sldMk cId="1672978264" sldId="566"/>
            <ac:inkMk id="130" creationId="{E44891F3-AB69-319A-E06C-73DC46ECCE42}"/>
          </ac:inkMkLst>
        </pc:inkChg>
        <pc:inkChg chg="add">
          <ac:chgData name="Aniket Chhabra" userId="598e0514-bef3-4e71-b6aa-f2edd6441cff" providerId="ADAL" clId="{6B709646-9B8B-914B-83A9-D81F12AFDE5E}" dt="2022-06-19T04:16:26.926" v="450" actId="9405"/>
          <ac:inkMkLst>
            <pc:docMk/>
            <pc:sldMk cId="1672978264" sldId="566"/>
            <ac:inkMk id="131" creationId="{C44B518D-3FAC-D6AA-6658-46774FBA45B5}"/>
          </ac:inkMkLst>
        </pc:inkChg>
        <pc:inkChg chg="add">
          <ac:chgData name="Aniket Chhabra" userId="598e0514-bef3-4e71-b6aa-f2edd6441cff" providerId="ADAL" clId="{6B709646-9B8B-914B-83A9-D81F12AFDE5E}" dt="2022-06-19T04:16:27.118" v="451" actId="9405"/>
          <ac:inkMkLst>
            <pc:docMk/>
            <pc:sldMk cId="1672978264" sldId="566"/>
            <ac:inkMk id="132" creationId="{EDAECB59-F331-F00A-4A52-213D30A7817B}"/>
          </ac:inkMkLst>
        </pc:inkChg>
        <pc:inkChg chg="add">
          <ac:chgData name="Aniket Chhabra" userId="598e0514-bef3-4e71-b6aa-f2edd6441cff" providerId="ADAL" clId="{6B709646-9B8B-914B-83A9-D81F12AFDE5E}" dt="2022-06-19T04:16:27.492" v="452" actId="9405"/>
          <ac:inkMkLst>
            <pc:docMk/>
            <pc:sldMk cId="1672978264" sldId="566"/>
            <ac:inkMk id="133" creationId="{9B71EB5E-C635-09D4-F109-5ED807223113}"/>
          </ac:inkMkLst>
        </pc:inkChg>
        <pc:inkChg chg="add">
          <ac:chgData name="Aniket Chhabra" userId="598e0514-bef3-4e71-b6aa-f2edd6441cff" providerId="ADAL" clId="{6B709646-9B8B-914B-83A9-D81F12AFDE5E}" dt="2022-06-19T04:16:27.759" v="453" actId="9405"/>
          <ac:inkMkLst>
            <pc:docMk/>
            <pc:sldMk cId="1672978264" sldId="566"/>
            <ac:inkMk id="134" creationId="{FBB0EF5F-F480-7DFF-D544-746BCABD7B5F}"/>
          </ac:inkMkLst>
        </pc:inkChg>
        <pc:inkChg chg="add">
          <ac:chgData name="Aniket Chhabra" userId="598e0514-bef3-4e71-b6aa-f2edd6441cff" providerId="ADAL" clId="{6B709646-9B8B-914B-83A9-D81F12AFDE5E}" dt="2022-06-19T04:16:27.956" v="454" actId="9405"/>
          <ac:inkMkLst>
            <pc:docMk/>
            <pc:sldMk cId="1672978264" sldId="566"/>
            <ac:inkMk id="135" creationId="{56CAD2BD-D873-264C-D561-84427B3EDA96}"/>
          </ac:inkMkLst>
        </pc:inkChg>
        <pc:inkChg chg="add">
          <ac:chgData name="Aniket Chhabra" userId="598e0514-bef3-4e71-b6aa-f2edd6441cff" providerId="ADAL" clId="{6B709646-9B8B-914B-83A9-D81F12AFDE5E}" dt="2022-06-19T04:16:28.079" v="455" actId="9405"/>
          <ac:inkMkLst>
            <pc:docMk/>
            <pc:sldMk cId="1672978264" sldId="566"/>
            <ac:inkMk id="136" creationId="{DBC550D9-B7D0-271A-D73D-C90E9DF607FF}"/>
          </ac:inkMkLst>
        </pc:inkChg>
        <pc:inkChg chg="add">
          <ac:chgData name="Aniket Chhabra" userId="598e0514-bef3-4e71-b6aa-f2edd6441cff" providerId="ADAL" clId="{6B709646-9B8B-914B-83A9-D81F12AFDE5E}" dt="2022-06-19T04:16:28.428" v="456" actId="9405"/>
          <ac:inkMkLst>
            <pc:docMk/>
            <pc:sldMk cId="1672978264" sldId="566"/>
            <ac:inkMk id="137" creationId="{AA6D212D-FF14-D552-15DF-3CEA64F14325}"/>
          </ac:inkMkLst>
        </pc:inkChg>
        <pc:inkChg chg="add">
          <ac:chgData name="Aniket Chhabra" userId="598e0514-bef3-4e71-b6aa-f2edd6441cff" providerId="ADAL" clId="{6B709646-9B8B-914B-83A9-D81F12AFDE5E}" dt="2022-06-19T04:16:28.604" v="457" actId="9405"/>
          <ac:inkMkLst>
            <pc:docMk/>
            <pc:sldMk cId="1672978264" sldId="566"/>
            <ac:inkMk id="138" creationId="{B6BA9315-91EE-8582-2DFD-0F313EA101B3}"/>
          </ac:inkMkLst>
        </pc:inkChg>
        <pc:inkChg chg="add">
          <ac:chgData name="Aniket Chhabra" userId="598e0514-bef3-4e71-b6aa-f2edd6441cff" providerId="ADAL" clId="{6B709646-9B8B-914B-83A9-D81F12AFDE5E}" dt="2022-06-19T04:16:28.871" v="458" actId="9405"/>
          <ac:inkMkLst>
            <pc:docMk/>
            <pc:sldMk cId="1672978264" sldId="566"/>
            <ac:inkMk id="139" creationId="{7608FD20-1210-2F28-3940-C7691381A46F}"/>
          </ac:inkMkLst>
        </pc:inkChg>
        <pc:inkChg chg="add">
          <ac:chgData name="Aniket Chhabra" userId="598e0514-bef3-4e71-b6aa-f2edd6441cff" providerId="ADAL" clId="{6B709646-9B8B-914B-83A9-D81F12AFDE5E}" dt="2022-06-19T04:16:29.063" v="459" actId="9405"/>
          <ac:inkMkLst>
            <pc:docMk/>
            <pc:sldMk cId="1672978264" sldId="566"/>
            <ac:inkMk id="140" creationId="{967090A9-9C0B-E534-FADF-CFB5C6D253C1}"/>
          </ac:inkMkLst>
        </pc:inkChg>
        <pc:inkChg chg="add">
          <ac:chgData name="Aniket Chhabra" userId="598e0514-bef3-4e71-b6aa-f2edd6441cff" providerId="ADAL" clId="{6B709646-9B8B-914B-83A9-D81F12AFDE5E}" dt="2022-06-19T04:16:29.212" v="460" actId="9405"/>
          <ac:inkMkLst>
            <pc:docMk/>
            <pc:sldMk cId="1672978264" sldId="566"/>
            <ac:inkMk id="141" creationId="{049E546E-E06E-B609-AF9D-32A9C15D1144}"/>
          </ac:inkMkLst>
        </pc:inkChg>
        <pc:inkChg chg="add">
          <ac:chgData name="Aniket Chhabra" userId="598e0514-bef3-4e71-b6aa-f2edd6441cff" providerId="ADAL" clId="{6B709646-9B8B-914B-83A9-D81F12AFDE5E}" dt="2022-06-19T04:18:16.363" v="461" actId="9405"/>
          <ac:inkMkLst>
            <pc:docMk/>
            <pc:sldMk cId="1672978264" sldId="566"/>
            <ac:inkMk id="142" creationId="{5D32FBAC-A702-0E75-D10C-D0A34B3FFA05}"/>
          </ac:inkMkLst>
        </pc:inkChg>
        <pc:inkChg chg="add">
          <ac:chgData name="Aniket Chhabra" userId="598e0514-bef3-4e71-b6aa-f2edd6441cff" providerId="ADAL" clId="{6B709646-9B8B-914B-83A9-D81F12AFDE5E}" dt="2022-06-19T04:18:17.116" v="462" actId="9405"/>
          <ac:inkMkLst>
            <pc:docMk/>
            <pc:sldMk cId="1672978264" sldId="566"/>
            <ac:inkMk id="143" creationId="{934731CE-3980-F5C8-157A-2476A225FDF1}"/>
          </ac:inkMkLst>
        </pc:inkChg>
        <pc:inkChg chg="add">
          <ac:chgData name="Aniket Chhabra" userId="598e0514-bef3-4e71-b6aa-f2edd6441cff" providerId="ADAL" clId="{6B709646-9B8B-914B-83A9-D81F12AFDE5E}" dt="2022-06-19T04:18:17.264" v="463" actId="9405"/>
          <ac:inkMkLst>
            <pc:docMk/>
            <pc:sldMk cId="1672978264" sldId="566"/>
            <ac:inkMk id="144" creationId="{637743A1-10C4-A324-0F78-44791D364ABE}"/>
          </ac:inkMkLst>
        </pc:inkChg>
        <pc:inkChg chg="add">
          <ac:chgData name="Aniket Chhabra" userId="598e0514-bef3-4e71-b6aa-f2edd6441cff" providerId="ADAL" clId="{6B709646-9B8B-914B-83A9-D81F12AFDE5E}" dt="2022-06-19T04:18:19.397" v="464" actId="9405"/>
          <ac:inkMkLst>
            <pc:docMk/>
            <pc:sldMk cId="1672978264" sldId="566"/>
            <ac:inkMk id="145" creationId="{2E54985E-493A-1894-87CB-2EBAEB4AB3BA}"/>
          </ac:inkMkLst>
        </pc:inkChg>
        <pc:inkChg chg="add">
          <ac:chgData name="Aniket Chhabra" userId="598e0514-bef3-4e71-b6aa-f2edd6441cff" providerId="ADAL" clId="{6B709646-9B8B-914B-83A9-D81F12AFDE5E}" dt="2022-06-19T04:18:20.361" v="465" actId="9405"/>
          <ac:inkMkLst>
            <pc:docMk/>
            <pc:sldMk cId="1672978264" sldId="566"/>
            <ac:inkMk id="146" creationId="{8567707E-6CD2-BE53-E568-DACACC07D6B2}"/>
          </ac:inkMkLst>
        </pc:inkChg>
        <pc:inkChg chg="add">
          <ac:chgData name="Aniket Chhabra" userId="598e0514-bef3-4e71-b6aa-f2edd6441cff" providerId="ADAL" clId="{6B709646-9B8B-914B-83A9-D81F12AFDE5E}" dt="2022-06-19T04:18:23.555" v="466" actId="9405"/>
          <ac:inkMkLst>
            <pc:docMk/>
            <pc:sldMk cId="1672978264" sldId="566"/>
            <ac:inkMk id="147" creationId="{0AE99136-F5B9-E5F2-46BC-0F3B041D2B28}"/>
          </ac:inkMkLst>
        </pc:inkChg>
        <pc:inkChg chg="add">
          <ac:chgData name="Aniket Chhabra" userId="598e0514-bef3-4e71-b6aa-f2edd6441cff" providerId="ADAL" clId="{6B709646-9B8B-914B-83A9-D81F12AFDE5E}" dt="2022-06-19T04:18:23.792" v="467" actId="9405"/>
          <ac:inkMkLst>
            <pc:docMk/>
            <pc:sldMk cId="1672978264" sldId="566"/>
            <ac:inkMk id="148" creationId="{E2762384-D200-E0D7-D68B-CF3FCFD740CF}"/>
          </ac:inkMkLst>
        </pc:inkChg>
        <pc:inkChg chg="add">
          <ac:chgData name="Aniket Chhabra" userId="598e0514-bef3-4e71-b6aa-f2edd6441cff" providerId="ADAL" clId="{6B709646-9B8B-914B-83A9-D81F12AFDE5E}" dt="2022-06-19T04:18:24.884" v="468" actId="9405"/>
          <ac:inkMkLst>
            <pc:docMk/>
            <pc:sldMk cId="1672978264" sldId="566"/>
            <ac:inkMk id="149" creationId="{A7053302-C62F-304A-C3B5-7820108757C0}"/>
          </ac:inkMkLst>
        </pc:inkChg>
        <pc:inkChg chg="add">
          <ac:chgData name="Aniket Chhabra" userId="598e0514-bef3-4e71-b6aa-f2edd6441cff" providerId="ADAL" clId="{6B709646-9B8B-914B-83A9-D81F12AFDE5E}" dt="2022-06-19T04:18:25.012" v="469" actId="9405"/>
          <ac:inkMkLst>
            <pc:docMk/>
            <pc:sldMk cId="1672978264" sldId="566"/>
            <ac:inkMk id="150" creationId="{F439437C-127D-33BD-1A48-6041707202EC}"/>
          </ac:inkMkLst>
        </pc:inkChg>
        <pc:inkChg chg="add">
          <ac:chgData name="Aniket Chhabra" userId="598e0514-bef3-4e71-b6aa-f2edd6441cff" providerId="ADAL" clId="{6B709646-9B8B-914B-83A9-D81F12AFDE5E}" dt="2022-06-19T04:18:25.362" v="470" actId="9405"/>
          <ac:inkMkLst>
            <pc:docMk/>
            <pc:sldMk cId="1672978264" sldId="566"/>
            <ac:inkMk id="151" creationId="{D8B243F4-F1F1-1F2B-1656-BC9874BB0C65}"/>
          </ac:inkMkLst>
        </pc:inkChg>
        <pc:inkChg chg="add">
          <ac:chgData name="Aniket Chhabra" userId="598e0514-bef3-4e71-b6aa-f2edd6441cff" providerId="ADAL" clId="{6B709646-9B8B-914B-83A9-D81F12AFDE5E}" dt="2022-06-19T04:18:26.404" v="471" actId="9405"/>
          <ac:inkMkLst>
            <pc:docMk/>
            <pc:sldMk cId="1672978264" sldId="566"/>
            <ac:inkMk id="152" creationId="{B3E76A46-57B7-82E4-0952-CC5013047155}"/>
          </ac:inkMkLst>
        </pc:inkChg>
        <pc:inkChg chg="add">
          <ac:chgData name="Aniket Chhabra" userId="598e0514-bef3-4e71-b6aa-f2edd6441cff" providerId="ADAL" clId="{6B709646-9B8B-914B-83A9-D81F12AFDE5E}" dt="2022-06-19T04:18:26.965" v="472" actId="9405"/>
          <ac:inkMkLst>
            <pc:docMk/>
            <pc:sldMk cId="1672978264" sldId="566"/>
            <ac:inkMk id="153" creationId="{6FF1D939-416F-71CF-9295-576580A88BC8}"/>
          </ac:inkMkLst>
        </pc:inkChg>
        <pc:inkChg chg="add">
          <ac:chgData name="Aniket Chhabra" userId="598e0514-bef3-4e71-b6aa-f2edd6441cff" providerId="ADAL" clId="{6B709646-9B8B-914B-83A9-D81F12AFDE5E}" dt="2022-06-19T04:18:28.649" v="473" actId="9405"/>
          <ac:inkMkLst>
            <pc:docMk/>
            <pc:sldMk cId="1672978264" sldId="566"/>
            <ac:inkMk id="154" creationId="{59562287-870A-959D-29D0-14F06667CF97}"/>
          </ac:inkMkLst>
        </pc:inkChg>
        <pc:inkChg chg="add">
          <ac:chgData name="Aniket Chhabra" userId="598e0514-bef3-4e71-b6aa-f2edd6441cff" providerId="ADAL" clId="{6B709646-9B8B-914B-83A9-D81F12AFDE5E}" dt="2022-06-19T04:18:29.599" v="474" actId="9405"/>
          <ac:inkMkLst>
            <pc:docMk/>
            <pc:sldMk cId="1672978264" sldId="566"/>
            <ac:inkMk id="155" creationId="{D50387EF-5D7F-E535-9B46-36F9063DAEC6}"/>
          </ac:inkMkLst>
        </pc:inkChg>
        <pc:inkChg chg="add">
          <ac:chgData name="Aniket Chhabra" userId="598e0514-bef3-4e71-b6aa-f2edd6441cff" providerId="ADAL" clId="{6B709646-9B8B-914B-83A9-D81F12AFDE5E}" dt="2022-06-19T04:18:29.754" v="475" actId="9405"/>
          <ac:inkMkLst>
            <pc:docMk/>
            <pc:sldMk cId="1672978264" sldId="566"/>
            <ac:inkMk id="156" creationId="{C059DD56-E968-4B88-ECE2-D81566F48C62}"/>
          </ac:inkMkLst>
        </pc:inkChg>
        <pc:inkChg chg="add">
          <ac:chgData name="Aniket Chhabra" userId="598e0514-bef3-4e71-b6aa-f2edd6441cff" providerId="ADAL" clId="{6B709646-9B8B-914B-83A9-D81F12AFDE5E}" dt="2022-06-19T04:18:30.015" v="476" actId="9405"/>
          <ac:inkMkLst>
            <pc:docMk/>
            <pc:sldMk cId="1672978264" sldId="566"/>
            <ac:inkMk id="157" creationId="{EB41A793-BFD4-0491-9461-9D90F0530682}"/>
          </ac:inkMkLst>
        </pc:inkChg>
        <pc:inkChg chg="add">
          <ac:chgData name="Aniket Chhabra" userId="598e0514-bef3-4e71-b6aa-f2edd6441cff" providerId="ADAL" clId="{6B709646-9B8B-914B-83A9-D81F12AFDE5E}" dt="2022-06-19T04:18:31.122" v="477" actId="9405"/>
          <ac:inkMkLst>
            <pc:docMk/>
            <pc:sldMk cId="1672978264" sldId="566"/>
            <ac:inkMk id="158" creationId="{B0A5160B-54BC-3303-60AD-E28BE264AB8D}"/>
          </ac:inkMkLst>
        </pc:inkChg>
        <pc:inkChg chg="add">
          <ac:chgData name="Aniket Chhabra" userId="598e0514-bef3-4e71-b6aa-f2edd6441cff" providerId="ADAL" clId="{6B709646-9B8B-914B-83A9-D81F12AFDE5E}" dt="2022-06-19T04:18:32.436" v="478" actId="9405"/>
          <ac:inkMkLst>
            <pc:docMk/>
            <pc:sldMk cId="1672978264" sldId="566"/>
            <ac:inkMk id="159" creationId="{C240DE64-7C39-1080-77CC-C84646A384F3}"/>
          </ac:inkMkLst>
        </pc:inkChg>
        <pc:inkChg chg="add">
          <ac:chgData name="Aniket Chhabra" userId="598e0514-bef3-4e71-b6aa-f2edd6441cff" providerId="ADAL" clId="{6B709646-9B8B-914B-83A9-D81F12AFDE5E}" dt="2022-06-19T04:18:34.036" v="479" actId="9405"/>
          <ac:inkMkLst>
            <pc:docMk/>
            <pc:sldMk cId="1672978264" sldId="566"/>
            <ac:inkMk id="160" creationId="{E2D8FF3C-9476-B0F7-B078-86F2997C4F62}"/>
          </ac:inkMkLst>
        </pc:inkChg>
        <pc:inkChg chg="add">
          <ac:chgData name="Aniket Chhabra" userId="598e0514-bef3-4e71-b6aa-f2edd6441cff" providerId="ADAL" clId="{6B709646-9B8B-914B-83A9-D81F12AFDE5E}" dt="2022-06-19T04:18:34.257" v="480" actId="9405"/>
          <ac:inkMkLst>
            <pc:docMk/>
            <pc:sldMk cId="1672978264" sldId="566"/>
            <ac:inkMk id="161" creationId="{DCB07DB9-0698-0413-3485-3F2CC4753619}"/>
          </ac:inkMkLst>
        </pc:inkChg>
        <pc:inkChg chg="add">
          <ac:chgData name="Aniket Chhabra" userId="598e0514-bef3-4e71-b6aa-f2edd6441cff" providerId="ADAL" clId="{6B709646-9B8B-914B-83A9-D81F12AFDE5E}" dt="2022-06-19T04:18:34.478" v="481" actId="9405"/>
          <ac:inkMkLst>
            <pc:docMk/>
            <pc:sldMk cId="1672978264" sldId="566"/>
            <ac:inkMk id="162" creationId="{BA2AB675-CDA3-60EC-1026-A36A414ED509}"/>
          </ac:inkMkLst>
        </pc:inkChg>
        <pc:inkChg chg="add">
          <ac:chgData name="Aniket Chhabra" userId="598e0514-bef3-4e71-b6aa-f2edd6441cff" providerId="ADAL" clId="{6B709646-9B8B-914B-83A9-D81F12AFDE5E}" dt="2022-06-19T04:18:34.697" v="482" actId="9405"/>
          <ac:inkMkLst>
            <pc:docMk/>
            <pc:sldMk cId="1672978264" sldId="566"/>
            <ac:inkMk id="163" creationId="{677D0A79-80FA-ADE9-43BF-DBE7D0034A04}"/>
          </ac:inkMkLst>
        </pc:inkChg>
        <pc:inkChg chg="add">
          <ac:chgData name="Aniket Chhabra" userId="598e0514-bef3-4e71-b6aa-f2edd6441cff" providerId="ADAL" clId="{6B709646-9B8B-914B-83A9-D81F12AFDE5E}" dt="2022-06-19T04:18:34.914" v="483" actId="9405"/>
          <ac:inkMkLst>
            <pc:docMk/>
            <pc:sldMk cId="1672978264" sldId="566"/>
            <ac:inkMk id="164" creationId="{8A56DC3A-AB16-4183-FDAA-7E2EA09CC9B0}"/>
          </ac:inkMkLst>
        </pc:inkChg>
        <pc:inkChg chg="add">
          <ac:chgData name="Aniket Chhabra" userId="598e0514-bef3-4e71-b6aa-f2edd6441cff" providerId="ADAL" clId="{6B709646-9B8B-914B-83A9-D81F12AFDE5E}" dt="2022-06-19T04:18:35.083" v="484" actId="9405"/>
          <ac:inkMkLst>
            <pc:docMk/>
            <pc:sldMk cId="1672978264" sldId="566"/>
            <ac:inkMk id="165" creationId="{BE94AD66-E143-B673-F387-F3BA3BE28D7E}"/>
          </ac:inkMkLst>
        </pc:inkChg>
        <pc:inkChg chg="add">
          <ac:chgData name="Aniket Chhabra" userId="598e0514-bef3-4e71-b6aa-f2edd6441cff" providerId="ADAL" clId="{6B709646-9B8B-914B-83A9-D81F12AFDE5E}" dt="2022-06-19T04:18:37.097" v="485" actId="9405"/>
          <ac:inkMkLst>
            <pc:docMk/>
            <pc:sldMk cId="1672978264" sldId="566"/>
            <ac:inkMk id="166" creationId="{B0248C97-2728-C448-9EA8-E1D40CAFF4C3}"/>
          </ac:inkMkLst>
        </pc:inkChg>
        <pc:inkChg chg="add">
          <ac:chgData name="Aniket Chhabra" userId="598e0514-bef3-4e71-b6aa-f2edd6441cff" providerId="ADAL" clId="{6B709646-9B8B-914B-83A9-D81F12AFDE5E}" dt="2022-06-19T04:18:41.796" v="486" actId="9405"/>
          <ac:inkMkLst>
            <pc:docMk/>
            <pc:sldMk cId="1672978264" sldId="566"/>
            <ac:inkMk id="167" creationId="{8E8F8F7C-5DA2-7CBD-F7EB-8D06D14B63B0}"/>
          </ac:inkMkLst>
        </pc:inkChg>
        <pc:inkChg chg="add">
          <ac:chgData name="Aniket Chhabra" userId="598e0514-bef3-4e71-b6aa-f2edd6441cff" providerId="ADAL" clId="{6B709646-9B8B-914B-83A9-D81F12AFDE5E}" dt="2022-06-19T04:18:42.361" v="487" actId="9405"/>
          <ac:inkMkLst>
            <pc:docMk/>
            <pc:sldMk cId="1672978264" sldId="566"/>
            <ac:inkMk id="168" creationId="{53B242F1-CEC6-8234-BF0D-2E1D3DA19B51}"/>
          </ac:inkMkLst>
        </pc:inkChg>
        <pc:inkChg chg="add">
          <ac:chgData name="Aniket Chhabra" userId="598e0514-bef3-4e71-b6aa-f2edd6441cff" providerId="ADAL" clId="{6B709646-9B8B-914B-83A9-D81F12AFDE5E}" dt="2022-06-19T04:18:42.695" v="488" actId="9405"/>
          <ac:inkMkLst>
            <pc:docMk/>
            <pc:sldMk cId="1672978264" sldId="566"/>
            <ac:inkMk id="169" creationId="{9D428581-A51C-5E22-4417-8D76A010643A}"/>
          </ac:inkMkLst>
        </pc:inkChg>
        <pc:inkChg chg="add">
          <ac:chgData name="Aniket Chhabra" userId="598e0514-bef3-4e71-b6aa-f2edd6441cff" providerId="ADAL" clId="{6B709646-9B8B-914B-83A9-D81F12AFDE5E}" dt="2022-06-19T04:18:43.033" v="489" actId="9405"/>
          <ac:inkMkLst>
            <pc:docMk/>
            <pc:sldMk cId="1672978264" sldId="566"/>
            <ac:inkMk id="170" creationId="{7447E272-B826-4C37-5692-81578860BF2F}"/>
          </ac:inkMkLst>
        </pc:inkChg>
        <pc:inkChg chg="add">
          <ac:chgData name="Aniket Chhabra" userId="598e0514-bef3-4e71-b6aa-f2edd6441cff" providerId="ADAL" clId="{6B709646-9B8B-914B-83A9-D81F12AFDE5E}" dt="2022-06-19T04:18:43.371" v="490" actId="9405"/>
          <ac:inkMkLst>
            <pc:docMk/>
            <pc:sldMk cId="1672978264" sldId="566"/>
            <ac:inkMk id="171" creationId="{8E0B0A46-E2E2-287C-ECF0-9F85E5630D83}"/>
          </ac:inkMkLst>
        </pc:inkChg>
        <pc:inkChg chg="add">
          <ac:chgData name="Aniket Chhabra" userId="598e0514-bef3-4e71-b6aa-f2edd6441cff" providerId="ADAL" clId="{6B709646-9B8B-914B-83A9-D81F12AFDE5E}" dt="2022-06-19T04:18:43.660" v="491" actId="9405"/>
          <ac:inkMkLst>
            <pc:docMk/>
            <pc:sldMk cId="1672978264" sldId="566"/>
            <ac:inkMk id="172" creationId="{87179924-0A61-8360-2781-FFB053C487C6}"/>
          </ac:inkMkLst>
        </pc:inkChg>
        <pc:inkChg chg="add">
          <ac:chgData name="Aniket Chhabra" userId="598e0514-bef3-4e71-b6aa-f2edd6441cff" providerId="ADAL" clId="{6B709646-9B8B-914B-83A9-D81F12AFDE5E}" dt="2022-06-19T04:18:43.921" v="492" actId="9405"/>
          <ac:inkMkLst>
            <pc:docMk/>
            <pc:sldMk cId="1672978264" sldId="566"/>
            <ac:inkMk id="173" creationId="{B7E27464-859B-9F71-5DA1-E43A06426EE8}"/>
          </ac:inkMkLst>
        </pc:inkChg>
        <pc:inkChg chg="add">
          <ac:chgData name="Aniket Chhabra" userId="598e0514-bef3-4e71-b6aa-f2edd6441cff" providerId="ADAL" clId="{6B709646-9B8B-914B-83A9-D81F12AFDE5E}" dt="2022-06-19T04:18:44.177" v="493" actId="9405"/>
          <ac:inkMkLst>
            <pc:docMk/>
            <pc:sldMk cId="1672978264" sldId="566"/>
            <ac:inkMk id="174" creationId="{CE75866A-A407-4314-436C-A4E0227F21A5}"/>
          </ac:inkMkLst>
        </pc:inkChg>
        <pc:inkChg chg="add">
          <ac:chgData name="Aniket Chhabra" userId="598e0514-bef3-4e71-b6aa-f2edd6441cff" providerId="ADAL" clId="{6B709646-9B8B-914B-83A9-D81F12AFDE5E}" dt="2022-06-19T04:18:44.394" v="494" actId="9405"/>
          <ac:inkMkLst>
            <pc:docMk/>
            <pc:sldMk cId="1672978264" sldId="566"/>
            <ac:inkMk id="175" creationId="{D9D418D3-6384-AACD-0A88-83ED38F08B2C}"/>
          </ac:inkMkLst>
        </pc:inkChg>
        <pc:inkChg chg="add">
          <ac:chgData name="Aniket Chhabra" userId="598e0514-bef3-4e71-b6aa-f2edd6441cff" providerId="ADAL" clId="{6B709646-9B8B-914B-83A9-D81F12AFDE5E}" dt="2022-06-19T04:18:44.597" v="495" actId="9405"/>
          <ac:inkMkLst>
            <pc:docMk/>
            <pc:sldMk cId="1672978264" sldId="566"/>
            <ac:inkMk id="176" creationId="{18DC1F9D-D0A8-608C-FC6B-6E6F48E2C6D9}"/>
          </ac:inkMkLst>
        </pc:inkChg>
        <pc:inkChg chg="add">
          <ac:chgData name="Aniket Chhabra" userId="598e0514-bef3-4e71-b6aa-f2edd6441cff" providerId="ADAL" clId="{6B709646-9B8B-914B-83A9-D81F12AFDE5E}" dt="2022-06-19T04:18:44.782" v="496" actId="9405"/>
          <ac:inkMkLst>
            <pc:docMk/>
            <pc:sldMk cId="1672978264" sldId="566"/>
            <ac:inkMk id="177" creationId="{595C9A7D-C627-CFB0-FCE2-A5378CD88767}"/>
          </ac:inkMkLst>
        </pc:inkChg>
        <pc:inkChg chg="add">
          <ac:chgData name="Aniket Chhabra" userId="598e0514-bef3-4e71-b6aa-f2edd6441cff" providerId="ADAL" clId="{6B709646-9B8B-914B-83A9-D81F12AFDE5E}" dt="2022-06-19T04:18:46.915" v="497" actId="9405"/>
          <ac:inkMkLst>
            <pc:docMk/>
            <pc:sldMk cId="1672978264" sldId="566"/>
            <ac:inkMk id="178" creationId="{6CF55C2F-C787-8775-6543-1AE7721C6BA9}"/>
          </ac:inkMkLst>
        </pc:inkChg>
        <pc:inkChg chg="add">
          <ac:chgData name="Aniket Chhabra" userId="598e0514-bef3-4e71-b6aa-f2edd6441cff" providerId="ADAL" clId="{6B709646-9B8B-914B-83A9-D81F12AFDE5E}" dt="2022-06-19T04:18:49.300" v="498" actId="9405"/>
          <ac:inkMkLst>
            <pc:docMk/>
            <pc:sldMk cId="1672978264" sldId="566"/>
            <ac:inkMk id="179" creationId="{51146EB6-336B-0DEB-352B-0DA0B5A39263}"/>
          </ac:inkMkLst>
        </pc:inkChg>
        <pc:inkChg chg="add">
          <ac:chgData name="Aniket Chhabra" userId="598e0514-bef3-4e71-b6aa-f2edd6441cff" providerId="ADAL" clId="{6B709646-9B8B-914B-83A9-D81F12AFDE5E}" dt="2022-06-19T04:18:49.781" v="499" actId="9405"/>
          <ac:inkMkLst>
            <pc:docMk/>
            <pc:sldMk cId="1672978264" sldId="566"/>
            <ac:inkMk id="180" creationId="{831D46D2-DCBB-B1DA-8B27-BDA2FC9DE0B6}"/>
          </ac:inkMkLst>
        </pc:inkChg>
        <pc:inkChg chg="add">
          <ac:chgData name="Aniket Chhabra" userId="598e0514-bef3-4e71-b6aa-f2edd6441cff" providerId="ADAL" clId="{6B709646-9B8B-914B-83A9-D81F12AFDE5E}" dt="2022-06-19T04:18:50.116" v="500" actId="9405"/>
          <ac:inkMkLst>
            <pc:docMk/>
            <pc:sldMk cId="1672978264" sldId="566"/>
            <ac:inkMk id="181" creationId="{0E8FF2C2-2557-098B-1FD3-A83596BEE11C}"/>
          </ac:inkMkLst>
        </pc:inkChg>
        <pc:inkChg chg="add mod">
          <ac:chgData name="Aniket Chhabra" userId="598e0514-bef3-4e71-b6aa-f2edd6441cff" providerId="ADAL" clId="{6B709646-9B8B-914B-83A9-D81F12AFDE5E}" dt="2022-06-19T04:26:32.185" v="512"/>
          <ac:inkMkLst>
            <pc:docMk/>
            <pc:sldMk cId="1672978264" sldId="566"/>
            <ac:inkMk id="182" creationId="{7C73B26A-DAD2-B8E2-A299-98001BA2B041}"/>
          </ac:inkMkLst>
        </pc:inkChg>
        <pc:inkChg chg="add mod">
          <ac:chgData name="Aniket Chhabra" userId="598e0514-bef3-4e71-b6aa-f2edd6441cff" providerId="ADAL" clId="{6B709646-9B8B-914B-83A9-D81F12AFDE5E}" dt="2022-06-19T04:26:32.185" v="512"/>
          <ac:inkMkLst>
            <pc:docMk/>
            <pc:sldMk cId="1672978264" sldId="566"/>
            <ac:inkMk id="183" creationId="{14E821CA-C7C7-ED6A-9FBE-5E61C8EC9E0D}"/>
          </ac:inkMkLst>
        </pc:inkChg>
        <pc:inkChg chg="add mod">
          <ac:chgData name="Aniket Chhabra" userId="598e0514-bef3-4e71-b6aa-f2edd6441cff" providerId="ADAL" clId="{6B709646-9B8B-914B-83A9-D81F12AFDE5E}" dt="2022-06-19T04:26:32.185" v="512"/>
          <ac:inkMkLst>
            <pc:docMk/>
            <pc:sldMk cId="1672978264" sldId="566"/>
            <ac:inkMk id="184" creationId="{E019BA07-7E65-7404-402E-10BA6DF7D484}"/>
          </ac:inkMkLst>
        </pc:inkChg>
        <pc:inkChg chg="add mod">
          <ac:chgData name="Aniket Chhabra" userId="598e0514-bef3-4e71-b6aa-f2edd6441cff" providerId="ADAL" clId="{6B709646-9B8B-914B-83A9-D81F12AFDE5E}" dt="2022-06-19T04:26:32.185" v="512"/>
          <ac:inkMkLst>
            <pc:docMk/>
            <pc:sldMk cId="1672978264" sldId="566"/>
            <ac:inkMk id="185" creationId="{E472823D-C23A-DFA7-97DE-7FA6FEC135BF}"/>
          </ac:inkMkLst>
        </pc:inkChg>
        <pc:inkChg chg="add mod">
          <ac:chgData name="Aniket Chhabra" userId="598e0514-bef3-4e71-b6aa-f2edd6441cff" providerId="ADAL" clId="{6B709646-9B8B-914B-83A9-D81F12AFDE5E}" dt="2022-06-19T04:26:32.185" v="512"/>
          <ac:inkMkLst>
            <pc:docMk/>
            <pc:sldMk cId="1672978264" sldId="566"/>
            <ac:inkMk id="186" creationId="{8E8A7CC2-320B-DCAC-CF31-806DFAE2E09C}"/>
          </ac:inkMkLst>
        </pc:inkChg>
        <pc:inkChg chg="add mod">
          <ac:chgData name="Aniket Chhabra" userId="598e0514-bef3-4e71-b6aa-f2edd6441cff" providerId="ADAL" clId="{6B709646-9B8B-914B-83A9-D81F12AFDE5E}" dt="2022-06-19T04:26:32.185" v="512"/>
          <ac:inkMkLst>
            <pc:docMk/>
            <pc:sldMk cId="1672978264" sldId="566"/>
            <ac:inkMk id="187" creationId="{0379CFDD-9AB0-D90E-FA03-846C021178A9}"/>
          </ac:inkMkLst>
        </pc:inkChg>
        <pc:inkChg chg="add mod">
          <ac:chgData name="Aniket Chhabra" userId="598e0514-bef3-4e71-b6aa-f2edd6441cff" providerId="ADAL" clId="{6B709646-9B8B-914B-83A9-D81F12AFDE5E}" dt="2022-06-19T04:26:32.185" v="512"/>
          <ac:inkMkLst>
            <pc:docMk/>
            <pc:sldMk cId="1672978264" sldId="566"/>
            <ac:inkMk id="188" creationId="{FEFB82CA-9539-AB4F-A452-5DAF58F8D649}"/>
          </ac:inkMkLst>
        </pc:inkChg>
        <pc:inkChg chg="add mod">
          <ac:chgData name="Aniket Chhabra" userId="598e0514-bef3-4e71-b6aa-f2edd6441cff" providerId="ADAL" clId="{6B709646-9B8B-914B-83A9-D81F12AFDE5E}" dt="2022-06-19T04:26:32.185" v="512"/>
          <ac:inkMkLst>
            <pc:docMk/>
            <pc:sldMk cId="1672978264" sldId="566"/>
            <ac:inkMk id="189" creationId="{1A022CB6-8FDD-61D5-4C16-28CDE579BFBB}"/>
          </ac:inkMkLst>
        </pc:inkChg>
        <pc:inkChg chg="add mod">
          <ac:chgData name="Aniket Chhabra" userId="598e0514-bef3-4e71-b6aa-f2edd6441cff" providerId="ADAL" clId="{6B709646-9B8B-914B-83A9-D81F12AFDE5E}" dt="2022-06-19T04:26:32.185" v="512"/>
          <ac:inkMkLst>
            <pc:docMk/>
            <pc:sldMk cId="1672978264" sldId="566"/>
            <ac:inkMk id="190" creationId="{AC9BE50E-05A2-DE9C-949F-85D154FED873}"/>
          </ac:inkMkLst>
        </pc:inkChg>
        <pc:inkChg chg="add mod">
          <ac:chgData name="Aniket Chhabra" userId="598e0514-bef3-4e71-b6aa-f2edd6441cff" providerId="ADAL" clId="{6B709646-9B8B-914B-83A9-D81F12AFDE5E}" dt="2022-06-19T04:26:50.275" v="553"/>
          <ac:inkMkLst>
            <pc:docMk/>
            <pc:sldMk cId="1672978264" sldId="566"/>
            <ac:inkMk id="192" creationId="{061695B5-14C6-7AF6-CC35-955AFCF57666}"/>
          </ac:inkMkLst>
        </pc:inkChg>
        <pc:inkChg chg="add mod">
          <ac:chgData name="Aniket Chhabra" userId="598e0514-bef3-4e71-b6aa-f2edd6441cff" providerId="ADAL" clId="{6B709646-9B8B-914B-83A9-D81F12AFDE5E}" dt="2022-06-19T04:26:50.275" v="553"/>
          <ac:inkMkLst>
            <pc:docMk/>
            <pc:sldMk cId="1672978264" sldId="566"/>
            <ac:inkMk id="193" creationId="{9292628C-BF23-5558-F316-C3DD884578CF}"/>
          </ac:inkMkLst>
        </pc:inkChg>
        <pc:inkChg chg="add mod">
          <ac:chgData name="Aniket Chhabra" userId="598e0514-bef3-4e71-b6aa-f2edd6441cff" providerId="ADAL" clId="{6B709646-9B8B-914B-83A9-D81F12AFDE5E}" dt="2022-06-19T04:26:50.275" v="553"/>
          <ac:inkMkLst>
            <pc:docMk/>
            <pc:sldMk cId="1672978264" sldId="566"/>
            <ac:inkMk id="194" creationId="{188DA6E7-F1E3-9053-6E8C-842BAB340CF0}"/>
          </ac:inkMkLst>
        </pc:inkChg>
        <pc:inkChg chg="add mod">
          <ac:chgData name="Aniket Chhabra" userId="598e0514-bef3-4e71-b6aa-f2edd6441cff" providerId="ADAL" clId="{6B709646-9B8B-914B-83A9-D81F12AFDE5E}" dt="2022-06-19T04:26:50.275" v="553"/>
          <ac:inkMkLst>
            <pc:docMk/>
            <pc:sldMk cId="1672978264" sldId="566"/>
            <ac:inkMk id="195" creationId="{2966948C-BEE1-8DBB-A334-13F2E737669D}"/>
          </ac:inkMkLst>
        </pc:inkChg>
        <pc:inkChg chg="add mod">
          <ac:chgData name="Aniket Chhabra" userId="598e0514-bef3-4e71-b6aa-f2edd6441cff" providerId="ADAL" clId="{6B709646-9B8B-914B-83A9-D81F12AFDE5E}" dt="2022-06-19T04:26:50.275" v="553"/>
          <ac:inkMkLst>
            <pc:docMk/>
            <pc:sldMk cId="1672978264" sldId="566"/>
            <ac:inkMk id="196" creationId="{5CE21005-95A0-6B1C-1EAA-F96EEC137097}"/>
          </ac:inkMkLst>
        </pc:inkChg>
        <pc:inkChg chg="add mod">
          <ac:chgData name="Aniket Chhabra" userId="598e0514-bef3-4e71-b6aa-f2edd6441cff" providerId="ADAL" clId="{6B709646-9B8B-914B-83A9-D81F12AFDE5E}" dt="2022-06-19T04:26:50.275" v="553"/>
          <ac:inkMkLst>
            <pc:docMk/>
            <pc:sldMk cId="1672978264" sldId="566"/>
            <ac:inkMk id="197" creationId="{45CB5BCF-5E57-9E60-5D90-955212EFC209}"/>
          </ac:inkMkLst>
        </pc:inkChg>
        <pc:inkChg chg="add mod">
          <ac:chgData name="Aniket Chhabra" userId="598e0514-bef3-4e71-b6aa-f2edd6441cff" providerId="ADAL" clId="{6B709646-9B8B-914B-83A9-D81F12AFDE5E}" dt="2022-06-19T04:26:50.275" v="553"/>
          <ac:inkMkLst>
            <pc:docMk/>
            <pc:sldMk cId="1672978264" sldId="566"/>
            <ac:inkMk id="198" creationId="{BF4B734E-4DD8-A3F7-FFAF-6C87CA98DF04}"/>
          </ac:inkMkLst>
        </pc:inkChg>
        <pc:inkChg chg="add mod">
          <ac:chgData name="Aniket Chhabra" userId="598e0514-bef3-4e71-b6aa-f2edd6441cff" providerId="ADAL" clId="{6B709646-9B8B-914B-83A9-D81F12AFDE5E}" dt="2022-06-19T04:26:50.275" v="553"/>
          <ac:inkMkLst>
            <pc:docMk/>
            <pc:sldMk cId="1672978264" sldId="566"/>
            <ac:inkMk id="199" creationId="{350103B4-17CA-ADA1-CA85-CBF426925ABC}"/>
          </ac:inkMkLst>
        </pc:inkChg>
        <pc:inkChg chg="add mod">
          <ac:chgData name="Aniket Chhabra" userId="598e0514-bef3-4e71-b6aa-f2edd6441cff" providerId="ADAL" clId="{6B709646-9B8B-914B-83A9-D81F12AFDE5E}" dt="2022-06-19T04:26:50.275" v="553"/>
          <ac:inkMkLst>
            <pc:docMk/>
            <pc:sldMk cId="1672978264" sldId="566"/>
            <ac:inkMk id="200" creationId="{2590A30E-63DC-6C13-9C42-DCFE0BDDDE81}"/>
          </ac:inkMkLst>
        </pc:inkChg>
        <pc:inkChg chg="add mod">
          <ac:chgData name="Aniket Chhabra" userId="598e0514-bef3-4e71-b6aa-f2edd6441cff" providerId="ADAL" clId="{6B709646-9B8B-914B-83A9-D81F12AFDE5E}" dt="2022-06-19T04:26:50.275" v="553"/>
          <ac:inkMkLst>
            <pc:docMk/>
            <pc:sldMk cId="1672978264" sldId="566"/>
            <ac:inkMk id="201" creationId="{9CF39D39-1487-CDB4-31B5-29B6CE1F64E0}"/>
          </ac:inkMkLst>
        </pc:inkChg>
        <pc:inkChg chg="add mod">
          <ac:chgData name="Aniket Chhabra" userId="598e0514-bef3-4e71-b6aa-f2edd6441cff" providerId="ADAL" clId="{6B709646-9B8B-914B-83A9-D81F12AFDE5E}" dt="2022-06-19T04:26:50.275" v="553"/>
          <ac:inkMkLst>
            <pc:docMk/>
            <pc:sldMk cId="1672978264" sldId="566"/>
            <ac:inkMk id="202" creationId="{5E52946B-CEB7-82DA-0CCE-36703622B2EE}"/>
          </ac:inkMkLst>
        </pc:inkChg>
        <pc:inkChg chg="add mod">
          <ac:chgData name="Aniket Chhabra" userId="598e0514-bef3-4e71-b6aa-f2edd6441cff" providerId="ADAL" clId="{6B709646-9B8B-914B-83A9-D81F12AFDE5E}" dt="2022-06-19T04:26:50.275" v="553"/>
          <ac:inkMkLst>
            <pc:docMk/>
            <pc:sldMk cId="1672978264" sldId="566"/>
            <ac:inkMk id="203" creationId="{749AD97A-4DC7-2400-394C-4A3F1FFEBDBA}"/>
          </ac:inkMkLst>
        </pc:inkChg>
        <pc:inkChg chg="add mod">
          <ac:chgData name="Aniket Chhabra" userId="598e0514-bef3-4e71-b6aa-f2edd6441cff" providerId="ADAL" clId="{6B709646-9B8B-914B-83A9-D81F12AFDE5E}" dt="2022-06-19T04:26:50.275" v="553"/>
          <ac:inkMkLst>
            <pc:docMk/>
            <pc:sldMk cId="1672978264" sldId="566"/>
            <ac:inkMk id="204" creationId="{D412E3C0-C6F6-9B2D-3958-22E21687ABE6}"/>
          </ac:inkMkLst>
        </pc:inkChg>
        <pc:inkChg chg="add mod">
          <ac:chgData name="Aniket Chhabra" userId="598e0514-bef3-4e71-b6aa-f2edd6441cff" providerId="ADAL" clId="{6B709646-9B8B-914B-83A9-D81F12AFDE5E}" dt="2022-06-19T04:26:50.275" v="553"/>
          <ac:inkMkLst>
            <pc:docMk/>
            <pc:sldMk cId="1672978264" sldId="566"/>
            <ac:inkMk id="205" creationId="{F24DBC14-478E-9443-BB52-72B1E448110D}"/>
          </ac:inkMkLst>
        </pc:inkChg>
        <pc:inkChg chg="add mod">
          <ac:chgData name="Aniket Chhabra" userId="598e0514-bef3-4e71-b6aa-f2edd6441cff" providerId="ADAL" clId="{6B709646-9B8B-914B-83A9-D81F12AFDE5E}" dt="2022-06-19T04:26:50.275" v="553"/>
          <ac:inkMkLst>
            <pc:docMk/>
            <pc:sldMk cId="1672978264" sldId="566"/>
            <ac:inkMk id="206" creationId="{FE6349D2-879C-02AA-515B-BBDE2A75B67C}"/>
          </ac:inkMkLst>
        </pc:inkChg>
        <pc:inkChg chg="add mod">
          <ac:chgData name="Aniket Chhabra" userId="598e0514-bef3-4e71-b6aa-f2edd6441cff" providerId="ADAL" clId="{6B709646-9B8B-914B-83A9-D81F12AFDE5E}" dt="2022-06-19T04:26:50.275" v="553"/>
          <ac:inkMkLst>
            <pc:docMk/>
            <pc:sldMk cId="1672978264" sldId="566"/>
            <ac:inkMk id="207" creationId="{F156CF24-76D6-6930-792E-404E6FF3770B}"/>
          </ac:inkMkLst>
        </pc:inkChg>
        <pc:inkChg chg="add mod">
          <ac:chgData name="Aniket Chhabra" userId="598e0514-bef3-4e71-b6aa-f2edd6441cff" providerId="ADAL" clId="{6B709646-9B8B-914B-83A9-D81F12AFDE5E}" dt="2022-06-19T04:26:50.275" v="553"/>
          <ac:inkMkLst>
            <pc:docMk/>
            <pc:sldMk cId="1672978264" sldId="566"/>
            <ac:inkMk id="208" creationId="{5029576E-51FD-DD18-DDCD-70146CC5358A}"/>
          </ac:inkMkLst>
        </pc:inkChg>
        <pc:inkChg chg="add mod">
          <ac:chgData name="Aniket Chhabra" userId="598e0514-bef3-4e71-b6aa-f2edd6441cff" providerId="ADAL" clId="{6B709646-9B8B-914B-83A9-D81F12AFDE5E}" dt="2022-06-19T04:26:50.275" v="553"/>
          <ac:inkMkLst>
            <pc:docMk/>
            <pc:sldMk cId="1672978264" sldId="566"/>
            <ac:inkMk id="209" creationId="{7CF1DB19-5697-15F8-B297-4373C1C6464B}"/>
          </ac:inkMkLst>
        </pc:inkChg>
        <pc:inkChg chg="add mod">
          <ac:chgData name="Aniket Chhabra" userId="598e0514-bef3-4e71-b6aa-f2edd6441cff" providerId="ADAL" clId="{6B709646-9B8B-914B-83A9-D81F12AFDE5E}" dt="2022-06-19T04:26:50.275" v="553"/>
          <ac:inkMkLst>
            <pc:docMk/>
            <pc:sldMk cId="1672978264" sldId="566"/>
            <ac:inkMk id="210" creationId="{6C08ADA2-5B7B-A015-04A3-1EA54BBA6874}"/>
          </ac:inkMkLst>
        </pc:inkChg>
        <pc:inkChg chg="add mod">
          <ac:chgData name="Aniket Chhabra" userId="598e0514-bef3-4e71-b6aa-f2edd6441cff" providerId="ADAL" clId="{6B709646-9B8B-914B-83A9-D81F12AFDE5E}" dt="2022-06-19T04:26:50.275" v="553"/>
          <ac:inkMkLst>
            <pc:docMk/>
            <pc:sldMk cId="1672978264" sldId="566"/>
            <ac:inkMk id="211" creationId="{B769FDBE-C509-8D40-7A0C-187B958E9B99}"/>
          </ac:inkMkLst>
        </pc:inkChg>
        <pc:inkChg chg="add mod">
          <ac:chgData name="Aniket Chhabra" userId="598e0514-bef3-4e71-b6aa-f2edd6441cff" providerId="ADAL" clId="{6B709646-9B8B-914B-83A9-D81F12AFDE5E}" dt="2022-06-19T04:26:50.275" v="553"/>
          <ac:inkMkLst>
            <pc:docMk/>
            <pc:sldMk cId="1672978264" sldId="566"/>
            <ac:inkMk id="212" creationId="{833CA022-EC69-F4EB-E0A5-2A90D9F5F6DF}"/>
          </ac:inkMkLst>
        </pc:inkChg>
        <pc:inkChg chg="add mod">
          <ac:chgData name="Aniket Chhabra" userId="598e0514-bef3-4e71-b6aa-f2edd6441cff" providerId="ADAL" clId="{6B709646-9B8B-914B-83A9-D81F12AFDE5E}" dt="2022-06-19T04:26:50.275" v="553"/>
          <ac:inkMkLst>
            <pc:docMk/>
            <pc:sldMk cId="1672978264" sldId="566"/>
            <ac:inkMk id="213" creationId="{D5A14A39-163C-5388-B09A-828A848D800F}"/>
          </ac:inkMkLst>
        </pc:inkChg>
        <pc:inkChg chg="add mod">
          <ac:chgData name="Aniket Chhabra" userId="598e0514-bef3-4e71-b6aa-f2edd6441cff" providerId="ADAL" clId="{6B709646-9B8B-914B-83A9-D81F12AFDE5E}" dt="2022-06-19T04:26:50.275" v="553"/>
          <ac:inkMkLst>
            <pc:docMk/>
            <pc:sldMk cId="1672978264" sldId="566"/>
            <ac:inkMk id="214" creationId="{AA57B086-525C-B932-2796-9CE6AD705C8F}"/>
          </ac:inkMkLst>
        </pc:inkChg>
        <pc:inkChg chg="add mod">
          <ac:chgData name="Aniket Chhabra" userId="598e0514-bef3-4e71-b6aa-f2edd6441cff" providerId="ADAL" clId="{6B709646-9B8B-914B-83A9-D81F12AFDE5E}" dt="2022-06-19T04:26:50.275" v="553"/>
          <ac:inkMkLst>
            <pc:docMk/>
            <pc:sldMk cId="1672978264" sldId="566"/>
            <ac:inkMk id="215" creationId="{2CBF63F3-4773-16F6-040C-4184B4FB8AF2}"/>
          </ac:inkMkLst>
        </pc:inkChg>
        <pc:inkChg chg="add mod">
          <ac:chgData name="Aniket Chhabra" userId="598e0514-bef3-4e71-b6aa-f2edd6441cff" providerId="ADAL" clId="{6B709646-9B8B-914B-83A9-D81F12AFDE5E}" dt="2022-06-19T04:26:50.275" v="553"/>
          <ac:inkMkLst>
            <pc:docMk/>
            <pc:sldMk cId="1672978264" sldId="566"/>
            <ac:inkMk id="216" creationId="{CCBDCF0D-8256-65A7-E583-1DE4B6A9C744}"/>
          </ac:inkMkLst>
        </pc:inkChg>
        <pc:inkChg chg="add mod">
          <ac:chgData name="Aniket Chhabra" userId="598e0514-bef3-4e71-b6aa-f2edd6441cff" providerId="ADAL" clId="{6B709646-9B8B-914B-83A9-D81F12AFDE5E}" dt="2022-06-19T04:26:50.275" v="553"/>
          <ac:inkMkLst>
            <pc:docMk/>
            <pc:sldMk cId="1672978264" sldId="566"/>
            <ac:inkMk id="217" creationId="{18000AA7-756E-F4AA-6CCD-6BF978ACB714}"/>
          </ac:inkMkLst>
        </pc:inkChg>
        <pc:inkChg chg="add mod">
          <ac:chgData name="Aniket Chhabra" userId="598e0514-bef3-4e71-b6aa-f2edd6441cff" providerId="ADAL" clId="{6B709646-9B8B-914B-83A9-D81F12AFDE5E}" dt="2022-06-19T04:26:50.275" v="553"/>
          <ac:inkMkLst>
            <pc:docMk/>
            <pc:sldMk cId="1672978264" sldId="566"/>
            <ac:inkMk id="218" creationId="{809E1EC6-B46A-DDFB-C094-CF92F67B0283}"/>
          </ac:inkMkLst>
        </pc:inkChg>
        <pc:inkChg chg="add mod">
          <ac:chgData name="Aniket Chhabra" userId="598e0514-bef3-4e71-b6aa-f2edd6441cff" providerId="ADAL" clId="{6B709646-9B8B-914B-83A9-D81F12AFDE5E}" dt="2022-06-19T04:26:50.275" v="553"/>
          <ac:inkMkLst>
            <pc:docMk/>
            <pc:sldMk cId="1672978264" sldId="566"/>
            <ac:inkMk id="219" creationId="{70465CF3-DB88-B46A-7C9D-B64E6BC535C2}"/>
          </ac:inkMkLst>
        </pc:inkChg>
        <pc:inkChg chg="add mod">
          <ac:chgData name="Aniket Chhabra" userId="598e0514-bef3-4e71-b6aa-f2edd6441cff" providerId="ADAL" clId="{6B709646-9B8B-914B-83A9-D81F12AFDE5E}" dt="2022-06-19T04:26:50.275" v="553"/>
          <ac:inkMkLst>
            <pc:docMk/>
            <pc:sldMk cId="1672978264" sldId="566"/>
            <ac:inkMk id="220" creationId="{094B4095-4A51-3A26-BA30-237B767DC4AB}"/>
          </ac:inkMkLst>
        </pc:inkChg>
        <pc:inkChg chg="add mod">
          <ac:chgData name="Aniket Chhabra" userId="598e0514-bef3-4e71-b6aa-f2edd6441cff" providerId="ADAL" clId="{6B709646-9B8B-914B-83A9-D81F12AFDE5E}" dt="2022-06-19T04:26:50.275" v="553"/>
          <ac:inkMkLst>
            <pc:docMk/>
            <pc:sldMk cId="1672978264" sldId="566"/>
            <ac:inkMk id="221" creationId="{5E5A9900-D163-312E-2177-13454E80E06B}"/>
          </ac:inkMkLst>
        </pc:inkChg>
        <pc:inkChg chg="add mod">
          <ac:chgData name="Aniket Chhabra" userId="598e0514-bef3-4e71-b6aa-f2edd6441cff" providerId="ADAL" clId="{6B709646-9B8B-914B-83A9-D81F12AFDE5E}" dt="2022-06-19T04:26:50.275" v="553"/>
          <ac:inkMkLst>
            <pc:docMk/>
            <pc:sldMk cId="1672978264" sldId="566"/>
            <ac:inkMk id="222" creationId="{F64BAD72-05FA-1E1C-B8E9-A51889B638D8}"/>
          </ac:inkMkLst>
        </pc:inkChg>
        <pc:inkChg chg="add mod">
          <ac:chgData name="Aniket Chhabra" userId="598e0514-bef3-4e71-b6aa-f2edd6441cff" providerId="ADAL" clId="{6B709646-9B8B-914B-83A9-D81F12AFDE5E}" dt="2022-06-19T04:26:50.275" v="553"/>
          <ac:inkMkLst>
            <pc:docMk/>
            <pc:sldMk cId="1672978264" sldId="566"/>
            <ac:inkMk id="223" creationId="{1406DC54-DE4F-1D04-210B-B6C7CD54CB16}"/>
          </ac:inkMkLst>
        </pc:inkChg>
        <pc:inkChg chg="add mod">
          <ac:chgData name="Aniket Chhabra" userId="598e0514-bef3-4e71-b6aa-f2edd6441cff" providerId="ADAL" clId="{6B709646-9B8B-914B-83A9-D81F12AFDE5E}" dt="2022-06-19T04:26:50.275" v="553"/>
          <ac:inkMkLst>
            <pc:docMk/>
            <pc:sldMk cId="1672978264" sldId="566"/>
            <ac:inkMk id="224" creationId="{421C852A-9172-8903-4A46-9E29F9C40C00}"/>
          </ac:inkMkLst>
        </pc:inkChg>
        <pc:inkChg chg="add mod">
          <ac:chgData name="Aniket Chhabra" userId="598e0514-bef3-4e71-b6aa-f2edd6441cff" providerId="ADAL" clId="{6B709646-9B8B-914B-83A9-D81F12AFDE5E}" dt="2022-06-19T04:26:50.275" v="553"/>
          <ac:inkMkLst>
            <pc:docMk/>
            <pc:sldMk cId="1672978264" sldId="566"/>
            <ac:inkMk id="225" creationId="{029CB045-4021-8C16-BF04-957F9ED69291}"/>
          </ac:inkMkLst>
        </pc:inkChg>
        <pc:inkChg chg="add mod">
          <ac:chgData name="Aniket Chhabra" userId="598e0514-bef3-4e71-b6aa-f2edd6441cff" providerId="ADAL" clId="{6B709646-9B8B-914B-83A9-D81F12AFDE5E}" dt="2022-06-19T04:26:50.275" v="553"/>
          <ac:inkMkLst>
            <pc:docMk/>
            <pc:sldMk cId="1672978264" sldId="566"/>
            <ac:inkMk id="226" creationId="{081B268C-F397-13B4-D64D-9E85D67F6D4D}"/>
          </ac:inkMkLst>
        </pc:inkChg>
        <pc:inkChg chg="add mod">
          <ac:chgData name="Aniket Chhabra" userId="598e0514-bef3-4e71-b6aa-f2edd6441cff" providerId="ADAL" clId="{6B709646-9B8B-914B-83A9-D81F12AFDE5E}" dt="2022-06-19T04:26:50.275" v="553"/>
          <ac:inkMkLst>
            <pc:docMk/>
            <pc:sldMk cId="1672978264" sldId="566"/>
            <ac:inkMk id="227" creationId="{9EB04FC4-C9A6-8E70-2E25-81012C68919C}"/>
          </ac:inkMkLst>
        </pc:inkChg>
        <pc:inkChg chg="add mod">
          <ac:chgData name="Aniket Chhabra" userId="598e0514-bef3-4e71-b6aa-f2edd6441cff" providerId="ADAL" clId="{6B709646-9B8B-914B-83A9-D81F12AFDE5E}" dt="2022-06-19T04:26:50.275" v="553"/>
          <ac:inkMkLst>
            <pc:docMk/>
            <pc:sldMk cId="1672978264" sldId="566"/>
            <ac:inkMk id="228" creationId="{9174CB2F-CA6F-8A7F-3A29-7BA2E1F4FA25}"/>
          </ac:inkMkLst>
        </pc:inkChg>
        <pc:inkChg chg="add mod">
          <ac:chgData name="Aniket Chhabra" userId="598e0514-bef3-4e71-b6aa-f2edd6441cff" providerId="ADAL" clId="{6B709646-9B8B-914B-83A9-D81F12AFDE5E}" dt="2022-06-19T04:26:50.275" v="553"/>
          <ac:inkMkLst>
            <pc:docMk/>
            <pc:sldMk cId="1672978264" sldId="566"/>
            <ac:inkMk id="229" creationId="{C4506E9D-B66F-F457-9B5E-BC143D5018E3}"/>
          </ac:inkMkLst>
        </pc:inkChg>
        <pc:inkChg chg="add mod">
          <ac:chgData name="Aniket Chhabra" userId="598e0514-bef3-4e71-b6aa-f2edd6441cff" providerId="ADAL" clId="{6B709646-9B8B-914B-83A9-D81F12AFDE5E}" dt="2022-06-19T04:26:50.275" v="553"/>
          <ac:inkMkLst>
            <pc:docMk/>
            <pc:sldMk cId="1672978264" sldId="566"/>
            <ac:inkMk id="230" creationId="{04517CEE-791C-72BA-D0EA-DF030E3D9813}"/>
          </ac:inkMkLst>
        </pc:inkChg>
        <pc:inkChg chg="add mod">
          <ac:chgData name="Aniket Chhabra" userId="598e0514-bef3-4e71-b6aa-f2edd6441cff" providerId="ADAL" clId="{6B709646-9B8B-914B-83A9-D81F12AFDE5E}" dt="2022-06-19T04:26:50.275" v="553"/>
          <ac:inkMkLst>
            <pc:docMk/>
            <pc:sldMk cId="1672978264" sldId="566"/>
            <ac:inkMk id="231" creationId="{FD7A09EA-B020-11AE-0513-EA49C4CD326C}"/>
          </ac:inkMkLst>
        </pc:inkChg>
        <pc:inkChg chg="add mod">
          <ac:chgData name="Aniket Chhabra" userId="598e0514-bef3-4e71-b6aa-f2edd6441cff" providerId="ADAL" clId="{6B709646-9B8B-914B-83A9-D81F12AFDE5E}" dt="2022-06-19T04:27:07.276" v="559"/>
          <ac:inkMkLst>
            <pc:docMk/>
            <pc:sldMk cId="1672978264" sldId="566"/>
            <ac:inkMk id="234" creationId="{3301BB33-FB49-6DD5-AA50-9BB2C3B3AFDD}"/>
          </ac:inkMkLst>
        </pc:inkChg>
        <pc:inkChg chg="add mod">
          <ac:chgData name="Aniket Chhabra" userId="598e0514-bef3-4e71-b6aa-f2edd6441cff" providerId="ADAL" clId="{6B709646-9B8B-914B-83A9-D81F12AFDE5E}" dt="2022-06-19T04:27:07.276" v="559"/>
          <ac:inkMkLst>
            <pc:docMk/>
            <pc:sldMk cId="1672978264" sldId="566"/>
            <ac:inkMk id="235" creationId="{D13A126F-0936-49C0-58AF-685224656721}"/>
          </ac:inkMkLst>
        </pc:inkChg>
        <pc:inkChg chg="add mod">
          <ac:chgData name="Aniket Chhabra" userId="598e0514-bef3-4e71-b6aa-f2edd6441cff" providerId="ADAL" clId="{6B709646-9B8B-914B-83A9-D81F12AFDE5E}" dt="2022-06-19T04:27:07.276" v="559"/>
          <ac:inkMkLst>
            <pc:docMk/>
            <pc:sldMk cId="1672978264" sldId="566"/>
            <ac:inkMk id="236" creationId="{6657F2A9-B0DF-22F8-1766-E52D57512FEB}"/>
          </ac:inkMkLst>
        </pc:inkChg>
        <pc:inkChg chg="add mod">
          <ac:chgData name="Aniket Chhabra" userId="598e0514-bef3-4e71-b6aa-f2edd6441cff" providerId="ADAL" clId="{6B709646-9B8B-914B-83A9-D81F12AFDE5E}" dt="2022-06-19T04:27:07.276" v="559"/>
          <ac:inkMkLst>
            <pc:docMk/>
            <pc:sldMk cId="1672978264" sldId="566"/>
            <ac:inkMk id="237" creationId="{18B76FC7-D199-7A0D-D3A6-15D8A96F7D31}"/>
          </ac:inkMkLst>
        </pc:inkChg>
        <pc:inkChg chg="add mod">
          <ac:chgData name="Aniket Chhabra" userId="598e0514-bef3-4e71-b6aa-f2edd6441cff" providerId="ADAL" clId="{6B709646-9B8B-914B-83A9-D81F12AFDE5E}" dt="2022-06-19T04:27:07.276" v="559"/>
          <ac:inkMkLst>
            <pc:docMk/>
            <pc:sldMk cId="1672978264" sldId="566"/>
            <ac:inkMk id="238" creationId="{4DFC65D0-2369-A278-14CF-EA35F2886854}"/>
          </ac:inkMkLst>
        </pc:inkChg>
      </pc:sldChg>
      <pc:sldChg chg="addSp delSp modSp new mod">
        <pc:chgData name="Aniket Chhabra" userId="598e0514-bef3-4e71-b6aa-f2edd6441cff" providerId="ADAL" clId="{6B709646-9B8B-914B-83A9-D81F12AFDE5E}" dt="2022-06-19T04:35:03.755" v="715" actId="9405"/>
        <pc:sldMkLst>
          <pc:docMk/>
          <pc:sldMk cId="2768088773" sldId="567"/>
        </pc:sldMkLst>
        <pc:grpChg chg="mod">
          <ac:chgData name="Aniket Chhabra" userId="598e0514-bef3-4e71-b6aa-f2edd6441cff" providerId="ADAL" clId="{6B709646-9B8B-914B-83A9-D81F12AFDE5E}" dt="2022-06-19T04:32:39.766" v="577"/>
          <ac:grpSpMkLst>
            <pc:docMk/>
            <pc:sldMk cId="2768088773" sldId="567"/>
            <ac:grpSpMk id="16" creationId="{7151A850-73FA-715F-1005-E6031D0AAC94}"/>
          </ac:grpSpMkLst>
        </pc:grpChg>
        <pc:grpChg chg="mod">
          <ac:chgData name="Aniket Chhabra" userId="598e0514-bef3-4e71-b6aa-f2edd6441cff" providerId="ADAL" clId="{6B709646-9B8B-914B-83A9-D81F12AFDE5E}" dt="2022-06-19T04:32:39.766" v="577"/>
          <ac:grpSpMkLst>
            <pc:docMk/>
            <pc:sldMk cId="2768088773" sldId="567"/>
            <ac:grpSpMk id="17" creationId="{CA668531-77AC-B9C4-9099-38FA7D1B7857}"/>
          </ac:grpSpMkLst>
        </pc:grpChg>
        <pc:grpChg chg="mod">
          <ac:chgData name="Aniket Chhabra" userId="598e0514-bef3-4e71-b6aa-f2edd6441cff" providerId="ADAL" clId="{6B709646-9B8B-914B-83A9-D81F12AFDE5E}" dt="2022-06-19T04:32:52.370" v="596"/>
          <ac:grpSpMkLst>
            <pc:docMk/>
            <pc:sldMk cId="2768088773" sldId="567"/>
            <ac:grpSpMk id="36" creationId="{E3888FBA-E8E2-270C-FEC6-F7CA13465539}"/>
          </ac:grpSpMkLst>
        </pc:grpChg>
        <pc:grpChg chg="mod">
          <ac:chgData name="Aniket Chhabra" userId="598e0514-bef3-4e71-b6aa-f2edd6441cff" providerId="ADAL" clId="{6B709646-9B8B-914B-83A9-D81F12AFDE5E}" dt="2022-06-19T04:33:02.681" v="603"/>
          <ac:grpSpMkLst>
            <pc:docMk/>
            <pc:sldMk cId="2768088773" sldId="567"/>
            <ac:grpSpMk id="43" creationId="{50D389D0-C80E-36C5-B425-48B265F1F708}"/>
          </ac:grpSpMkLst>
        </pc:grpChg>
        <pc:grpChg chg="del mod">
          <ac:chgData name="Aniket Chhabra" userId="598e0514-bef3-4e71-b6aa-f2edd6441cff" providerId="ADAL" clId="{6B709646-9B8B-914B-83A9-D81F12AFDE5E}" dt="2022-06-19T04:33:14.022" v="616"/>
          <ac:grpSpMkLst>
            <pc:docMk/>
            <pc:sldMk cId="2768088773" sldId="567"/>
            <ac:grpSpMk id="48" creationId="{489F3E9B-0411-F939-03B3-9EFCCE23463B}"/>
          </ac:grpSpMkLst>
        </pc:grpChg>
        <pc:grpChg chg="mod">
          <ac:chgData name="Aniket Chhabra" userId="598e0514-bef3-4e71-b6aa-f2edd6441cff" providerId="ADAL" clId="{6B709646-9B8B-914B-83A9-D81F12AFDE5E}" dt="2022-06-19T04:33:14.022" v="616"/>
          <ac:grpSpMkLst>
            <pc:docMk/>
            <pc:sldMk cId="2768088773" sldId="567"/>
            <ac:grpSpMk id="56" creationId="{6990FEFF-47E2-58E3-5FF9-EAF64589A9D3}"/>
          </ac:grpSpMkLst>
        </pc:grpChg>
        <pc:grpChg chg="mod">
          <ac:chgData name="Aniket Chhabra" userId="598e0514-bef3-4e71-b6aa-f2edd6441cff" providerId="ADAL" clId="{6B709646-9B8B-914B-83A9-D81F12AFDE5E}" dt="2022-06-19T04:33:21.950" v="625"/>
          <ac:grpSpMkLst>
            <pc:docMk/>
            <pc:sldMk cId="2768088773" sldId="567"/>
            <ac:grpSpMk id="65" creationId="{87BDB267-8E2D-278D-DA76-251F5EFD6EEA}"/>
          </ac:grpSpMkLst>
        </pc:grpChg>
        <pc:grpChg chg="mod">
          <ac:chgData name="Aniket Chhabra" userId="598e0514-bef3-4e71-b6aa-f2edd6441cff" providerId="ADAL" clId="{6B709646-9B8B-914B-83A9-D81F12AFDE5E}" dt="2022-06-19T04:34:20.730" v="658"/>
          <ac:grpSpMkLst>
            <pc:docMk/>
            <pc:sldMk cId="2768088773" sldId="567"/>
            <ac:grpSpMk id="91" creationId="{02B873DC-C296-6FC6-E766-35A82A1FDD6A}"/>
          </ac:grpSpMkLst>
        </pc:grpChg>
        <pc:grpChg chg="mod">
          <ac:chgData name="Aniket Chhabra" userId="598e0514-bef3-4e71-b6aa-f2edd6441cff" providerId="ADAL" clId="{6B709646-9B8B-914B-83A9-D81F12AFDE5E}" dt="2022-06-19T04:34:20.730" v="658"/>
          <ac:grpSpMkLst>
            <pc:docMk/>
            <pc:sldMk cId="2768088773" sldId="567"/>
            <ac:grpSpMk id="92" creationId="{27B29F1B-180C-851D-220B-C5D90871B0A7}"/>
          </ac:grpSpMkLst>
        </pc:grpChg>
        <pc:grpChg chg="mod">
          <ac:chgData name="Aniket Chhabra" userId="598e0514-bef3-4e71-b6aa-f2edd6441cff" providerId="ADAL" clId="{6B709646-9B8B-914B-83A9-D81F12AFDE5E}" dt="2022-06-19T04:34:37.224" v="664"/>
          <ac:grpSpMkLst>
            <pc:docMk/>
            <pc:sldMk cId="2768088773" sldId="567"/>
            <ac:grpSpMk id="98" creationId="{5FDB578F-DA98-B85F-C7FF-664D2CE84246}"/>
          </ac:grpSpMkLst>
        </pc:grpChg>
        <pc:grpChg chg="mod">
          <ac:chgData name="Aniket Chhabra" userId="598e0514-bef3-4e71-b6aa-f2edd6441cff" providerId="ADAL" clId="{6B709646-9B8B-914B-83A9-D81F12AFDE5E}" dt="2022-06-19T04:34:37.224" v="664"/>
          <ac:grpSpMkLst>
            <pc:docMk/>
            <pc:sldMk cId="2768088773" sldId="567"/>
            <ac:grpSpMk id="99" creationId="{44BAE6B2-38D4-DBF6-6E21-B2B869E348E2}"/>
          </ac:grpSpMkLst>
        </pc:grpChg>
        <pc:grpChg chg="del mod">
          <ac:chgData name="Aniket Chhabra" userId="598e0514-bef3-4e71-b6aa-f2edd6441cff" providerId="ADAL" clId="{6B709646-9B8B-914B-83A9-D81F12AFDE5E}" dt="2022-06-19T04:35:01.294" v="712"/>
          <ac:grpSpMkLst>
            <pc:docMk/>
            <pc:sldMk cId="2768088773" sldId="567"/>
            <ac:grpSpMk id="121" creationId="{EF2ED7D5-10AB-7720-D8A1-6C8782D0112C}"/>
          </ac:grpSpMkLst>
        </pc:grpChg>
        <pc:grpChg chg="mod">
          <ac:chgData name="Aniket Chhabra" userId="598e0514-bef3-4e71-b6aa-f2edd6441cff" providerId="ADAL" clId="{6B709646-9B8B-914B-83A9-D81F12AFDE5E}" dt="2022-06-19T04:34:48.606" v="686"/>
          <ac:grpSpMkLst>
            <pc:docMk/>
            <pc:sldMk cId="2768088773" sldId="567"/>
            <ac:grpSpMk id="122" creationId="{5223E521-B58F-B928-3811-4A8EB4C0BEDF}"/>
          </ac:grpSpMkLst>
        </pc:grpChg>
        <pc:grpChg chg="mod">
          <ac:chgData name="Aniket Chhabra" userId="598e0514-bef3-4e71-b6aa-f2edd6441cff" providerId="ADAL" clId="{6B709646-9B8B-914B-83A9-D81F12AFDE5E}" dt="2022-06-19T04:34:48.606" v="686"/>
          <ac:grpSpMkLst>
            <pc:docMk/>
            <pc:sldMk cId="2768088773" sldId="567"/>
            <ac:grpSpMk id="123" creationId="{CE9A3694-937C-0FD4-BDDA-7F54236DAA3A}"/>
          </ac:grpSpMkLst>
        </pc:grpChg>
        <pc:grpChg chg="mod">
          <ac:chgData name="Aniket Chhabra" userId="598e0514-bef3-4e71-b6aa-f2edd6441cff" providerId="ADAL" clId="{6B709646-9B8B-914B-83A9-D81F12AFDE5E}" dt="2022-06-19T04:34:48.606" v="686"/>
          <ac:grpSpMkLst>
            <pc:docMk/>
            <pc:sldMk cId="2768088773" sldId="567"/>
            <ac:grpSpMk id="124" creationId="{75C1A1C9-5C47-8E75-DCCF-778A91D4ECBA}"/>
          </ac:grpSpMkLst>
        </pc:grpChg>
        <pc:grpChg chg="del mod">
          <ac:chgData name="Aniket Chhabra" userId="598e0514-bef3-4e71-b6aa-f2edd6441cff" providerId="ADAL" clId="{6B709646-9B8B-914B-83A9-D81F12AFDE5E}" dt="2022-06-19T04:35:01.294" v="712"/>
          <ac:grpSpMkLst>
            <pc:docMk/>
            <pc:sldMk cId="2768088773" sldId="567"/>
            <ac:grpSpMk id="136" creationId="{76B1ED10-5720-3CB3-9718-6572A96163D7}"/>
          </ac:grpSpMkLst>
        </pc:grpChg>
        <pc:grpChg chg="del mod">
          <ac:chgData name="Aniket Chhabra" userId="598e0514-bef3-4e71-b6aa-f2edd6441cff" providerId="ADAL" clId="{6B709646-9B8B-914B-83A9-D81F12AFDE5E}" dt="2022-06-19T04:35:02.581" v="714"/>
          <ac:grpSpMkLst>
            <pc:docMk/>
            <pc:sldMk cId="2768088773" sldId="567"/>
            <ac:grpSpMk id="150" creationId="{068DBF28-DB92-5F7D-0B5B-6D30F7F107D7}"/>
          </ac:grpSpMkLst>
        </pc:grpChg>
        <pc:grpChg chg="mod">
          <ac:chgData name="Aniket Chhabra" userId="598e0514-bef3-4e71-b6aa-f2edd6441cff" providerId="ADAL" clId="{6B709646-9B8B-914B-83A9-D81F12AFDE5E}" dt="2022-06-19T04:35:01.294" v="712"/>
          <ac:grpSpMkLst>
            <pc:docMk/>
            <pc:sldMk cId="2768088773" sldId="567"/>
            <ac:grpSpMk id="151" creationId="{C794A21F-D3EB-F9B0-CB43-27022C63D74B}"/>
          </ac:grpSpMkLst>
        </pc:grpChg>
        <pc:grpChg chg="mod">
          <ac:chgData name="Aniket Chhabra" userId="598e0514-bef3-4e71-b6aa-f2edd6441cff" providerId="ADAL" clId="{6B709646-9B8B-914B-83A9-D81F12AFDE5E}" dt="2022-06-19T04:35:02.581" v="714"/>
          <ac:grpSpMkLst>
            <pc:docMk/>
            <pc:sldMk cId="2768088773" sldId="567"/>
            <ac:grpSpMk id="153" creationId="{9A48F647-1117-E723-0CCA-FE42F9512FCE}"/>
          </ac:grpSpMkLst>
        </pc:grpChg>
        <pc:inkChg chg="add mod">
          <ac:chgData name="Aniket Chhabra" userId="598e0514-bef3-4e71-b6aa-f2edd6441cff" providerId="ADAL" clId="{6B709646-9B8B-914B-83A9-D81F12AFDE5E}" dt="2022-06-19T04:32:39.766" v="577"/>
          <ac:inkMkLst>
            <pc:docMk/>
            <pc:sldMk cId="2768088773" sldId="567"/>
            <ac:inkMk id="4" creationId="{F9A865AD-E5EC-7A52-EDE6-9773DBF9A59F}"/>
          </ac:inkMkLst>
        </pc:inkChg>
        <pc:inkChg chg="add mod">
          <ac:chgData name="Aniket Chhabra" userId="598e0514-bef3-4e71-b6aa-f2edd6441cff" providerId="ADAL" clId="{6B709646-9B8B-914B-83A9-D81F12AFDE5E}" dt="2022-06-19T04:32:39.766" v="577"/>
          <ac:inkMkLst>
            <pc:docMk/>
            <pc:sldMk cId="2768088773" sldId="567"/>
            <ac:inkMk id="5" creationId="{71E4AB61-10EC-9514-327C-C23657B3962D}"/>
          </ac:inkMkLst>
        </pc:inkChg>
        <pc:inkChg chg="add mod">
          <ac:chgData name="Aniket Chhabra" userId="598e0514-bef3-4e71-b6aa-f2edd6441cff" providerId="ADAL" clId="{6B709646-9B8B-914B-83A9-D81F12AFDE5E}" dt="2022-06-19T04:32:39.766" v="577"/>
          <ac:inkMkLst>
            <pc:docMk/>
            <pc:sldMk cId="2768088773" sldId="567"/>
            <ac:inkMk id="6" creationId="{C651A8C3-251C-A15D-39B6-0C87B2B610B2}"/>
          </ac:inkMkLst>
        </pc:inkChg>
        <pc:inkChg chg="add mod">
          <ac:chgData name="Aniket Chhabra" userId="598e0514-bef3-4e71-b6aa-f2edd6441cff" providerId="ADAL" clId="{6B709646-9B8B-914B-83A9-D81F12AFDE5E}" dt="2022-06-19T04:32:39.766" v="577"/>
          <ac:inkMkLst>
            <pc:docMk/>
            <pc:sldMk cId="2768088773" sldId="567"/>
            <ac:inkMk id="7" creationId="{D35422E5-843C-6069-E33E-EFFDFC418CCC}"/>
          </ac:inkMkLst>
        </pc:inkChg>
        <pc:inkChg chg="add mod">
          <ac:chgData name="Aniket Chhabra" userId="598e0514-bef3-4e71-b6aa-f2edd6441cff" providerId="ADAL" clId="{6B709646-9B8B-914B-83A9-D81F12AFDE5E}" dt="2022-06-19T04:32:39.766" v="577"/>
          <ac:inkMkLst>
            <pc:docMk/>
            <pc:sldMk cId="2768088773" sldId="567"/>
            <ac:inkMk id="8" creationId="{8EABCDE5-00D9-CD12-BDC2-1E606D470A86}"/>
          </ac:inkMkLst>
        </pc:inkChg>
        <pc:inkChg chg="add mod">
          <ac:chgData name="Aniket Chhabra" userId="598e0514-bef3-4e71-b6aa-f2edd6441cff" providerId="ADAL" clId="{6B709646-9B8B-914B-83A9-D81F12AFDE5E}" dt="2022-06-19T04:32:39.766" v="577"/>
          <ac:inkMkLst>
            <pc:docMk/>
            <pc:sldMk cId="2768088773" sldId="567"/>
            <ac:inkMk id="9" creationId="{D3DB4731-C737-5A5D-946C-C1B36BA80E61}"/>
          </ac:inkMkLst>
        </pc:inkChg>
        <pc:inkChg chg="add mod">
          <ac:chgData name="Aniket Chhabra" userId="598e0514-bef3-4e71-b6aa-f2edd6441cff" providerId="ADAL" clId="{6B709646-9B8B-914B-83A9-D81F12AFDE5E}" dt="2022-06-19T04:32:39.766" v="577"/>
          <ac:inkMkLst>
            <pc:docMk/>
            <pc:sldMk cId="2768088773" sldId="567"/>
            <ac:inkMk id="10" creationId="{BD47C829-4EA5-1094-646C-6AB4893E6F93}"/>
          </ac:inkMkLst>
        </pc:inkChg>
        <pc:inkChg chg="add mod">
          <ac:chgData name="Aniket Chhabra" userId="598e0514-bef3-4e71-b6aa-f2edd6441cff" providerId="ADAL" clId="{6B709646-9B8B-914B-83A9-D81F12AFDE5E}" dt="2022-06-19T04:32:39.766" v="577"/>
          <ac:inkMkLst>
            <pc:docMk/>
            <pc:sldMk cId="2768088773" sldId="567"/>
            <ac:inkMk id="11" creationId="{5E164EC9-F5DD-F82B-23F4-FAE3351A12DF}"/>
          </ac:inkMkLst>
        </pc:inkChg>
        <pc:inkChg chg="add mod">
          <ac:chgData name="Aniket Chhabra" userId="598e0514-bef3-4e71-b6aa-f2edd6441cff" providerId="ADAL" clId="{6B709646-9B8B-914B-83A9-D81F12AFDE5E}" dt="2022-06-19T04:32:39.766" v="577"/>
          <ac:inkMkLst>
            <pc:docMk/>
            <pc:sldMk cId="2768088773" sldId="567"/>
            <ac:inkMk id="12" creationId="{2F0CEBFC-CD83-5602-63AA-12B598AC8C15}"/>
          </ac:inkMkLst>
        </pc:inkChg>
        <pc:inkChg chg="add mod">
          <ac:chgData name="Aniket Chhabra" userId="598e0514-bef3-4e71-b6aa-f2edd6441cff" providerId="ADAL" clId="{6B709646-9B8B-914B-83A9-D81F12AFDE5E}" dt="2022-06-19T04:32:39.766" v="577"/>
          <ac:inkMkLst>
            <pc:docMk/>
            <pc:sldMk cId="2768088773" sldId="567"/>
            <ac:inkMk id="13" creationId="{ADA08F15-2C36-1A3D-43FC-148BC08A240A}"/>
          </ac:inkMkLst>
        </pc:inkChg>
        <pc:inkChg chg="add mod">
          <ac:chgData name="Aniket Chhabra" userId="598e0514-bef3-4e71-b6aa-f2edd6441cff" providerId="ADAL" clId="{6B709646-9B8B-914B-83A9-D81F12AFDE5E}" dt="2022-06-19T04:32:39.766" v="577"/>
          <ac:inkMkLst>
            <pc:docMk/>
            <pc:sldMk cId="2768088773" sldId="567"/>
            <ac:inkMk id="14" creationId="{C091526C-68F8-1DBB-DD76-5681F37A15E5}"/>
          </ac:inkMkLst>
        </pc:inkChg>
        <pc:inkChg chg="add mod">
          <ac:chgData name="Aniket Chhabra" userId="598e0514-bef3-4e71-b6aa-f2edd6441cff" providerId="ADAL" clId="{6B709646-9B8B-914B-83A9-D81F12AFDE5E}" dt="2022-06-19T04:32:39.766" v="577"/>
          <ac:inkMkLst>
            <pc:docMk/>
            <pc:sldMk cId="2768088773" sldId="567"/>
            <ac:inkMk id="15" creationId="{5509986D-5CE8-A3A2-13FF-1D5D5541197F}"/>
          </ac:inkMkLst>
        </pc:inkChg>
        <pc:inkChg chg="add mod">
          <ac:chgData name="Aniket Chhabra" userId="598e0514-bef3-4e71-b6aa-f2edd6441cff" providerId="ADAL" clId="{6B709646-9B8B-914B-83A9-D81F12AFDE5E}" dt="2022-06-19T04:32:52.370" v="596"/>
          <ac:inkMkLst>
            <pc:docMk/>
            <pc:sldMk cId="2768088773" sldId="567"/>
            <ac:inkMk id="18" creationId="{03DCB5AF-02AC-BECC-D52D-EEE50AAE9761}"/>
          </ac:inkMkLst>
        </pc:inkChg>
        <pc:inkChg chg="add mod">
          <ac:chgData name="Aniket Chhabra" userId="598e0514-bef3-4e71-b6aa-f2edd6441cff" providerId="ADAL" clId="{6B709646-9B8B-914B-83A9-D81F12AFDE5E}" dt="2022-06-19T04:32:52.370" v="596"/>
          <ac:inkMkLst>
            <pc:docMk/>
            <pc:sldMk cId="2768088773" sldId="567"/>
            <ac:inkMk id="19" creationId="{EE60DAED-AC0B-1834-43E6-8157EF506C33}"/>
          </ac:inkMkLst>
        </pc:inkChg>
        <pc:inkChg chg="add mod">
          <ac:chgData name="Aniket Chhabra" userId="598e0514-bef3-4e71-b6aa-f2edd6441cff" providerId="ADAL" clId="{6B709646-9B8B-914B-83A9-D81F12AFDE5E}" dt="2022-06-19T04:32:52.370" v="596"/>
          <ac:inkMkLst>
            <pc:docMk/>
            <pc:sldMk cId="2768088773" sldId="567"/>
            <ac:inkMk id="20" creationId="{ED2DECA6-B1A1-7C86-9774-C19598827C65}"/>
          </ac:inkMkLst>
        </pc:inkChg>
        <pc:inkChg chg="add mod">
          <ac:chgData name="Aniket Chhabra" userId="598e0514-bef3-4e71-b6aa-f2edd6441cff" providerId="ADAL" clId="{6B709646-9B8B-914B-83A9-D81F12AFDE5E}" dt="2022-06-19T04:32:52.370" v="596"/>
          <ac:inkMkLst>
            <pc:docMk/>
            <pc:sldMk cId="2768088773" sldId="567"/>
            <ac:inkMk id="21" creationId="{DB549BF3-0EC2-49F4-A80F-7282D989A086}"/>
          </ac:inkMkLst>
        </pc:inkChg>
        <pc:inkChg chg="add mod">
          <ac:chgData name="Aniket Chhabra" userId="598e0514-bef3-4e71-b6aa-f2edd6441cff" providerId="ADAL" clId="{6B709646-9B8B-914B-83A9-D81F12AFDE5E}" dt="2022-06-19T04:32:52.370" v="596"/>
          <ac:inkMkLst>
            <pc:docMk/>
            <pc:sldMk cId="2768088773" sldId="567"/>
            <ac:inkMk id="22" creationId="{2AB73685-B966-4756-CC08-590D7FA90655}"/>
          </ac:inkMkLst>
        </pc:inkChg>
        <pc:inkChg chg="add mod">
          <ac:chgData name="Aniket Chhabra" userId="598e0514-bef3-4e71-b6aa-f2edd6441cff" providerId="ADAL" clId="{6B709646-9B8B-914B-83A9-D81F12AFDE5E}" dt="2022-06-19T04:32:52.370" v="596"/>
          <ac:inkMkLst>
            <pc:docMk/>
            <pc:sldMk cId="2768088773" sldId="567"/>
            <ac:inkMk id="23" creationId="{C635A3F4-7F93-5177-05E7-9429726EC00B}"/>
          </ac:inkMkLst>
        </pc:inkChg>
        <pc:inkChg chg="add mod">
          <ac:chgData name="Aniket Chhabra" userId="598e0514-bef3-4e71-b6aa-f2edd6441cff" providerId="ADAL" clId="{6B709646-9B8B-914B-83A9-D81F12AFDE5E}" dt="2022-06-19T04:32:52.370" v="596"/>
          <ac:inkMkLst>
            <pc:docMk/>
            <pc:sldMk cId="2768088773" sldId="567"/>
            <ac:inkMk id="24" creationId="{5B62E7DE-B320-BA33-9CFE-75C686B7330A}"/>
          </ac:inkMkLst>
        </pc:inkChg>
        <pc:inkChg chg="add mod">
          <ac:chgData name="Aniket Chhabra" userId="598e0514-bef3-4e71-b6aa-f2edd6441cff" providerId="ADAL" clId="{6B709646-9B8B-914B-83A9-D81F12AFDE5E}" dt="2022-06-19T04:32:52.370" v="596"/>
          <ac:inkMkLst>
            <pc:docMk/>
            <pc:sldMk cId="2768088773" sldId="567"/>
            <ac:inkMk id="25" creationId="{1CB9530C-AF6D-45E4-DF8E-7AD6B17C96DF}"/>
          </ac:inkMkLst>
        </pc:inkChg>
        <pc:inkChg chg="add mod">
          <ac:chgData name="Aniket Chhabra" userId="598e0514-bef3-4e71-b6aa-f2edd6441cff" providerId="ADAL" clId="{6B709646-9B8B-914B-83A9-D81F12AFDE5E}" dt="2022-06-19T04:32:52.370" v="596"/>
          <ac:inkMkLst>
            <pc:docMk/>
            <pc:sldMk cId="2768088773" sldId="567"/>
            <ac:inkMk id="26" creationId="{F499B9B1-BCAD-F12E-F6C6-4F8B3CB74DD9}"/>
          </ac:inkMkLst>
        </pc:inkChg>
        <pc:inkChg chg="add mod">
          <ac:chgData name="Aniket Chhabra" userId="598e0514-bef3-4e71-b6aa-f2edd6441cff" providerId="ADAL" clId="{6B709646-9B8B-914B-83A9-D81F12AFDE5E}" dt="2022-06-19T04:32:52.370" v="596"/>
          <ac:inkMkLst>
            <pc:docMk/>
            <pc:sldMk cId="2768088773" sldId="567"/>
            <ac:inkMk id="27" creationId="{4130E2BA-1611-E9E2-8233-EBBAFC0162BF}"/>
          </ac:inkMkLst>
        </pc:inkChg>
        <pc:inkChg chg="add mod">
          <ac:chgData name="Aniket Chhabra" userId="598e0514-bef3-4e71-b6aa-f2edd6441cff" providerId="ADAL" clId="{6B709646-9B8B-914B-83A9-D81F12AFDE5E}" dt="2022-06-19T04:32:52.370" v="596"/>
          <ac:inkMkLst>
            <pc:docMk/>
            <pc:sldMk cId="2768088773" sldId="567"/>
            <ac:inkMk id="28" creationId="{4AF15CAC-9D63-72A8-8919-121740583544}"/>
          </ac:inkMkLst>
        </pc:inkChg>
        <pc:inkChg chg="add mod">
          <ac:chgData name="Aniket Chhabra" userId="598e0514-bef3-4e71-b6aa-f2edd6441cff" providerId="ADAL" clId="{6B709646-9B8B-914B-83A9-D81F12AFDE5E}" dt="2022-06-19T04:32:52.370" v="596"/>
          <ac:inkMkLst>
            <pc:docMk/>
            <pc:sldMk cId="2768088773" sldId="567"/>
            <ac:inkMk id="29" creationId="{0F33FC7F-6C0E-10F9-BCCC-3BA517F2B233}"/>
          </ac:inkMkLst>
        </pc:inkChg>
        <pc:inkChg chg="add mod">
          <ac:chgData name="Aniket Chhabra" userId="598e0514-bef3-4e71-b6aa-f2edd6441cff" providerId="ADAL" clId="{6B709646-9B8B-914B-83A9-D81F12AFDE5E}" dt="2022-06-19T04:32:52.370" v="596"/>
          <ac:inkMkLst>
            <pc:docMk/>
            <pc:sldMk cId="2768088773" sldId="567"/>
            <ac:inkMk id="30" creationId="{0750092E-8932-F6EC-2DA1-2F90C82804A4}"/>
          </ac:inkMkLst>
        </pc:inkChg>
        <pc:inkChg chg="add mod">
          <ac:chgData name="Aniket Chhabra" userId="598e0514-bef3-4e71-b6aa-f2edd6441cff" providerId="ADAL" clId="{6B709646-9B8B-914B-83A9-D81F12AFDE5E}" dt="2022-06-19T04:32:52.370" v="596"/>
          <ac:inkMkLst>
            <pc:docMk/>
            <pc:sldMk cId="2768088773" sldId="567"/>
            <ac:inkMk id="31" creationId="{98CE6576-6AB5-8BA3-69C1-C83BCF4F6D55}"/>
          </ac:inkMkLst>
        </pc:inkChg>
        <pc:inkChg chg="add mod">
          <ac:chgData name="Aniket Chhabra" userId="598e0514-bef3-4e71-b6aa-f2edd6441cff" providerId="ADAL" clId="{6B709646-9B8B-914B-83A9-D81F12AFDE5E}" dt="2022-06-19T04:32:52.370" v="596"/>
          <ac:inkMkLst>
            <pc:docMk/>
            <pc:sldMk cId="2768088773" sldId="567"/>
            <ac:inkMk id="32" creationId="{078A4351-62EB-EBDC-3DE2-F2C55822DCEE}"/>
          </ac:inkMkLst>
        </pc:inkChg>
        <pc:inkChg chg="add mod">
          <ac:chgData name="Aniket Chhabra" userId="598e0514-bef3-4e71-b6aa-f2edd6441cff" providerId="ADAL" clId="{6B709646-9B8B-914B-83A9-D81F12AFDE5E}" dt="2022-06-19T04:32:52.370" v="596"/>
          <ac:inkMkLst>
            <pc:docMk/>
            <pc:sldMk cId="2768088773" sldId="567"/>
            <ac:inkMk id="33" creationId="{7DEC2878-7A53-52B7-FAFE-5530028C8717}"/>
          </ac:inkMkLst>
        </pc:inkChg>
        <pc:inkChg chg="add mod">
          <ac:chgData name="Aniket Chhabra" userId="598e0514-bef3-4e71-b6aa-f2edd6441cff" providerId="ADAL" clId="{6B709646-9B8B-914B-83A9-D81F12AFDE5E}" dt="2022-06-19T04:32:52.370" v="596"/>
          <ac:inkMkLst>
            <pc:docMk/>
            <pc:sldMk cId="2768088773" sldId="567"/>
            <ac:inkMk id="34" creationId="{817AA749-782C-C142-5E93-BAB6EB481BF7}"/>
          </ac:inkMkLst>
        </pc:inkChg>
        <pc:inkChg chg="add mod">
          <ac:chgData name="Aniket Chhabra" userId="598e0514-bef3-4e71-b6aa-f2edd6441cff" providerId="ADAL" clId="{6B709646-9B8B-914B-83A9-D81F12AFDE5E}" dt="2022-06-19T04:32:52.370" v="596"/>
          <ac:inkMkLst>
            <pc:docMk/>
            <pc:sldMk cId="2768088773" sldId="567"/>
            <ac:inkMk id="35" creationId="{86BD2FD6-4FF5-5C56-491B-7DB692114518}"/>
          </ac:inkMkLst>
        </pc:inkChg>
        <pc:inkChg chg="add mod">
          <ac:chgData name="Aniket Chhabra" userId="598e0514-bef3-4e71-b6aa-f2edd6441cff" providerId="ADAL" clId="{6B709646-9B8B-914B-83A9-D81F12AFDE5E}" dt="2022-06-19T04:33:02.681" v="603"/>
          <ac:inkMkLst>
            <pc:docMk/>
            <pc:sldMk cId="2768088773" sldId="567"/>
            <ac:inkMk id="37" creationId="{AE9874DC-AA05-2760-7BE1-12703592146F}"/>
          </ac:inkMkLst>
        </pc:inkChg>
        <pc:inkChg chg="add mod">
          <ac:chgData name="Aniket Chhabra" userId="598e0514-bef3-4e71-b6aa-f2edd6441cff" providerId="ADAL" clId="{6B709646-9B8B-914B-83A9-D81F12AFDE5E}" dt="2022-06-19T04:33:02.681" v="603"/>
          <ac:inkMkLst>
            <pc:docMk/>
            <pc:sldMk cId="2768088773" sldId="567"/>
            <ac:inkMk id="38" creationId="{C1578E5D-5564-6C8F-D67F-AF995176C6BE}"/>
          </ac:inkMkLst>
        </pc:inkChg>
        <pc:inkChg chg="add mod">
          <ac:chgData name="Aniket Chhabra" userId="598e0514-bef3-4e71-b6aa-f2edd6441cff" providerId="ADAL" clId="{6B709646-9B8B-914B-83A9-D81F12AFDE5E}" dt="2022-06-19T04:33:02.681" v="603"/>
          <ac:inkMkLst>
            <pc:docMk/>
            <pc:sldMk cId="2768088773" sldId="567"/>
            <ac:inkMk id="39" creationId="{9543F1F9-DCA8-6F78-9BB6-6A119298F58F}"/>
          </ac:inkMkLst>
        </pc:inkChg>
        <pc:inkChg chg="add mod">
          <ac:chgData name="Aniket Chhabra" userId="598e0514-bef3-4e71-b6aa-f2edd6441cff" providerId="ADAL" clId="{6B709646-9B8B-914B-83A9-D81F12AFDE5E}" dt="2022-06-19T04:33:02.681" v="603"/>
          <ac:inkMkLst>
            <pc:docMk/>
            <pc:sldMk cId="2768088773" sldId="567"/>
            <ac:inkMk id="40" creationId="{A4878E3C-E8AB-5622-9B51-5A027F6DA219}"/>
          </ac:inkMkLst>
        </pc:inkChg>
        <pc:inkChg chg="add mod">
          <ac:chgData name="Aniket Chhabra" userId="598e0514-bef3-4e71-b6aa-f2edd6441cff" providerId="ADAL" clId="{6B709646-9B8B-914B-83A9-D81F12AFDE5E}" dt="2022-06-19T04:33:02.681" v="603"/>
          <ac:inkMkLst>
            <pc:docMk/>
            <pc:sldMk cId="2768088773" sldId="567"/>
            <ac:inkMk id="41" creationId="{B9AEBDFB-811D-15F0-8BD2-38E5FAE0193B}"/>
          </ac:inkMkLst>
        </pc:inkChg>
        <pc:inkChg chg="add mod">
          <ac:chgData name="Aniket Chhabra" userId="598e0514-bef3-4e71-b6aa-f2edd6441cff" providerId="ADAL" clId="{6B709646-9B8B-914B-83A9-D81F12AFDE5E}" dt="2022-06-19T04:33:02.681" v="603"/>
          <ac:inkMkLst>
            <pc:docMk/>
            <pc:sldMk cId="2768088773" sldId="567"/>
            <ac:inkMk id="42" creationId="{812EB458-FAED-482F-0585-D7246070CB26}"/>
          </ac:inkMkLst>
        </pc:inkChg>
        <pc:inkChg chg="add mod">
          <ac:chgData name="Aniket Chhabra" userId="598e0514-bef3-4e71-b6aa-f2edd6441cff" providerId="ADAL" clId="{6B709646-9B8B-914B-83A9-D81F12AFDE5E}" dt="2022-06-19T04:33:14.022" v="616"/>
          <ac:inkMkLst>
            <pc:docMk/>
            <pc:sldMk cId="2768088773" sldId="567"/>
            <ac:inkMk id="44" creationId="{03A6059F-1B8A-765C-CFFC-F2B8F8B92954}"/>
          </ac:inkMkLst>
        </pc:inkChg>
        <pc:inkChg chg="add mod">
          <ac:chgData name="Aniket Chhabra" userId="598e0514-bef3-4e71-b6aa-f2edd6441cff" providerId="ADAL" clId="{6B709646-9B8B-914B-83A9-D81F12AFDE5E}" dt="2022-06-19T04:33:14.022" v="616"/>
          <ac:inkMkLst>
            <pc:docMk/>
            <pc:sldMk cId="2768088773" sldId="567"/>
            <ac:inkMk id="45" creationId="{4EA4D505-433F-6A1B-61C4-7D67015F7D21}"/>
          </ac:inkMkLst>
        </pc:inkChg>
        <pc:inkChg chg="add mod">
          <ac:chgData name="Aniket Chhabra" userId="598e0514-bef3-4e71-b6aa-f2edd6441cff" providerId="ADAL" clId="{6B709646-9B8B-914B-83A9-D81F12AFDE5E}" dt="2022-06-19T04:33:14.022" v="616"/>
          <ac:inkMkLst>
            <pc:docMk/>
            <pc:sldMk cId="2768088773" sldId="567"/>
            <ac:inkMk id="46" creationId="{66DAA6AA-9D51-A974-3BBC-2000A573C106}"/>
          </ac:inkMkLst>
        </pc:inkChg>
        <pc:inkChg chg="add mod">
          <ac:chgData name="Aniket Chhabra" userId="598e0514-bef3-4e71-b6aa-f2edd6441cff" providerId="ADAL" clId="{6B709646-9B8B-914B-83A9-D81F12AFDE5E}" dt="2022-06-19T04:33:14.022" v="616"/>
          <ac:inkMkLst>
            <pc:docMk/>
            <pc:sldMk cId="2768088773" sldId="567"/>
            <ac:inkMk id="47" creationId="{BF7004F0-568B-D3C5-4AF1-6EE980E5A1FC}"/>
          </ac:inkMkLst>
        </pc:inkChg>
        <pc:inkChg chg="add mod">
          <ac:chgData name="Aniket Chhabra" userId="598e0514-bef3-4e71-b6aa-f2edd6441cff" providerId="ADAL" clId="{6B709646-9B8B-914B-83A9-D81F12AFDE5E}" dt="2022-06-19T04:33:14.022" v="616"/>
          <ac:inkMkLst>
            <pc:docMk/>
            <pc:sldMk cId="2768088773" sldId="567"/>
            <ac:inkMk id="49" creationId="{F1052272-098D-7B08-7EB8-255560ECFFAA}"/>
          </ac:inkMkLst>
        </pc:inkChg>
        <pc:inkChg chg="add mod">
          <ac:chgData name="Aniket Chhabra" userId="598e0514-bef3-4e71-b6aa-f2edd6441cff" providerId="ADAL" clId="{6B709646-9B8B-914B-83A9-D81F12AFDE5E}" dt="2022-06-19T04:33:14.022" v="616"/>
          <ac:inkMkLst>
            <pc:docMk/>
            <pc:sldMk cId="2768088773" sldId="567"/>
            <ac:inkMk id="50" creationId="{2C129E67-35BD-4A7A-06DE-22BF89A8F27E}"/>
          </ac:inkMkLst>
        </pc:inkChg>
        <pc:inkChg chg="add mod">
          <ac:chgData name="Aniket Chhabra" userId="598e0514-bef3-4e71-b6aa-f2edd6441cff" providerId="ADAL" clId="{6B709646-9B8B-914B-83A9-D81F12AFDE5E}" dt="2022-06-19T04:33:14.022" v="616"/>
          <ac:inkMkLst>
            <pc:docMk/>
            <pc:sldMk cId="2768088773" sldId="567"/>
            <ac:inkMk id="51" creationId="{39601967-E306-E214-FDEC-49BEF4488DC3}"/>
          </ac:inkMkLst>
        </pc:inkChg>
        <pc:inkChg chg="add mod">
          <ac:chgData name="Aniket Chhabra" userId="598e0514-bef3-4e71-b6aa-f2edd6441cff" providerId="ADAL" clId="{6B709646-9B8B-914B-83A9-D81F12AFDE5E}" dt="2022-06-19T04:33:14.022" v="616"/>
          <ac:inkMkLst>
            <pc:docMk/>
            <pc:sldMk cId="2768088773" sldId="567"/>
            <ac:inkMk id="52" creationId="{972A8667-6C0F-3D3D-264C-71DF14DFC067}"/>
          </ac:inkMkLst>
        </pc:inkChg>
        <pc:inkChg chg="add mod">
          <ac:chgData name="Aniket Chhabra" userId="598e0514-bef3-4e71-b6aa-f2edd6441cff" providerId="ADAL" clId="{6B709646-9B8B-914B-83A9-D81F12AFDE5E}" dt="2022-06-19T04:33:14.022" v="616"/>
          <ac:inkMkLst>
            <pc:docMk/>
            <pc:sldMk cId="2768088773" sldId="567"/>
            <ac:inkMk id="53" creationId="{196F4B98-C253-922B-7715-2ED4FFC429F0}"/>
          </ac:inkMkLst>
        </pc:inkChg>
        <pc:inkChg chg="add mod">
          <ac:chgData name="Aniket Chhabra" userId="598e0514-bef3-4e71-b6aa-f2edd6441cff" providerId="ADAL" clId="{6B709646-9B8B-914B-83A9-D81F12AFDE5E}" dt="2022-06-19T04:33:14.022" v="616"/>
          <ac:inkMkLst>
            <pc:docMk/>
            <pc:sldMk cId="2768088773" sldId="567"/>
            <ac:inkMk id="54" creationId="{F83CA2E0-0383-F08D-AC50-45E3A0A81D48}"/>
          </ac:inkMkLst>
        </pc:inkChg>
        <pc:inkChg chg="add mod">
          <ac:chgData name="Aniket Chhabra" userId="598e0514-bef3-4e71-b6aa-f2edd6441cff" providerId="ADAL" clId="{6B709646-9B8B-914B-83A9-D81F12AFDE5E}" dt="2022-06-19T04:33:14.022" v="616"/>
          <ac:inkMkLst>
            <pc:docMk/>
            <pc:sldMk cId="2768088773" sldId="567"/>
            <ac:inkMk id="55" creationId="{A6408841-C6FE-ECDF-2B9F-AE562B0F7628}"/>
          </ac:inkMkLst>
        </pc:inkChg>
        <pc:inkChg chg="add mod">
          <ac:chgData name="Aniket Chhabra" userId="598e0514-bef3-4e71-b6aa-f2edd6441cff" providerId="ADAL" clId="{6B709646-9B8B-914B-83A9-D81F12AFDE5E}" dt="2022-06-19T04:33:21.950" v="625"/>
          <ac:inkMkLst>
            <pc:docMk/>
            <pc:sldMk cId="2768088773" sldId="567"/>
            <ac:inkMk id="57" creationId="{023BE85E-E952-20D7-6226-AEF8349777EB}"/>
          </ac:inkMkLst>
        </pc:inkChg>
        <pc:inkChg chg="add mod">
          <ac:chgData name="Aniket Chhabra" userId="598e0514-bef3-4e71-b6aa-f2edd6441cff" providerId="ADAL" clId="{6B709646-9B8B-914B-83A9-D81F12AFDE5E}" dt="2022-06-19T04:33:21.950" v="625"/>
          <ac:inkMkLst>
            <pc:docMk/>
            <pc:sldMk cId="2768088773" sldId="567"/>
            <ac:inkMk id="58" creationId="{1A7D02B5-97BB-ECBB-0578-66852E931987}"/>
          </ac:inkMkLst>
        </pc:inkChg>
        <pc:inkChg chg="add mod">
          <ac:chgData name="Aniket Chhabra" userId="598e0514-bef3-4e71-b6aa-f2edd6441cff" providerId="ADAL" clId="{6B709646-9B8B-914B-83A9-D81F12AFDE5E}" dt="2022-06-19T04:33:21.950" v="625"/>
          <ac:inkMkLst>
            <pc:docMk/>
            <pc:sldMk cId="2768088773" sldId="567"/>
            <ac:inkMk id="59" creationId="{7C6C3420-4F4B-2CE4-5EAD-3AEA3C813E40}"/>
          </ac:inkMkLst>
        </pc:inkChg>
        <pc:inkChg chg="add mod">
          <ac:chgData name="Aniket Chhabra" userId="598e0514-bef3-4e71-b6aa-f2edd6441cff" providerId="ADAL" clId="{6B709646-9B8B-914B-83A9-D81F12AFDE5E}" dt="2022-06-19T04:33:21.950" v="625"/>
          <ac:inkMkLst>
            <pc:docMk/>
            <pc:sldMk cId="2768088773" sldId="567"/>
            <ac:inkMk id="60" creationId="{60D3FB7E-2736-5D5B-A2FD-D5D9D636B64B}"/>
          </ac:inkMkLst>
        </pc:inkChg>
        <pc:inkChg chg="add mod">
          <ac:chgData name="Aniket Chhabra" userId="598e0514-bef3-4e71-b6aa-f2edd6441cff" providerId="ADAL" clId="{6B709646-9B8B-914B-83A9-D81F12AFDE5E}" dt="2022-06-19T04:33:21.950" v="625"/>
          <ac:inkMkLst>
            <pc:docMk/>
            <pc:sldMk cId="2768088773" sldId="567"/>
            <ac:inkMk id="61" creationId="{E03FE21E-8CD8-94F3-E41E-D57BA10D09E9}"/>
          </ac:inkMkLst>
        </pc:inkChg>
        <pc:inkChg chg="add mod">
          <ac:chgData name="Aniket Chhabra" userId="598e0514-bef3-4e71-b6aa-f2edd6441cff" providerId="ADAL" clId="{6B709646-9B8B-914B-83A9-D81F12AFDE5E}" dt="2022-06-19T04:33:21.950" v="625"/>
          <ac:inkMkLst>
            <pc:docMk/>
            <pc:sldMk cId="2768088773" sldId="567"/>
            <ac:inkMk id="62" creationId="{F31D50F2-B555-8EF7-75EA-7439F38E2405}"/>
          </ac:inkMkLst>
        </pc:inkChg>
        <pc:inkChg chg="add mod">
          <ac:chgData name="Aniket Chhabra" userId="598e0514-bef3-4e71-b6aa-f2edd6441cff" providerId="ADAL" clId="{6B709646-9B8B-914B-83A9-D81F12AFDE5E}" dt="2022-06-19T04:33:21.950" v="625"/>
          <ac:inkMkLst>
            <pc:docMk/>
            <pc:sldMk cId="2768088773" sldId="567"/>
            <ac:inkMk id="63" creationId="{C7B0CE74-4CF6-C483-A95F-BA7A36D62E65}"/>
          </ac:inkMkLst>
        </pc:inkChg>
        <pc:inkChg chg="add mod">
          <ac:chgData name="Aniket Chhabra" userId="598e0514-bef3-4e71-b6aa-f2edd6441cff" providerId="ADAL" clId="{6B709646-9B8B-914B-83A9-D81F12AFDE5E}" dt="2022-06-19T04:33:21.950" v="625"/>
          <ac:inkMkLst>
            <pc:docMk/>
            <pc:sldMk cId="2768088773" sldId="567"/>
            <ac:inkMk id="64" creationId="{0FD7CF21-2B77-F84F-7A3D-B31C2920246A}"/>
          </ac:inkMkLst>
        </pc:inkChg>
        <pc:inkChg chg="add mod">
          <ac:chgData name="Aniket Chhabra" userId="598e0514-bef3-4e71-b6aa-f2edd6441cff" providerId="ADAL" clId="{6B709646-9B8B-914B-83A9-D81F12AFDE5E}" dt="2022-06-19T04:34:20.730" v="658"/>
          <ac:inkMkLst>
            <pc:docMk/>
            <pc:sldMk cId="2768088773" sldId="567"/>
            <ac:inkMk id="66" creationId="{51945474-16EF-7EEE-BEF6-7EB80E63971D}"/>
          </ac:inkMkLst>
        </pc:inkChg>
        <pc:inkChg chg="add mod">
          <ac:chgData name="Aniket Chhabra" userId="598e0514-bef3-4e71-b6aa-f2edd6441cff" providerId="ADAL" clId="{6B709646-9B8B-914B-83A9-D81F12AFDE5E}" dt="2022-06-19T04:34:20.730" v="658"/>
          <ac:inkMkLst>
            <pc:docMk/>
            <pc:sldMk cId="2768088773" sldId="567"/>
            <ac:inkMk id="67" creationId="{A28FC889-7E88-7CC0-893C-B7AADDAFF74B}"/>
          </ac:inkMkLst>
        </pc:inkChg>
        <pc:inkChg chg="add mod">
          <ac:chgData name="Aniket Chhabra" userId="598e0514-bef3-4e71-b6aa-f2edd6441cff" providerId="ADAL" clId="{6B709646-9B8B-914B-83A9-D81F12AFDE5E}" dt="2022-06-19T04:34:20.730" v="658"/>
          <ac:inkMkLst>
            <pc:docMk/>
            <pc:sldMk cId="2768088773" sldId="567"/>
            <ac:inkMk id="68" creationId="{BCB4187D-D57A-7ABF-5780-5FDC931133AE}"/>
          </ac:inkMkLst>
        </pc:inkChg>
        <pc:inkChg chg="add mod">
          <ac:chgData name="Aniket Chhabra" userId="598e0514-bef3-4e71-b6aa-f2edd6441cff" providerId="ADAL" clId="{6B709646-9B8B-914B-83A9-D81F12AFDE5E}" dt="2022-06-19T04:34:20.730" v="658"/>
          <ac:inkMkLst>
            <pc:docMk/>
            <pc:sldMk cId="2768088773" sldId="567"/>
            <ac:inkMk id="69" creationId="{B0AC2C75-90A0-24EE-BD5F-E24946706F27}"/>
          </ac:inkMkLst>
        </pc:inkChg>
        <pc:inkChg chg="add mod">
          <ac:chgData name="Aniket Chhabra" userId="598e0514-bef3-4e71-b6aa-f2edd6441cff" providerId="ADAL" clId="{6B709646-9B8B-914B-83A9-D81F12AFDE5E}" dt="2022-06-19T04:34:20.730" v="658"/>
          <ac:inkMkLst>
            <pc:docMk/>
            <pc:sldMk cId="2768088773" sldId="567"/>
            <ac:inkMk id="70" creationId="{A9DA7C0B-244B-911A-45C4-2FC8EED57BEC}"/>
          </ac:inkMkLst>
        </pc:inkChg>
        <pc:inkChg chg="add mod">
          <ac:chgData name="Aniket Chhabra" userId="598e0514-bef3-4e71-b6aa-f2edd6441cff" providerId="ADAL" clId="{6B709646-9B8B-914B-83A9-D81F12AFDE5E}" dt="2022-06-19T04:34:20.730" v="658"/>
          <ac:inkMkLst>
            <pc:docMk/>
            <pc:sldMk cId="2768088773" sldId="567"/>
            <ac:inkMk id="71" creationId="{F88E84D6-D73E-17A1-0A61-32B3B3710B5C}"/>
          </ac:inkMkLst>
        </pc:inkChg>
        <pc:inkChg chg="add mod">
          <ac:chgData name="Aniket Chhabra" userId="598e0514-bef3-4e71-b6aa-f2edd6441cff" providerId="ADAL" clId="{6B709646-9B8B-914B-83A9-D81F12AFDE5E}" dt="2022-06-19T04:34:20.730" v="658"/>
          <ac:inkMkLst>
            <pc:docMk/>
            <pc:sldMk cId="2768088773" sldId="567"/>
            <ac:inkMk id="72" creationId="{273808A4-ADB0-74A0-CC8C-57C600D9C3E4}"/>
          </ac:inkMkLst>
        </pc:inkChg>
        <pc:inkChg chg="add mod">
          <ac:chgData name="Aniket Chhabra" userId="598e0514-bef3-4e71-b6aa-f2edd6441cff" providerId="ADAL" clId="{6B709646-9B8B-914B-83A9-D81F12AFDE5E}" dt="2022-06-19T04:34:20.730" v="658"/>
          <ac:inkMkLst>
            <pc:docMk/>
            <pc:sldMk cId="2768088773" sldId="567"/>
            <ac:inkMk id="73" creationId="{9E972A6F-24B2-BA6B-E8A9-5A5946DAB685}"/>
          </ac:inkMkLst>
        </pc:inkChg>
        <pc:inkChg chg="add mod">
          <ac:chgData name="Aniket Chhabra" userId="598e0514-bef3-4e71-b6aa-f2edd6441cff" providerId="ADAL" clId="{6B709646-9B8B-914B-83A9-D81F12AFDE5E}" dt="2022-06-19T04:34:20.730" v="658"/>
          <ac:inkMkLst>
            <pc:docMk/>
            <pc:sldMk cId="2768088773" sldId="567"/>
            <ac:inkMk id="74" creationId="{4A69FBDA-15DF-5CC4-A131-E8773C7AF654}"/>
          </ac:inkMkLst>
        </pc:inkChg>
        <pc:inkChg chg="add mod">
          <ac:chgData name="Aniket Chhabra" userId="598e0514-bef3-4e71-b6aa-f2edd6441cff" providerId="ADAL" clId="{6B709646-9B8B-914B-83A9-D81F12AFDE5E}" dt="2022-06-19T04:34:20.730" v="658"/>
          <ac:inkMkLst>
            <pc:docMk/>
            <pc:sldMk cId="2768088773" sldId="567"/>
            <ac:inkMk id="75" creationId="{C90BA558-0ADF-6E99-AAB1-FA6A979DA451}"/>
          </ac:inkMkLst>
        </pc:inkChg>
        <pc:inkChg chg="add mod">
          <ac:chgData name="Aniket Chhabra" userId="598e0514-bef3-4e71-b6aa-f2edd6441cff" providerId="ADAL" clId="{6B709646-9B8B-914B-83A9-D81F12AFDE5E}" dt="2022-06-19T04:34:20.730" v="658"/>
          <ac:inkMkLst>
            <pc:docMk/>
            <pc:sldMk cId="2768088773" sldId="567"/>
            <ac:inkMk id="76" creationId="{314F8DD9-256E-25CD-9FFC-54E0A309E4A1}"/>
          </ac:inkMkLst>
        </pc:inkChg>
        <pc:inkChg chg="add mod">
          <ac:chgData name="Aniket Chhabra" userId="598e0514-bef3-4e71-b6aa-f2edd6441cff" providerId="ADAL" clId="{6B709646-9B8B-914B-83A9-D81F12AFDE5E}" dt="2022-06-19T04:34:20.730" v="658"/>
          <ac:inkMkLst>
            <pc:docMk/>
            <pc:sldMk cId="2768088773" sldId="567"/>
            <ac:inkMk id="77" creationId="{A4657D16-AA67-EF67-88B2-BF77EF769AE3}"/>
          </ac:inkMkLst>
        </pc:inkChg>
        <pc:inkChg chg="add mod">
          <ac:chgData name="Aniket Chhabra" userId="598e0514-bef3-4e71-b6aa-f2edd6441cff" providerId="ADAL" clId="{6B709646-9B8B-914B-83A9-D81F12AFDE5E}" dt="2022-06-19T04:34:20.730" v="658"/>
          <ac:inkMkLst>
            <pc:docMk/>
            <pc:sldMk cId="2768088773" sldId="567"/>
            <ac:inkMk id="78" creationId="{A1DD70FA-F24B-EFBC-B35E-6AC04B79AF48}"/>
          </ac:inkMkLst>
        </pc:inkChg>
        <pc:inkChg chg="add mod">
          <ac:chgData name="Aniket Chhabra" userId="598e0514-bef3-4e71-b6aa-f2edd6441cff" providerId="ADAL" clId="{6B709646-9B8B-914B-83A9-D81F12AFDE5E}" dt="2022-06-19T04:34:20.730" v="658"/>
          <ac:inkMkLst>
            <pc:docMk/>
            <pc:sldMk cId="2768088773" sldId="567"/>
            <ac:inkMk id="79" creationId="{352B17E3-6A06-7BD0-5372-0EBEC1E0268D}"/>
          </ac:inkMkLst>
        </pc:inkChg>
        <pc:inkChg chg="add mod">
          <ac:chgData name="Aniket Chhabra" userId="598e0514-bef3-4e71-b6aa-f2edd6441cff" providerId="ADAL" clId="{6B709646-9B8B-914B-83A9-D81F12AFDE5E}" dt="2022-06-19T04:34:20.730" v="658"/>
          <ac:inkMkLst>
            <pc:docMk/>
            <pc:sldMk cId="2768088773" sldId="567"/>
            <ac:inkMk id="80" creationId="{06267B7B-E8E6-BE92-4E90-A2D96495883E}"/>
          </ac:inkMkLst>
        </pc:inkChg>
        <pc:inkChg chg="add mod">
          <ac:chgData name="Aniket Chhabra" userId="598e0514-bef3-4e71-b6aa-f2edd6441cff" providerId="ADAL" clId="{6B709646-9B8B-914B-83A9-D81F12AFDE5E}" dt="2022-06-19T04:34:20.730" v="658"/>
          <ac:inkMkLst>
            <pc:docMk/>
            <pc:sldMk cId="2768088773" sldId="567"/>
            <ac:inkMk id="81" creationId="{A3826AE4-F073-BA1D-8102-5276628425F2}"/>
          </ac:inkMkLst>
        </pc:inkChg>
        <pc:inkChg chg="add mod">
          <ac:chgData name="Aniket Chhabra" userId="598e0514-bef3-4e71-b6aa-f2edd6441cff" providerId="ADAL" clId="{6B709646-9B8B-914B-83A9-D81F12AFDE5E}" dt="2022-06-19T04:34:20.730" v="658"/>
          <ac:inkMkLst>
            <pc:docMk/>
            <pc:sldMk cId="2768088773" sldId="567"/>
            <ac:inkMk id="82" creationId="{16DB2437-3A52-BF39-458E-D3D651942390}"/>
          </ac:inkMkLst>
        </pc:inkChg>
        <pc:inkChg chg="add mod">
          <ac:chgData name="Aniket Chhabra" userId="598e0514-bef3-4e71-b6aa-f2edd6441cff" providerId="ADAL" clId="{6B709646-9B8B-914B-83A9-D81F12AFDE5E}" dt="2022-06-19T04:34:20.730" v="658"/>
          <ac:inkMkLst>
            <pc:docMk/>
            <pc:sldMk cId="2768088773" sldId="567"/>
            <ac:inkMk id="83" creationId="{261D0A40-3309-028A-9ED9-F6A2BD4260CF}"/>
          </ac:inkMkLst>
        </pc:inkChg>
        <pc:inkChg chg="add mod">
          <ac:chgData name="Aniket Chhabra" userId="598e0514-bef3-4e71-b6aa-f2edd6441cff" providerId="ADAL" clId="{6B709646-9B8B-914B-83A9-D81F12AFDE5E}" dt="2022-06-19T04:34:20.730" v="658"/>
          <ac:inkMkLst>
            <pc:docMk/>
            <pc:sldMk cId="2768088773" sldId="567"/>
            <ac:inkMk id="84" creationId="{987CAF5F-8001-7816-F87D-A47A07AFABB2}"/>
          </ac:inkMkLst>
        </pc:inkChg>
        <pc:inkChg chg="add mod">
          <ac:chgData name="Aniket Chhabra" userId="598e0514-bef3-4e71-b6aa-f2edd6441cff" providerId="ADAL" clId="{6B709646-9B8B-914B-83A9-D81F12AFDE5E}" dt="2022-06-19T04:34:20.730" v="658"/>
          <ac:inkMkLst>
            <pc:docMk/>
            <pc:sldMk cId="2768088773" sldId="567"/>
            <ac:inkMk id="85" creationId="{67530088-EB23-C01E-13C0-4265260378E6}"/>
          </ac:inkMkLst>
        </pc:inkChg>
        <pc:inkChg chg="add mod">
          <ac:chgData name="Aniket Chhabra" userId="598e0514-bef3-4e71-b6aa-f2edd6441cff" providerId="ADAL" clId="{6B709646-9B8B-914B-83A9-D81F12AFDE5E}" dt="2022-06-19T04:34:20.730" v="658"/>
          <ac:inkMkLst>
            <pc:docMk/>
            <pc:sldMk cId="2768088773" sldId="567"/>
            <ac:inkMk id="86" creationId="{D3D6610C-1CAE-A4CB-7FDA-5949EC4B48EC}"/>
          </ac:inkMkLst>
        </pc:inkChg>
        <pc:inkChg chg="add mod">
          <ac:chgData name="Aniket Chhabra" userId="598e0514-bef3-4e71-b6aa-f2edd6441cff" providerId="ADAL" clId="{6B709646-9B8B-914B-83A9-D81F12AFDE5E}" dt="2022-06-19T04:34:20.730" v="658"/>
          <ac:inkMkLst>
            <pc:docMk/>
            <pc:sldMk cId="2768088773" sldId="567"/>
            <ac:inkMk id="87" creationId="{9EA501AC-F2AC-2BD6-E8FB-25204FD75F85}"/>
          </ac:inkMkLst>
        </pc:inkChg>
        <pc:inkChg chg="add mod">
          <ac:chgData name="Aniket Chhabra" userId="598e0514-bef3-4e71-b6aa-f2edd6441cff" providerId="ADAL" clId="{6B709646-9B8B-914B-83A9-D81F12AFDE5E}" dt="2022-06-19T04:34:20.730" v="658"/>
          <ac:inkMkLst>
            <pc:docMk/>
            <pc:sldMk cId="2768088773" sldId="567"/>
            <ac:inkMk id="88" creationId="{CC2FD764-34DE-DF52-396E-2299B07DC9D6}"/>
          </ac:inkMkLst>
        </pc:inkChg>
        <pc:inkChg chg="add mod">
          <ac:chgData name="Aniket Chhabra" userId="598e0514-bef3-4e71-b6aa-f2edd6441cff" providerId="ADAL" clId="{6B709646-9B8B-914B-83A9-D81F12AFDE5E}" dt="2022-06-19T04:34:20.730" v="658"/>
          <ac:inkMkLst>
            <pc:docMk/>
            <pc:sldMk cId="2768088773" sldId="567"/>
            <ac:inkMk id="89" creationId="{53052D60-1FCD-4368-3DFD-4CAD7A5F96C4}"/>
          </ac:inkMkLst>
        </pc:inkChg>
        <pc:inkChg chg="add mod">
          <ac:chgData name="Aniket Chhabra" userId="598e0514-bef3-4e71-b6aa-f2edd6441cff" providerId="ADAL" clId="{6B709646-9B8B-914B-83A9-D81F12AFDE5E}" dt="2022-06-19T04:34:20.730" v="658"/>
          <ac:inkMkLst>
            <pc:docMk/>
            <pc:sldMk cId="2768088773" sldId="567"/>
            <ac:inkMk id="90" creationId="{E2BC2665-B714-1A39-18F1-711864ECB46D}"/>
          </ac:inkMkLst>
        </pc:inkChg>
        <pc:inkChg chg="add mod">
          <ac:chgData name="Aniket Chhabra" userId="598e0514-bef3-4e71-b6aa-f2edd6441cff" providerId="ADAL" clId="{6B709646-9B8B-914B-83A9-D81F12AFDE5E}" dt="2022-06-19T04:34:37.224" v="664"/>
          <ac:inkMkLst>
            <pc:docMk/>
            <pc:sldMk cId="2768088773" sldId="567"/>
            <ac:inkMk id="93" creationId="{618E3DD9-5086-FBAA-9723-1A7184057DA8}"/>
          </ac:inkMkLst>
        </pc:inkChg>
        <pc:inkChg chg="add mod">
          <ac:chgData name="Aniket Chhabra" userId="598e0514-bef3-4e71-b6aa-f2edd6441cff" providerId="ADAL" clId="{6B709646-9B8B-914B-83A9-D81F12AFDE5E}" dt="2022-06-19T04:34:37.224" v="664"/>
          <ac:inkMkLst>
            <pc:docMk/>
            <pc:sldMk cId="2768088773" sldId="567"/>
            <ac:inkMk id="94" creationId="{770D34FE-7598-540B-AE09-2DFE6F225C35}"/>
          </ac:inkMkLst>
        </pc:inkChg>
        <pc:inkChg chg="add mod">
          <ac:chgData name="Aniket Chhabra" userId="598e0514-bef3-4e71-b6aa-f2edd6441cff" providerId="ADAL" clId="{6B709646-9B8B-914B-83A9-D81F12AFDE5E}" dt="2022-06-19T04:34:37.224" v="664"/>
          <ac:inkMkLst>
            <pc:docMk/>
            <pc:sldMk cId="2768088773" sldId="567"/>
            <ac:inkMk id="95" creationId="{23D02526-FEE2-8EC1-70E7-9C7D9B24849C}"/>
          </ac:inkMkLst>
        </pc:inkChg>
        <pc:inkChg chg="add mod">
          <ac:chgData name="Aniket Chhabra" userId="598e0514-bef3-4e71-b6aa-f2edd6441cff" providerId="ADAL" clId="{6B709646-9B8B-914B-83A9-D81F12AFDE5E}" dt="2022-06-19T04:34:37.224" v="664"/>
          <ac:inkMkLst>
            <pc:docMk/>
            <pc:sldMk cId="2768088773" sldId="567"/>
            <ac:inkMk id="96" creationId="{B4243ABD-CCAB-B775-6786-FA40F650EE30}"/>
          </ac:inkMkLst>
        </pc:inkChg>
        <pc:inkChg chg="add mod">
          <ac:chgData name="Aniket Chhabra" userId="598e0514-bef3-4e71-b6aa-f2edd6441cff" providerId="ADAL" clId="{6B709646-9B8B-914B-83A9-D81F12AFDE5E}" dt="2022-06-19T04:34:37.224" v="664"/>
          <ac:inkMkLst>
            <pc:docMk/>
            <pc:sldMk cId="2768088773" sldId="567"/>
            <ac:inkMk id="97" creationId="{FFA6ECC8-60B4-BF5D-BE3F-2B6161DFCB1A}"/>
          </ac:inkMkLst>
        </pc:inkChg>
        <pc:inkChg chg="add mod">
          <ac:chgData name="Aniket Chhabra" userId="598e0514-bef3-4e71-b6aa-f2edd6441cff" providerId="ADAL" clId="{6B709646-9B8B-914B-83A9-D81F12AFDE5E}" dt="2022-06-19T04:34:48.606" v="686"/>
          <ac:inkMkLst>
            <pc:docMk/>
            <pc:sldMk cId="2768088773" sldId="567"/>
            <ac:inkMk id="100" creationId="{7989AC15-7EB4-9EF9-ACE6-39440ED5CEC1}"/>
          </ac:inkMkLst>
        </pc:inkChg>
        <pc:inkChg chg="add mod">
          <ac:chgData name="Aniket Chhabra" userId="598e0514-bef3-4e71-b6aa-f2edd6441cff" providerId="ADAL" clId="{6B709646-9B8B-914B-83A9-D81F12AFDE5E}" dt="2022-06-19T04:34:48.606" v="686"/>
          <ac:inkMkLst>
            <pc:docMk/>
            <pc:sldMk cId="2768088773" sldId="567"/>
            <ac:inkMk id="101" creationId="{81A56B8B-ACD4-D874-8E65-0869A64678F9}"/>
          </ac:inkMkLst>
        </pc:inkChg>
        <pc:inkChg chg="add mod">
          <ac:chgData name="Aniket Chhabra" userId="598e0514-bef3-4e71-b6aa-f2edd6441cff" providerId="ADAL" clId="{6B709646-9B8B-914B-83A9-D81F12AFDE5E}" dt="2022-06-19T04:34:48.606" v="686"/>
          <ac:inkMkLst>
            <pc:docMk/>
            <pc:sldMk cId="2768088773" sldId="567"/>
            <ac:inkMk id="102" creationId="{9C43B1DD-C759-17CD-872F-39B56C0971B9}"/>
          </ac:inkMkLst>
        </pc:inkChg>
        <pc:inkChg chg="add mod">
          <ac:chgData name="Aniket Chhabra" userId="598e0514-bef3-4e71-b6aa-f2edd6441cff" providerId="ADAL" clId="{6B709646-9B8B-914B-83A9-D81F12AFDE5E}" dt="2022-06-19T04:34:48.606" v="686"/>
          <ac:inkMkLst>
            <pc:docMk/>
            <pc:sldMk cId="2768088773" sldId="567"/>
            <ac:inkMk id="103" creationId="{9350F4DD-6CD6-E83E-4DD4-7038A1DF344B}"/>
          </ac:inkMkLst>
        </pc:inkChg>
        <pc:inkChg chg="add mod">
          <ac:chgData name="Aniket Chhabra" userId="598e0514-bef3-4e71-b6aa-f2edd6441cff" providerId="ADAL" clId="{6B709646-9B8B-914B-83A9-D81F12AFDE5E}" dt="2022-06-19T04:34:48.606" v="686"/>
          <ac:inkMkLst>
            <pc:docMk/>
            <pc:sldMk cId="2768088773" sldId="567"/>
            <ac:inkMk id="104" creationId="{29611756-94C2-6687-3876-D9731A0FB9AD}"/>
          </ac:inkMkLst>
        </pc:inkChg>
        <pc:inkChg chg="add mod">
          <ac:chgData name="Aniket Chhabra" userId="598e0514-bef3-4e71-b6aa-f2edd6441cff" providerId="ADAL" clId="{6B709646-9B8B-914B-83A9-D81F12AFDE5E}" dt="2022-06-19T04:34:48.606" v="686"/>
          <ac:inkMkLst>
            <pc:docMk/>
            <pc:sldMk cId="2768088773" sldId="567"/>
            <ac:inkMk id="105" creationId="{B63C5B6D-48F3-B156-28B1-C91463BFFBFD}"/>
          </ac:inkMkLst>
        </pc:inkChg>
        <pc:inkChg chg="add mod">
          <ac:chgData name="Aniket Chhabra" userId="598e0514-bef3-4e71-b6aa-f2edd6441cff" providerId="ADAL" clId="{6B709646-9B8B-914B-83A9-D81F12AFDE5E}" dt="2022-06-19T04:34:48.606" v="686"/>
          <ac:inkMkLst>
            <pc:docMk/>
            <pc:sldMk cId="2768088773" sldId="567"/>
            <ac:inkMk id="106" creationId="{32E892E6-71F3-7BAB-7F9E-CFB7088400BD}"/>
          </ac:inkMkLst>
        </pc:inkChg>
        <pc:inkChg chg="add mod">
          <ac:chgData name="Aniket Chhabra" userId="598e0514-bef3-4e71-b6aa-f2edd6441cff" providerId="ADAL" clId="{6B709646-9B8B-914B-83A9-D81F12AFDE5E}" dt="2022-06-19T04:34:48.606" v="686"/>
          <ac:inkMkLst>
            <pc:docMk/>
            <pc:sldMk cId="2768088773" sldId="567"/>
            <ac:inkMk id="107" creationId="{75269EA8-B8DF-090A-2A2B-EA9D838E306D}"/>
          </ac:inkMkLst>
        </pc:inkChg>
        <pc:inkChg chg="add mod">
          <ac:chgData name="Aniket Chhabra" userId="598e0514-bef3-4e71-b6aa-f2edd6441cff" providerId="ADAL" clId="{6B709646-9B8B-914B-83A9-D81F12AFDE5E}" dt="2022-06-19T04:35:01.294" v="712"/>
          <ac:inkMkLst>
            <pc:docMk/>
            <pc:sldMk cId="2768088773" sldId="567"/>
            <ac:inkMk id="108" creationId="{F930F740-85DA-4EF8-04D8-E67BA310E3CA}"/>
          </ac:inkMkLst>
        </pc:inkChg>
        <pc:inkChg chg="add mod">
          <ac:chgData name="Aniket Chhabra" userId="598e0514-bef3-4e71-b6aa-f2edd6441cff" providerId="ADAL" clId="{6B709646-9B8B-914B-83A9-D81F12AFDE5E}" dt="2022-06-19T04:35:01.294" v="712"/>
          <ac:inkMkLst>
            <pc:docMk/>
            <pc:sldMk cId="2768088773" sldId="567"/>
            <ac:inkMk id="109" creationId="{3FDD49CC-290B-30EF-62B6-7AB2FD198CD3}"/>
          </ac:inkMkLst>
        </pc:inkChg>
        <pc:inkChg chg="add mod">
          <ac:chgData name="Aniket Chhabra" userId="598e0514-bef3-4e71-b6aa-f2edd6441cff" providerId="ADAL" clId="{6B709646-9B8B-914B-83A9-D81F12AFDE5E}" dt="2022-06-19T04:35:01.294" v="712"/>
          <ac:inkMkLst>
            <pc:docMk/>
            <pc:sldMk cId="2768088773" sldId="567"/>
            <ac:inkMk id="110" creationId="{7327AB35-AFCF-A77C-47D5-614FCEECB6A0}"/>
          </ac:inkMkLst>
        </pc:inkChg>
        <pc:inkChg chg="add mod">
          <ac:chgData name="Aniket Chhabra" userId="598e0514-bef3-4e71-b6aa-f2edd6441cff" providerId="ADAL" clId="{6B709646-9B8B-914B-83A9-D81F12AFDE5E}" dt="2022-06-19T04:35:01.294" v="712"/>
          <ac:inkMkLst>
            <pc:docMk/>
            <pc:sldMk cId="2768088773" sldId="567"/>
            <ac:inkMk id="111" creationId="{1E443D61-35E4-911C-C130-8CE067F7889B}"/>
          </ac:inkMkLst>
        </pc:inkChg>
        <pc:inkChg chg="add mod">
          <ac:chgData name="Aniket Chhabra" userId="598e0514-bef3-4e71-b6aa-f2edd6441cff" providerId="ADAL" clId="{6B709646-9B8B-914B-83A9-D81F12AFDE5E}" dt="2022-06-19T04:35:01.294" v="712"/>
          <ac:inkMkLst>
            <pc:docMk/>
            <pc:sldMk cId="2768088773" sldId="567"/>
            <ac:inkMk id="112" creationId="{6D5CC7BC-BD02-A879-6896-C29757DF2715}"/>
          </ac:inkMkLst>
        </pc:inkChg>
        <pc:inkChg chg="add mod">
          <ac:chgData name="Aniket Chhabra" userId="598e0514-bef3-4e71-b6aa-f2edd6441cff" providerId="ADAL" clId="{6B709646-9B8B-914B-83A9-D81F12AFDE5E}" dt="2022-06-19T04:35:01.294" v="712"/>
          <ac:inkMkLst>
            <pc:docMk/>
            <pc:sldMk cId="2768088773" sldId="567"/>
            <ac:inkMk id="113" creationId="{018BAF61-9D63-E2ED-2E2D-5BF74A173241}"/>
          </ac:inkMkLst>
        </pc:inkChg>
        <pc:inkChg chg="add mod">
          <ac:chgData name="Aniket Chhabra" userId="598e0514-bef3-4e71-b6aa-f2edd6441cff" providerId="ADAL" clId="{6B709646-9B8B-914B-83A9-D81F12AFDE5E}" dt="2022-06-19T04:35:01.294" v="712"/>
          <ac:inkMkLst>
            <pc:docMk/>
            <pc:sldMk cId="2768088773" sldId="567"/>
            <ac:inkMk id="114" creationId="{D1958F79-291F-4288-43AB-4C80A3276118}"/>
          </ac:inkMkLst>
        </pc:inkChg>
        <pc:inkChg chg="add mod">
          <ac:chgData name="Aniket Chhabra" userId="598e0514-bef3-4e71-b6aa-f2edd6441cff" providerId="ADAL" clId="{6B709646-9B8B-914B-83A9-D81F12AFDE5E}" dt="2022-06-19T04:35:01.294" v="712"/>
          <ac:inkMkLst>
            <pc:docMk/>
            <pc:sldMk cId="2768088773" sldId="567"/>
            <ac:inkMk id="115" creationId="{7EBC05CD-7BB0-58BC-BB4A-C964D52C559A}"/>
          </ac:inkMkLst>
        </pc:inkChg>
        <pc:inkChg chg="add mod">
          <ac:chgData name="Aniket Chhabra" userId="598e0514-bef3-4e71-b6aa-f2edd6441cff" providerId="ADAL" clId="{6B709646-9B8B-914B-83A9-D81F12AFDE5E}" dt="2022-06-19T04:35:01.294" v="712"/>
          <ac:inkMkLst>
            <pc:docMk/>
            <pc:sldMk cId="2768088773" sldId="567"/>
            <ac:inkMk id="116" creationId="{AC8347B7-4E88-3869-95D3-B5BF0FAB8F88}"/>
          </ac:inkMkLst>
        </pc:inkChg>
        <pc:inkChg chg="add mod">
          <ac:chgData name="Aniket Chhabra" userId="598e0514-bef3-4e71-b6aa-f2edd6441cff" providerId="ADAL" clId="{6B709646-9B8B-914B-83A9-D81F12AFDE5E}" dt="2022-06-19T04:35:01.294" v="712"/>
          <ac:inkMkLst>
            <pc:docMk/>
            <pc:sldMk cId="2768088773" sldId="567"/>
            <ac:inkMk id="117" creationId="{FCA54A51-3140-E367-0F41-79FCA4CB1B91}"/>
          </ac:inkMkLst>
        </pc:inkChg>
        <pc:inkChg chg="add mod">
          <ac:chgData name="Aniket Chhabra" userId="598e0514-bef3-4e71-b6aa-f2edd6441cff" providerId="ADAL" clId="{6B709646-9B8B-914B-83A9-D81F12AFDE5E}" dt="2022-06-19T04:35:01.294" v="712"/>
          <ac:inkMkLst>
            <pc:docMk/>
            <pc:sldMk cId="2768088773" sldId="567"/>
            <ac:inkMk id="118" creationId="{3500F847-6F24-5390-10F0-A7F611F907AC}"/>
          </ac:inkMkLst>
        </pc:inkChg>
        <pc:inkChg chg="add mod">
          <ac:chgData name="Aniket Chhabra" userId="598e0514-bef3-4e71-b6aa-f2edd6441cff" providerId="ADAL" clId="{6B709646-9B8B-914B-83A9-D81F12AFDE5E}" dt="2022-06-19T04:35:01.294" v="712"/>
          <ac:inkMkLst>
            <pc:docMk/>
            <pc:sldMk cId="2768088773" sldId="567"/>
            <ac:inkMk id="119" creationId="{325674F7-928E-D290-8443-E0E38A7F43C4}"/>
          </ac:inkMkLst>
        </pc:inkChg>
        <pc:inkChg chg="add mod">
          <ac:chgData name="Aniket Chhabra" userId="598e0514-bef3-4e71-b6aa-f2edd6441cff" providerId="ADAL" clId="{6B709646-9B8B-914B-83A9-D81F12AFDE5E}" dt="2022-06-19T04:35:01.294" v="712"/>
          <ac:inkMkLst>
            <pc:docMk/>
            <pc:sldMk cId="2768088773" sldId="567"/>
            <ac:inkMk id="120" creationId="{B66F14A7-7D11-465F-4298-6B1A7E456CA2}"/>
          </ac:inkMkLst>
        </pc:inkChg>
        <pc:inkChg chg="add mod">
          <ac:chgData name="Aniket Chhabra" userId="598e0514-bef3-4e71-b6aa-f2edd6441cff" providerId="ADAL" clId="{6B709646-9B8B-914B-83A9-D81F12AFDE5E}" dt="2022-06-19T04:35:01.294" v="712"/>
          <ac:inkMkLst>
            <pc:docMk/>
            <pc:sldMk cId="2768088773" sldId="567"/>
            <ac:inkMk id="125" creationId="{E40233EC-EA09-A4AD-5901-AB35515D99F3}"/>
          </ac:inkMkLst>
        </pc:inkChg>
        <pc:inkChg chg="add mod">
          <ac:chgData name="Aniket Chhabra" userId="598e0514-bef3-4e71-b6aa-f2edd6441cff" providerId="ADAL" clId="{6B709646-9B8B-914B-83A9-D81F12AFDE5E}" dt="2022-06-19T04:35:01.294" v="712"/>
          <ac:inkMkLst>
            <pc:docMk/>
            <pc:sldMk cId="2768088773" sldId="567"/>
            <ac:inkMk id="126" creationId="{3A9AD0D9-A208-321A-8E0A-0B7BB320D9F0}"/>
          </ac:inkMkLst>
        </pc:inkChg>
        <pc:inkChg chg="add mod">
          <ac:chgData name="Aniket Chhabra" userId="598e0514-bef3-4e71-b6aa-f2edd6441cff" providerId="ADAL" clId="{6B709646-9B8B-914B-83A9-D81F12AFDE5E}" dt="2022-06-19T04:35:01.294" v="712"/>
          <ac:inkMkLst>
            <pc:docMk/>
            <pc:sldMk cId="2768088773" sldId="567"/>
            <ac:inkMk id="127" creationId="{B643797B-B480-EAB0-CE93-DEF4D9533937}"/>
          </ac:inkMkLst>
        </pc:inkChg>
        <pc:inkChg chg="add mod">
          <ac:chgData name="Aniket Chhabra" userId="598e0514-bef3-4e71-b6aa-f2edd6441cff" providerId="ADAL" clId="{6B709646-9B8B-914B-83A9-D81F12AFDE5E}" dt="2022-06-19T04:35:01.294" v="712"/>
          <ac:inkMkLst>
            <pc:docMk/>
            <pc:sldMk cId="2768088773" sldId="567"/>
            <ac:inkMk id="128" creationId="{EE3167B8-555F-81E3-8AC2-4D4DD08BB831}"/>
          </ac:inkMkLst>
        </pc:inkChg>
        <pc:inkChg chg="add mod">
          <ac:chgData name="Aniket Chhabra" userId="598e0514-bef3-4e71-b6aa-f2edd6441cff" providerId="ADAL" clId="{6B709646-9B8B-914B-83A9-D81F12AFDE5E}" dt="2022-06-19T04:35:01.294" v="712"/>
          <ac:inkMkLst>
            <pc:docMk/>
            <pc:sldMk cId="2768088773" sldId="567"/>
            <ac:inkMk id="129" creationId="{59BE7E14-89DF-AA2B-447E-8FD7AAFE92A8}"/>
          </ac:inkMkLst>
        </pc:inkChg>
        <pc:inkChg chg="add mod">
          <ac:chgData name="Aniket Chhabra" userId="598e0514-bef3-4e71-b6aa-f2edd6441cff" providerId="ADAL" clId="{6B709646-9B8B-914B-83A9-D81F12AFDE5E}" dt="2022-06-19T04:35:01.294" v="712"/>
          <ac:inkMkLst>
            <pc:docMk/>
            <pc:sldMk cId="2768088773" sldId="567"/>
            <ac:inkMk id="130" creationId="{C60D1096-59FE-B062-6AD6-7CB46024357B}"/>
          </ac:inkMkLst>
        </pc:inkChg>
        <pc:inkChg chg="add mod">
          <ac:chgData name="Aniket Chhabra" userId="598e0514-bef3-4e71-b6aa-f2edd6441cff" providerId="ADAL" clId="{6B709646-9B8B-914B-83A9-D81F12AFDE5E}" dt="2022-06-19T04:35:01.294" v="712"/>
          <ac:inkMkLst>
            <pc:docMk/>
            <pc:sldMk cId="2768088773" sldId="567"/>
            <ac:inkMk id="131" creationId="{5C2C33B2-832D-0121-90C0-2F821FE271B0}"/>
          </ac:inkMkLst>
        </pc:inkChg>
        <pc:inkChg chg="add mod">
          <ac:chgData name="Aniket Chhabra" userId="598e0514-bef3-4e71-b6aa-f2edd6441cff" providerId="ADAL" clId="{6B709646-9B8B-914B-83A9-D81F12AFDE5E}" dt="2022-06-19T04:35:01.294" v="712"/>
          <ac:inkMkLst>
            <pc:docMk/>
            <pc:sldMk cId="2768088773" sldId="567"/>
            <ac:inkMk id="132" creationId="{6CEE8808-2DA7-EDB0-6878-7F3CFA3063A0}"/>
          </ac:inkMkLst>
        </pc:inkChg>
        <pc:inkChg chg="add mod">
          <ac:chgData name="Aniket Chhabra" userId="598e0514-bef3-4e71-b6aa-f2edd6441cff" providerId="ADAL" clId="{6B709646-9B8B-914B-83A9-D81F12AFDE5E}" dt="2022-06-19T04:35:01.294" v="712"/>
          <ac:inkMkLst>
            <pc:docMk/>
            <pc:sldMk cId="2768088773" sldId="567"/>
            <ac:inkMk id="133" creationId="{028F1B3B-147A-2DA7-E6B3-DC02040C59E0}"/>
          </ac:inkMkLst>
        </pc:inkChg>
        <pc:inkChg chg="add mod">
          <ac:chgData name="Aniket Chhabra" userId="598e0514-bef3-4e71-b6aa-f2edd6441cff" providerId="ADAL" clId="{6B709646-9B8B-914B-83A9-D81F12AFDE5E}" dt="2022-06-19T04:35:01.294" v="712"/>
          <ac:inkMkLst>
            <pc:docMk/>
            <pc:sldMk cId="2768088773" sldId="567"/>
            <ac:inkMk id="134" creationId="{AC8CA3ED-536A-F259-7268-0D677C91E07D}"/>
          </ac:inkMkLst>
        </pc:inkChg>
        <pc:inkChg chg="add mod">
          <ac:chgData name="Aniket Chhabra" userId="598e0514-bef3-4e71-b6aa-f2edd6441cff" providerId="ADAL" clId="{6B709646-9B8B-914B-83A9-D81F12AFDE5E}" dt="2022-06-19T04:35:01.294" v="712"/>
          <ac:inkMkLst>
            <pc:docMk/>
            <pc:sldMk cId="2768088773" sldId="567"/>
            <ac:inkMk id="135" creationId="{B6EF3407-4AD9-5C86-FCD7-986A2F445FE9}"/>
          </ac:inkMkLst>
        </pc:inkChg>
        <pc:inkChg chg="add mod">
          <ac:chgData name="Aniket Chhabra" userId="598e0514-bef3-4e71-b6aa-f2edd6441cff" providerId="ADAL" clId="{6B709646-9B8B-914B-83A9-D81F12AFDE5E}" dt="2022-06-19T04:35:01.294" v="712"/>
          <ac:inkMkLst>
            <pc:docMk/>
            <pc:sldMk cId="2768088773" sldId="567"/>
            <ac:inkMk id="137" creationId="{F444FE09-E9BD-7DE2-427E-A4DF83414300}"/>
          </ac:inkMkLst>
        </pc:inkChg>
        <pc:inkChg chg="add mod">
          <ac:chgData name="Aniket Chhabra" userId="598e0514-bef3-4e71-b6aa-f2edd6441cff" providerId="ADAL" clId="{6B709646-9B8B-914B-83A9-D81F12AFDE5E}" dt="2022-06-19T04:35:01.294" v="712"/>
          <ac:inkMkLst>
            <pc:docMk/>
            <pc:sldMk cId="2768088773" sldId="567"/>
            <ac:inkMk id="138" creationId="{C6465412-AB6E-248A-8577-D36702F46B4F}"/>
          </ac:inkMkLst>
        </pc:inkChg>
        <pc:inkChg chg="add mod">
          <ac:chgData name="Aniket Chhabra" userId="598e0514-bef3-4e71-b6aa-f2edd6441cff" providerId="ADAL" clId="{6B709646-9B8B-914B-83A9-D81F12AFDE5E}" dt="2022-06-19T04:35:01.294" v="712"/>
          <ac:inkMkLst>
            <pc:docMk/>
            <pc:sldMk cId="2768088773" sldId="567"/>
            <ac:inkMk id="139" creationId="{C1820070-2047-38D5-6303-0E902C15F572}"/>
          </ac:inkMkLst>
        </pc:inkChg>
        <pc:inkChg chg="add mod">
          <ac:chgData name="Aniket Chhabra" userId="598e0514-bef3-4e71-b6aa-f2edd6441cff" providerId="ADAL" clId="{6B709646-9B8B-914B-83A9-D81F12AFDE5E}" dt="2022-06-19T04:35:01.294" v="712"/>
          <ac:inkMkLst>
            <pc:docMk/>
            <pc:sldMk cId="2768088773" sldId="567"/>
            <ac:inkMk id="140" creationId="{789F7CC7-E16B-6A2A-0D35-DB2AD883A917}"/>
          </ac:inkMkLst>
        </pc:inkChg>
        <pc:inkChg chg="add mod">
          <ac:chgData name="Aniket Chhabra" userId="598e0514-bef3-4e71-b6aa-f2edd6441cff" providerId="ADAL" clId="{6B709646-9B8B-914B-83A9-D81F12AFDE5E}" dt="2022-06-19T04:35:02.581" v="714"/>
          <ac:inkMkLst>
            <pc:docMk/>
            <pc:sldMk cId="2768088773" sldId="567"/>
            <ac:inkMk id="141" creationId="{5430ECB6-010A-C73E-B894-A67147846E52}"/>
          </ac:inkMkLst>
        </pc:inkChg>
        <pc:inkChg chg="add mod">
          <ac:chgData name="Aniket Chhabra" userId="598e0514-bef3-4e71-b6aa-f2edd6441cff" providerId="ADAL" clId="{6B709646-9B8B-914B-83A9-D81F12AFDE5E}" dt="2022-06-19T04:35:02.581" v="714"/>
          <ac:inkMkLst>
            <pc:docMk/>
            <pc:sldMk cId="2768088773" sldId="567"/>
            <ac:inkMk id="142" creationId="{7534EAB1-63B8-C0A6-A58C-1DF8C513050A}"/>
          </ac:inkMkLst>
        </pc:inkChg>
        <pc:inkChg chg="add mod">
          <ac:chgData name="Aniket Chhabra" userId="598e0514-bef3-4e71-b6aa-f2edd6441cff" providerId="ADAL" clId="{6B709646-9B8B-914B-83A9-D81F12AFDE5E}" dt="2022-06-19T04:35:02.581" v="714"/>
          <ac:inkMkLst>
            <pc:docMk/>
            <pc:sldMk cId="2768088773" sldId="567"/>
            <ac:inkMk id="143" creationId="{31BEE4B5-13C1-70DA-649E-D9F43E364263}"/>
          </ac:inkMkLst>
        </pc:inkChg>
        <pc:inkChg chg="add mod">
          <ac:chgData name="Aniket Chhabra" userId="598e0514-bef3-4e71-b6aa-f2edd6441cff" providerId="ADAL" clId="{6B709646-9B8B-914B-83A9-D81F12AFDE5E}" dt="2022-06-19T04:35:02.581" v="714"/>
          <ac:inkMkLst>
            <pc:docMk/>
            <pc:sldMk cId="2768088773" sldId="567"/>
            <ac:inkMk id="144" creationId="{F61E72A8-913C-CE79-7AD1-DF02A047766B}"/>
          </ac:inkMkLst>
        </pc:inkChg>
        <pc:inkChg chg="add mod">
          <ac:chgData name="Aniket Chhabra" userId="598e0514-bef3-4e71-b6aa-f2edd6441cff" providerId="ADAL" clId="{6B709646-9B8B-914B-83A9-D81F12AFDE5E}" dt="2022-06-19T04:35:02.581" v="714"/>
          <ac:inkMkLst>
            <pc:docMk/>
            <pc:sldMk cId="2768088773" sldId="567"/>
            <ac:inkMk id="145" creationId="{67EE3E47-A571-61A0-E8F2-AF9521E47B12}"/>
          </ac:inkMkLst>
        </pc:inkChg>
        <pc:inkChg chg="add mod">
          <ac:chgData name="Aniket Chhabra" userId="598e0514-bef3-4e71-b6aa-f2edd6441cff" providerId="ADAL" clId="{6B709646-9B8B-914B-83A9-D81F12AFDE5E}" dt="2022-06-19T04:35:02.581" v="714"/>
          <ac:inkMkLst>
            <pc:docMk/>
            <pc:sldMk cId="2768088773" sldId="567"/>
            <ac:inkMk id="146" creationId="{FB54C667-F820-4C2D-403B-92F1B70FA2C3}"/>
          </ac:inkMkLst>
        </pc:inkChg>
        <pc:inkChg chg="add mod">
          <ac:chgData name="Aniket Chhabra" userId="598e0514-bef3-4e71-b6aa-f2edd6441cff" providerId="ADAL" clId="{6B709646-9B8B-914B-83A9-D81F12AFDE5E}" dt="2022-06-19T04:35:02.581" v="714"/>
          <ac:inkMkLst>
            <pc:docMk/>
            <pc:sldMk cId="2768088773" sldId="567"/>
            <ac:inkMk id="147" creationId="{38B1524F-39F7-B42C-9AEC-159DEE3F36A8}"/>
          </ac:inkMkLst>
        </pc:inkChg>
        <pc:inkChg chg="add mod">
          <ac:chgData name="Aniket Chhabra" userId="598e0514-bef3-4e71-b6aa-f2edd6441cff" providerId="ADAL" clId="{6B709646-9B8B-914B-83A9-D81F12AFDE5E}" dt="2022-06-19T04:35:02.581" v="714"/>
          <ac:inkMkLst>
            <pc:docMk/>
            <pc:sldMk cId="2768088773" sldId="567"/>
            <ac:inkMk id="148" creationId="{3F2A1570-D099-EB27-2F40-8E765CF1EE9F}"/>
          </ac:inkMkLst>
        </pc:inkChg>
        <pc:inkChg chg="add mod">
          <ac:chgData name="Aniket Chhabra" userId="598e0514-bef3-4e71-b6aa-f2edd6441cff" providerId="ADAL" clId="{6B709646-9B8B-914B-83A9-D81F12AFDE5E}" dt="2022-06-19T04:35:02.581" v="714"/>
          <ac:inkMkLst>
            <pc:docMk/>
            <pc:sldMk cId="2768088773" sldId="567"/>
            <ac:inkMk id="149" creationId="{4D6F6772-E91A-E16C-D2E2-71078232D4D5}"/>
          </ac:inkMkLst>
        </pc:inkChg>
        <pc:inkChg chg="add mod">
          <ac:chgData name="Aniket Chhabra" userId="598e0514-bef3-4e71-b6aa-f2edd6441cff" providerId="ADAL" clId="{6B709646-9B8B-914B-83A9-D81F12AFDE5E}" dt="2022-06-19T04:35:02.581" v="714"/>
          <ac:inkMkLst>
            <pc:docMk/>
            <pc:sldMk cId="2768088773" sldId="567"/>
            <ac:inkMk id="152" creationId="{C3068C86-52A5-8784-0056-AD1972FD74E4}"/>
          </ac:inkMkLst>
        </pc:inkChg>
        <pc:inkChg chg="add">
          <ac:chgData name="Aniket Chhabra" userId="598e0514-bef3-4e71-b6aa-f2edd6441cff" providerId="ADAL" clId="{6B709646-9B8B-914B-83A9-D81F12AFDE5E}" dt="2022-06-19T04:35:03.755" v="715" actId="9405"/>
          <ac:inkMkLst>
            <pc:docMk/>
            <pc:sldMk cId="2768088773" sldId="567"/>
            <ac:inkMk id="154" creationId="{05F000F5-3DE8-57A4-4051-B19BC1DCF79A}"/>
          </ac:inkMkLst>
        </pc:inkChg>
      </pc:sldChg>
      <pc:sldChg chg="addSp delSp modSp new mod">
        <pc:chgData name="Aniket Chhabra" userId="598e0514-bef3-4e71-b6aa-f2edd6441cff" providerId="ADAL" clId="{6B709646-9B8B-914B-83A9-D81F12AFDE5E}" dt="2022-06-19T04:41:19.838" v="925"/>
        <pc:sldMkLst>
          <pc:docMk/>
          <pc:sldMk cId="4173555033" sldId="568"/>
        </pc:sldMkLst>
        <pc:grpChg chg="del mod">
          <ac:chgData name="Aniket Chhabra" userId="598e0514-bef3-4e71-b6aa-f2edd6441cff" providerId="ADAL" clId="{6B709646-9B8B-914B-83A9-D81F12AFDE5E}" dt="2022-06-19T04:36:18.678" v="737"/>
          <ac:grpSpMkLst>
            <pc:docMk/>
            <pc:sldMk cId="4173555033" sldId="568"/>
            <ac:grpSpMk id="12" creationId="{38E52A23-D8E5-135F-0822-4BB0EEB1BC1D}"/>
          </ac:grpSpMkLst>
        </pc:grpChg>
        <pc:grpChg chg="mod">
          <ac:chgData name="Aniket Chhabra" userId="598e0514-bef3-4e71-b6aa-f2edd6441cff" providerId="ADAL" clId="{6B709646-9B8B-914B-83A9-D81F12AFDE5E}" dt="2022-06-19T04:36:14.032" v="725"/>
          <ac:grpSpMkLst>
            <pc:docMk/>
            <pc:sldMk cId="4173555033" sldId="568"/>
            <ac:grpSpMk id="13" creationId="{39632F40-0F2A-535C-2D63-6874C84AAD55}"/>
          </ac:grpSpMkLst>
        </pc:grpChg>
        <pc:grpChg chg="mod">
          <ac:chgData name="Aniket Chhabra" userId="598e0514-bef3-4e71-b6aa-f2edd6441cff" providerId="ADAL" clId="{6B709646-9B8B-914B-83A9-D81F12AFDE5E}" dt="2022-06-19T04:36:18.678" v="737"/>
          <ac:grpSpMkLst>
            <pc:docMk/>
            <pc:sldMk cId="4173555033" sldId="568"/>
            <ac:grpSpMk id="25" creationId="{649E4CFA-BBFC-AA09-15DC-ED53B3288217}"/>
          </ac:grpSpMkLst>
        </pc:grpChg>
        <pc:grpChg chg="mod">
          <ac:chgData name="Aniket Chhabra" userId="598e0514-bef3-4e71-b6aa-f2edd6441cff" providerId="ADAL" clId="{6B709646-9B8B-914B-83A9-D81F12AFDE5E}" dt="2022-06-19T04:36:30.760" v="745"/>
          <ac:grpSpMkLst>
            <pc:docMk/>
            <pc:sldMk cId="4173555033" sldId="568"/>
            <ac:grpSpMk id="33" creationId="{73FB1A43-D7B9-9D8D-CA2A-E9150B54BF32}"/>
          </ac:grpSpMkLst>
        </pc:grpChg>
        <pc:grpChg chg="mod">
          <ac:chgData name="Aniket Chhabra" userId="598e0514-bef3-4e71-b6aa-f2edd6441cff" providerId="ADAL" clId="{6B709646-9B8B-914B-83A9-D81F12AFDE5E}" dt="2022-06-19T04:36:38.227" v="753"/>
          <ac:grpSpMkLst>
            <pc:docMk/>
            <pc:sldMk cId="4173555033" sldId="568"/>
            <ac:grpSpMk id="41" creationId="{FBC49B3D-5A6A-6A8B-8946-823C2DEC7BF1}"/>
          </ac:grpSpMkLst>
        </pc:grpChg>
        <pc:grpChg chg="del mod">
          <ac:chgData name="Aniket Chhabra" userId="598e0514-bef3-4e71-b6aa-f2edd6441cff" providerId="ADAL" clId="{6B709646-9B8B-914B-83A9-D81F12AFDE5E}" dt="2022-06-19T04:37:17.665" v="767"/>
          <ac:grpSpMkLst>
            <pc:docMk/>
            <pc:sldMk cId="4173555033" sldId="568"/>
            <ac:grpSpMk id="49" creationId="{FC1489F5-7C80-B5E3-3361-499F603F7C02}"/>
          </ac:grpSpMkLst>
        </pc:grpChg>
        <pc:grpChg chg="mod">
          <ac:chgData name="Aniket Chhabra" userId="598e0514-bef3-4e71-b6aa-f2edd6441cff" providerId="ADAL" clId="{6B709646-9B8B-914B-83A9-D81F12AFDE5E}" dt="2022-06-19T04:37:17.665" v="767"/>
          <ac:grpSpMkLst>
            <pc:docMk/>
            <pc:sldMk cId="4173555033" sldId="568"/>
            <ac:grpSpMk id="55" creationId="{452115CC-5486-598D-43A7-4F8010C56834}"/>
          </ac:grpSpMkLst>
        </pc:grpChg>
        <pc:grpChg chg="mod">
          <ac:chgData name="Aniket Chhabra" userId="598e0514-bef3-4e71-b6aa-f2edd6441cff" providerId="ADAL" clId="{6B709646-9B8B-914B-83A9-D81F12AFDE5E}" dt="2022-06-19T04:37:25.050" v="777"/>
          <ac:grpSpMkLst>
            <pc:docMk/>
            <pc:sldMk cId="4173555033" sldId="568"/>
            <ac:grpSpMk id="65" creationId="{7775834E-0CA2-F877-02FB-280BA4AD6B5C}"/>
          </ac:grpSpMkLst>
        </pc:grpChg>
        <pc:grpChg chg="del mod">
          <ac:chgData name="Aniket Chhabra" userId="598e0514-bef3-4e71-b6aa-f2edd6441cff" providerId="ADAL" clId="{6B709646-9B8B-914B-83A9-D81F12AFDE5E}" dt="2022-06-19T04:39:45.515" v="822"/>
          <ac:grpSpMkLst>
            <pc:docMk/>
            <pc:sldMk cId="4173555033" sldId="568"/>
            <ac:grpSpMk id="89" creationId="{33026321-7543-8B65-2502-D2517D4EE6F2}"/>
          </ac:grpSpMkLst>
        </pc:grpChg>
        <pc:grpChg chg="del mod">
          <ac:chgData name="Aniket Chhabra" userId="598e0514-bef3-4e71-b6aa-f2edd6441cff" providerId="ADAL" clId="{6B709646-9B8B-914B-83A9-D81F12AFDE5E}" dt="2022-06-19T04:39:45.515" v="822"/>
          <ac:grpSpMkLst>
            <pc:docMk/>
            <pc:sldMk cId="4173555033" sldId="568"/>
            <ac:grpSpMk id="90" creationId="{7D5EF63F-0B0B-9B44-A732-23AD4E903193}"/>
          </ac:grpSpMkLst>
        </pc:grpChg>
        <pc:grpChg chg="del mod">
          <ac:chgData name="Aniket Chhabra" userId="598e0514-bef3-4e71-b6aa-f2edd6441cff" providerId="ADAL" clId="{6B709646-9B8B-914B-83A9-D81F12AFDE5E}" dt="2022-06-19T04:40:31.508" v="838"/>
          <ac:grpSpMkLst>
            <pc:docMk/>
            <pc:sldMk cId="4173555033" sldId="568"/>
            <ac:grpSpMk id="91" creationId="{70612633-73D6-532C-E051-F22554CDC820}"/>
          </ac:grpSpMkLst>
        </pc:grpChg>
        <pc:grpChg chg="del mod">
          <ac:chgData name="Aniket Chhabra" userId="598e0514-bef3-4e71-b6aa-f2edd6441cff" providerId="ADAL" clId="{6B709646-9B8B-914B-83A9-D81F12AFDE5E}" dt="2022-06-19T04:39:47.151" v="824"/>
          <ac:grpSpMkLst>
            <pc:docMk/>
            <pc:sldMk cId="4173555033" sldId="568"/>
            <ac:grpSpMk id="99" creationId="{192681D1-C68B-FA95-0130-F6303C6EA29D}"/>
          </ac:grpSpMkLst>
        </pc:grpChg>
        <pc:grpChg chg="mod">
          <ac:chgData name="Aniket Chhabra" userId="598e0514-bef3-4e71-b6aa-f2edd6441cff" providerId="ADAL" clId="{6B709646-9B8B-914B-83A9-D81F12AFDE5E}" dt="2022-06-19T04:37:46.580" v="817"/>
          <ac:grpSpMkLst>
            <pc:docMk/>
            <pc:sldMk cId="4173555033" sldId="568"/>
            <ac:grpSpMk id="107" creationId="{C38CC138-0409-28B9-1A43-F73CCB965630}"/>
          </ac:grpSpMkLst>
        </pc:grpChg>
        <pc:grpChg chg="del mod">
          <ac:chgData name="Aniket Chhabra" userId="598e0514-bef3-4e71-b6aa-f2edd6441cff" providerId="ADAL" clId="{6B709646-9B8B-914B-83A9-D81F12AFDE5E}" dt="2022-06-19T04:39:47.151" v="824"/>
          <ac:grpSpMkLst>
            <pc:docMk/>
            <pc:sldMk cId="4173555033" sldId="568"/>
            <ac:grpSpMk id="110" creationId="{ED732315-967E-56AC-8FD7-F0AACC2B213B}"/>
          </ac:grpSpMkLst>
        </pc:grpChg>
        <pc:grpChg chg="del mod">
          <ac:chgData name="Aniket Chhabra" userId="598e0514-bef3-4e71-b6aa-f2edd6441cff" providerId="ADAL" clId="{6B709646-9B8B-914B-83A9-D81F12AFDE5E}" dt="2022-06-19T04:40:31.508" v="838"/>
          <ac:grpSpMkLst>
            <pc:docMk/>
            <pc:sldMk cId="4173555033" sldId="568"/>
            <ac:grpSpMk id="112" creationId="{9155E8E2-58DE-25C6-B07B-D0E0C2FFA9A4}"/>
          </ac:grpSpMkLst>
        </pc:grpChg>
        <pc:grpChg chg="del mod">
          <ac:chgData name="Aniket Chhabra" userId="598e0514-bef3-4e71-b6aa-f2edd6441cff" providerId="ADAL" clId="{6B709646-9B8B-914B-83A9-D81F12AFDE5E}" dt="2022-06-19T04:41:04.934" v="893"/>
          <ac:grpSpMkLst>
            <pc:docMk/>
            <pc:sldMk cId="4173555033" sldId="568"/>
            <ac:grpSpMk id="114" creationId="{7892D1D8-C3FB-D1D5-1D22-042556740A35}"/>
          </ac:grpSpMkLst>
        </pc:grpChg>
        <pc:grpChg chg="del mod">
          <ac:chgData name="Aniket Chhabra" userId="598e0514-bef3-4e71-b6aa-f2edd6441cff" providerId="ADAL" clId="{6B709646-9B8B-914B-83A9-D81F12AFDE5E}" dt="2022-06-19T04:40:34.554" v="845"/>
          <ac:grpSpMkLst>
            <pc:docMk/>
            <pc:sldMk cId="4173555033" sldId="568"/>
            <ac:grpSpMk id="128" creationId="{399DC39A-02F9-FFAE-E64B-38DD13681F49}"/>
          </ac:grpSpMkLst>
        </pc:grpChg>
        <pc:grpChg chg="del mod">
          <ac:chgData name="Aniket Chhabra" userId="598e0514-bef3-4e71-b6aa-f2edd6441cff" providerId="ADAL" clId="{6B709646-9B8B-914B-83A9-D81F12AFDE5E}" dt="2022-06-19T04:40:35.724" v="847"/>
          <ac:grpSpMkLst>
            <pc:docMk/>
            <pc:sldMk cId="4173555033" sldId="568"/>
            <ac:grpSpMk id="129" creationId="{9377D2B2-AED7-4BCD-F54B-830F5AECF680}"/>
          </ac:grpSpMkLst>
        </pc:grpChg>
        <pc:grpChg chg="del mod">
          <ac:chgData name="Aniket Chhabra" userId="598e0514-bef3-4e71-b6aa-f2edd6441cff" providerId="ADAL" clId="{6B709646-9B8B-914B-83A9-D81F12AFDE5E}" dt="2022-06-19T04:40:35.724" v="847"/>
          <ac:grpSpMkLst>
            <pc:docMk/>
            <pc:sldMk cId="4173555033" sldId="568"/>
            <ac:grpSpMk id="136" creationId="{D7D39AD1-D0F3-7E0C-FCC7-90F4D15E1D9B}"/>
          </ac:grpSpMkLst>
        </pc:grpChg>
        <pc:grpChg chg="del mod">
          <ac:chgData name="Aniket Chhabra" userId="598e0514-bef3-4e71-b6aa-f2edd6441cff" providerId="ADAL" clId="{6B709646-9B8B-914B-83A9-D81F12AFDE5E}" dt="2022-06-19T04:41:01.815" v="889"/>
          <ac:grpSpMkLst>
            <pc:docMk/>
            <pc:sldMk cId="4173555033" sldId="568"/>
            <ac:grpSpMk id="138" creationId="{51DAF71D-82DE-07FA-3C6F-4FE9A6E5486D}"/>
          </ac:grpSpMkLst>
        </pc:grpChg>
        <pc:grpChg chg="mod">
          <ac:chgData name="Aniket Chhabra" userId="598e0514-bef3-4e71-b6aa-f2edd6441cff" providerId="ADAL" clId="{6B709646-9B8B-914B-83A9-D81F12AFDE5E}" dt="2022-06-19T04:40:36.958" v="850"/>
          <ac:grpSpMkLst>
            <pc:docMk/>
            <pc:sldMk cId="4173555033" sldId="568"/>
            <ac:grpSpMk id="141" creationId="{DA2082E2-A4FA-AAEE-95EE-6B4650800A48}"/>
          </ac:grpSpMkLst>
        </pc:grpChg>
        <pc:grpChg chg="del mod">
          <ac:chgData name="Aniket Chhabra" userId="598e0514-bef3-4e71-b6aa-f2edd6441cff" providerId="ADAL" clId="{6B709646-9B8B-914B-83A9-D81F12AFDE5E}" dt="2022-06-19T04:40:47.482" v="877"/>
          <ac:grpSpMkLst>
            <pc:docMk/>
            <pc:sldMk cId="4173555033" sldId="568"/>
            <ac:grpSpMk id="168" creationId="{AC26D5C8-E546-5C8F-426E-DE1F8194CEC3}"/>
          </ac:grpSpMkLst>
        </pc:grpChg>
        <pc:grpChg chg="del mod">
          <ac:chgData name="Aniket Chhabra" userId="598e0514-bef3-4e71-b6aa-f2edd6441cff" providerId="ADAL" clId="{6B709646-9B8B-914B-83A9-D81F12AFDE5E}" dt="2022-06-19T04:40:51.621" v="886"/>
          <ac:grpSpMkLst>
            <pc:docMk/>
            <pc:sldMk cId="4173555033" sldId="568"/>
            <ac:grpSpMk id="169" creationId="{F4EF53B9-DE77-3D78-1122-FFA28B83F42F}"/>
          </ac:grpSpMkLst>
        </pc:grpChg>
        <pc:grpChg chg="mod">
          <ac:chgData name="Aniket Chhabra" userId="598e0514-bef3-4e71-b6aa-f2edd6441cff" providerId="ADAL" clId="{6B709646-9B8B-914B-83A9-D81F12AFDE5E}" dt="2022-06-19T04:40:47.482" v="877"/>
          <ac:grpSpMkLst>
            <pc:docMk/>
            <pc:sldMk cId="4173555033" sldId="568"/>
            <ac:grpSpMk id="170" creationId="{C22222DB-0592-4BF6-B496-876F8A5C3010}"/>
          </ac:grpSpMkLst>
        </pc:grpChg>
        <pc:grpChg chg="del mod">
          <ac:chgData name="Aniket Chhabra" userId="598e0514-bef3-4e71-b6aa-f2edd6441cff" providerId="ADAL" clId="{6B709646-9B8B-914B-83A9-D81F12AFDE5E}" dt="2022-06-19T04:41:04.934" v="893"/>
          <ac:grpSpMkLst>
            <pc:docMk/>
            <pc:sldMk cId="4173555033" sldId="568"/>
            <ac:grpSpMk id="179" creationId="{DE5E8B02-64AB-36DA-C26F-4F7DD038B1C1}"/>
          </ac:grpSpMkLst>
        </pc:grpChg>
        <pc:grpChg chg="mod">
          <ac:chgData name="Aniket Chhabra" userId="598e0514-bef3-4e71-b6aa-f2edd6441cff" providerId="ADAL" clId="{6B709646-9B8B-914B-83A9-D81F12AFDE5E}" dt="2022-06-19T04:41:01.815" v="889"/>
          <ac:grpSpMkLst>
            <pc:docMk/>
            <pc:sldMk cId="4173555033" sldId="568"/>
            <ac:grpSpMk id="182" creationId="{0B95C01B-C913-5815-00F6-1689FC1143B1}"/>
          </ac:grpSpMkLst>
        </pc:grpChg>
        <pc:grpChg chg="mod">
          <ac:chgData name="Aniket Chhabra" userId="598e0514-bef3-4e71-b6aa-f2edd6441cff" providerId="ADAL" clId="{6B709646-9B8B-914B-83A9-D81F12AFDE5E}" dt="2022-06-19T04:41:04.934" v="893"/>
          <ac:grpSpMkLst>
            <pc:docMk/>
            <pc:sldMk cId="4173555033" sldId="568"/>
            <ac:grpSpMk id="186" creationId="{B43D6410-BD4D-F096-D561-2E9445DCCE89}"/>
          </ac:grpSpMkLst>
        </pc:grpChg>
        <pc:grpChg chg="del mod">
          <ac:chgData name="Aniket Chhabra" userId="598e0514-bef3-4e71-b6aa-f2edd6441cff" providerId="ADAL" clId="{6B709646-9B8B-914B-83A9-D81F12AFDE5E}" dt="2022-06-19T04:41:19.838" v="925"/>
          <ac:grpSpMkLst>
            <pc:docMk/>
            <pc:sldMk cId="4173555033" sldId="568"/>
            <ac:grpSpMk id="193" creationId="{0B60FCA7-75D8-0953-107A-BCA91FB7663D}"/>
          </ac:grpSpMkLst>
        </pc:grpChg>
        <pc:grpChg chg="mod">
          <ac:chgData name="Aniket Chhabra" userId="598e0514-bef3-4e71-b6aa-f2edd6441cff" providerId="ADAL" clId="{6B709646-9B8B-914B-83A9-D81F12AFDE5E}" dt="2022-06-19T04:41:19.838" v="925"/>
          <ac:grpSpMkLst>
            <pc:docMk/>
            <pc:sldMk cId="4173555033" sldId="568"/>
            <ac:grpSpMk id="218" creationId="{E9A8C4D2-72C2-EE0B-E8DE-D5F5D4B7F0CC}"/>
          </ac:grpSpMkLst>
        </pc:grpChg>
        <pc:grpChg chg="mod">
          <ac:chgData name="Aniket Chhabra" userId="598e0514-bef3-4e71-b6aa-f2edd6441cff" providerId="ADAL" clId="{6B709646-9B8B-914B-83A9-D81F12AFDE5E}" dt="2022-06-19T04:41:19.838" v="925"/>
          <ac:grpSpMkLst>
            <pc:docMk/>
            <pc:sldMk cId="4173555033" sldId="568"/>
            <ac:grpSpMk id="219" creationId="{F5312C9E-8C44-C91A-2AAE-325F4AC06552}"/>
          </ac:grpSpMkLst>
        </pc:grpChg>
        <pc:inkChg chg="add mod">
          <ac:chgData name="Aniket Chhabra" userId="598e0514-bef3-4e71-b6aa-f2edd6441cff" providerId="ADAL" clId="{6B709646-9B8B-914B-83A9-D81F12AFDE5E}" dt="2022-06-19T04:36:14.032" v="725"/>
          <ac:inkMkLst>
            <pc:docMk/>
            <pc:sldMk cId="4173555033" sldId="568"/>
            <ac:inkMk id="4" creationId="{D84F8638-911F-4E83-3FA1-3000277338E4}"/>
          </ac:inkMkLst>
        </pc:inkChg>
        <pc:inkChg chg="add mod">
          <ac:chgData name="Aniket Chhabra" userId="598e0514-bef3-4e71-b6aa-f2edd6441cff" providerId="ADAL" clId="{6B709646-9B8B-914B-83A9-D81F12AFDE5E}" dt="2022-06-19T04:36:14.032" v="725"/>
          <ac:inkMkLst>
            <pc:docMk/>
            <pc:sldMk cId="4173555033" sldId="568"/>
            <ac:inkMk id="5" creationId="{DEF7C356-80D5-D3C5-C443-C0DBF45FE7C4}"/>
          </ac:inkMkLst>
        </pc:inkChg>
        <pc:inkChg chg="add mod">
          <ac:chgData name="Aniket Chhabra" userId="598e0514-bef3-4e71-b6aa-f2edd6441cff" providerId="ADAL" clId="{6B709646-9B8B-914B-83A9-D81F12AFDE5E}" dt="2022-06-19T04:36:18.678" v="737"/>
          <ac:inkMkLst>
            <pc:docMk/>
            <pc:sldMk cId="4173555033" sldId="568"/>
            <ac:inkMk id="6" creationId="{F37B994B-FDBC-5204-7468-C82C9681F7BA}"/>
          </ac:inkMkLst>
        </pc:inkChg>
        <pc:inkChg chg="add mod">
          <ac:chgData name="Aniket Chhabra" userId="598e0514-bef3-4e71-b6aa-f2edd6441cff" providerId="ADAL" clId="{6B709646-9B8B-914B-83A9-D81F12AFDE5E}" dt="2022-06-19T04:36:18.678" v="737"/>
          <ac:inkMkLst>
            <pc:docMk/>
            <pc:sldMk cId="4173555033" sldId="568"/>
            <ac:inkMk id="7" creationId="{CF2010B0-B9E2-B33B-4651-F96CC1398F2F}"/>
          </ac:inkMkLst>
        </pc:inkChg>
        <pc:inkChg chg="add mod">
          <ac:chgData name="Aniket Chhabra" userId="598e0514-bef3-4e71-b6aa-f2edd6441cff" providerId="ADAL" clId="{6B709646-9B8B-914B-83A9-D81F12AFDE5E}" dt="2022-06-19T04:36:18.678" v="737"/>
          <ac:inkMkLst>
            <pc:docMk/>
            <pc:sldMk cId="4173555033" sldId="568"/>
            <ac:inkMk id="8" creationId="{0760D588-41B0-796C-0290-A3ACFDB7F99B}"/>
          </ac:inkMkLst>
        </pc:inkChg>
        <pc:inkChg chg="add mod">
          <ac:chgData name="Aniket Chhabra" userId="598e0514-bef3-4e71-b6aa-f2edd6441cff" providerId="ADAL" clId="{6B709646-9B8B-914B-83A9-D81F12AFDE5E}" dt="2022-06-19T04:36:18.678" v="737"/>
          <ac:inkMkLst>
            <pc:docMk/>
            <pc:sldMk cId="4173555033" sldId="568"/>
            <ac:inkMk id="9" creationId="{EF1E53A6-3D0E-C6D8-3E7E-DB6E05B2769E}"/>
          </ac:inkMkLst>
        </pc:inkChg>
        <pc:inkChg chg="add mod">
          <ac:chgData name="Aniket Chhabra" userId="598e0514-bef3-4e71-b6aa-f2edd6441cff" providerId="ADAL" clId="{6B709646-9B8B-914B-83A9-D81F12AFDE5E}" dt="2022-06-19T04:36:18.678" v="737"/>
          <ac:inkMkLst>
            <pc:docMk/>
            <pc:sldMk cId="4173555033" sldId="568"/>
            <ac:inkMk id="10" creationId="{787CB62E-B61E-7A22-DFDA-6CB7BE919B7F}"/>
          </ac:inkMkLst>
        </pc:inkChg>
        <pc:inkChg chg="add mod">
          <ac:chgData name="Aniket Chhabra" userId="598e0514-bef3-4e71-b6aa-f2edd6441cff" providerId="ADAL" clId="{6B709646-9B8B-914B-83A9-D81F12AFDE5E}" dt="2022-06-19T04:36:18.678" v="737"/>
          <ac:inkMkLst>
            <pc:docMk/>
            <pc:sldMk cId="4173555033" sldId="568"/>
            <ac:inkMk id="11" creationId="{A086FA45-F93A-B2D8-11F7-F4D288F1DB73}"/>
          </ac:inkMkLst>
        </pc:inkChg>
        <pc:inkChg chg="add mod">
          <ac:chgData name="Aniket Chhabra" userId="598e0514-bef3-4e71-b6aa-f2edd6441cff" providerId="ADAL" clId="{6B709646-9B8B-914B-83A9-D81F12AFDE5E}" dt="2022-06-19T04:36:18.678" v="737"/>
          <ac:inkMkLst>
            <pc:docMk/>
            <pc:sldMk cId="4173555033" sldId="568"/>
            <ac:inkMk id="14" creationId="{B4FD2366-505F-E00A-EEF7-BBDAF00D4BEF}"/>
          </ac:inkMkLst>
        </pc:inkChg>
        <pc:inkChg chg="add mod">
          <ac:chgData name="Aniket Chhabra" userId="598e0514-bef3-4e71-b6aa-f2edd6441cff" providerId="ADAL" clId="{6B709646-9B8B-914B-83A9-D81F12AFDE5E}" dt="2022-06-19T04:36:18.678" v="737"/>
          <ac:inkMkLst>
            <pc:docMk/>
            <pc:sldMk cId="4173555033" sldId="568"/>
            <ac:inkMk id="15" creationId="{1B9CBDE8-8155-30C0-E8A8-CAAE2FC54D06}"/>
          </ac:inkMkLst>
        </pc:inkChg>
        <pc:inkChg chg="add mod">
          <ac:chgData name="Aniket Chhabra" userId="598e0514-bef3-4e71-b6aa-f2edd6441cff" providerId="ADAL" clId="{6B709646-9B8B-914B-83A9-D81F12AFDE5E}" dt="2022-06-19T04:36:18.678" v="737"/>
          <ac:inkMkLst>
            <pc:docMk/>
            <pc:sldMk cId="4173555033" sldId="568"/>
            <ac:inkMk id="16" creationId="{913B9134-946D-5E9A-BDEB-1F63D3513FF9}"/>
          </ac:inkMkLst>
        </pc:inkChg>
        <pc:inkChg chg="add mod">
          <ac:chgData name="Aniket Chhabra" userId="598e0514-bef3-4e71-b6aa-f2edd6441cff" providerId="ADAL" clId="{6B709646-9B8B-914B-83A9-D81F12AFDE5E}" dt="2022-06-19T04:36:18.678" v="737"/>
          <ac:inkMkLst>
            <pc:docMk/>
            <pc:sldMk cId="4173555033" sldId="568"/>
            <ac:inkMk id="17" creationId="{2840743D-8B8E-AD8D-9C3F-246A5FF3A695}"/>
          </ac:inkMkLst>
        </pc:inkChg>
        <pc:inkChg chg="add mod">
          <ac:chgData name="Aniket Chhabra" userId="598e0514-bef3-4e71-b6aa-f2edd6441cff" providerId="ADAL" clId="{6B709646-9B8B-914B-83A9-D81F12AFDE5E}" dt="2022-06-19T04:36:18.678" v="737"/>
          <ac:inkMkLst>
            <pc:docMk/>
            <pc:sldMk cId="4173555033" sldId="568"/>
            <ac:inkMk id="18" creationId="{4522B628-83FE-3777-5296-5FEC65C9796A}"/>
          </ac:inkMkLst>
        </pc:inkChg>
        <pc:inkChg chg="add mod">
          <ac:chgData name="Aniket Chhabra" userId="598e0514-bef3-4e71-b6aa-f2edd6441cff" providerId="ADAL" clId="{6B709646-9B8B-914B-83A9-D81F12AFDE5E}" dt="2022-06-19T04:36:18.678" v="737"/>
          <ac:inkMkLst>
            <pc:docMk/>
            <pc:sldMk cId="4173555033" sldId="568"/>
            <ac:inkMk id="19" creationId="{B9B1CDB5-1782-3694-E2D5-D6A1BFF79B13}"/>
          </ac:inkMkLst>
        </pc:inkChg>
        <pc:inkChg chg="add mod">
          <ac:chgData name="Aniket Chhabra" userId="598e0514-bef3-4e71-b6aa-f2edd6441cff" providerId="ADAL" clId="{6B709646-9B8B-914B-83A9-D81F12AFDE5E}" dt="2022-06-19T04:36:18.678" v="737"/>
          <ac:inkMkLst>
            <pc:docMk/>
            <pc:sldMk cId="4173555033" sldId="568"/>
            <ac:inkMk id="20" creationId="{CE0E2EE0-187E-C27C-121E-D3D3D7D7AB0F}"/>
          </ac:inkMkLst>
        </pc:inkChg>
        <pc:inkChg chg="add mod">
          <ac:chgData name="Aniket Chhabra" userId="598e0514-bef3-4e71-b6aa-f2edd6441cff" providerId="ADAL" clId="{6B709646-9B8B-914B-83A9-D81F12AFDE5E}" dt="2022-06-19T04:36:18.678" v="737"/>
          <ac:inkMkLst>
            <pc:docMk/>
            <pc:sldMk cId="4173555033" sldId="568"/>
            <ac:inkMk id="21" creationId="{AE0F3AC2-1FEF-4B22-975F-C46C58B344A0}"/>
          </ac:inkMkLst>
        </pc:inkChg>
        <pc:inkChg chg="add mod">
          <ac:chgData name="Aniket Chhabra" userId="598e0514-bef3-4e71-b6aa-f2edd6441cff" providerId="ADAL" clId="{6B709646-9B8B-914B-83A9-D81F12AFDE5E}" dt="2022-06-19T04:36:18.678" v="737"/>
          <ac:inkMkLst>
            <pc:docMk/>
            <pc:sldMk cId="4173555033" sldId="568"/>
            <ac:inkMk id="22" creationId="{52C2BD51-4DA9-6833-2F8D-9BBF87407A73}"/>
          </ac:inkMkLst>
        </pc:inkChg>
        <pc:inkChg chg="add mod">
          <ac:chgData name="Aniket Chhabra" userId="598e0514-bef3-4e71-b6aa-f2edd6441cff" providerId="ADAL" clId="{6B709646-9B8B-914B-83A9-D81F12AFDE5E}" dt="2022-06-19T04:36:18.678" v="737"/>
          <ac:inkMkLst>
            <pc:docMk/>
            <pc:sldMk cId="4173555033" sldId="568"/>
            <ac:inkMk id="23" creationId="{3933CCB8-69B0-5673-1B31-F78712FABBB1}"/>
          </ac:inkMkLst>
        </pc:inkChg>
        <pc:inkChg chg="add mod">
          <ac:chgData name="Aniket Chhabra" userId="598e0514-bef3-4e71-b6aa-f2edd6441cff" providerId="ADAL" clId="{6B709646-9B8B-914B-83A9-D81F12AFDE5E}" dt="2022-06-19T04:36:18.678" v="737"/>
          <ac:inkMkLst>
            <pc:docMk/>
            <pc:sldMk cId="4173555033" sldId="568"/>
            <ac:inkMk id="24" creationId="{14873AEC-3C4E-8D80-BC2C-0DA299EA7A45}"/>
          </ac:inkMkLst>
        </pc:inkChg>
        <pc:inkChg chg="add mod">
          <ac:chgData name="Aniket Chhabra" userId="598e0514-bef3-4e71-b6aa-f2edd6441cff" providerId="ADAL" clId="{6B709646-9B8B-914B-83A9-D81F12AFDE5E}" dt="2022-06-19T04:36:30.760" v="745"/>
          <ac:inkMkLst>
            <pc:docMk/>
            <pc:sldMk cId="4173555033" sldId="568"/>
            <ac:inkMk id="26" creationId="{4AD4646E-AEF1-2C7E-8E32-D5A2275C6439}"/>
          </ac:inkMkLst>
        </pc:inkChg>
        <pc:inkChg chg="add mod">
          <ac:chgData name="Aniket Chhabra" userId="598e0514-bef3-4e71-b6aa-f2edd6441cff" providerId="ADAL" clId="{6B709646-9B8B-914B-83A9-D81F12AFDE5E}" dt="2022-06-19T04:36:30.760" v="745"/>
          <ac:inkMkLst>
            <pc:docMk/>
            <pc:sldMk cId="4173555033" sldId="568"/>
            <ac:inkMk id="27" creationId="{646BE577-EFF8-1870-631D-268252454AF8}"/>
          </ac:inkMkLst>
        </pc:inkChg>
        <pc:inkChg chg="add mod">
          <ac:chgData name="Aniket Chhabra" userId="598e0514-bef3-4e71-b6aa-f2edd6441cff" providerId="ADAL" clId="{6B709646-9B8B-914B-83A9-D81F12AFDE5E}" dt="2022-06-19T04:36:30.760" v="745"/>
          <ac:inkMkLst>
            <pc:docMk/>
            <pc:sldMk cId="4173555033" sldId="568"/>
            <ac:inkMk id="28" creationId="{823A7F3B-D3F2-D828-C38B-79244888C61E}"/>
          </ac:inkMkLst>
        </pc:inkChg>
        <pc:inkChg chg="add mod">
          <ac:chgData name="Aniket Chhabra" userId="598e0514-bef3-4e71-b6aa-f2edd6441cff" providerId="ADAL" clId="{6B709646-9B8B-914B-83A9-D81F12AFDE5E}" dt="2022-06-19T04:36:30.760" v="745"/>
          <ac:inkMkLst>
            <pc:docMk/>
            <pc:sldMk cId="4173555033" sldId="568"/>
            <ac:inkMk id="29" creationId="{B64CB206-9CDE-E683-B9B9-643AA48F0B38}"/>
          </ac:inkMkLst>
        </pc:inkChg>
        <pc:inkChg chg="add mod">
          <ac:chgData name="Aniket Chhabra" userId="598e0514-bef3-4e71-b6aa-f2edd6441cff" providerId="ADAL" clId="{6B709646-9B8B-914B-83A9-D81F12AFDE5E}" dt="2022-06-19T04:36:30.760" v="745"/>
          <ac:inkMkLst>
            <pc:docMk/>
            <pc:sldMk cId="4173555033" sldId="568"/>
            <ac:inkMk id="30" creationId="{3AA51D9E-CF2A-0A94-6D39-C5A1FC92C2BA}"/>
          </ac:inkMkLst>
        </pc:inkChg>
        <pc:inkChg chg="add mod">
          <ac:chgData name="Aniket Chhabra" userId="598e0514-bef3-4e71-b6aa-f2edd6441cff" providerId="ADAL" clId="{6B709646-9B8B-914B-83A9-D81F12AFDE5E}" dt="2022-06-19T04:36:30.760" v="745"/>
          <ac:inkMkLst>
            <pc:docMk/>
            <pc:sldMk cId="4173555033" sldId="568"/>
            <ac:inkMk id="31" creationId="{DC7FFDB8-18E6-C88B-70D3-A18725C9C9B5}"/>
          </ac:inkMkLst>
        </pc:inkChg>
        <pc:inkChg chg="add mod">
          <ac:chgData name="Aniket Chhabra" userId="598e0514-bef3-4e71-b6aa-f2edd6441cff" providerId="ADAL" clId="{6B709646-9B8B-914B-83A9-D81F12AFDE5E}" dt="2022-06-19T04:36:30.760" v="745"/>
          <ac:inkMkLst>
            <pc:docMk/>
            <pc:sldMk cId="4173555033" sldId="568"/>
            <ac:inkMk id="32" creationId="{A947C31D-61F8-13FC-B8E2-A89E3BE44CC8}"/>
          </ac:inkMkLst>
        </pc:inkChg>
        <pc:inkChg chg="add mod">
          <ac:chgData name="Aniket Chhabra" userId="598e0514-bef3-4e71-b6aa-f2edd6441cff" providerId="ADAL" clId="{6B709646-9B8B-914B-83A9-D81F12AFDE5E}" dt="2022-06-19T04:36:38.227" v="753"/>
          <ac:inkMkLst>
            <pc:docMk/>
            <pc:sldMk cId="4173555033" sldId="568"/>
            <ac:inkMk id="34" creationId="{6965CAA7-E09E-6B51-CEA1-7E80414F1AE7}"/>
          </ac:inkMkLst>
        </pc:inkChg>
        <pc:inkChg chg="add mod">
          <ac:chgData name="Aniket Chhabra" userId="598e0514-bef3-4e71-b6aa-f2edd6441cff" providerId="ADAL" clId="{6B709646-9B8B-914B-83A9-D81F12AFDE5E}" dt="2022-06-19T04:36:38.227" v="753"/>
          <ac:inkMkLst>
            <pc:docMk/>
            <pc:sldMk cId="4173555033" sldId="568"/>
            <ac:inkMk id="35" creationId="{A9834FE4-2726-7BDC-EE68-E0170E647B5D}"/>
          </ac:inkMkLst>
        </pc:inkChg>
        <pc:inkChg chg="add mod">
          <ac:chgData name="Aniket Chhabra" userId="598e0514-bef3-4e71-b6aa-f2edd6441cff" providerId="ADAL" clId="{6B709646-9B8B-914B-83A9-D81F12AFDE5E}" dt="2022-06-19T04:36:38.227" v="753"/>
          <ac:inkMkLst>
            <pc:docMk/>
            <pc:sldMk cId="4173555033" sldId="568"/>
            <ac:inkMk id="36" creationId="{3B44FE74-BF17-7C7A-643D-F49AB420154E}"/>
          </ac:inkMkLst>
        </pc:inkChg>
        <pc:inkChg chg="add mod">
          <ac:chgData name="Aniket Chhabra" userId="598e0514-bef3-4e71-b6aa-f2edd6441cff" providerId="ADAL" clId="{6B709646-9B8B-914B-83A9-D81F12AFDE5E}" dt="2022-06-19T04:36:38.227" v="753"/>
          <ac:inkMkLst>
            <pc:docMk/>
            <pc:sldMk cId="4173555033" sldId="568"/>
            <ac:inkMk id="37" creationId="{FC1BF512-2D77-5FF4-CCBB-E5840758054E}"/>
          </ac:inkMkLst>
        </pc:inkChg>
        <pc:inkChg chg="add mod">
          <ac:chgData name="Aniket Chhabra" userId="598e0514-bef3-4e71-b6aa-f2edd6441cff" providerId="ADAL" clId="{6B709646-9B8B-914B-83A9-D81F12AFDE5E}" dt="2022-06-19T04:36:38.227" v="753"/>
          <ac:inkMkLst>
            <pc:docMk/>
            <pc:sldMk cId="4173555033" sldId="568"/>
            <ac:inkMk id="38" creationId="{2D42DE3E-9A32-6747-E1AB-78CF45213A52}"/>
          </ac:inkMkLst>
        </pc:inkChg>
        <pc:inkChg chg="add mod">
          <ac:chgData name="Aniket Chhabra" userId="598e0514-bef3-4e71-b6aa-f2edd6441cff" providerId="ADAL" clId="{6B709646-9B8B-914B-83A9-D81F12AFDE5E}" dt="2022-06-19T04:36:38.227" v="753"/>
          <ac:inkMkLst>
            <pc:docMk/>
            <pc:sldMk cId="4173555033" sldId="568"/>
            <ac:inkMk id="39" creationId="{6692D25E-8352-0C1B-C5CA-06443ED1CF21}"/>
          </ac:inkMkLst>
        </pc:inkChg>
        <pc:inkChg chg="add mod">
          <ac:chgData name="Aniket Chhabra" userId="598e0514-bef3-4e71-b6aa-f2edd6441cff" providerId="ADAL" clId="{6B709646-9B8B-914B-83A9-D81F12AFDE5E}" dt="2022-06-19T04:36:38.227" v="753"/>
          <ac:inkMkLst>
            <pc:docMk/>
            <pc:sldMk cId="4173555033" sldId="568"/>
            <ac:inkMk id="40" creationId="{DABD2AD1-0735-A431-455E-8949594C1697}"/>
          </ac:inkMkLst>
        </pc:inkChg>
        <pc:inkChg chg="add mod">
          <ac:chgData name="Aniket Chhabra" userId="598e0514-bef3-4e71-b6aa-f2edd6441cff" providerId="ADAL" clId="{6B709646-9B8B-914B-83A9-D81F12AFDE5E}" dt="2022-06-19T04:37:17.665" v="767"/>
          <ac:inkMkLst>
            <pc:docMk/>
            <pc:sldMk cId="4173555033" sldId="568"/>
            <ac:inkMk id="42" creationId="{D349931D-6B9A-6076-E10D-2B3D1342F659}"/>
          </ac:inkMkLst>
        </pc:inkChg>
        <pc:inkChg chg="add mod">
          <ac:chgData name="Aniket Chhabra" userId="598e0514-bef3-4e71-b6aa-f2edd6441cff" providerId="ADAL" clId="{6B709646-9B8B-914B-83A9-D81F12AFDE5E}" dt="2022-06-19T04:37:17.665" v="767"/>
          <ac:inkMkLst>
            <pc:docMk/>
            <pc:sldMk cId="4173555033" sldId="568"/>
            <ac:inkMk id="43" creationId="{3697DF8B-FE03-C460-13AE-7F2E6773BF93}"/>
          </ac:inkMkLst>
        </pc:inkChg>
        <pc:inkChg chg="add mod">
          <ac:chgData name="Aniket Chhabra" userId="598e0514-bef3-4e71-b6aa-f2edd6441cff" providerId="ADAL" clId="{6B709646-9B8B-914B-83A9-D81F12AFDE5E}" dt="2022-06-19T04:37:17.665" v="767"/>
          <ac:inkMkLst>
            <pc:docMk/>
            <pc:sldMk cId="4173555033" sldId="568"/>
            <ac:inkMk id="44" creationId="{1407C921-844B-E060-E79A-5CCA73A178B6}"/>
          </ac:inkMkLst>
        </pc:inkChg>
        <pc:inkChg chg="add mod">
          <ac:chgData name="Aniket Chhabra" userId="598e0514-bef3-4e71-b6aa-f2edd6441cff" providerId="ADAL" clId="{6B709646-9B8B-914B-83A9-D81F12AFDE5E}" dt="2022-06-19T04:37:17.665" v="767"/>
          <ac:inkMkLst>
            <pc:docMk/>
            <pc:sldMk cId="4173555033" sldId="568"/>
            <ac:inkMk id="45" creationId="{9942EDF2-74A7-107D-3593-1301E732D4FF}"/>
          </ac:inkMkLst>
        </pc:inkChg>
        <pc:inkChg chg="add mod">
          <ac:chgData name="Aniket Chhabra" userId="598e0514-bef3-4e71-b6aa-f2edd6441cff" providerId="ADAL" clId="{6B709646-9B8B-914B-83A9-D81F12AFDE5E}" dt="2022-06-19T04:37:17.665" v="767"/>
          <ac:inkMkLst>
            <pc:docMk/>
            <pc:sldMk cId="4173555033" sldId="568"/>
            <ac:inkMk id="46" creationId="{D47CAF42-9923-B793-6A94-B1D31297B57D}"/>
          </ac:inkMkLst>
        </pc:inkChg>
        <pc:inkChg chg="add mod">
          <ac:chgData name="Aniket Chhabra" userId="598e0514-bef3-4e71-b6aa-f2edd6441cff" providerId="ADAL" clId="{6B709646-9B8B-914B-83A9-D81F12AFDE5E}" dt="2022-06-19T04:37:17.665" v="767"/>
          <ac:inkMkLst>
            <pc:docMk/>
            <pc:sldMk cId="4173555033" sldId="568"/>
            <ac:inkMk id="47" creationId="{9FAC544E-BEA1-572E-945B-4D12392A7513}"/>
          </ac:inkMkLst>
        </pc:inkChg>
        <pc:inkChg chg="add mod">
          <ac:chgData name="Aniket Chhabra" userId="598e0514-bef3-4e71-b6aa-f2edd6441cff" providerId="ADAL" clId="{6B709646-9B8B-914B-83A9-D81F12AFDE5E}" dt="2022-06-19T04:37:17.665" v="767"/>
          <ac:inkMkLst>
            <pc:docMk/>
            <pc:sldMk cId="4173555033" sldId="568"/>
            <ac:inkMk id="48" creationId="{651401A5-9E54-872D-2D86-9C0102594675}"/>
          </ac:inkMkLst>
        </pc:inkChg>
        <pc:inkChg chg="add mod">
          <ac:chgData name="Aniket Chhabra" userId="598e0514-bef3-4e71-b6aa-f2edd6441cff" providerId="ADAL" clId="{6B709646-9B8B-914B-83A9-D81F12AFDE5E}" dt="2022-06-19T04:37:17.665" v="767"/>
          <ac:inkMkLst>
            <pc:docMk/>
            <pc:sldMk cId="4173555033" sldId="568"/>
            <ac:inkMk id="50" creationId="{395D3850-3401-28DF-454A-186B0A38A595}"/>
          </ac:inkMkLst>
        </pc:inkChg>
        <pc:inkChg chg="add mod">
          <ac:chgData name="Aniket Chhabra" userId="598e0514-bef3-4e71-b6aa-f2edd6441cff" providerId="ADAL" clId="{6B709646-9B8B-914B-83A9-D81F12AFDE5E}" dt="2022-06-19T04:37:17.665" v="767"/>
          <ac:inkMkLst>
            <pc:docMk/>
            <pc:sldMk cId="4173555033" sldId="568"/>
            <ac:inkMk id="51" creationId="{00C7733A-9DD9-A229-DA4B-55AADD4E9E8B}"/>
          </ac:inkMkLst>
        </pc:inkChg>
        <pc:inkChg chg="add mod">
          <ac:chgData name="Aniket Chhabra" userId="598e0514-bef3-4e71-b6aa-f2edd6441cff" providerId="ADAL" clId="{6B709646-9B8B-914B-83A9-D81F12AFDE5E}" dt="2022-06-19T04:37:17.665" v="767"/>
          <ac:inkMkLst>
            <pc:docMk/>
            <pc:sldMk cId="4173555033" sldId="568"/>
            <ac:inkMk id="52" creationId="{1D8C8050-9E1F-A11C-19A3-DDCE005DB6D4}"/>
          </ac:inkMkLst>
        </pc:inkChg>
        <pc:inkChg chg="add mod">
          <ac:chgData name="Aniket Chhabra" userId="598e0514-bef3-4e71-b6aa-f2edd6441cff" providerId="ADAL" clId="{6B709646-9B8B-914B-83A9-D81F12AFDE5E}" dt="2022-06-19T04:37:17.665" v="767"/>
          <ac:inkMkLst>
            <pc:docMk/>
            <pc:sldMk cId="4173555033" sldId="568"/>
            <ac:inkMk id="53" creationId="{4C91DCB7-C231-168F-EFDC-17E7CF7B4C14}"/>
          </ac:inkMkLst>
        </pc:inkChg>
        <pc:inkChg chg="add mod">
          <ac:chgData name="Aniket Chhabra" userId="598e0514-bef3-4e71-b6aa-f2edd6441cff" providerId="ADAL" clId="{6B709646-9B8B-914B-83A9-D81F12AFDE5E}" dt="2022-06-19T04:37:17.665" v="767"/>
          <ac:inkMkLst>
            <pc:docMk/>
            <pc:sldMk cId="4173555033" sldId="568"/>
            <ac:inkMk id="54" creationId="{C350FA94-6C00-7ED8-256E-C6E9C8A89E58}"/>
          </ac:inkMkLst>
        </pc:inkChg>
        <pc:inkChg chg="add">
          <ac:chgData name="Aniket Chhabra" userId="598e0514-bef3-4e71-b6aa-f2edd6441cff" providerId="ADAL" clId="{6B709646-9B8B-914B-83A9-D81F12AFDE5E}" dt="2022-06-19T04:37:18.229" v="768" actId="9405"/>
          <ac:inkMkLst>
            <pc:docMk/>
            <pc:sldMk cId="4173555033" sldId="568"/>
            <ac:inkMk id="56" creationId="{FA04F859-C7BE-4E7C-D973-6D8643C5AD55}"/>
          </ac:inkMkLst>
        </pc:inkChg>
        <pc:inkChg chg="add">
          <ac:chgData name="Aniket Chhabra" userId="598e0514-bef3-4e71-b6aa-f2edd6441cff" providerId="ADAL" clId="{6B709646-9B8B-914B-83A9-D81F12AFDE5E}" dt="2022-06-19T04:37:18.385" v="769" actId="9405"/>
          <ac:inkMkLst>
            <pc:docMk/>
            <pc:sldMk cId="4173555033" sldId="568"/>
            <ac:inkMk id="57" creationId="{44A5E1AD-F07E-7DFE-D5FD-C419FEBF4658}"/>
          </ac:inkMkLst>
        </pc:inkChg>
        <pc:inkChg chg="add">
          <ac:chgData name="Aniket Chhabra" userId="598e0514-bef3-4e71-b6aa-f2edd6441cff" providerId="ADAL" clId="{6B709646-9B8B-914B-83A9-D81F12AFDE5E}" dt="2022-06-19T04:37:20.889" v="770" actId="9405"/>
          <ac:inkMkLst>
            <pc:docMk/>
            <pc:sldMk cId="4173555033" sldId="568"/>
            <ac:inkMk id="58" creationId="{49FDA784-0236-C11B-90EE-2BBD0CCFCAEE}"/>
          </ac:inkMkLst>
        </pc:inkChg>
        <pc:inkChg chg="add mod">
          <ac:chgData name="Aniket Chhabra" userId="598e0514-bef3-4e71-b6aa-f2edd6441cff" providerId="ADAL" clId="{6B709646-9B8B-914B-83A9-D81F12AFDE5E}" dt="2022-06-19T04:37:25.050" v="777"/>
          <ac:inkMkLst>
            <pc:docMk/>
            <pc:sldMk cId="4173555033" sldId="568"/>
            <ac:inkMk id="59" creationId="{AE7E3094-8D0B-66F4-DC5F-53CE7032F325}"/>
          </ac:inkMkLst>
        </pc:inkChg>
        <pc:inkChg chg="add mod">
          <ac:chgData name="Aniket Chhabra" userId="598e0514-bef3-4e71-b6aa-f2edd6441cff" providerId="ADAL" clId="{6B709646-9B8B-914B-83A9-D81F12AFDE5E}" dt="2022-06-19T04:37:25.050" v="777"/>
          <ac:inkMkLst>
            <pc:docMk/>
            <pc:sldMk cId="4173555033" sldId="568"/>
            <ac:inkMk id="60" creationId="{C65C0328-1593-61A1-4CE4-CF0675A1E0A5}"/>
          </ac:inkMkLst>
        </pc:inkChg>
        <pc:inkChg chg="add mod">
          <ac:chgData name="Aniket Chhabra" userId="598e0514-bef3-4e71-b6aa-f2edd6441cff" providerId="ADAL" clId="{6B709646-9B8B-914B-83A9-D81F12AFDE5E}" dt="2022-06-19T04:37:25.050" v="777"/>
          <ac:inkMkLst>
            <pc:docMk/>
            <pc:sldMk cId="4173555033" sldId="568"/>
            <ac:inkMk id="61" creationId="{12028F2A-91AD-2B4B-6D59-081DA8A0440B}"/>
          </ac:inkMkLst>
        </pc:inkChg>
        <pc:inkChg chg="add mod">
          <ac:chgData name="Aniket Chhabra" userId="598e0514-bef3-4e71-b6aa-f2edd6441cff" providerId="ADAL" clId="{6B709646-9B8B-914B-83A9-D81F12AFDE5E}" dt="2022-06-19T04:37:25.050" v="777"/>
          <ac:inkMkLst>
            <pc:docMk/>
            <pc:sldMk cId="4173555033" sldId="568"/>
            <ac:inkMk id="62" creationId="{E45407BC-B67D-C904-4026-2FB4847982A9}"/>
          </ac:inkMkLst>
        </pc:inkChg>
        <pc:inkChg chg="add mod">
          <ac:chgData name="Aniket Chhabra" userId="598e0514-bef3-4e71-b6aa-f2edd6441cff" providerId="ADAL" clId="{6B709646-9B8B-914B-83A9-D81F12AFDE5E}" dt="2022-06-19T04:37:25.050" v="777"/>
          <ac:inkMkLst>
            <pc:docMk/>
            <pc:sldMk cId="4173555033" sldId="568"/>
            <ac:inkMk id="63" creationId="{291A7CB3-8067-3763-FE09-DD557A52256F}"/>
          </ac:inkMkLst>
        </pc:inkChg>
        <pc:inkChg chg="add mod">
          <ac:chgData name="Aniket Chhabra" userId="598e0514-bef3-4e71-b6aa-f2edd6441cff" providerId="ADAL" clId="{6B709646-9B8B-914B-83A9-D81F12AFDE5E}" dt="2022-06-19T04:37:25.050" v="777"/>
          <ac:inkMkLst>
            <pc:docMk/>
            <pc:sldMk cId="4173555033" sldId="568"/>
            <ac:inkMk id="64" creationId="{3C7767EC-7390-21FE-7B40-C33E2B07AB8B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66" creationId="{6A183EC4-4DA2-E3BF-4FA9-9968CD553082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67" creationId="{C5402DC5-6C75-CC85-D039-B9E241989FC8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68" creationId="{A4495879-2F8B-63E8-65A0-B3A38DB873EE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69" creationId="{5545D1E9-8051-6FD7-E820-AB92B016A678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70" creationId="{A74F11A8-7ECE-E355-D8C2-5073A96A0B92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71" creationId="{90C1E998-10EE-3439-CE2A-222C071261BA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72" creationId="{19445322-6DFC-2CD8-C473-C7A7B29E6EF5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73" creationId="{DD3AFB5C-E419-F9EC-ACBE-6C6707246756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74" creationId="{408C10B7-C9D7-8DF8-935A-242442159B68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75" creationId="{6852F68F-BAF7-7C30-25D2-1ED174F9CB44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76" creationId="{76F15C61-84EE-702E-BD96-B90B43F37B8F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77" creationId="{0A91B79B-6321-107B-72F9-12A6F77DAC91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78" creationId="{378DCB5E-7C30-FE5E-CC52-730AD0B86B64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79" creationId="{37111E56-0091-EA02-858B-9928583C9155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80" creationId="{99A95631-1D5E-EC95-8370-F97AC4795E72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81" creationId="{8084DAE4-2479-2AC1-48A3-A9FC3E49E146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82" creationId="{38F285A3-ECA9-D2D2-D9AC-8C1FE89946C3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83" creationId="{D750CB35-7E7B-0580-8F61-039E173D04BE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84" creationId="{57B45072-4974-3134-8B06-47D574CB5A07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85" creationId="{BDC37BE0-B086-C75B-3560-C25F3E873204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86" creationId="{4D22EBC3-1DA6-A8AB-33F6-89F2DF796D9B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87" creationId="{21C59DFE-9AA0-6392-FBE4-44D178A8441D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88" creationId="{22D37EB2-B81F-CF2B-E3FF-EE6CF0FF3895}"/>
          </ac:inkMkLst>
        </pc:inkChg>
        <pc:inkChg chg="add">
          <ac:chgData name="Aniket Chhabra" userId="598e0514-bef3-4e71-b6aa-f2edd6441cff" providerId="ADAL" clId="{6B709646-9B8B-914B-83A9-D81F12AFDE5E}" dt="2022-06-19T04:37:33.968" v="802" actId="9405"/>
          <ac:inkMkLst>
            <pc:docMk/>
            <pc:sldMk cId="4173555033" sldId="568"/>
            <ac:inkMk id="92" creationId="{E22D5F85-CD51-3E0D-ABF5-E5CE4D5F4D7A}"/>
          </ac:inkMkLst>
        </pc:inkChg>
        <pc:inkChg chg="add mod">
          <ac:chgData name="Aniket Chhabra" userId="598e0514-bef3-4e71-b6aa-f2edd6441cff" providerId="ADAL" clId="{6B709646-9B8B-914B-83A9-D81F12AFDE5E}" dt="2022-06-19T04:41:04.934" v="893"/>
          <ac:inkMkLst>
            <pc:docMk/>
            <pc:sldMk cId="4173555033" sldId="568"/>
            <ac:inkMk id="93" creationId="{CA3F346D-133F-23CC-863B-594A875EAB03}"/>
          </ac:inkMkLst>
        </pc:inkChg>
        <pc:inkChg chg="add mod">
          <ac:chgData name="Aniket Chhabra" userId="598e0514-bef3-4e71-b6aa-f2edd6441cff" providerId="ADAL" clId="{6B709646-9B8B-914B-83A9-D81F12AFDE5E}" dt="2022-06-19T04:41:04.934" v="893"/>
          <ac:inkMkLst>
            <pc:docMk/>
            <pc:sldMk cId="4173555033" sldId="568"/>
            <ac:inkMk id="94" creationId="{3348726B-71DD-C11D-3CD4-AAC2FB80ED3F}"/>
          </ac:inkMkLst>
        </pc:inkChg>
        <pc:inkChg chg="add mod">
          <ac:chgData name="Aniket Chhabra" userId="598e0514-bef3-4e71-b6aa-f2edd6441cff" providerId="ADAL" clId="{6B709646-9B8B-914B-83A9-D81F12AFDE5E}" dt="2022-06-19T04:41:04.934" v="893"/>
          <ac:inkMkLst>
            <pc:docMk/>
            <pc:sldMk cId="4173555033" sldId="568"/>
            <ac:inkMk id="95" creationId="{8E3F8B7C-6D41-ED8A-19D7-D2BCB34440A8}"/>
          </ac:inkMkLst>
        </pc:inkChg>
        <pc:inkChg chg="add mod">
          <ac:chgData name="Aniket Chhabra" userId="598e0514-bef3-4e71-b6aa-f2edd6441cff" providerId="ADAL" clId="{6B709646-9B8B-914B-83A9-D81F12AFDE5E}" dt="2022-06-19T04:41:04.934" v="893"/>
          <ac:inkMkLst>
            <pc:docMk/>
            <pc:sldMk cId="4173555033" sldId="568"/>
            <ac:inkMk id="96" creationId="{7B88346E-EF8A-6B67-E79D-0DD60335D050}"/>
          </ac:inkMkLst>
        </pc:inkChg>
        <pc:inkChg chg="add mod">
          <ac:chgData name="Aniket Chhabra" userId="598e0514-bef3-4e71-b6aa-f2edd6441cff" providerId="ADAL" clId="{6B709646-9B8B-914B-83A9-D81F12AFDE5E}" dt="2022-06-19T04:41:04.934" v="893"/>
          <ac:inkMkLst>
            <pc:docMk/>
            <pc:sldMk cId="4173555033" sldId="568"/>
            <ac:inkMk id="97" creationId="{8237876D-A919-C498-DA90-7F985CA6B87F}"/>
          </ac:inkMkLst>
        </pc:inkChg>
        <pc:inkChg chg="add mod">
          <ac:chgData name="Aniket Chhabra" userId="598e0514-bef3-4e71-b6aa-f2edd6441cff" providerId="ADAL" clId="{6B709646-9B8B-914B-83A9-D81F12AFDE5E}" dt="2022-06-19T04:41:04.934" v="893"/>
          <ac:inkMkLst>
            <pc:docMk/>
            <pc:sldMk cId="4173555033" sldId="568"/>
            <ac:inkMk id="98" creationId="{3A5EFF38-C845-F26B-FA1C-A6242AD9CEC4}"/>
          </ac:inkMkLst>
        </pc:inkChg>
        <pc:inkChg chg="add">
          <ac:chgData name="Aniket Chhabra" userId="598e0514-bef3-4e71-b6aa-f2edd6441cff" providerId="ADAL" clId="{6B709646-9B8B-914B-83A9-D81F12AFDE5E}" dt="2022-06-19T04:37:39.870" v="810" actId="9405"/>
          <ac:inkMkLst>
            <pc:docMk/>
            <pc:sldMk cId="4173555033" sldId="568"/>
            <ac:inkMk id="100" creationId="{DE689F03-E2DE-E556-4DD4-B9E007C535ED}"/>
          </ac:inkMkLst>
        </pc:inkChg>
        <pc:inkChg chg="add">
          <ac:chgData name="Aniket Chhabra" userId="598e0514-bef3-4e71-b6aa-f2edd6441cff" providerId="ADAL" clId="{6B709646-9B8B-914B-83A9-D81F12AFDE5E}" dt="2022-06-19T04:37:39.998" v="811" actId="9405"/>
          <ac:inkMkLst>
            <pc:docMk/>
            <pc:sldMk cId="4173555033" sldId="568"/>
            <ac:inkMk id="101" creationId="{485683F7-8DED-3418-FB7B-00B549F5474F}"/>
          </ac:inkMkLst>
        </pc:inkChg>
        <pc:inkChg chg="add mod">
          <ac:chgData name="Aniket Chhabra" userId="598e0514-bef3-4e71-b6aa-f2edd6441cff" providerId="ADAL" clId="{6B709646-9B8B-914B-83A9-D81F12AFDE5E}" dt="2022-06-19T04:37:46.580" v="817"/>
          <ac:inkMkLst>
            <pc:docMk/>
            <pc:sldMk cId="4173555033" sldId="568"/>
            <ac:inkMk id="102" creationId="{63F28414-4AFD-D5B9-7917-08FB1F74BFA4}"/>
          </ac:inkMkLst>
        </pc:inkChg>
        <pc:inkChg chg="add mod">
          <ac:chgData name="Aniket Chhabra" userId="598e0514-bef3-4e71-b6aa-f2edd6441cff" providerId="ADAL" clId="{6B709646-9B8B-914B-83A9-D81F12AFDE5E}" dt="2022-06-19T04:37:46.580" v="817"/>
          <ac:inkMkLst>
            <pc:docMk/>
            <pc:sldMk cId="4173555033" sldId="568"/>
            <ac:inkMk id="103" creationId="{167C9C49-BE92-A69D-1CBB-434C31068FCD}"/>
          </ac:inkMkLst>
        </pc:inkChg>
        <pc:inkChg chg="add mod">
          <ac:chgData name="Aniket Chhabra" userId="598e0514-bef3-4e71-b6aa-f2edd6441cff" providerId="ADAL" clId="{6B709646-9B8B-914B-83A9-D81F12AFDE5E}" dt="2022-06-19T04:37:46.580" v="817"/>
          <ac:inkMkLst>
            <pc:docMk/>
            <pc:sldMk cId="4173555033" sldId="568"/>
            <ac:inkMk id="104" creationId="{D8330FEB-FF58-BD32-D011-9E5C5A1FCBCA}"/>
          </ac:inkMkLst>
        </pc:inkChg>
        <pc:inkChg chg="add mod">
          <ac:chgData name="Aniket Chhabra" userId="598e0514-bef3-4e71-b6aa-f2edd6441cff" providerId="ADAL" clId="{6B709646-9B8B-914B-83A9-D81F12AFDE5E}" dt="2022-06-19T04:37:46.580" v="817"/>
          <ac:inkMkLst>
            <pc:docMk/>
            <pc:sldMk cId="4173555033" sldId="568"/>
            <ac:inkMk id="105" creationId="{C7BA201D-9586-CD91-9AFB-B39B5CA6129B}"/>
          </ac:inkMkLst>
        </pc:inkChg>
        <pc:inkChg chg="add mod">
          <ac:chgData name="Aniket Chhabra" userId="598e0514-bef3-4e71-b6aa-f2edd6441cff" providerId="ADAL" clId="{6B709646-9B8B-914B-83A9-D81F12AFDE5E}" dt="2022-06-19T04:37:46.580" v="817"/>
          <ac:inkMkLst>
            <pc:docMk/>
            <pc:sldMk cId="4173555033" sldId="568"/>
            <ac:inkMk id="106" creationId="{E00CBBAE-FB9E-EBE9-549F-5DC245ECB956}"/>
          </ac:inkMkLst>
        </pc:inkChg>
        <pc:inkChg chg="add mod">
          <ac:chgData name="Aniket Chhabra" userId="598e0514-bef3-4e71-b6aa-f2edd6441cff" providerId="ADAL" clId="{6B709646-9B8B-914B-83A9-D81F12AFDE5E}" dt="2022-06-19T04:41:04.934" v="893"/>
          <ac:inkMkLst>
            <pc:docMk/>
            <pc:sldMk cId="4173555033" sldId="568"/>
            <ac:inkMk id="108" creationId="{265D7445-6D37-2490-D7E2-DCA073774F7A}"/>
          </ac:inkMkLst>
        </pc:inkChg>
        <pc:inkChg chg="add mod">
          <ac:chgData name="Aniket Chhabra" userId="598e0514-bef3-4e71-b6aa-f2edd6441cff" providerId="ADAL" clId="{6B709646-9B8B-914B-83A9-D81F12AFDE5E}" dt="2022-06-19T04:41:04.934" v="893"/>
          <ac:inkMkLst>
            <pc:docMk/>
            <pc:sldMk cId="4173555033" sldId="568"/>
            <ac:inkMk id="109" creationId="{96672615-B48C-100F-68DB-6C25DE8C67BE}"/>
          </ac:inkMkLst>
        </pc:inkChg>
        <pc:inkChg chg="add mod">
          <ac:chgData name="Aniket Chhabra" userId="598e0514-bef3-4e71-b6aa-f2edd6441cff" providerId="ADAL" clId="{6B709646-9B8B-914B-83A9-D81F12AFDE5E}" dt="2022-06-19T04:40:31.508" v="838"/>
          <ac:inkMkLst>
            <pc:docMk/>
            <pc:sldMk cId="4173555033" sldId="568"/>
            <ac:inkMk id="111" creationId="{E815ABC1-1E62-DE82-3A8F-50120A00915E}"/>
          </ac:inkMkLst>
        </pc:inkChg>
        <pc:inkChg chg="add mod">
          <ac:chgData name="Aniket Chhabra" userId="598e0514-bef3-4e71-b6aa-f2edd6441cff" providerId="ADAL" clId="{6B709646-9B8B-914B-83A9-D81F12AFDE5E}" dt="2022-06-19T04:41:04.934" v="893"/>
          <ac:inkMkLst>
            <pc:docMk/>
            <pc:sldMk cId="4173555033" sldId="568"/>
            <ac:inkMk id="113" creationId="{EBD9E70C-F8A5-9B05-969A-5FE5DD6757DE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115" creationId="{EA8C4BB6-7277-881F-90A9-0B9C8EF2EB48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116" creationId="{E13192BF-3BBA-5EA1-26C9-6D9FE527E174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117" creationId="{E2A6772B-0942-B6D9-3C76-E9235387C9F2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118" creationId="{BFA08AA2-17E9-411E-944D-6E844E1929B5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119" creationId="{7AD52214-CE6C-35C9-C6A5-54E84DAC4647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120" creationId="{8926E69D-6215-48DF-8E2B-12BBC5820CF2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121" creationId="{86D498C7-63E9-7C60-4ED3-1AF56D8AA695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122" creationId="{4EAE523B-6E5E-5EA0-EB2F-05F8295C7C4A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123" creationId="{22633072-B7A3-8C38-E18C-87C58098B23F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124" creationId="{EDA3F462-4F92-770C-660A-084A62F05A8A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125" creationId="{7019752E-3869-FACF-BF4C-202EA2DFB060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126" creationId="{D5C4C297-4707-B57A-3CDB-1EB8D3501147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127" creationId="{FFB701B3-B39E-7A20-B73E-623E5888B2CB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130" creationId="{C42512D7-F92B-7A90-8922-3B87FE2BB58C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131" creationId="{390A012E-E09F-BB57-98ED-64CACEA61C05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132" creationId="{AD79C1F4-9994-2A55-5040-865F3206A0A4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133" creationId="{313677BD-FD70-54A2-DFD7-659589233E4E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134" creationId="{5B2FFC5C-D29A-B002-3521-B520FCB12410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135" creationId="{505E111A-B691-1B48-101A-436872A753E0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137" creationId="{866685E0-C317-DA40-7403-EFE5509A8252}"/>
          </ac:inkMkLst>
        </pc:inkChg>
        <pc:inkChg chg="add mod">
          <ac:chgData name="Aniket Chhabra" userId="598e0514-bef3-4e71-b6aa-f2edd6441cff" providerId="ADAL" clId="{6B709646-9B8B-914B-83A9-D81F12AFDE5E}" dt="2022-06-19T04:40:36.958" v="850"/>
          <ac:inkMkLst>
            <pc:docMk/>
            <pc:sldMk cId="4173555033" sldId="568"/>
            <ac:inkMk id="139" creationId="{45C0F7D5-2965-30C2-3D0C-4F7EA532762C}"/>
          </ac:inkMkLst>
        </pc:inkChg>
        <pc:inkChg chg="add mod">
          <ac:chgData name="Aniket Chhabra" userId="598e0514-bef3-4e71-b6aa-f2edd6441cff" providerId="ADAL" clId="{6B709646-9B8B-914B-83A9-D81F12AFDE5E}" dt="2022-06-19T04:40:36.958" v="850"/>
          <ac:inkMkLst>
            <pc:docMk/>
            <pc:sldMk cId="4173555033" sldId="568"/>
            <ac:inkMk id="140" creationId="{556E74CF-5D7D-BE1F-2D91-DCF7AA9C87E0}"/>
          </ac:inkMkLst>
        </pc:inkChg>
        <pc:inkChg chg="add mod">
          <ac:chgData name="Aniket Chhabra" userId="598e0514-bef3-4e71-b6aa-f2edd6441cff" providerId="ADAL" clId="{6B709646-9B8B-914B-83A9-D81F12AFDE5E}" dt="2022-06-19T04:40:47.482" v="877"/>
          <ac:inkMkLst>
            <pc:docMk/>
            <pc:sldMk cId="4173555033" sldId="568"/>
            <ac:inkMk id="142" creationId="{9A28AF1F-C850-90AA-2087-9557429B8817}"/>
          </ac:inkMkLst>
        </pc:inkChg>
        <pc:inkChg chg="add mod">
          <ac:chgData name="Aniket Chhabra" userId="598e0514-bef3-4e71-b6aa-f2edd6441cff" providerId="ADAL" clId="{6B709646-9B8B-914B-83A9-D81F12AFDE5E}" dt="2022-06-19T04:40:47.482" v="877"/>
          <ac:inkMkLst>
            <pc:docMk/>
            <pc:sldMk cId="4173555033" sldId="568"/>
            <ac:inkMk id="143" creationId="{8CF18C72-3A03-7ED9-A611-CD88F0D20D83}"/>
          </ac:inkMkLst>
        </pc:inkChg>
        <pc:inkChg chg="add mod">
          <ac:chgData name="Aniket Chhabra" userId="598e0514-bef3-4e71-b6aa-f2edd6441cff" providerId="ADAL" clId="{6B709646-9B8B-914B-83A9-D81F12AFDE5E}" dt="2022-06-19T04:40:47.482" v="877"/>
          <ac:inkMkLst>
            <pc:docMk/>
            <pc:sldMk cId="4173555033" sldId="568"/>
            <ac:inkMk id="144" creationId="{CFDF2165-B972-571B-7017-409B75FC0B9A}"/>
          </ac:inkMkLst>
        </pc:inkChg>
        <pc:inkChg chg="add mod">
          <ac:chgData name="Aniket Chhabra" userId="598e0514-bef3-4e71-b6aa-f2edd6441cff" providerId="ADAL" clId="{6B709646-9B8B-914B-83A9-D81F12AFDE5E}" dt="2022-06-19T04:40:47.482" v="877"/>
          <ac:inkMkLst>
            <pc:docMk/>
            <pc:sldMk cId="4173555033" sldId="568"/>
            <ac:inkMk id="145" creationId="{A3E48A0A-2764-9D2E-BFAC-15E7BCE45A7C}"/>
          </ac:inkMkLst>
        </pc:inkChg>
        <pc:inkChg chg="add mod">
          <ac:chgData name="Aniket Chhabra" userId="598e0514-bef3-4e71-b6aa-f2edd6441cff" providerId="ADAL" clId="{6B709646-9B8B-914B-83A9-D81F12AFDE5E}" dt="2022-06-19T04:40:47.482" v="877"/>
          <ac:inkMkLst>
            <pc:docMk/>
            <pc:sldMk cId="4173555033" sldId="568"/>
            <ac:inkMk id="146" creationId="{A9B5F3F0-E520-9225-7975-557617C55C79}"/>
          </ac:inkMkLst>
        </pc:inkChg>
        <pc:inkChg chg="add mod">
          <ac:chgData name="Aniket Chhabra" userId="598e0514-bef3-4e71-b6aa-f2edd6441cff" providerId="ADAL" clId="{6B709646-9B8B-914B-83A9-D81F12AFDE5E}" dt="2022-06-19T04:40:47.482" v="877"/>
          <ac:inkMkLst>
            <pc:docMk/>
            <pc:sldMk cId="4173555033" sldId="568"/>
            <ac:inkMk id="147" creationId="{EFE801D9-1F5C-1E39-D179-9DEFCECF3F93}"/>
          </ac:inkMkLst>
        </pc:inkChg>
        <pc:inkChg chg="add mod">
          <ac:chgData name="Aniket Chhabra" userId="598e0514-bef3-4e71-b6aa-f2edd6441cff" providerId="ADAL" clId="{6B709646-9B8B-914B-83A9-D81F12AFDE5E}" dt="2022-06-19T04:40:47.482" v="877"/>
          <ac:inkMkLst>
            <pc:docMk/>
            <pc:sldMk cId="4173555033" sldId="568"/>
            <ac:inkMk id="148" creationId="{F66C9701-7FCE-DD3C-0DC3-6AD27DC8FCE4}"/>
          </ac:inkMkLst>
        </pc:inkChg>
        <pc:inkChg chg="add mod">
          <ac:chgData name="Aniket Chhabra" userId="598e0514-bef3-4e71-b6aa-f2edd6441cff" providerId="ADAL" clId="{6B709646-9B8B-914B-83A9-D81F12AFDE5E}" dt="2022-06-19T04:40:47.482" v="877"/>
          <ac:inkMkLst>
            <pc:docMk/>
            <pc:sldMk cId="4173555033" sldId="568"/>
            <ac:inkMk id="149" creationId="{2DDB3715-FD4C-FBFE-BAFB-0F3B2B15AD83}"/>
          </ac:inkMkLst>
        </pc:inkChg>
        <pc:inkChg chg="add mod">
          <ac:chgData name="Aniket Chhabra" userId="598e0514-bef3-4e71-b6aa-f2edd6441cff" providerId="ADAL" clId="{6B709646-9B8B-914B-83A9-D81F12AFDE5E}" dt="2022-06-19T04:40:47.482" v="877"/>
          <ac:inkMkLst>
            <pc:docMk/>
            <pc:sldMk cId="4173555033" sldId="568"/>
            <ac:inkMk id="150" creationId="{782FC8FF-AC54-72F8-BA39-87E026386A8A}"/>
          </ac:inkMkLst>
        </pc:inkChg>
        <pc:inkChg chg="add mod">
          <ac:chgData name="Aniket Chhabra" userId="598e0514-bef3-4e71-b6aa-f2edd6441cff" providerId="ADAL" clId="{6B709646-9B8B-914B-83A9-D81F12AFDE5E}" dt="2022-06-19T04:41:04.934" v="893"/>
          <ac:inkMkLst>
            <pc:docMk/>
            <pc:sldMk cId="4173555033" sldId="568"/>
            <ac:inkMk id="151" creationId="{30F2545E-9A72-AA8C-CAC7-CB7109DE5B79}"/>
          </ac:inkMkLst>
        </pc:inkChg>
        <pc:inkChg chg="add mod">
          <ac:chgData name="Aniket Chhabra" userId="598e0514-bef3-4e71-b6aa-f2edd6441cff" providerId="ADAL" clId="{6B709646-9B8B-914B-83A9-D81F12AFDE5E}" dt="2022-06-19T04:41:04.934" v="893"/>
          <ac:inkMkLst>
            <pc:docMk/>
            <pc:sldMk cId="4173555033" sldId="568"/>
            <ac:inkMk id="152" creationId="{B63C7622-3D3A-B6ED-CAD2-841E09EE1EA6}"/>
          </ac:inkMkLst>
        </pc:inkChg>
        <pc:inkChg chg="add mod">
          <ac:chgData name="Aniket Chhabra" userId="598e0514-bef3-4e71-b6aa-f2edd6441cff" providerId="ADAL" clId="{6B709646-9B8B-914B-83A9-D81F12AFDE5E}" dt="2022-06-19T04:41:04.934" v="893"/>
          <ac:inkMkLst>
            <pc:docMk/>
            <pc:sldMk cId="4173555033" sldId="568"/>
            <ac:inkMk id="153" creationId="{31B088B8-334F-0B51-521E-BDD02882787F}"/>
          </ac:inkMkLst>
        </pc:inkChg>
        <pc:inkChg chg="add mod">
          <ac:chgData name="Aniket Chhabra" userId="598e0514-bef3-4e71-b6aa-f2edd6441cff" providerId="ADAL" clId="{6B709646-9B8B-914B-83A9-D81F12AFDE5E}" dt="2022-06-19T04:41:04.934" v="893"/>
          <ac:inkMkLst>
            <pc:docMk/>
            <pc:sldMk cId="4173555033" sldId="568"/>
            <ac:inkMk id="154" creationId="{7620F847-FDB0-2D77-846F-05F5ACE685E2}"/>
          </ac:inkMkLst>
        </pc:inkChg>
        <pc:inkChg chg="add mod">
          <ac:chgData name="Aniket Chhabra" userId="598e0514-bef3-4e71-b6aa-f2edd6441cff" providerId="ADAL" clId="{6B709646-9B8B-914B-83A9-D81F12AFDE5E}" dt="2022-06-19T04:41:04.934" v="893"/>
          <ac:inkMkLst>
            <pc:docMk/>
            <pc:sldMk cId="4173555033" sldId="568"/>
            <ac:inkMk id="155" creationId="{820AC9D7-7600-F370-91DD-A48249FCE23C}"/>
          </ac:inkMkLst>
        </pc:inkChg>
        <pc:inkChg chg="add mod">
          <ac:chgData name="Aniket Chhabra" userId="598e0514-bef3-4e71-b6aa-f2edd6441cff" providerId="ADAL" clId="{6B709646-9B8B-914B-83A9-D81F12AFDE5E}" dt="2022-06-19T04:41:04.934" v="893"/>
          <ac:inkMkLst>
            <pc:docMk/>
            <pc:sldMk cId="4173555033" sldId="568"/>
            <ac:inkMk id="156" creationId="{B936CB88-DD0A-1BFA-CC13-C80598E55377}"/>
          </ac:inkMkLst>
        </pc:inkChg>
        <pc:inkChg chg="add mod">
          <ac:chgData name="Aniket Chhabra" userId="598e0514-bef3-4e71-b6aa-f2edd6441cff" providerId="ADAL" clId="{6B709646-9B8B-914B-83A9-D81F12AFDE5E}" dt="2022-06-19T04:41:04.934" v="893"/>
          <ac:inkMkLst>
            <pc:docMk/>
            <pc:sldMk cId="4173555033" sldId="568"/>
            <ac:inkMk id="157" creationId="{B52F049A-6FEE-1DA1-A241-C0237BFC9C65}"/>
          </ac:inkMkLst>
        </pc:inkChg>
        <pc:inkChg chg="add mod">
          <ac:chgData name="Aniket Chhabra" userId="598e0514-bef3-4e71-b6aa-f2edd6441cff" providerId="ADAL" clId="{6B709646-9B8B-914B-83A9-D81F12AFDE5E}" dt="2022-06-19T04:41:04.934" v="893"/>
          <ac:inkMkLst>
            <pc:docMk/>
            <pc:sldMk cId="4173555033" sldId="568"/>
            <ac:inkMk id="158" creationId="{356955BA-A269-1B86-8D7B-79306156863A}"/>
          </ac:inkMkLst>
        </pc:inkChg>
        <pc:inkChg chg="add mod">
          <ac:chgData name="Aniket Chhabra" userId="598e0514-bef3-4e71-b6aa-f2edd6441cff" providerId="ADAL" clId="{6B709646-9B8B-914B-83A9-D81F12AFDE5E}" dt="2022-06-19T04:41:04.934" v="893"/>
          <ac:inkMkLst>
            <pc:docMk/>
            <pc:sldMk cId="4173555033" sldId="568"/>
            <ac:inkMk id="159" creationId="{932390E1-67FC-0235-6066-F51F580A8B3C}"/>
          </ac:inkMkLst>
        </pc:inkChg>
        <pc:inkChg chg="add mod">
          <ac:chgData name="Aniket Chhabra" userId="598e0514-bef3-4e71-b6aa-f2edd6441cff" providerId="ADAL" clId="{6B709646-9B8B-914B-83A9-D81F12AFDE5E}" dt="2022-06-19T04:41:04.934" v="893"/>
          <ac:inkMkLst>
            <pc:docMk/>
            <pc:sldMk cId="4173555033" sldId="568"/>
            <ac:inkMk id="160" creationId="{5AEB48CB-0B2C-84C5-B640-841956CD5F19}"/>
          </ac:inkMkLst>
        </pc:inkChg>
        <pc:inkChg chg="add mod">
          <ac:chgData name="Aniket Chhabra" userId="598e0514-bef3-4e71-b6aa-f2edd6441cff" providerId="ADAL" clId="{6B709646-9B8B-914B-83A9-D81F12AFDE5E}" dt="2022-06-19T04:41:04.934" v="893"/>
          <ac:inkMkLst>
            <pc:docMk/>
            <pc:sldMk cId="4173555033" sldId="568"/>
            <ac:inkMk id="161" creationId="{7358A9E8-7AEA-70EB-DFC6-D6C62B357D76}"/>
          </ac:inkMkLst>
        </pc:inkChg>
        <pc:inkChg chg="add mod">
          <ac:chgData name="Aniket Chhabra" userId="598e0514-bef3-4e71-b6aa-f2edd6441cff" providerId="ADAL" clId="{6B709646-9B8B-914B-83A9-D81F12AFDE5E}" dt="2022-06-19T04:41:04.934" v="893"/>
          <ac:inkMkLst>
            <pc:docMk/>
            <pc:sldMk cId="4173555033" sldId="568"/>
            <ac:inkMk id="162" creationId="{92458CF4-8BB5-E13C-A78C-53DA36EB1B8D}"/>
          </ac:inkMkLst>
        </pc:inkChg>
        <pc:inkChg chg="add mod">
          <ac:chgData name="Aniket Chhabra" userId="598e0514-bef3-4e71-b6aa-f2edd6441cff" providerId="ADAL" clId="{6B709646-9B8B-914B-83A9-D81F12AFDE5E}" dt="2022-06-19T04:41:04.934" v="893"/>
          <ac:inkMkLst>
            <pc:docMk/>
            <pc:sldMk cId="4173555033" sldId="568"/>
            <ac:inkMk id="163" creationId="{9CF54F2B-3B3A-E29B-730D-D80B7BC24870}"/>
          </ac:inkMkLst>
        </pc:inkChg>
        <pc:inkChg chg="add mod">
          <ac:chgData name="Aniket Chhabra" userId="598e0514-bef3-4e71-b6aa-f2edd6441cff" providerId="ADAL" clId="{6B709646-9B8B-914B-83A9-D81F12AFDE5E}" dt="2022-06-19T04:41:04.934" v="893"/>
          <ac:inkMkLst>
            <pc:docMk/>
            <pc:sldMk cId="4173555033" sldId="568"/>
            <ac:inkMk id="164" creationId="{1781DF42-9B91-BFF6-740B-99ADD6210075}"/>
          </ac:inkMkLst>
        </pc:inkChg>
        <pc:inkChg chg="add mod">
          <ac:chgData name="Aniket Chhabra" userId="598e0514-bef3-4e71-b6aa-f2edd6441cff" providerId="ADAL" clId="{6B709646-9B8B-914B-83A9-D81F12AFDE5E}" dt="2022-06-19T04:41:04.934" v="893"/>
          <ac:inkMkLst>
            <pc:docMk/>
            <pc:sldMk cId="4173555033" sldId="568"/>
            <ac:inkMk id="165" creationId="{A876CF9F-0BFB-8BEE-4ACE-58D393E18D7F}"/>
          </ac:inkMkLst>
        </pc:inkChg>
        <pc:inkChg chg="add mod">
          <ac:chgData name="Aniket Chhabra" userId="598e0514-bef3-4e71-b6aa-f2edd6441cff" providerId="ADAL" clId="{6B709646-9B8B-914B-83A9-D81F12AFDE5E}" dt="2022-06-19T04:41:04.934" v="893"/>
          <ac:inkMkLst>
            <pc:docMk/>
            <pc:sldMk cId="4173555033" sldId="568"/>
            <ac:inkMk id="166" creationId="{20104A48-6922-5530-835E-650C854CCF3E}"/>
          </ac:inkMkLst>
        </pc:inkChg>
        <pc:inkChg chg="add mod">
          <ac:chgData name="Aniket Chhabra" userId="598e0514-bef3-4e71-b6aa-f2edd6441cff" providerId="ADAL" clId="{6B709646-9B8B-914B-83A9-D81F12AFDE5E}" dt="2022-06-19T04:41:04.934" v="893"/>
          <ac:inkMkLst>
            <pc:docMk/>
            <pc:sldMk cId="4173555033" sldId="568"/>
            <ac:inkMk id="167" creationId="{FC2A8E8C-BE14-FE8C-2190-DC79B1F97294}"/>
          </ac:inkMkLst>
        </pc:inkChg>
        <pc:inkChg chg="add mod">
          <ac:chgData name="Aniket Chhabra" userId="598e0514-bef3-4e71-b6aa-f2edd6441cff" providerId="ADAL" clId="{6B709646-9B8B-914B-83A9-D81F12AFDE5E}" dt="2022-06-19T04:41:04.934" v="893"/>
          <ac:inkMkLst>
            <pc:docMk/>
            <pc:sldMk cId="4173555033" sldId="568"/>
            <ac:inkMk id="171" creationId="{9781E92E-4789-4DC1-96F3-2DEA15C1B412}"/>
          </ac:inkMkLst>
        </pc:inkChg>
        <pc:inkChg chg="add mod">
          <ac:chgData name="Aniket Chhabra" userId="598e0514-bef3-4e71-b6aa-f2edd6441cff" providerId="ADAL" clId="{6B709646-9B8B-914B-83A9-D81F12AFDE5E}" dt="2022-06-19T04:41:04.934" v="893"/>
          <ac:inkMkLst>
            <pc:docMk/>
            <pc:sldMk cId="4173555033" sldId="568"/>
            <ac:inkMk id="172" creationId="{291EFACD-4252-4E2B-0438-749DE7D85CDF}"/>
          </ac:inkMkLst>
        </pc:inkChg>
        <pc:inkChg chg="add mod">
          <ac:chgData name="Aniket Chhabra" userId="598e0514-bef3-4e71-b6aa-f2edd6441cff" providerId="ADAL" clId="{6B709646-9B8B-914B-83A9-D81F12AFDE5E}" dt="2022-06-19T04:41:04.934" v="893"/>
          <ac:inkMkLst>
            <pc:docMk/>
            <pc:sldMk cId="4173555033" sldId="568"/>
            <ac:inkMk id="173" creationId="{878C9BAB-A95F-23FF-A9D4-8D85B416843A}"/>
          </ac:inkMkLst>
        </pc:inkChg>
        <pc:inkChg chg="add mod">
          <ac:chgData name="Aniket Chhabra" userId="598e0514-bef3-4e71-b6aa-f2edd6441cff" providerId="ADAL" clId="{6B709646-9B8B-914B-83A9-D81F12AFDE5E}" dt="2022-06-19T04:41:04.934" v="893"/>
          <ac:inkMkLst>
            <pc:docMk/>
            <pc:sldMk cId="4173555033" sldId="568"/>
            <ac:inkMk id="174" creationId="{B05CBAD0-2629-9D73-B865-41AE5D94854E}"/>
          </ac:inkMkLst>
        </pc:inkChg>
        <pc:inkChg chg="add mod">
          <ac:chgData name="Aniket Chhabra" userId="598e0514-bef3-4e71-b6aa-f2edd6441cff" providerId="ADAL" clId="{6B709646-9B8B-914B-83A9-D81F12AFDE5E}" dt="2022-06-19T04:41:04.934" v="893"/>
          <ac:inkMkLst>
            <pc:docMk/>
            <pc:sldMk cId="4173555033" sldId="568"/>
            <ac:inkMk id="175" creationId="{819491DB-D996-1284-8F72-AF3A9FB211E8}"/>
          </ac:inkMkLst>
        </pc:inkChg>
        <pc:inkChg chg="add mod">
          <ac:chgData name="Aniket Chhabra" userId="598e0514-bef3-4e71-b6aa-f2edd6441cff" providerId="ADAL" clId="{6B709646-9B8B-914B-83A9-D81F12AFDE5E}" dt="2022-06-19T04:41:04.934" v="893"/>
          <ac:inkMkLst>
            <pc:docMk/>
            <pc:sldMk cId="4173555033" sldId="568"/>
            <ac:inkMk id="176" creationId="{AC48D1C4-55A7-2907-1453-689A64299734}"/>
          </ac:inkMkLst>
        </pc:inkChg>
        <pc:inkChg chg="add mod">
          <ac:chgData name="Aniket Chhabra" userId="598e0514-bef3-4e71-b6aa-f2edd6441cff" providerId="ADAL" clId="{6B709646-9B8B-914B-83A9-D81F12AFDE5E}" dt="2022-06-19T04:41:04.934" v="893"/>
          <ac:inkMkLst>
            <pc:docMk/>
            <pc:sldMk cId="4173555033" sldId="568"/>
            <ac:inkMk id="177" creationId="{71768B28-5CCA-CC0D-5683-8C8DDBB05C80}"/>
          </ac:inkMkLst>
        </pc:inkChg>
        <pc:inkChg chg="add mod">
          <ac:chgData name="Aniket Chhabra" userId="598e0514-bef3-4e71-b6aa-f2edd6441cff" providerId="ADAL" clId="{6B709646-9B8B-914B-83A9-D81F12AFDE5E}" dt="2022-06-19T04:41:04.934" v="893"/>
          <ac:inkMkLst>
            <pc:docMk/>
            <pc:sldMk cId="4173555033" sldId="568"/>
            <ac:inkMk id="178" creationId="{E68C0514-F3BE-FFDB-61B8-AB44FE44B3C3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180" creationId="{20F165AD-9BD3-1B4E-9390-4FB3CA3B82A3}"/>
          </ac:inkMkLst>
        </pc:inkChg>
        <pc:inkChg chg="add mod">
          <ac:chgData name="Aniket Chhabra" userId="598e0514-bef3-4e71-b6aa-f2edd6441cff" providerId="ADAL" clId="{6B709646-9B8B-914B-83A9-D81F12AFDE5E}" dt="2022-06-19T04:41:01.815" v="889"/>
          <ac:inkMkLst>
            <pc:docMk/>
            <pc:sldMk cId="4173555033" sldId="568"/>
            <ac:inkMk id="181" creationId="{9C8414B7-4F12-5164-0DD3-4FFBEE3AD190}"/>
          </ac:inkMkLst>
        </pc:inkChg>
        <pc:inkChg chg="add mod">
          <ac:chgData name="Aniket Chhabra" userId="598e0514-bef3-4e71-b6aa-f2edd6441cff" providerId="ADAL" clId="{6B709646-9B8B-914B-83A9-D81F12AFDE5E}" dt="2022-06-19T04:41:04.934" v="893"/>
          <ac:inkMkLst>
            <pc:docMk/>
            <pc:sldMk cId="4173555033" sldId="568"/>
            <ac:inkMk id="183" creationId="{B4165434-5725-587F-9318-E18A86FF9574}"/>
          </ac:inkMkLst>
        </pc:inkChg>
        <pc:inkChg chg="add mod">
          <ac:chgData name="Aniket Chhabra" userId="598e0514-bef3-4e71-b6aa-f2edd6441cff" providerId="ADAL" clId="{6B709646-9B8B-914B-83A9-D81F12AFDE5E}" dt="2022-06-19T04:41:04.934" v="893"/>
          <ac:inkMkLst>
            <pc:docMk/>
            <pc:sldMk cId="4173555033" sldId="568"/>
            <ac:inkMk id="184" creationId="{1E40A065-3AFB-FDEB-44E6-8DF1F14776CD}"/>
          </ac:inkMkLst>
        </pc:inkChg>
        <pc:inkChg chg="add mod">
          <ac:chgData name="Aniket Chhabra" userId="598e0514-bef3-4e71-b6aa-f2edd6441cff" providerId="ADAL" clId="{6B709646-9B8B-914B-83A9-D81F12AFDE5E}" dt="2022-06-19T04:41:04.934" v="893"/>
          <ac:inkMkLst>
            <pc:docMk/>
            <pc:sldMk cId="4173555033" sldId="568"/>
            <ac:inkMk id="185" creationId="{760676A8-3EFE-B9C7-27AA-F631D0DF56B4}"/>
          </ac:inkMkLst>
        </pc:inkChg>
        <pc:inkChg chg="add mod">
          <ac:chgData name="Aniket Chhabra" userId="598e0514-bef3-4e71-b6aa-f2edd6441cff" providerId="ADAL" clId="{6B709646-9B8B-914B-83A9-D81F12AFDE5E}" dt="2022-06-19T04:41:19.838" v="925"/>
          <ac:inkMkLst>
            <pc:docMk/>
            <pc:sldMk cId="4173555033" sldId="568"/>
            <ac:inkMk id="187" creationId="{2402BDDB-8A14-897B-357B-8E9FD6D02EE3}"/>
          </ac:inkMkLst>
        </pc:inkChg>
        <pc:inkChg chg="add mod">
          <ac:chgData name="Aniket Chhabra" userId="598e0514-bef3-4e71-b6aa-f2edd6441cff" providerId="ADAL" clId="{6B709646-9B8B-914B-83A9-D81F12AFDE5E}" dt="2022-06-19T04:41:19.838" v="925"/>
          <ac:inkMkLst>
            <pc:docMk/>
            <pc:sldMk cId="4173555033" sldId="568"/>
            <ac:inkMk id="188" creationId="{F9B61FCC-D006-16C7-ACB1-28880F3BA934}"/>
          </ac:inkMkLst>
        </pc:inkChg>
        <pc:inkChg chg="add mod">
          <ac:chgData name="Aniket Chhabra" userId="598e0514-bef3-4e71-b6aa-f2edd6441cff" providerId="ADAL" clId="{6B709646-9B8B-914B-83A9-D81F12AFDE5E}" dt="2022-06-19T04:41:19.838" v="925"/>
          <ac:inkMkLst>
            <pc:docMk/>
            <pc:sldMk cId="4173555033" sldId="568"/>
            <ac:inkMk id="189" creationId="{F2265102-0F02-E5F8-A0E8-D2B300F747AB}"/>
          </ac:inkMkLst>
        </pc:inkChg>
        <pc:inkChg chg="add mod">
          <ac:chgData name="Aniket Chhabra" userId="598e0514-bef3-4e71-b6aa-f2edd6441cff" providerId="ADAL" clId="{6B709646-9B8B-914B-83A9-D81F12AFDE5E}" dt="2022-06-19T04:41:19.838" v="925"/>
          <ac:inkMkLst>
            <pc:docMk/>
            <pc:sldMk cId="4173555033" sldId="568"/>
            <ac:inkMk id="190" creationId="{DA1D37CE-2AC1-F8A2-5C74-860382FB2EE2}"/>
          </ac:inkMkLst>
        </pc:inkChg>
        <pc:inkChg chg="add mod">
          <ac:chgData name="Aniket Chhabra" userId="598e0514-bef3-4e71-b6aa-f2edd6441cff" providerId="ADAL" clId="{6B709646-9B8B-914B-83A9-D81F12AFDE5E}" dt="2022-06-19T04:41:19.838" v="925"/>
          <ac:inkMkLst>
            <pc:docMk/>
            <pc:sldMk cId="4173555033" sldId="568"/>
            <ac:inkMk id="191" creationId="{1E3EA6BE-9036-E0C8-1DE5-F90F5CD34276}"/>
          </ac:inkMkLst>
        </pc:inkChg>
        <pc:inkChg chg="add mod">
          <ac:chgData name="Aniket Chhabra" userId="598e0514-bef3-4e71-b6aa-f2edd6441cff" providerId="ADAL" clId="{6B709646-9B8B-914B-83A9-D81F12AFDE5E}" dt="2022-06-19T04:41:19.838" v="925"/>
          <ac:inkMkLst>
            <pc:docMk/>
            <pc:sldMk cId="4173555033" sldId="568"/>
            <ac:inkMk id="192" creationId="{850FA7C2-6BBD-48D2-7A1B-BA27E178B2A1}"/>
          </ac:inkMkLst>
        </pc:inkChg>
        <pc:inkChg chg="add mod">
          <ac:chgData name="Aniket Chhabra" userId="598e0514-bef3-4e71-b6aa-f2edd6441cff" providerId="ADAL" clId="{6B709646-9B8B-914B-83A9-D81F12AFDE5E}" dt="2022-06-19T04:41:19.838" v="925"/>
          <ac:inkMkLst>
            <pc:docMk/>
            <pc:sldMk cId="4173555033" sldId="568"/>
            <ac:inkMk id="194" creationId="{197E8476-B31B-135A-9B67-98C29CD5AFE0}"/>
          </ac:inkMkLst>
        </pc:inkChg>
        <pc:inkChg chg="add mod">
          <ac:chgData name="Aniket Chhabra" userId="598e0514-bef3-4e71-b6aa-f2edd6441cff" providerId="ADAL" clId="{6B709646-9B8B-914B-83A9-D81F12AFDE5E}" dt="2022-06-19T04:41:19.838" v="925"/>
          <ac:inkMkLst>
            <pc:docMk/>
            <pc:sldMk cId="4173555033" sldId="568"/>
            <ac:inkMk id="195" creationId="{F3C18FC8-640D-DCDE-0810-954CA7EA2F84}"/>
          </ac:inkMkLst>
        </pc:inkChg>
        <pc:inkChg chg="add mod">
          <ac:chgData name="Aniket Chhabra" userId="598e0514-bef3-4e71-b6aa-f2edd6441cff" providerId="ADAL" clId="{6B709646-9B8B-914B-83A9-D81F12AFDE5E}" dt="2022-06-19T04:41:19.838" v="925"/>
          <ac:inkMkLst>
            <pc:docMk/>
            <pc:sldMk cId="4173555033" sldId="568"/>
            <ac:inkMk id="196" creationId="{A5932CC8-33BD-D626-15A8-BA0C14378DDA}"/>
          </ac:inkMkLst>
        </pc:inkChg>
        <pc:inkChg chg="add mod">
          <ac:chgData name="Aniket Chhabra" userId="598e0514-bef3-4e71-b6aa-f2edd6441cff" providerId="ADAL" clId="{6B709646-9B8B-914B-83A9-D81F12AFDE5E}" dt="2022-06-19T04:41:19.838" v="925"/>
          <ac:inkMkLst>
            <pc:docMk/>
            <pc:sldMk cId="4173555033" sldId="568"/>
            <ac:inkMk id="197" creationId="{C9439FC6-79C2-84D3-1508-4F06B1C2F866}"/>
          </ac:inkMkLst>
        </pc:inkChg>
        <pc:inkChg chg="add mod">
          <ac:chgData name="Aniket Chhabra" userId="598e0514-bef3-4e71-b6aa-f2edd6441cff" providerId="ADAL" clId="{6B709646-9B8B-914B-83A9-D81F12AFDE5E}" dt="2022-06-19T04:41:19.838" v="925"/>
          <ac:inkMkLst>
            <pc:docMk/>
            <pc:sldMk cId="4173555033" sldId="568"/>
            <ac:inkMk id="198" creationId="{19EEAE9F-EF81-087B-56A9-3FC9E913FA4A}"/>
          </ac:inkMkLst>
        </pc:inkChg>
        <pc:inkChg chg="add mod">
          <ac:chgData name="Aniket Chhabra" userId="598e0514-bef3-4e71-b6aa-f2edd6441cff" providerId="ADAL" clId="{6B709646-9B8B-914B-83A9-D81F12AFDE5E}" dt="2022-06-19T04:41:19.838" v="925"/>
          <ac:inkMkLst>
            <pc:docMk/>
            <pc:sldMk cId="4173555033" sldId="568"/>
            <ac:inkMk id="199" creationId="{8FC431E1-4D84-4343-D5F2-93586F54E0D6}"/>
          </ac:inkMkLst>
        </pc:inkChg>
        <pc:inkChg chg="add mod">
          <ac:chgData name="Aniket Chhabra" userId="598e0514-bef3-4e71-b6aa-f2edd6441cff" providerId="ADAL" clId="{6B709646-9B8B-914B-83A9-D81F12AFDE5E}" dt="2022-06-19T04:41:19.838" v="925"/>
          <ac:inkMkLst>
            <pc:docMk/>
            <pc:sldMk cId="4173555033" sldId="568"/>
            <ac:inkMk id="200" creationId="{6C129ED6-5849-69F9-9656-C654CE922D22}"/>
          </ac:inkMkLst>
        </pc:inkChg>
        <pc:inkChg chg="add mod">
          <ac:chgData name="Aniket Chhabra" userId="598e0514-bef3-4e71-b6aa-f2edd6441cff" providerId="ADAL" clId="{6B709646-9B8B-914B-83A9-D81F12AFDE5E}" dt="2022-06-19T04:41:19.838" v="925"/>
          <ac:inkMkLst>
            <pc:docMk/>
            <pc:sldMk cId="4173555033" sldId="568"/>
            <ac:inkMk id="201" creationId="{BB26B2C3-CDD6-DB87-EFC5-42CC799E923D}"/>
          </ac:inkMkLst>
        </pc:inkChg>
        <pc:inkChg chg="add mod">
          <ac:chgData name="Aniket Chhabra" userId="598e0514-bef3-4e71-b6aa-f2edd6441cff" providerId="ADAL" clId="{6B709646-9B8B-914B-83A9-D81F12AFDE5E}" dt="2022-06-19T04:41:19.838" v="925"/>
          <ac:inkMkLst>
            <pc:docMk/>
            <pc:sldMk cId="4173555033" sldId="568"/>
            <ac:inkMk id="202" creationId="{F79DCA20-5EE5-2C16-7F86-F54D41A3D309}"/>
          </ac:inkMkLst>
        </pc:inkChg>
        <pc:inkChg chg="add mod">
          <ac:chgData name="Aniket Chhabra" userId="598e0514-bef3-4e71-b6aa-f2edd6441cff" providerId="ADAL" clId="{6B709646-9B8B-914B-83A9-D81F12AFDE5E}" dt="2022-06-19T04:41:19.838" v="925"/>
          <ac:inkMkLst>
            <pc:docMk/>
            <pc:sldMk cId="4173555033" sldId="568"/>
            <ac:inkMk id="203" creationId="{32FC7718-154D-A47E-BFBF-CB941BB2675D}"/>
          </ac:inkMkLst>
        </pc:inkChg>
        <pc:inkChg chg="add mod">
          <ac:chgData name="Aniket Chhabra" userId="598e0514-bef3-4e71-b6aa-f2edd6441cff" providerId="ADAL" clId="{6B709646-9B8B-914B-83A9-D81F12AFDE5E}" dt="2022-06-19T04:41:19.838" v="925"/>
          <ac:inkMkLst>
            <pc:docMk/>
            <pc:sldMk cId="4173555033" sldId="568"/>
            <ac:inkMk id="204" creationId="{4615BF11-DAD4-D79A-B568-B3D4DA1C289E}"/>
          </ac:inkMkLst>
        </pc:inkChg>
        <pc:inkChg chg="add mod">
          <ac:chgData name="Aniket Chhabra" userId="598e0514-bef3-4e71-b6aa-f2edd6441cff" providerId="ADAL" clId="{6B709646-9B8B-914B-83A9-D81F12AFDE5E}" dt="2022-06-19T04:41:19.838" v="925"/>
          <ac:inkMkLst>
            <pc:docMk/>
            <pc:sldMk cId="4173555033" sldId="568"/>
            <ac:inkMk id="205" creationId="{B542EA12-09B4-9A4A-E7DF-19B1AA202BE2}"/>
          </ac:inkMkLst>
        </pc:inkChg>
        <pc:inkChg chg="add mod">
          <ac:chgData name="Aniket Chhabra" userId="598e0514-bef3-4e71-b6aa-f2edd6441cff" providerId="ADAL" clId="{6B709646-9B8B-914B-83A9-D81F12AFDE5E}" dt="2022-06-19T04:41:19.838" v="925"/>
          <ac:inkMkLst>
            <pc:docMk/>
            <pc:sldMk cId="4173555033" sldId="568"/>
            <ac:inkMk id="206" creationId="{7854FAA6-7289-4607-2798-44B6B864776D}"/>
          </ac:inkMkLst>
        </pc:inkChg>
        <pc:inkChg chg="add mod">
          <ac:chgData name="Aniket Chhabra" userId="598e0514-bef3-4e71-b6aa-f2edd6441cff" providerId="ADAL" clId="{6B709646-9B8B-914B-83A9-D81F12AFDE5E}" dt="2022-06-19T04:41:19.838" v="925"/>
          <ac:inkMkLst>
            <pc:docMk/>
            <pc:sldMk cId="4173555033" sldId="568"/>
            <ac:inkMk id="207" creationId="{62BA58EB-E71E-75FC-FBDF-16716D58F107}"/>
          </ac:inkMkLst>
        </pc:inkChg>
        <pc:inkChg chg="add mod">
          <ac:chgData name="Aniket Chhabra" userId="598e0514-bef3-4e71-b6aa-f2edd6441cff" providerId="ADAL" clId="{6B709646-9B8B-914B-83A9-D81F12AFDE5E}" dt="2022-06-19T04:41:19.838" v="925"/>
          <ac:inkMkLst>
            <pc:docMk/>
            <pc:sldMk cId="4173555033" sldId="568"/>
            <ac:inkMk id="208" creationId="{999482F0-7E62-6855-BC5C-5FFEEA76B7B5}"/>
          </ac:inkMkLst>
        </pc:inkChg>
        <pc:inkChg chg="add mod">
          <ac:chgData name="Aniket Chhabra" userId="598e0514-bef3-4e71-b6aa-f2edd6441cff" providerId="ADAL" clId="{6B709646-9B8B-914B-83A9-D81F12AFDE5E}" dt="2022-06-19T04:41:19.838" v="925"/>
          <ac:inkMkLst>
            <pc:docMk/>
            <pc:sldMk cId="4173555033" sldId="568"/>
            <ac:inkMk id="209" creationId="{88FF036C-ED9B-6153-E182-3DAAD72884C9}"/>
          </ac:inkMkLst>
        </pc:inkChg>
        <pc:inkChg chg="add mod">
          <ac:chgData name="Aniket Chhabra" userId="598e0514-bef3-4e71-b6aa-f2edd6441cff" providerId="ADAL" clId="{6B709646-9B8B-914B-83A9-D81F12AFDE5E}" dt="2022-06-19T04:41:19.838" v="925"/>
          <ac:inkMkLst>
            <pc:docMk/>
            <pc:sldMk cId="4173555033" sldId="568"/>
            <ac:inkMk id="210" creationId="{657E1665-6834-EA05-60A0-29D8FC3E1BC8}"/>
          </ac:inkMkLst>
        </pc:inkChg>
        <pc:inkChg chg="add mod">
          <ac:chgData name="Aniket Chhabra" userId="598e0514-bef3-4e71-b6aa-f2edd6441cff" providerId="ADAL" clId="{6B709646-9B8B-914B-83A9-D81F12AFDE5E}" dt="2022-06-19T04:41:19.838" v="925"/>
          <ac:inkMkLst>
            <pc:docMk/>
            <pc:sldMk cId="4173555033" sldId="568"/>
            <ac:inkMk id="211" creationId="{FC2774CB-D538-E8B2-76F7-7D8AA449EBC9}"/>
          </ac:inkMkLst>
        </pc:inkChg>
        <pc:inkChg chg="add mod">
          <ac:chgData name="Aniket Chhabra" userId="598e0514-bef3-4e71-b6aa-f2edd6441cff" providerId="ADAL" clId="{6B709646-9B8B-914B-83A9-D81F12AFDE5E}" dt="2022-06-19T04:41:19.838" v="925"/>
          <ac:inkMkLst>
            <pc:docMk/>
            <pc:sldMk cId="4173555033" sldId="568"/>
            <ac:inkMk id="212" creationId="{97456C6C-977D-C1DC-B279-864B2A931ABC}"/>
          </ac:inkMkLst>
        </pc:inkChg>
        <pc:inkChg chg="add mod">
          <ac:chgData name="Aniket Chhabra" userId="598e0514-bef3-4e71-b6aa-f2edd6441cff" providerId="ADAL" clId="{6B709646-9B8B-914B-83A9-D81F12AFDE5E}" dt="2022-06-19T04:41:19.838" v="925"/>
          <ac:inkMkLst>
            <pc:docMk/>
            <pc:sldMk cId="4173555033" sldId="568"/>
            <ac:inkMk id="213" creationId="{8857DEF7-98FE-1926-E65C-39D37A7A3D10}"/>
          </ac:inkMkLst>
        </pc:inkChg>
        <pc:inkChg chg="add mod">
          <ac:chgData name="Aniket Chhabra" userId="598e0514-bef3-4e71-b6aa-f2edd6441cff" providerId="ADAL" clId="{6B709646-9B8B-914B-83A9-D81F12AFDE5E}" dt="2022-06-19T04:41:19.838" v="925"/>
          <ac:inkMkLst>
            <pc:docMk/>
            <pc:sldMk cId="4173555033" sldId="568"/>
            <ac:inkMk id="214" creationId="{559261D6-71AF-E98A-5DFB-FD9A79313143}"/>
          </ac:inkMkLst>
        </pc:inkChg>
        <pc:inkChg chg="add mod">
          <ac:chgData name="Aniket Chhabra" userId="598e0514-bef3-4e71-b6aa-f2edd6441cff" providerId="ADAL" clId="{6B709646-9B8B-914B-83A9-D81F12AFDE5E}" dt="2022-06-19T04:41:19.838" v="925"/>
          <ac:inkMkLst>
            <pc:docMk/>
            <pc:sldMk cId="4173555033" sldId="568"/>
            <ac:inkMk id="215" creationId="{3219453C-3C08-1A67-79A5-79C857A6B3CD}"/>
          </ac:inkMkLst>
        </pc:inkChg>
        <pc:inkChg chg="add mod">
          <ac:chgData name="Aniket Chhabra" userId="598e0514-bef3-4e71-b6aa-f2edd6441cff" providerId="ADAL" clId="{6B709646-9B8B-914B-83A9-D81F12AFDE5E}" dt="2022-06-19T04:41:19.838" v="925"/>
          <ac:inkMkLst>
            <pc:docMk/>
            <pc:sldMk cId="4173555033" sldId="568"/>
            <ac:inkMk id="216" creationId="{88114953-18F8-C357-FA8B-5ACB2E142DF1}"/>
          </ac:inkMkLst>
        </pc:inkChg>
        <pc:inkChg chg="add mod">
          <ac:chgData name="Aniket Chhabra" userId="598e0514-bef3-4e71-b6aa-f2edd6441cff" providerId="ADAL" clId="{6B709646-9B8B-914B-83A9-D81F12AFDE5E}" dt="2022-06-19T04:41:19.838" v="925"/>
          <ac:inkMkLst>
            <pc:docMk/>
            <pc:sldMk cId="4173555033" sldId="568"/>
            <ac:inkMk id="217" creationId="{854270F0-EBAB-F203-5515-C4657B67A490}"/>
          </ac:inkMkLst>
        </pc:inkChg>
      </pc:sldChg>
      <pc:sldChg chg="addSp delSp modSp new mod">
        <pc:chgData name="Aniket Chhabra" userId="598e0514-bef3-4e71-b6aa-f2edd6441cff" providerId="ADAL" clId="{6B709646-9B8B-914B-83A9-D81F12AFDE5E}" dt="2022-06-19T04:50:39.040" v="1391"/>
        <pc:sldMkLst>
          <pc:docMk/>
          <pc:sldMk cId="3767779272" sldId="569"/>
        </pc:sldMkLst>
        <pc:grpChg chg="del mod">
          <ac:chgData name="Aniket Chhabra" userId="598e0514-bef3-4e71-b6aa-f2edd6441cff" providerId="ADAL" clId="{6B709646-9B8B-914B-83A9-D81F12AFDE5E}" dt="2022-06-19T04:46:25.901" v="1056"/>
          <ac:grpSpMkLst>
            <pc:docMk/>
            <pc:sldMk cId="3767779272" sldId="569"/>
            <ac:grpSpMk id="15" creationId="{D0EAA571-047A-71C2-72AD-B0F8827E9FE6}"/>
          </ac:grpSpMkLst>
        </pc:grpChg>
        <pc:grpChg chg="del mod">
          <ac:chgData name="Aniket Chhabra" userId="598e0514-bef3-4e71-b6aa-f2edd6441cff" providerId="ADAL" clId="{6B709646-9B8B-914B-83A9-D81F12AFDE5E}" dt="2022-06-19T04:50:10.830" v="1340"/>
          <ac:grpSpMkLst>
            <pc:docMk/>
            <pc:sldMk cId="3767779272" sldId="569"/>
            <ac:grpSpMk id="16" creationId="{0017DB23-8F33-FEE9-CC64-E11D18BAFC5E}"/>
          </ac:grpSpMkLst>
        </pc:grpChg>
        <pc:grpChg chg="del mod">
          <ac:chgData name="Aniket Chhabra" userId="598e0514-bef3-4e71-b6aa-f2edd6441cff" providerId="ADAL" clId="{6B709646-9B8B-914B-83A9-D81F12AFDE5E}" dt="2022-06-19T04:50:10.836" v="1379"/>
          <ac:grpSpMkLst>
            <pc:docMk/>
            <pc:sldMk cId="3767779272" sldId="569"/>
            <ac:grpSpMk id="17" creationId="{DA5516C7-A08C-8AD6-ED24-EA4B9F68B1E3}"/>
          </ac:grpSpMkLst>
        </pc:grpChg>
        <pc:grpChg chg="del mod">
          <ac:chgData name="Aniket Chhabra" userId="598e0514-bef3-4e71-b6aa-f2edd6441cff" providerId="ADAL" clId="{6B709646-9B8B-914B-83A9-D81F12AFDE5E}" dt="2022-06-19T04:46:30.131" v="1060"/>
          <ac:grpSpMkLst>
            <pc:docMk/>
            <pc:sldMk cId="3767779272" sldId="569"/>
            <ac:grpSpMk id="29" creationId="{46108BC6-9CBB-6DFA-5BF3-B580B1AF6940}"/>
          </ac:grpSpMkLst>
        </pc:grpChg>
        <pc:grpChg chg="del mod">
          <ac:chgData name="Aniket Chhabra" userId="598e0514-bef3-4e71-b6aa-f2edd6441cff" providerId="ADAL" clId="{6B709646-9B8B-914B-83A9-D81F12AFDE5E}" dt="2022-06-19T04:47:11.497" v="1086"/>
          <ac:grpSpMkLst>
            <pc:docMk/>
            <pc:sldMk cId="3767779272" sldId="569"/>
            <ac:grpSpMk id="30" creationId="{0CECD01C-4522-7E8B-3956-682B1A01BB20}"/>
          </ac:grpSpMkLst>
        </pc:grpChg>
        <pc:grpChg chg="del mod">
          <ac:chgData name="Aniket Chhabra" userId="598e0514-bef3-4e71-b6aa-f2edd6441cff" providerId="ADAL" clId="{6B709646-9B8B-914B-83A9-D81F12AFDE5E}" dt="2022-06-19T04:46:35.722" v="1069"/>
          <ac:grpSpMkLst>
            <pc:docMk/>
            <pc:sldMk cId="3767779272" sldId="569"/>
            <ac:grpSpMk id="34" creationId="{F8E6CB5E-E9F3-82CA-ABBE-EEDFBFF8C9C2}"/>
          </ac:grpSpMkLst>
        </pc:grpChg>
        <pc:grpChg chg="del mod">
          <ac:chgData name="Aniket Chhabra" userId="598e0514-bef3-4e71-b6aa-f2edd6441cff" providerId="ADAL" clId="{6B709646-9B8B-914B-83A9-D81F12AFDE5E}" dt="2022-06-19T04:47:37.907" v="1135"/>
          <ac:grpSpMkLst>
            <pc:docMk/>
            <pc:sldMk cId="3767779272" sldId="569"/>
            <ac:grpSpMk id="43" creationId="{57723FE9-03F7-3847-730A-B117A64E0DBC}"/>
          </ac:grpSpMkLst>
        </pc:grpChg>
        <pc:grpChg chg="del mod">
          <ac:chgData name="Aniket Chhabra" userId="598e0514-bef3-4e71-b6aa-f2edd6441cff" providerId="ADAL" clId="{6B709646-9B8B-914B-83A9-D81F12AFDE5E}" dt="2022-06-19T04:47:37.906" v="1130"/>
          <ac:grpSpMkLst>
            <pc:docMk/>
            <pc:sldMk cId="3767779272" sldId="569"/>
            <ac:grpSpMk id="49" creationId="{FF3DAF3B-FC77-534D-13CA-B223A843B8DC}"/>
          </ac:grpSpMkLst>
        </pc:grpChg>
        <pc:grpChg chg="del mod">
          <ac:chgData name="Aniket Chhabra" userId="598e0514-bef3-4e71-b6aa-f2edd6441cff" providerId="ADAL" clId="{6B709646-9B8B-914B-83A9-D81F12AFDE5E}" dt="2022-06-19T04:50:10.830" v="1345"/>
          <ac:grpSpMkLst>
            <pc:docMk/>
            <pc:sldMk cId="3767779272" sldId="569"/>
            <ac:grpSpMk id="81" creationId="{825B4806-4480-4118-5060-5BA514480222}"/>
          </ac:grpSpMkLst>
        </pc:grpChg>
        <pc:grpChg chg="del mod">
          <ac:chgData name="Aniket Chhabra" userId="598e0514-bef3-4e71-b6aa-f2edd6441cff" providerId="ADAL" clId="{6B709646-9B8B-914B-83A9-D81F12AFDE5E}" dt="2022-06-19T04:50:10.834" v="1366"/>
          <ac:grpSpMkLst>
            <pc:docMk/>
            <pc:sldMk cId="3767779272" sldId="569"/>
            <ac:grpSpMk id="82" creationId="{07A74A5B-68E5-4A01-E273-A4F0B6529A1F}"/>
          </ac:grpSpMkLst>
        </pc:grpChg>
        <pc:grpChg chg="del mod">
          <ac:chgData name="Aniket Chhabra" userId="598e0514-bef3-4e71-b6aa-f2edd6441cff" providerId="ADAL" clId="{6B709646-9B8B-914B-83A9-D81F12AFDE5E}" dt="2022-06-19T04:50:10.834" v="1371"/>
          <ac:grpSpMkLst>
            <pc:docMk/>
            <pc:sldMk cId="3767779272" sldId="569"/>
            <ac:grpSpMk id="83" creationId="{73BB7B27-74B8-8B30-6C30-92ECF4F01F5A}"/>
          </ac:grpSpMkLst>
        </pc:grpChg>
        <pc:grpChg chg="del mod">
          <ac:chgData name="Aniket Chhabra" userId="598e0514-bef3-4e71-b6aa-f2edd6441cff" providerId="ADAL" clId="{6B709646-9B8B-914B-83A9-D81F12AFDE5E}" dt="2022-06-19T04:50:10.835" v="1378"/>
          <ac:grpSpMkLst>
            <pc:docMk/>
            <pc:sldMk cId="3767779272" sldId="569"/>
            <ac:grpSpMk id="84" creationId="{800B7CCF-EED8-A368-AD7F-AE09E65283B1}"/>
          </ac:grpSpMkLst>
        </pc:grpChg>
        <pc:grpChg chg="del mod">
          <ac:chgData name="Aniket Chhabra" userId="598e0514-bef3-4e71-b6aa-f2edd6441cff" providerId="ADAL" clId="{6B709646-9B8B-914B-83A9-D81F12AFDE5E}" dt="2022-06-19T04:50:10.828" v="1333"/>
          <ac:grpSpMkLst>
            <pc:docMk/>
            <pc:sldMk cId="3767779272" sldId="569"/>
            <ac:grpSpMk id="85" creationId="{C0D92419-A39B-3EB6-00C3-FFEE81AB9207}"/>
          </ac:grpSpMkLst>
        </pc:grpChg>
        <pc:grpChg chg="del mod">
          <ac:chgData name="Aniket Chhabra" userId="598e0514-bef3-4e71-b6aa-f2edd6441cff" providerId="ADAL" clId="{6B709646-9B8B-914B-83A9-D81F12AFDE5E}" dt="2022-06-19T04:50:10.833" v="1360"/>
          <ac:grpSpMkLst>
            <pc:docMk/>
            <pc:sldMk cId="3767779272" sldId="569"/>
            <ac:grpSpMk id="86" creationId="{D6105EC4-C00F-D534-796E-6BCFB0626C41}"/>
          </ac:grpSpMkLst>
        </pc:grpChg>
        <pc:grpChg chg="del mod">
          <ac:chgData name="Aniket Chhabra" userId="598e0514-bef3-4e71-b6aa-f2edd6441cff" providerId="ADAL" clId="{6B709646-9B8B-914B-83A9-D81F12AFDE5E}" dt="2022-06-19T04:50:10.836" v="1380"/>
          <ac:grpSpMkLst>
            <pc:docMk/>
            <pc:sldMk cId="3767779272" sldId="569"/>
            <ac:grpSpMk id="100" creationId="{B9AF423E-E9E9-DA48-A618-3BFECD191994}"/>
          </ac:grpSpMkLst>
        </pc:grpChg>
        <pc:grpChg chg="mod">
          <ac:chgData name="Aniket Chhabra" userId="598e0514-bef3-4e71-b6aa-f2edd6441cff" providerId="ADAL" clId="{6B709646-9B8B-914B-83A9-D81F12AFDE5E}" dt="2022-06-19T04:50:37.277" v="1388"/>
          <ac:grpSpMkLst>
            <pc:docMk/>
            <pc:sldMk cId="3767779272" sldId="569"/>
            <ac:grpSpMk id="281" creationId="{83526253-6CB3-DDF3-DA62-5420B04E2D26}"/>
          </ac:grpSpMkLst>
        </pc:grpChg>
        <pc:grpChg chg="mod">
          <ac:chgData name="Aniket Chhabra" userId="598e0514-bef3-4e71-b6aa-f2edd6441cff" providerId="ADAL" clId="{6B709646-9B8B-914B-83A9-D81F12AFDE5E}" dt="2022-06-19T04:50:39.040" v="1391"/>
          <ac:grpSpMkLst>
            <pc:docMk/>
            <pc:sldMk cId="3767779272" sldId="569"/>
            <ac:grpSpMk id="284" creationId="{0D9E414D-564D-DDDA-B9B7-228470301815}"/>
          </ac:grpSpMkLst>
        </pc:grpChg>
        <pc:inkChg chg="add del mod">
          <ac:chgData name="Aniket Chhabra" userId="598e0514-bef3-4e71-b6aa-f2edd6441cff" providerId="ADAL" clId="{6B709646-9B8B-914B-83A9-D81F12AFDE5E}" dt="2022-06-19T04:50:10.833" v="1365"/>
          <ac:inkMkLst>
            <pc:docMk/>
            <pc:sldMk cId="3767779272" sldId="569"/>
            <ac:inkMk id="4" creationId="{2018B682-8B8F-F187-44E8-8D41A35F4268}"/>
          </ac:inkMkLst>
        </pc:inkChg>
        <pc:inkChg chg="add del mod">
          <ac:chgData name="Aniket Chhabra" userId="598e0514-bef3-4e71-b6aa-f2edd6441cff" providerId="ADAL" clId="{6B709646-9B8B-914B-83A9-D81F12AFDE5E}" dt="2022-06-19T04:50:10.829" v="1337"/>
          <ac:inkMkLst>
            <pc:docMk/>
            <pc:sldMk cId="3767779272" sldId="569"/>
            <ac:inkMk id="5" creationId="{37610DB0-B6E9-76BB-34D0-668A8BACBFAC}"/>
          </ac:inkMkLst>
        </pc:inkChg>
        <pc:inkChg chg="add del mod">
          <ac:chgData name="Aniket Chhabra" userId="598e0514-bef3-4e71-b6aa-f2edd6441cff" providerId="ADAL" clId="{6B709646-9B8B-914B-83A9-D81F12AFDE5E}" dt="2022-06-19T04:50:10.833" v="1361"/>
          <ac:inkMkLst>
            <pc:docMk/>
            <pc:sldMk cId="3767779272" sldId="569"/>
            <ac:inkMk id="6" creationId="{6A6904CC-80A8-D021-64C3-770941438F55}"/>
          </ac:inkMkLst>
        </pc:inkChg>
        <pc:inkChg chg="add del mod">
          <ac:chgData name="Aniket Chhabra" userId="598e0514-bef3-4e71-b6aa-f2edd6441cff" providerId="ADAL" clId="{6B709646-9B8B-914B-83A9-D81F12AFDE5E}" dt="2022-06-19T04:50:10.836" v="1385"/>
          <ac:inkMkLst>
            <pc:docMk/>
            <pc:sldMk cId="3767779272" sldId="569"/>
            <ac:inkMk id="7" creationId="{189F73B1-1793-C156-115D-14D027BC03B4}"/>
          </ac:inkMkLst>
        </pc:inkChg>
        <pc:inkChg chg="add del mod">
          <ac:chgData name="Aniket Chhabra" userId="598e0514-bef3-4e71-b6aa-f2edd6441cff" providerId="ADAL" clId="{6B709646-9B8B-914B-83A9-D81F12AFDE5E}" dt="2022-06-19T04:50:10.832" v="1353"/>
          <ac:inkMkLst>
            <pc:docMk/>
            <pc:sldMk cId="3767779272" sldId="569"/>
            <ac:inkMk id="8" creationId="{AFBFF8D8-A01E-AA8E-8154-8BDA39F18FCF}"/>
          </ac:inkMkLst>
        </pc:inkChg>
        <pc:inkChg chg="add del mod">
          <ac:chgData name="Aniket Chhabra" userId="598e0514-bef3-4e71-b6aa-f2edd6441cff" providerId="ADAL" clId="{6B709646-9B8B-914B-83A9-D81F12AFDE5E}" dt="2022-06-19T04:50:10.836" v="1379"/>
          <ac:inkMkLst>
            <pc:docMk/>
            <pc:sldMk cId="3767779272" sldId="569"/>
            <ac:inkMk id="9" creationId="{517A1A06-8999-2F0C-5440-C291405120E9}"/>
          </ac:inkMkLst>
        </pc:inkChg>
        <pc:inkChg chg="add del mod">
          <ac:chgData name="Aniket Chhabra" userId="598e0514-bef3-4e71-b6aa-f2edd6441cff" providerId="ADAL" clId="{6B709646-9B8B-914B-83A9-D81F12AFDE5E}" dt="2022-06-19T04:50:10.830" v="1346"/>
          <ac:inkMkLst>
            <pc:docMk/>
            <pc:sldMk cId="3767779272" sldId="569"/>
            <ac:inkMk id="10" creationId="{B3CEA024-B06B-4C96-5DFA-696DBD3E159A}"/>
          </ac:inkMkLst>
        </pc:inkChg>
        <pc:inkChg chg="add del mod">
          <ac:chgData name="Aniket Chhabra" userId="598e0514-bef3-4e71-b6aa-f2edd6441cff" providerId="ADAL" clId="{6B709646-9B8B-914B-83A9-D81F12AFDE5E}" dt="2022-06-19T04:50:10.834" v="1369"/>
          <ac:inkMkLst>
            <pc:docMk/>
            <pc:sldMk cId="3767779272" sldId="569"/>
            <ac:inkMk id="11" creationId="{715F334A-C29A-17C6-F089-4BC28907F607}"/>
          </ac:inkMkLst>
        </pc:inkChg>
        <pc:inkChg chg="add del mod">
          <ac:chgData name="Aniket Chhabra" userId="598e0514-bef3-4e71-b6aa-f2edd6441cff" providerId="ADAL" clId="{6B709646-9B8B-914B-83A9-D81F12AFDE5E}" dt="2022-06-19T04:50:10.830" v="1340"/>
          <ac:inkMkLst>
            <pc:docMk/>
            <pc:sldMk cId="3767779272" sldId="569"/>
            <ac:inkMk id="12" creationId="{BB1809FC-3975-3039-9315-D91D46CCE3BA}"/>
          </ac:inkMkLst>
        </pc:inkChg>
        <pc:inkChg chg="add del mod">
          <ac:chgData name="Aniket Chhabra" userId="598e0514-bef3-4e71-b6aa-f2edd6441cff" providerId="ADAL" clId="{6B709646-9B8B-914B-83A9-D81F12AFDE5E}" dt="2022-06-19T04:47:11.496" v="1084"/>
          <ac:inkMkLst>
            <pc:docMk/>
            <pc:sldMk cId="3767779272" sldId="569"/>
            <ac:inkMk id="13" creationId="{FCDAB2C6-9D7A-1789-D314-F5871B64B508}"/>
          </ac:inkMkLst>
        </pc:inkChg>
        <pc:inkChg chg="add del mod">
          <ac:chgData name="Aniket Chhabra" userId="598e0514-bef3-4e71-b6aa-f2edd6441cff" providerId="ADAL" clId="{6B709646-9B8B-914B-83A9-D81F12AFDE5E}" dt="2022-06-19T04:47:11.496" v="1082"/>
          <ac:inkMkLst>
            <pc:docMk/>
            <pc:sldMk cId="3767779272" sldId="569"/>
            <ac:inkMk id="14" creationId="{FC942A29-2A72-A249-25A2-17E61C98716C}"/>
          </ac:inkMkLst>
        </pc:inkChg>
        <pc:inkChg chg="add del mod">
          <ac:chgData name="Aniket Chhabra" userId="598e0514-bef3-4e71-b6aa-f2edd6441cff" providerId="ADAL" clId="{6B709646-9B8B-914B-83A9-D81F12AFDE5E}" dt="2022-06-19T04:47:11.497" v="1086"/>
          <ac:inkMkLst>
            <pc:docMk/>
            <pc:sldMk cId="3767779272" sldId="569"/>
            <ac:inkMk id="18" creationId="{FE0EFC6A-AABE-79C3-B176-7A3820BE7A05}"/>
          </ac:inkMkLst>
        </pc:inkChg>
        <pc:inkChg chg="add del mod">
          <ac:chgData name="Aniket Chhabra" userId="598e0514-bef3-4e71-b6aa-f2edd6441cff" providerId="ADAL" clId="{6B709646-9B8B-914B-83A9-D81F12AFDE5E}" dt="2022-06-19T04:47:11.495" v="1081"/>
          <ac:inkMkLst>
            <pc:docMk/>
            <pc:sldMk cId="3767779272" sldId="569"/>
            <ac:inkMk id="19" creationId="{9DC6BD0B-55B7-703C-8FBE-874A63A7BE18}"/>
          </ac:inkMkLst>
        </pc:inkChg>
        <pc:inkChg chg="add del mod">
          <ac:chgData name="Aniket Chhabra" userId="598e0514-bef3-4e71-b6aa-f2edd6441cff" providerId="ADAL" clId="{6B709646-9B8B-914B-83A9-D81F12AFDE5E}" dt="2022-06-19T04:47:11.497" v="1085"/>
          <ac:inkMkLst>
            <pc:docMk/>
            <pc:sldMk cId="3767779272" sldId="569"/>
            <ac:inkMk id="20" creationId="{97EBFC70-D220-1179-F54A-D186B1CD4D55}"/>
          </ac:inkMkLst>
        </pc:inkChg>
        <pc:inkChg chg="add del mod">
          <ac:chgData name="Aniket Chhabra" userId="598e0514-bef3-4e71-b6aa-f2edd6441cff" providerId="ADAL" clId="{6B709646-9B8B-914B-83A9-D81F12AFDE5E}" dt="2022-06-19T04:47:37.905" v="1127"/>
          <ac:inkMkLst>
            <pc:docMk/>
            <pc:sldMk cId="3767779272" sldId="569"/>
            <ac:inkMk id="21" creationId="{BCB280EA-B76F-F1ED-A5AB-1BAF30BA9240}"/>
          </ac:inkMkLst>
        </pc:inkChg>
        <pc:inkChg chg="add del mod">
          <ac:chgData name="Aniket Chhabra" userId="598e0514-bef3-4e71-b6aa-f2edd6441cff" providerId="ADAL" clId="{6B709646-9B8B-914B-83A9-D81F12AFDE5E}" dt="2022-06-19T04:46:34.918" v="1062"/>
          <ac:inkMkLst>
            <pc:docMk/>
            <pc:sldMk cId="3767779272" sldId="569"/>
            <ac:inkMk id="22" creationId="{C5EFBE21-A326-7052-5F1F-D2DF0F00405C}"/>
          </ac:inkMkLst>
        </pc:inkChg>
        <pc:inkChg chg="add del mod">
          <ac:chgData name="Aniket Chhabra" userId="598e0514-bef3-4e71-b6aa-f2edd6441cff" providerId="ADAL" clId="{6B709646-9B8B-914B-83A9-D81F12AFDE5E}" dt="2022-06-19T04:46:34.918" v="1061"/>
          <ac:inkMkLst>
            <pc:docMk/>
            <pc:sldMk cId="3767779272" sldId="569"/>
            <ac:inkMk id="23" creationId="{05E579D6-66E9-69C8-ABEB-AED67C4F085B}"/>
          </ac:inkMkLst>
        </pc:inkChg>
        <pc:inkChg chg="add del mod">
          <ac:chgData name="Aniket Chhabra" userId="598e0514-bef3-4e71-b6aa-f2edd6441cff" providerId="ADAL" clId="{6B709646-9B8B-914B-83A9-D81F12AFDE5E}" dt="2022-06-19T04:46:35.722" v="1067"/>
          <ac:inkMkLst>
            <pc:docMk/>
            <pc:sldMk cId="3767779272" sldId="569"/>
            <ac:inkMk id="24" creationId="{4D2ABB43-A71D-C6AD-3231-9D5F0BC8F499}"/>
          </ac:inkMkLst>
        </pc:inkChg>
        <pc:inkChg chg="add del mod">
          <ac:chgData name="Aniket Chhabra" userId="598e0514-bef3-4e71-b6aa-f2edd6441cff" providerId="ADAL" clId="{6B709646-9B8B-914B-83A9-D81F12AFDE5E}" dt="2022-06-19T04:46:35.721" v="1064"/>
          <ac:inkMkLst>
            <pc:docMk/>
            <pc:sldMk cId="3767779272" sldId="569"/>
            <ac:inkMk id="25" creationId="{C7607717-9D18-393B-92D2-6FABA54E7B8D}"/>
          </ac:inkMkLst>
        </pc:inkChg>
        <pc:inkChg chg="add del mod">
          <ac:chgData name="Aniket Chhabra" userId="598e0514-bef3-4e71-b6aa-f2edd6441cff" providerId="ADAL" clId="{6B709646-9B8B-914B-83A9-D81F12AFDE5E}" dt="2022-06-19T04:46:35.722" v="1070"/>
          <ac:inkMkLst>
            <pc:docMk/>
            <pc:sldMk cId="3767779272" sldId="569"/>
            <ac:inkMk id="26" creationId="{D85B81DF-4E29-7390-EBE3-0364D13FFEAA}"/>
          </ac:inkMkLst>
        </pc:inkChg>
        <pc:inkChg chg="add del mod">
          <ac:chgData name="Aniket Chhabra" userId="598e0514-bef3-4e71-b6aa-f2edd6441cff" providerId="ADAL" clId="{6B709646-9B8B-914B-83A9-D81F12AFDE5E}" dt="2022-06-19T04:46:35.722" v="1069"/>
          <ac:inkMkLst>
            <pc:docMk/>
            <pc:sldMk cId="3767779272" sldId="569"/>
            <ac:inkMk id="27" creationId="{FEA90F8A-4F4A-C94C-11AA-41CC9411C37E}"/>
          </ac:inkMkLst>
        </pc:inkChg>
        <pc:inkChg chg="add del mod">
          <ac:chgData name="Aniket Chhabra" userId="598e0514-bef3-4e71-b6aa-f2edd6441cff" providerId="ADAL" clId="{6B709646-9B8B-914B-83A9-D81F12AFDE5E}" dt="2022-06-19T04:46:35.721" v="1063"/>
          <ac:inkMkLst>
            <pc:docMk/>
            <pc:sldMk cId="3767779272" sldId="569"/>
            <ac:inkMk id="28" creationId="{B8E5FD58-91FB-EB6C-9B1A-F54594339C1A}"/>
          </ac:inkMkLst>
        </pc:inkChg>
        <pc:inkChg chg="add del mod">
          <ac:chgData name="Aniket Chhabra" userId="598e0514-bef3-4e71-b6aa-f2edd6441cff" providerId="ADAL" clId="{6B709646-9B8B-914B-83A9-D81F12AFDE5E}" dt="2022-06-19T04:46:35.722" v="1066"/>
          <ac:inkMkLst>
            <pc:docMk/>
            <pc:sldMk cId="3767779272" sldId="569"/>
            <ac:inkMk id="31" creationId="{18EF25E7-2D60-83E7-3AD1-7B0196FC2D72}"/>
          </ac:inkMkLst>
        </pc:inkChg>
        <pc:inkChg chg="add del mod">
          <ac:chgData name="Aniket Chhabra" userId="598e0514-bef3-4e71-b6aa-f2edd6441cff" providerId="ADAL" clId="{6B709646-9B8B-914B-83A9-D81F12AFDE5E}" dt="2022-06-19T04:46:35.722" v="1068"/>
          <ac:inkMkLst>
            <pc:docMk/>
            <pc:sldMk cId="3767779272" sldId="569"/>
            <ac:inkMk id="32" creationId="{AB25950A-685A-FB9B-AE64-8796711C3D5D}"/>
          </ac:inkMkLst>
        </pc:inkChg>
        <pc:inkChg chg="add del mod">
          <ac:chgData name="Aniket Chhabra" userId="598e0514-bef3-4e71-b6aa-f2edd6441cff" providerId="ADAL" clId="{6B709646-9B8B-914B-83A9-D81F12AFDE5E}" dt="2022-06-19T04:46:35.721" v="1065"/>
          <ac:inkMkLst>
            <pc:docMk/>
            <pc:sldMk cId="3767779272" sldId="569"/>
            <ac:inkMk id="33" creationId="{1700DA58-DBC8-74AA-9E86-D421439B811F}"/>
          </ac:inkMkLst>
        </pc:inkChg>
        <pc:inkChg chg="add del mod">
          <ac:chgData name="Aniket Chhabra" userId="598e0514-bef3-4e71-b6aa-f2edd6441cff" providerId="ADAL" clId="{6B709646-9B8B-914B-83A9-D81F12AFDE5E}" dt="2022-06-19T04:47:37.906" v="1132"/>
          <ac:inkMkLst>
            <pc:docMk/>
            <pc:sldMk cId="3767779272" sldId="569"/>
            <ac:inkMk id="35" creationId="{4F9DEAB3-EEDA-7C4C-2F99-8EF0657A4705}"/>
          </ac:inkMkLst>
        </pc:inkChg>
        <pc:inkChg chg="add del mod">
          <ac:chgData name="Aniket Chhabra" userId="598e0514-bef3-4e71-b6aa-f2edd6441cff" providerId="ADAL" clId="{6B709646-9B8B-914B-83A9-D81F12AFDE5E}" dt="2022-06-19T04:47:37.907" v="1135"/>
          <ac:inkMkLst>
            <pc:docMk/>
            <pc:sldMk cId="3767779272" sldId="569"/>
            <ac:inkMk id="36" creationId="{510B78F3-7813-BCC9-ED3C-F588FED9A4D5}"/>
          </ac:inkMkLst>
        </pc:inkChg>
        <pc:inkChg chg="add del mod">
          <ac:chgData name="Aniket Chhabra" userId="598e0514-bef3-4e71-b6aa-f2edd6441cff" providerId="ADAL" clId="{6B709646-9B8B-914B-83A9-D81F12AFDE5E}" dt="2022-06-19T04:47:37.905" v="1124"/>
          <ac:inkMkLst>
            <pc:docMk/>
            <pc:sldMk cId="3767779272" sldId="569"/>
            <ac:inkMk id="37" creationId="{29920737-33E7-B877-7F8A-D9D6B7E7CD32}"/>
          </ac:inkMkLst>
        </pc:inkChg>
        <pc:inkChg chg="add del mod">
          <ac:chgData name="Aniket Chhabra" userId="598e0514-bef3-4e71-b6aa-f2edd6441cff" providerId="ADAL" clId="{6B709646-9B8B-914B-83A9-D81F12AFDE5E}" dt="2022-06-19T04:47:37.906" v="1129"/>
          <ac:inkMkLst>
            <pc:docMk/>
            <pc:sldMk cId="3767779272" sldId="569"/>
            <ac:inkMk id="38" creationId="{AD12923C-9295-97BA-1ADD-53AB31D62BA7}"/>
          </ac:inkMkLst>
        </pc:inkChg>
        <pc:inkChg chg="add del mod">
          <ac:chgData name="Aniket Chhabra" userId="598e0514-bef3-4e71-b6aa-f2edd6441cff" providerId="ADAL" clId="{6B709646-9B8B-914B-83A9-D81F12AFDE5E}" dt="2022-06-19T04:47:37.906" v="1128"/>
          <ac:inkMkLst>
            <pc:docMk/>
            <pc:sldMk cId="3767779272" sldId="569"/>
            <ac:inkMk id="39" creationId="{DE4B436D-AB6A-982E-E911-3BEFD2EAEAB2}"/>
          </ac:inkMkLst>
        </pc:inkChg>
        <pc:inkChg chg="add del mod">
          <ac:chgData name="Aniket Chhabra" userId="598e0514-bef3-4e71-b6aa-f2edd6441cff" providerId="ADAL" clId="{6B709646-9B8B-914B-83A9-D81F12AFDE5E}" dt="2022-06-19T04:47:37.907" v="1136"/>
          <ac:inkMkLst>
            <pc:docMk/>
            <pc:sldMk cId="3767779272" sldId="569"/>
            <ac:inkMk id="40" creationId="{75FD948B-6750-1F5F-5B55-8209820FD2F6}"/>
          </ac:inkMkLst>
        </pc:inkChg>
        <pc:inkChg chg="add del mod">
          <ac:chgData name="Aniket Chhabra" userId="598e0514-bef3-4e71-b6aa-f2edd6441cff" providerId="ADAL" clId="{6B709646-9B8B-914B-83A9-D81F12AFDE5E}" dt="2022-06-19T04:47:37.906" v="1133"/>
          <ac:inkMkLst>
            <pc:docMk/>
            <pc:sldMk cId="3767779272" sldId="569"/>
            <ac:inkMk id="41" creationId="{BFA32986-57A7-670B-52F7-B0F58B9CAB20}"/>
          </ac:inkMkLst>
        </pc:inkChg>
        <pc:inkChg chg="add del mod">
          <ac:chgData name="Aniket Chhabra" userId="598e0514-bef3-4e71-b6aa-f2edd6441cff" providerId="ADAL" clId="{6B709646-9B8B-914B-83A9-D81F12AFDE5E}" dt="2022-06-19T04:47:37.906" v="1131"/>
          <ac:inkMkLst>
            <pc:docMk/>
            <pc:sldMk cId="3767779272" sldId="569"/>
            <ac:inkMk id="42" creationId="{BA83097B-4D12-074B-785A-B6C24A0EA0CA}"/>
          </ac:inkMkLst>
        </pc:inkChg>
        <pc:inkChg chg="add del">
          <ac:chgData name="Aniket Chhabra" userId="598e0514-bef3-4e71-b6aa-f2edd6441cff" providerId="ADAL" clId="{6B709646-9B8B-914B-83A9-D81F12AFDE5E}" dt="2022-06-19T04:47:11.496" v="1083"/>
          <ac:inkMkLst>
            <pc:docMk/>
            <pc:sldMk cId="3767779272" sldId="569"/>
            <ac:inkMk id="44" creationId="{AA9BCBC0-2131-B2D0-7840-0A0FD5ACC1D9}"/>
          </ac:inkMkLst>
        </pc:inkChg>
        <pc:inkChg chg="add del mod">
          <ac:chgData name="Aniket Chhabra" userId="598e0514-bef3-4e71-b6aa-f2edd6441cff" providerId="ADAL" clId="{6B709646-9B8B-914B-83A9-D81F12AFDE5E}" dt="2022-06-19T04:47:37.906" v="1134"/>
          <ac:inkMkLst>
            <pc:docMk/>
            <pc:sldMk cId="3767779272" sldId="569"/>
            <ac:inkMk id="45" creationId="{887B90BB-B1B3-2987-7E6E-BD108E85082B}"/>
          </ac:inkMkLst>
        </pc:inkChg>
        <pc:inkChg chg="add del mod">
          <ac:chgData name="Aniket Chhabra" userId="598e0514-bef3-4e71-b6aa-f2edd6441cff" providerId="ADAL" clId="{6B709646-9B8B-914B-83A9-D81F12AFDE5E}" dt="2022-06-19T04:47:37.906" v="1130"/>
          <ac:inkMkLst>
            <pc:docMk/>
            <pc:sldMk cId="3767779272" sldId="569"/>
            <ac:inkMk id="46" creationId="{FA035289-A8E2-04E9-D9B6-78D932FF0B2B}"/>
          </ac:inkMkLst>
        </pc:inkChg>
        <pc:inkChg chg="add del mod">
          <ac:chgData name="Aniket Chhabra" userId="598e0514-bef3-4e71-b6aa-f2edd6441cff" providerId="ADAL" clId="{6B709646-9B8B-914B-83A9-D81F12AFDE5E}" dt="2022-06-19T04:47:37.905" v="1126"/>
          <ac:inkMkLst>
            <pc:docMk/>
            <pc:sldMk cId="3767779272" sldId="569"/>
            <ac:inkMk id="47" creationId="{CE66FAFB-B643-2A92-A771-B4D275D1DEB5}"/>
          </ac:inkMkLst>
        </pc:inkChg>
        <pc:inkChg chg="add del mod">
          <ac:chgData name="Aniket Chhabra" userId="598e0514-bef3-4e71-b6aa-f2edd6441cff" providerId="ADAL" clId="{6B709646-9B8B-914B-83A9-D81F12AFDE5E}" dt="2022-06-19T04:47:37.905" v="1125"/>
          <ac:inkMkLst>
            <pc:docMk/>
            <pc:sldMk cId="3767779272" sldId="569"/>
            <ac:inkMk id="48" creationId="{127993B3-BE27-4245-C0F3-FAE7D911D44F}"/>
          </ac:inkMkLst>
        </pc:inkChg>
        <pc:inkChg chg="add del mod">
          <ac:chgData name="Aniket Chhabra" userId="598e0514-bef3-4e71-b6aa-f2edd6441cff" providerId="ADAL" clId="{6B709646-9B8B-914B-83A9-D81F12AFDE5E}" dt="2022-06-19T04:50:10.833" v="1360"/>
          <ac:inkMkLst>
            <pc:docMk/>
            <pc:sldMk cId="3767779272" sldId="569"/>
            <ac:inkMk id="50" creationId="{0B4A2867-382B-DC18-CD49-BA7F8450495A}"/>
          </ac:inkMkLst>
        </pc:inkChg>
        <pc:inkChg chg="add del mod">
          <ac:chgData name="Aniket Chhabra" userId="598e0514-bef3-4e71-b6aa-f2edd6441cff" providerId="ADAL" clId="{6B709646-9B8B-914B-83A9-D81F12AFDE5E}" dt="2022-06-19T04:50:10.829" v="1335"/>
          <ac:inkMkLst>
            <pc:docMk/>
            <pc:sldMk cId="3767779272" sldId="569"/>
            <ac:inkMk id="51" creationId="{D7F1289F-B81B-0FC2-E798-FBE78BD5571D}"/>
          </ac:inkMkLst>
        </pc:inkChg>
        <pc:inkChg chg="add del mod">
          <ac:chgData name="Aniket Chhabra" userId="598e0514-bef3-4e71-b6aa-f2edd6441cff" providerId="ADAL" clId="{6B709646-9B8B-914B-83A9-D81F12AFDE5E}" dt="2022-06-19T04:50:10.835" v="1373"/>
          <ac:inkMkLst>
            <pc:docMk/>
            <pc:sldMk cId="3767779272" sldId="569"/>
            <ac:inkMk id="52" creationId="{E6B77E74-1008-5BAB-0F4E-17ABEA07B02F}"/>
          </ac:inkMkLst>
        </pc:inkChg>
        <pc:inkChg chg="add del mod">
          <ac:chgData name="Aniket Chhabra" userId="598e0514-bef3-4e71-b6aa-f2edd6441cff" providerId="ADAL" clId="{6B709646-9B8B-914B-83A9-D81F12AFDE5E}" dt="2022-06-19T04:50:10.830" v="1344"/>
          <ac:inkMkLst>
            <pc:docMk/>
            <pc:sldMk cId="3767779272" sldId="569"/>
            <ac:inkMk id="53" creationId="{F9FEDB4A-D405-2942-8361-2469A83A6932}"/>
          </ac:inkMkLst>
        </pc:inkChg>
        <pc:inkChg chg="add del mod">
          <ac:chgData name="Aniket Chhabra" userId="598e0514-bef3-4e71-b6aa-f2edd6441cff" providerId="ADAL" clId="{6B709646-9B8B-914B-83A9-D81F12AFDE5E}" dt="2022-06-19T04:50:10.831" v="1347"/>
          <ac:inkMkLst>
            <pc:docMk/>
            <pc:sldMk cId="3767779272" sldId="569"/>
            <ac:inkMk id="54" creationId="{031F4B3B-A680-855A-5DE2-B6535959384A}"/>
          </ac:inkMkLst>
        </pc:inkChg>
        <pc:inkChg chg="add del mod">
          <ac:chgData name="Aniket Chhabra" userId="598e0514-bef3-4e71-b6aa-f2edd6441cff" providerId="ADAL" clId="{6B709646-9B8B-914B-83A9-D81F12AFDE5E}" dt="2022-06-19T04:50:10.831" v="1351"/>
          <ac:inkMkLst>
            <pc:docMk/>
            <pc:sldMk cId="3767779272" sldId="569"/>
            <ac:inkMk id="55" creationId="{D8F41AB9-5890-EDEC-DD69-C15C6B724043}"/>
          </ac:inkMkLst>
        </pc:inkChg>
        <pc:inkChg chg="add del mod">
          <ac:chgData name="Aniket Chhabra" userId="598e0514-bef3-4e71-b6aa-f2edd6441cff" providerId="ADAL" clId="{6B709646-9B8B-914B-83A9-D81F12AFDE5E}" dt="2022-06-19T04:50:10.829" v="1338"/>
          <ac:inkMkLst>
            <pc:docMk/>
            <pc:sldMk cId="3767779272" sldId="569"/>
            <ac:inkMk id="56" creationId="{7EB1EB5C-EF25-A97A-0FEF-B0AECC5FCC8F}"/>
          </ac:inkMkLst>
        </pc:inkChg>
        <pc:inkChg chg="add del mod">
          <ac:chgData name="Aniket Chhabra" userId="598e0514-bef3-4e71-b6aa-f2edd6441cff" providerId="ADAL" clId="{6B709646-9B8B-914B-83A9-D81F12AFDE5E}" dt="2022-06-19T04:50:10.834" v="1368"/>
          <ac:inkMkLst>
            <pc:docMk/>
            <pc:sldMk cId="3767779272" sldId="569"/>
            <ac:inkMk id="57" creationId="{FD9FD619-9B2D-2B8B-BA05-0EB39642E67D}"/>
          </ac:inkMkLst>
        </pc:inkChg>
        <pc:inkChg chg="add del mod">
          <ac:chgData name="Aniket Chhabra" userId="598e0514-bef3-4e71-b6aa-f2edd6441cff" providerId="ADAL" clId="{6B709646-9B8B-914B-83A9-D81F12AFDE5E}" dt="2022-06-19T04:50:10.828" v="1333"/>
          <ac:inkMkLst>
            <pc:docMk/>
            <pc:sldMk cId="3767779272" sldId="569"/>
            <ac:inkMk id="58" creationId="{8572887B-C128-321D-6CD7-D20264DBAE2D}"/>
          </ac:inkMkLst>
        </pc:inkChg>
        <pc:inkChg chg="add del mod">
          <ac:chgData name="Aniket Chhabra" userId="598e0514-bef3-4e71-b6aa-f2edd6441cff" providerId="ADAL" clId="{6B709646-9B8B-914B-83A9-D81F12AFDE5E}" dt="2022-06-19T04:50:10.831" v="1352"/>
          <ac:inkMkLst>
            <pc:docMk/>
            <pc:sldMk cId="3767779272" sldId="569"/>
            <ac:inkMk id="59" creationId="{2BB83182-058A-5AC3-D419-FE5BDBC27D29}"/>
          </ac:inkMkLst>
        </pc:inkChg>
        <pc:inkChg chg="add del mod">
          <ac:chgData name="Aniket Chhabra" userId="598e0514-bef3-4e71-b6aa-f2edd6441cff" providerId="ADAL" clId="{6B709646-9B8B-914B-83A9-D81F12AFDE5E}" dt="2022-06-19T04:50:10.835" v="1378"/>
          <ac:inkMkLst>
            <pc:docMk/>
            <pc:sldMk cId="3767779272" sldId="569"/>
            <ac:inkMk id="60" creationId="{BB00C3B4-A650-168B-0BFF-E1C3DB391178}"/>
          </ac:inkMkLst>
        </pc:inkChg>
        <pc:inkChg chg="add del mod">
          <ac:chgData name="Aniket Chhabra" userId="598e0514-bef3-4e71-b6aa-f2edd6441cff" providerId="ADAL" clId="{6B709646-9B8B-914B-83A9-D81F12AFDE5E}" dt="2022-06-19T04:50:10.833" v="1364"/>
          <ac:inkMkLst>
            <pc:docMk/>
            <pc:sldMk cId="3767779272" sldId="569"/>
            <ac:inkMk id="61" creationId="{5C438104-AAE4-6BF7-5F0E-4676AFB2F532}"/>
          </ac:inkMkLst>
        </pc:inkChg>
        <pc:inkChg chg="add del mod">
          <ac:chgData name="Aniket Chhabra" userId="598e0514-bef3-4e71-b6aa-f2edd6441cff" providerId="ADAL" clId="{6B709646-9B8B-914B-83A9-D81F12AFDE5E}" dt="2022-06-19T04:50:10.834" v="1372"/>
          <ac:inkMkLst>
            <pc:docMk/>
            <pc:sldMk cId="3767779272" sldId="569"/>
            <ac:inkMk id="62" creationId="{B4FFB517-D524-562A-53AB-6F4675797AAF}"/>
          </ac:inkMkLst>
        </pc:inkChg>
        <pc:inkChg chg="add del mod">
          <ac:chgData name="Aniket Chhabra" userId="598e0514-bef3-4e71-b6aa-f2edd6441cff" providerId="ADAL" clId="{6B709646-9B8B-914B-83A9-D81F12AFDE5E}" dt="2022-06-19T04:50:10.829" v="1339"/>
          <ac:inkMkLst>
            <pc:docMk/>
            <pc:sldMk cId="3767779272" sldId="569"/>
            <ac:inkMk id="63" creationId="{AC133168-D01E-0F81-06A4-BBFA4952644C}"/>
          </ac:inkMkLst>
        </pc:inkChg>
        <pc:inkChg chg="add del mod">
          <ac:chgData name="Aniket Chhabra" userId="598e0514-bef3-4e71-b6aa-f2edd6441cff" providerId="ADAL" clId="{6B709646-9B8B-914B-83A9-D81F12AFDE5E}" dt="2022-06-19T04:50:10.828" v="1331"/>
          <ac:inkMkLst>
            <pc:docMk/>
            <pc:sldMk cId="3767779272" sldId="569"/>
            <ac:inkMk id="64" creationId="{A56A7153-0D33-3F1A-C9E7-DA3052FE7234}"/>
          </ac:inkMkLst>
        </pc:inkChg>
        <pc:inkChg chg="add del mod">
          <ac:chgData name="Aniket Chhabra" userId="598e0514-bef3-4e71-b6aa-f2edd6441cff" providerId="ADAL" clId="{6B709646-9B8B-914B-83A9-D81F12AFDE5E}" dt="2022-06-19T04:50:10.832" v="1354"/>
          <ac:inkMkLst>
            <pc:docMk/>
            <pc:sldMk cId="3767779272" sldId="569"/>
            <ac:inkMk id="65" creationId="{22837704-E8C9-606F-6C1E-5032E33A0A00}"/>
          </ac:inkMkLst>
        </pc:inkChg>
        <pc:inkChg chg="add del mod">
          <ac:chgData name="Aniket Chhabra" userId="598e0514-bef3-4e71-b6aa-f2edd6441cff" providerId="ADAL" clId="{6B709646-9B8B-914B-83A9-D81F12AFDE5E}" dt="2022-06-19T04:50:10.836" v="1384"/>
          <ac:inkMkLst>
            <pc:docMk/>
            <pc:sldMk cId="3767779272" sldId="569"/>
            <ac:inkMk id="66" creationId="{F1B5F1E2-D39E-EE34-2612-4FA01DAF6179}"/>
          </ac:inkMkLst>
        </pc:inkChg>
        <pc:inkChg chg="add del mod">
          <ac:chgData name="Aniket Chhabra" userId="598e0514-bef3-4e71-b6aa-f2edd6441cff" providerId="ADAL" clId="{6B709646-9B8B-914B-83A9-D81F12AFDE5E}" dt="2022-06-19T04:50:10.835" v="1375"/>
          <ac:inkMkLst>
            <pc:docMk/>
            <pc:sldMk cId="3767779272" sldId="569"/>
            <ac:inkMk id="67" creationId="{52C750B6-CDC9-F1B2-7F1A-C29ADCE39C7F}"/>
          </ac:inkMkLst>
        </pc:inkChg>
        <pc:inkChg chg="add del mod">
          <ac:chgData name="Aniket Chhabra" userId="598e0514-bef3-4e71-b6aa-f2edd6441cff" providerId="ADAL" clId="{6B709646-9B8B-914B-83A9-D81F12AFDE5E}" dt="2022-06-19T04:50:10.832" v="1355"/>
          <ac:inkMkLst>
            <pc:docMk/>
            <pc:sldMk cId="3767779272" sldId="569"/>
            <ac:inkMk id="68" creationId="{BB3CE5FF-859B-8704-FC26-8970797342EF}"/>
          </ac:inkMkLst>
        </pc:inkChg>
        <pc:inkChg chg="add del mod">
          <ac:chgData name="Aniket Chhabra" userId="598e0514-bef3-4e71-b6aa-f2edd6441cff" providerId="ADAL" clId="{6B709646-9B8B-914B-83A9-D81F12AFDE5E}" dt="2022-06-19T04:50:10.836" v="1381"/>
          <ac:inkMkLst>
            <pc:docMk/>
            <pc:sldMk cId="3767779272" sldId="569"/>
            <ac:inkMk id="69" creationId="{09457A33-BE69-2BB6-4AAE-26B5885D3464}"/>
          </ac:inkMkLst>
        </pc:inkChg>
        <pc:inkChg chg="add del mod">
          <ac:chgData name="Aniket Chhabra" userId="598e0514-bef3-4e71-b6aa-f2edd6441cff" providerId="ADAL" clId="{6B709646-9B8B-914B-83A9-D81F12AFDE5E}" dt="2022-06-19T04:50:10.830" v="1343"/>
          <ac:inkMkLst>
            <pc:docMk/>
            <pc:sldMk cId="3767779272" sldId="569"/>
            <ac:inkMk id="70" creationId="{D75B75D4-808C-225D-71B4-521020EA33F8}"/>
          </ac:inkMkLst>
        </pc:inkChg>
        <pc:inkChg chg="add del mod">
          <ac:chgData name="Aniket Chhabra" userId="598e0514-bef3-4e71-b6aa-f2edd6441cff" providerId="ADAL" clId="{6B709646-9B8B-914B-83A9-D81F12AFDE5E}" dt="2022-06-19T04:50:10.834" v="1371"/>
          <ac:inkMkLst>
            <pc:docMk/>
            <pc:sldMk cId="3767779272" sldId="569"/>
            <ac:inkMk id="71" creationId="{23DC4E59-5E19-5A02-4C31-4CEE42298554}"/>
          </ac:inkMkLst>
        </pc:inkChg>
        <pc:inkChg chg="add del mod">
          <ac:chgData name="Aniket Chhabra" userId="598e0514-bef3-4e71-b6aa-f2edd6441cff" providerId="ADAL" clId="{6B709646-9B8B-914B-83A9-D81F12AFDE5E}" dt="2022-06-19T04:50:10.833" v="1363"/>
          <ac:inkMkLst>
            <pc:docMk/>
            <pc:sldMk cId="3767779272" sldId="569"/>
            <ac:inkMk id="72" creationId="{F3CD3BC6-0536-AF39-9776-96C0838FBBD0}"/>
          </ac:inkMkLst>
        </pc:inkChg>
        <pc:inkChg chg="add del mod">
          <ac:chgData name="Aniket Chhabra" userId="598e0514-bef3-4e71-b6aa-f2edd6441cff" providerId="ADAL" clId="{6B709646-9B8B-914B-83A9-D81F12AFDE5E}" dt="2022-06-19T04:50:10.830" v="1342"/>
          <ac:inkMkLst>
            <pc:docMk/>
            <pc:sldMk cId="3767779272" sldId="569"/>
            <ac:inkMk id="73" creationId="{E04EF745-87EE-5B58-3FA0-DBC7B89232E5}"/>
          </ac:inkMkLst>
        </pc:inkChg>
        <pc:inkChg chg="add del mod">
          <ac:chgData name="Aniket Chhabra" userId="598e0514-bef3-4e71-b6aa-f2edd6441cff" providerId="ADAL" clId="{6B709646-9B8B-914B-83A9-D81F12AFDE5E}" dt="2022-06-19T04:50:10.828" v="1332"/>
          <ac:inkMkLst>
            <pc:docMk/>
            <pc:sldMk cId="3767779272" sldId="569"/>
            <ac:inkMk id="74" creationId="{DA64087B-6125-9C5B-8012-3A44BE9F2E27}"/>
          </ac:inkMkLst>
        </pc:inkChg>
        <pc:inkChg chg="add del mod">
          <ac:chgData name="Aniket Chhabra" userId="598e0514-bef3-4e71-b6aa-f2edd6441cff" providerId="ADAL" clId="{6B709646-9B8B-914B-83A9-D81F12AFDE5E}" dt="2022-06-19T04:50:10.830" v="1345"/>
          <ac:inkMkLst>
            <pc:docMk/>
            <pc:sldMk cId="3767779272" sldId="569"/>
            <ac:inkMk id="75" creationId="{C7134BA7-B577-C313-2A1E-BD1F68F0238D}"/>
          </ac:inkMkLst>
        </pc:inkChg>
        <pc:inkChg chg="add del mod">
          <ac:chgData name="Aniket Chhabra" userId="598e0514-bef3-4e71-b6aa-f2edd6441cff" providerId="ADAL" clId="{6B709646-9B8B-914B-83A9-D81F12AFDE5E}" dt="2022-06-19T04:50:10.834" v="1370"/>
          <ac:inkMkLst>
            <pc:docMk/>
            <pc:sldMk cId="3767779272" sldId="569"/>
            <ac:inkMk id="76" creationId="{27F834F9-90E4-3A19-0A43-B27E0A9049AE}"/>
          </ac:inkMkLst>
        </pc:inkChg>
        <pc:inkChg chg="add del mod">
          <ac:chgData name="Aniket Chhabra" userId="598e0514-bef3-4e71-b6aa-f2edd6441cff" providerId="ADAL" clId="{6B709646-9B8B-914B-83A9-D81F12AFDE5E}" dt="2022-06-19T04:50:10.832" v="1356"/>
          <ac:inkMkLst>
            <pc:docMk/>
            <pc:sldMk cId="3767779272" sldId="569"/>
            <ac:inkMk id="77" creationId="{1F7B507D-9CEE-4E82-E153-D028EC25EBFC}"/>
          </ac:inkMkLst>
        </pc:inkChg>
        <pc:inkChg chg="add del mod">
          <ac:chgData name="Aniket Chhabra" userId="598e0514-bef3-4e71-b6aa-f2edd6441cff" providerId="ADAL" clId="{6B709646-9B8B-914B-83A9-D81F12AFDE5E}" dt="2022-06-19T04:50:10.834" v="1366"/>
          <ac:inkMkLst>
            <pc:docMk/>
            <pc:sldMk cId="3767779272" sldId="569"/>
            <ac:inkMk id="78" creationId="{E758BDB4-3FE1-BE84-B5EE-1B1D855A1F9D}"/>
          </ac:inkMkLst>
        </pc:inkChg>
        <pc:inkChg chg="add del mod">
          <ac:chgData name="Aniket Chhabra" userId="598e0514-bef3-4e71-b6aa-f2edd6441cff" providerId="ADAL" clId="{6B709646-9B8B-914B-83A9-D81F12AFDE5E}" dt="2022-06-19T04:50:10.830" v="1341"/>
          <ac:inkMkLst>
            <pc:docMk/>
            <pc:sldMk cId="3767779272" sldId="569"/>
            <ac:inkMk id="79" creationId="{32A5F4C7-0EFF-D49D-3F2D-6B85987C6B1D}"/>
          </ac:inkMkLst>
        </pc:inkChg>
        <pc:inkChg chg="add del mod">
          <ac:chgData name="Aniket Chhabra" userId="598e0514-bef3-4e71-b6aa-f2edd6441cff" providerId="ADAL" clId="{6B709646-9B8B-914B-83A9-D81F12AFDE5E}" dt="2022-06-19T04:50:10.835" v="1374"/>
          <ac:inkMkLst>
            <pc:docMk/>
            <pc:sldMk cId="3767779272" sldId="569"/>
            <ac:inkMk id="80" creationId="{9893BA98-8900-B085-A361-4E3798419CA1}"/>
          </ac:inkMkLst>
        </pc:inkChg>
        <pc:inkChg chg="add del mod">
          <ac:chgData name="Aniket Chhabra" userId="598e0514-bef3-4e71-b6aa-f2edd6441cff" providerId="ADAL" clId="{6B709646-9B8B-914B-83A9-D81F12AFDE5E}" dt="2022-06-19T04:50:10.835" v="1377"/>
          <ac:inkMkLst>
            <pc:docMk/>
            <pc:sldMk cId="3767779272" sldId="569"/>
            <ac:inkMk id="87" creationId="{4F3CBA42-6239-FFE5-62DE-DD3DF60478D6}"/>
          </ac:inkMkLst>
        </pc:inkChg>
        <pc:inkChg chg="add del mod">
          <ac:chgData name="Aniket Chhabra" userId="598e0514-bef3-4e71-b6aa-f2edd6441cff" providerId="ADAL" clId="{6B709646-9B8B-914B-83A9-D81F12AFDE5E}" dt="2022-06-19T04:50:10.836" v="1380"/>
          <ac:inkMkLst>
            <pc:docMk/>
            <pc:sldMk cId="3767779272" sldId="569"/>
            <ac:inkMk id="88" creationId="{F78163E6-8CE1-76C8-B40E-21EFB81CFBBA}"/>
          </ac:inkMkLst>
        </pc:inkChg>
        <pc:inkChg chg="add del mod">
          <ac:chgData name="Aniket Chhabra" userId="598e0514-bef3-4e71-b6aa-f2edd6441cff" providerId="ADAL" clId="{6B709646-9B8B-914B-83A9-D81F12AFDE5E}" dt="2022-06-19T04:50:10.833" v="1359"/>
          <ac:inkMkLst>
            <pc:docMk/>
            <pc:sldMk cId="3767779272" sldId="569"/>
            <ac:inkMk id="89" creationId="{23C5D3C1-8E76-7B03-859A-3816745A6E85}"/>
          </ac:inkMkLst>
        </pc:inkChg>
        <pc:inkChg chg="add del mod">
          <ac:chgData name="Aniket Chhabra" userId="598e0514-bef3-4e71-b6aa-f2edd6441cff" providerId="ADAL" clId="{6B709646-9B8B-914B-83A9-D81F12AFDE5E}" dt="2022-06-19T04:50:10.835" v="1376"/>
          <ac:inkMkLst>
            <pc:docMk/>
            <pc:sldMk cId="3767779272" sldId="569"/>
            <ac:inkMk id="90" creationId="{85CC1084-439C-6092-2F0E-3C50EF31BC92}"/>
          </ac:inkMkLst>
        </pc:inkChg>
        <pc:inkChg chg="add del mod">
          <ac:chgData name="Aniket Chhabra" userId="598e0514-bef3-4e71-b6aa-f2edd6441cff" providerId="ADAL" clId="{6B709646-9B8B-914B-83A9-D81F12AFDE5E}" dt="2022-06-19T04:50:10.829" v="1336"/>
          <ac:inkMkLst>
            <pc:docMk/>
            <pc:sldMk cId="3767779272" sldId="569"/>
            <ac:inkMk id="91" creationId="{567936DC-3E13-DAEB-DDC4-60F9207AF877}"/>
          </ac:inkMkLst>
        </pc:inkChg>
        <pc:inkChg chg="add del mod">
          <ac:chgData name="Aniket Chhabra" userId="598e0514-bef3-4e71-b6aa-f2edd6441cff" providerId="ADAL" clId="{6B709646-9B8B-914B-83A9-D81F12AFDE5E}" dt="2022-06-19T04:50:10.828" v="1330"/>
          <ac:inkMkLst>
            <pc:docMk/>
            <pc:sldMk cId="3767779272" sldId="569"/>
            <ac:inkMk id="92" creationId="{D68CE6EC-47EB-86A6-2110-80DF1940BD06}"/>
          </ac:inkMkLst>
        </pc:inkChg>
        <pc:inkChg chg="add del mod">
          <ac:chgData name="Aniket Chhabra" userId="598e0514-bef3-4e71-b6aa-f2edd6441cff" providerId="ADAL" clId="{6B709646-9B8B-914B-83A9-D81F12AFDE5E}" dt="2022-06-19T04:50:10.836" v="1382"/>
          <ac:inkMkLst>
            <pc:docMk/>
            <pc:sldMk cId="3767779272" sldId="569"/>
            <ac:inkMk id="93" creationId="{5648C04C-98DA-2806-A9E7-23EE0F23E708}"/>
          </ac:inkMkLst>
        </pc:inkChg>
        <pc:inkChg chg="add del mod">
          <ac:chgData name="Aniket Chhabra" userId="598e0514-bef3-4e71-b6aa-f2edd6441cff" providerId="ADAL" clId="{6B709646-9B8B-914B-83A9-D81F12AFDE5E}" dt="2022-06-19T04:50:10.827" v="1329"/>
          <ac:inkMkLst>
            <pc:docMk/>
            <pc:sldMk cId="3767779272" sldId="569"/>
            <ac:inkMk id="94" creationId="{3D7C762E-F203-EE67-2346-487D434E6332}"/>
          </ac:inkMkLst>
        </pc:inkChg>
        <pc:inkChg chg="add del mod">
          <ac:chgData name="Aniket Chhabra" userId="598e0514-bef3-4e71-b6aa-f2edd6441cff" providerId="ADAL" clId="{6B709646-9B8B-914B-83A9-D81F12AFDE5E}" dt="2022-06-19T04:50:10.831" v="1349"/>
          <ac:inkMkLst>
            <pc:docMk/>
            <pc:sldMk cId="3767779272" sldId="569"/>
            <ac:inkMk id="95" creationId="{420B659A-EA64-6986-318C-B1E021653D7D}"/>
          </ac:inkMkLst>
        </pc:inkChg>
        <pc:inkChg chg="add del mod">
          <ac:chgData name="Aniket Chhabra" userId="598e0514-bef3-4e71-b6aa-f2edd6441cff" providerId="ADAL" clId="{6B709646-9B8B-914B-83A9-D81F12AFDE5E}" dt="2022-06-19T04:50:10.829" v="1334"/>
          <ac:inkMkLst>
            <pc:docMk/>
            <pc:sldMk cId="3767779272" sldId="569"/>
            <ac:inkMk id="96" creationId="{5170478E-71BE-8ECE-7F40-9F5201C79048}"/>
          </ac:inkMkLst>
        </pc:inkChg>
        <pc:inkChg chg="add del mod">
          <ac:chgData name="Aniket Chhabra" userId="598e0514-bef3-4e71-b6aa-f2edd6441cff" providerId="ADAL" clId="{6B709646-9B8B-914B-83A9-D81F12AFDE5E}" dt="2022-06-19T04:50:10.831" v="1350"/>
          <ac:inkMkLst>
            <pc:docMk/>
            <pc:sldMk cId="3767779272" sldId="569"/>
            <ac:inkMk id="97" creationId="{A4522BFA-160B-5A58-3275-DACCF885135A}"/>
          </ac:inkMkLst>
        </pc:inkChg>
        <pc:inkChg chg="add del mod">
          <ac:chgData name="Aniket Chhabra" userId="598e0514-bef3-4e71-b6aa-f2edd6441cff" providerId="ADAL" clId="{6B709646-9B8B-914B-83A9-D81F12AFDE5E}" dt="2022-06-19T04:50:10.831" v="1348"/>
          <ac:inkMkLst>
            <pc:docMk/>
            <pc:sldMk cId="3767779272" sldId="569"/>
            <ac:inkMk id="98" creationId="{9B319ABD-419F-D241-F300-CD02B8DCA9AF}"/>
          </ac:inkMkLst>
        </pc:inkChg>
        <pc:inkChg chg="add del mod">
          <ac:chgData name="Aniket Chhabra" userId="598e0514-bef3-4e71-b6aa-f2edd6441cff" providerId="ADAL" clId="{6B709646-9B8B-914B-83A9-D81F12AFDE5E}" dt="2022-06-19T04:50:10.832" v="1358"/>
          <ac:inkMkLst>
            <pc:docMk/>
            <pc:sldMk cId="3767779272" sldId="569"/>
            <ac:inkMk id="99" creationId="{1B0418F5-6F45-1837-6410-FF3245E4E60B}"/>
          </ac:inkMkLst>
        </pc:inkChg>
        <pc:inkChg chg="add del">
          <ac:chgData name="Aniket Chhabra" userId="598e0514-bef3-4e71-b6aa-f2edd6441cff" providerId="ADAL" clId="{6B709646-9B8B-914B-83A9-D81F12AFDE5E}" dt="2022-06-19T04:50:10.834" v="1367"/>
          <ac:inkMkLst>
            <pc:docMk/>
            <pc:sldMk cId="3767779272" sldId="569"/>
            <ac:inkMk id="101" creationId="{1D13A0CB-D87E-F577-3C88-F34BFEAA8D50}"/>
          </ac:inkMkLst>
        </pc:inkChg>
        <pc:inkChg chg="add del">
          <ac:chgData name="Aniket Chhabra" userId="598e0514-bef3-4e71-b6aa-f2edd6441cff" providerId="ADAL" clId="{6B709646-9B8B-914B-83A9-D81F12AFDE5E}" dt="2022-06-19T04:50:10.836" v="1383"/>
          <ac:inkMkLst>
            <pc:docMk/>
            <pc:sldMk cId="3767779272" sldId="569"/>
            <ac:inkMk id="102" creationId="{EA5F3A22-2DFD-D0A5-4E57-B5B81D2AEF76}"/>
          </ac:inkMkLst>
        </pc:inkChg>
        <pc:inkChg chg="add del">
          <ac:chgData name="Aniket Chhabra" userId="598e0514-bef3-4e71-b6aa-f2edd6441cff" providerId="ADAL" clId="{6B709646-9B8B-914B-83A9-D81F12AFDE5E}" dt="2022-06-19T04:50:10.832" v="1357"/>
          <ac:inkMkLst>
            <pc:docMk/>
            <pc:sldMk cId="3767779272" sldId="569"/>
            <ac:inkMk id="103" creationId="{6AAF7547-46BB-16CE-7F2E-138AF1EEC57E}"/>
          </ac:inkMkLst>
        </pc:inkChg>
        <pc:inkChg chg="add del">
          <ac:chgData name="Aniket Chhabra" userId="598e0514-bef3-4e71-b6aa-f2edd6441cff" providerId="ADAL" clId="{6B709646-9B8B-914B-83A9-D81F12AFDE5E}" dt="2022-06-19T04:50:10.833" v="1362"/>
          <ac:inkMkLst>
            <pc:docMk/>
            <pc:sldMk cId="3767779272" sldId="569"/>
            <ac:inkMk id="104" creationId="{DEAFE251-5F64-1B1D-C431-B7D0A26D63D1}"/>
          </ac:inkMkLst>
        </pc:inkChg>
        <pc:inkChg chg="add">
          <ac:chgData name="Aniket Chhabra" userId="598e0514-bef3-4e71-b6aa-f2edd6441cff" providerId="ADAL" clId="{6B709646-9B8B-914B-83A9-D81F12AFDE5E}" dt="2022-06-19T04:48:14.008" v="1155" actId="9405"/>
          <ac:inkMkLst>
            <pc:docMk/>
            <pc:sldMk cId="3767779272" sldId="569"/>
            <ac:inkMk id="105" creationId="{9B9FEDEA-AC84-5970-A7A7-AB5F6881661A}"/>
          </ac:inkMkLst>
        </pc:inkChg>
        <pc:inkChg chg="add">
          <ac:chgData name="Aniket Chhabra" userId="598e0514-bef3-4e71-b6aa-f2edd6441cff" providerId="ADAL" clId="{6B709646-9B8B-914B-83A9-D81F12AFDE5E}" dt="2022-06-19T04:48:14.287" v="1156" actId="9405"/>
          <ac:inkMkLst>
            <pc:docMk/>
            <pc:sldMk cId="3767779272" sldId="569"/>
            <ac:inkMk id="106" creationId="{D1E3C380-BA14-2021-894C-DE851A9C3AB1}"/>
          </ac:inkMkLst>
        </pc:inkChg>
        <pc:inkChg chg="add">
          <ac:chgData name="Aniket Chhabra" userId="598e0514-bef3-4e71-b6aa-f2edd6441cff" providerId="ADAL" clId="{6B709646-9B8B-914B-83A9-D81F12AFDE5E}" dt="2022-06-19T04:48:14.720" v="1157" actId="9405"/>
          <ac:inkMkLst>
            <pc:docMk/>
            <pc:sldMk cId="3767779272" sldId="569"/>
            <ac:inkMk id="107" creationId="{F831CA20-6F6C-2FF9-B5AF-CA0BF61F4596}"/>
          </ac:inkMkLst>
        </pc:inkChg>
        <pc:inkChg chg="add">
          <ac:chgData name="Aniket Chhabra" userId="598e0514-bef3-4e71-b6aa-f2edd6441cff" providerId="ADAL" clId="{6B709646-9B8B-914B-83A9-D81F12AFDE5E}" dt="2022-06-19T04:48:14.965" v="1158" actId="9405"/>
          <ac:inkMkLst>
            <pc:docMk/>
            <pc:sldMk cId="3767779272" sldId="569"/>
            <ac:inkMk id="108" creationId="{0B129164-8C7B-89BF-5EE2-FEA7A1662064}"/>
          </ac:inkMkLst>
        </pc:inkChg>
        <pc:inkChg chg="add">
          <ac:chgData name="Aniket Chhabra" userId="598e0514-bef3-4e71-b6aa-f2edd6441cff" providerId="ADAL" clId="{6B709646-9B8B-914B-83A9-D81F12AFDE5E}" dt="2022-06-19T04:48:15.123" v="1159" actId="9405"/>
          <ac:inkMkLst>
            <pc:docMk/>
            <pc:sldMk cId="3767779272" sldId="569"/>
            <ac:inkMk id="109" creationId="{0CF30367-44EC-B2D5-EE1B-1E4721C1FA9F}"/>
          </ac:inkMkLst>
        </pc:inkChg>
        <pc:inkChg chg="add">
          <ac:chgData name="Aniket Chhabra" userId="598e0514-bef3-4e71-b6aa-f2edd6441cff" providerId="ADAL" clId="{6B709646-9B8B-914B-83A9-D81F12AFDE5E}" dt="2022-06-19T04:48:15.348" v="1160" actId="9405"/>
          <ac:inkMkLst>
            <pc:docMk/>
            <pc:sldMk cId="3767779272" sldId="569"/>
            <ac:inkMk id="110" creationId="{40219C1B-2321-5993-753B-7F7A0C480D56}"/>
          </ac:inkMkLst>
        </pc:inkChg>
        <pc:inkChg chg="add">
          <ac:chgData name="Aniket Chhabra" userId="598e0514-bef3-4e71-b6aa-f2edd6441cff" providerId="ADAL" clId="{6B709646-9B8B-914B-83A9-D81F12AFDE5E}" dt="2022-06-19T04:48:16.035" v="1161" actId="9405"/>
          <ac:inkMkLst>
            <pc:docMk/>
            <pc:sldMk cId="3767779272" sldId="569"/>
            <ac:inkMk id="111" creationId="{419913CA-BF1B-316B-BDE4-DF8D41BA11A4}"/>
          </ac:inkMkLst>
        </pc:inkChg>
        <pc:inkChg chg="add">
          <ac:chgData name="Aniket Chhabra" userId="598e0514-bef3-4e71-b6aa-f2edd6441cff" providerId="ADAL" clId="{6B709646-9B8B-914B-83A9-D81F12AFDE5E}" dt="2022-06-19T04:48:16.249" v="1162" actId="9405"/>
          <ac:inkMkLst>
            <pc:docMk/>
            <pc:sldMk cId="3767779272" sldId="569"/>
            <ac:inkMk id="112" creationId="{29951C43-F84E-BB3E-C0EE-2F3C310556B5}"/>
          </ac:inkMkLst>
        </pc:inkChg>
        <pc:inkChg chg="add">
          <ac:chgData name="Aniket Chhabra" userId="598e0514-bef3-4e71-b6aa-f2edd6441cff" providerId="ADAL" clId="{6B709646-9B8B-914B-83A9-D81F12AFDE5E}" dt="2022-06-19T04:48:16.595" v="1163" actId="9405"/>
          <ac:inkMkLst>
            <pc:docMk/>
            <pc:sldMk cId="3767779272" sldId="569"/>
            <ac:inkMk id="113" creationId="{62762B21-16B4-82EC-AF41-5E1DDC44492F}"/>
          </ac:inkMkLst>
        </pc:inkChg>
        <pc:inkChg chg="add">
          <ac:chgData name="Aniket Chhabra" userId="598e0514-bef3-4e71-b6aa-f2edd6441cff" providerId="ADAL" clId="{6B709646-9B8B-914B-83A9-D81F12AFDE5E}" dt="2022-06-19T04:48:16.731" v="1164" actId="9405"/>
          <ac:inkMkLst>
            <pc:docMk/>
            <pc:sldMk cId="3767779272" sldId="569"/>
            <ac:inkMk id="114" creationId="{1B34A482-47B5-265B-867C-63376C7515D3}"/>
          </ac:inkMkLst>
        </pc:inkChg>
        <pc:inkChg chg="add">
          <ac:chgData name="Aniket Chhabra" userId="598e0514-bef3-4e71-b6aa-f2edd6441cff" providerId="ADAL" clId="{6B709646-9B8B-914B-83A9-D81F12AFDE5E}" dt="2022-06-19T04:48:17.851" v="1165" actId="9405"/>
          <ac:inkMkLst>
            <pc:docMk/>
            <pc:sldMk cId="3767779272" sldId="569"/>
            <ac:inkMk id="115" creationId="{FCDEE1A4-432D-9E53-C85D-EC16E399D4BD}"/>
          </ac:inkMkLst>
        </pc:inkChg>
        <pc:inkChg chg="add">
          <ac:chgData name="Aniket Chhabra" userId="598e0514-bef3-4e71-b6aa-f2edd6441cff" providerId="ADAL" clId="{6B709646-9B8B-914B-83A9-D81F12AFDE5E}" dt="2022-06-19T04:48:18.073" v="1166" actId="9405"/>
          <ac:inkMkLst>
            <pc:docMk/>
            <pc:sldMk cId="3767779272" sldId="569"/>
            <ac:inkMk id="116" creationId="{E6527877-9ED8-03D3-4197-200C74B893F1}"/>
          </ac:inkMkLst>
        </pc:inkChg>
        <pc:inkChg chg="add">
          <ac:chgData name="Aniket Chhabra" userId="598e0514-bef3-4e71-b6aa-f2edd6441cff" providerId="ADAL" clId="{6B709646-9B8B-914B-83A9-D81F12AFDE5E}" dt="2022-06-19T04:48:18.502" v="1167" actId="9405"/>
          <ac:inkMkLst>
            <pc:docMk/>
            <pc:sldMk cId="3767779272" sldId="569"/>
            <ac:inkMk id="117" creationId="{55E7E827-4940-18B0-222B-2EF4938085AD}"/>
          </ac:inkMkLst>
        </pc:inkChg>
        <pc:inkChg chg="add">
          <ac:chgData name="Aniket Chhabra" userId="598e0514-bef3-4e71-b6aa-f2edd6441cff" providerId="ADAL" clId="{6B709646-9B8B-914B-83A9-D81F12AFDE5E}" dt="2022-06-19T04:48:18.631" v="1168" actId="9405"/>
          <ac:inkMkLst>
            <pc:docMk/>
            <pc:sldMk cId="3767779272" sldId="569"/>
            <ac:inkMk id="118" creationId="{9C47BF97-C7B3-9283-8BC1-8A522CEA4DDB}"/>
          </ac:inkMkLst>
        </pc:inkChg>
        <pc:inkChg chg="add">
          <ac:chgData name="Aniket Chhabra" userId="598e0514-bef3-4e71-b6aa-f2edd6441cff" providerId="ADAL" clId="{6B709646-9B8B-914B-83A9-D81F12AFDE5E}" dt="2022-06-19T04:48:19.037" v="1169" actId="9405"/>
          <ac:inkMkLst>
            <pc:docMk/>
            <pc:sldMk cId="3767779272" sldId="569"/>
            <ac:inkMk id="119" creationId="{9BB07A69-6F75-8CE9-90C4-B13C5213BA2A}"/>
          </ac:inkMkLst>
        </pc:inkChg>
        <pc:inkChg chg="add">
          <ac:chgData name="Aniket Chhabra" userId="598e0514-bef3-4e71-b6aa-f2edd6441cff" providerId="ADAL" clId="{6B709646-9B8B-914B-83A9-D81F12AFDE5E}" dt="2022-06-19T04:48:19.670" v="1170" actId="9405"/>
          <ac:inkMkLst>
            <pc:docMk/>
            <pc:sldMk cId="3767779272" sldId="569"/>
            <ac:inkMk id="120" creationId="{737B2F55-007D-A3AC-4DE8-84354AE72879}"/>
          </ac:inkMkLst>
        </pc:inkChg>
        <pc:inkChg chg="add">
          <ac:chgData name="Aniket Chhabra" userId="598e0514-bef3-4e71-b6aa-f2edd6441cff" providerId="ADAL" clId="{6B709646-9B8B-914B-83A9-D81F12AFDE5E}" dt="2022-06-19T04:48:19.877" v="1171" actId="9405"/>
          <ac:inkMkLst>
            <pc:docMk/>
            <pc:sldMk cId="3767779272" sldId="569"/>
            <ac:inkMk id="121" creationId="{6BC27A7C-3106-AF78-FA9D-23F68B05300F}"/>
          </ac:inkMkLst>
        </pc:inkChg>
        <pc:inkChg chg="add">
          <ac:chgData name="Aniket Chhabra" userId="598e0514-bef3-4e71-b6aa-f2edd6441cff" providerId="ADAL" clId="{6B709646-9B8B-914B-83A9-D81F12AFDE5E}" dt="2022-06-19T04:48:20.462" v="1172" actId="9405"/>
          <ac:inkMkLst>
            <pc:docMk/>
            <pc:sldMk cId="3767779272" sldId="569"/>
            <ac:inkMk id="122" creationId="{6340AAD4-8A72-C71E-8EC9-43DFF34A7DF5}"/>
          </ac:inkMkLst>
        </pc:inkChg>
        <pc:inkChg chg="add">
          <ac:chgData name="Aniket Chhabra" userId="598e0514-bef3-4e71-b6aa-f2edd6441cff" providerId="ADAL" clId="{6B709646-9B8B-914B-83A9-D81F12AFDE5E}" dt="2022-06-19T04:48:21.215" v="1173" actId="9405"/>
          <ac:inkMkLst>
            <pc:docMk/>
            <pc:sldMk cId="3767779272" sldId="569"/>
            <ac:inkMk id="123" creationId="{556464EF-5F13-FCC8-D442-9EA5D222A83A}"/>
          </ac:inkMkLst>
        </pc:inkChg>
        <pc:inkChg chg="add">
          <ac:chgData name="Aniket Chhabra" userId="598e0514-bef3-4e71-b6aa-f2edd6441cff" providerId="ADAL" clId="{6B709646-9B8B-914B-83A9-D81F12AFDE5E}" dt="2022-06-19T04:48:21.410" v="1174" actId="9405"/>
          <ac:inkMkLst>
            <pc:docMk/>
            <pc:sldMk cId="3767779272" sldId="569"/>
            <ac:inkMk id="124" creationId="{2E7E2C6A-184D-EC71-E2F9-704A725B5E53}"/>
          </ac:inkMkLst>
        </pc:inkChg>
        <pc:inkChg chg="add">
          <ac:chgData name="Aniket Chhabra" userId="598e0514-bef3-4e71-b6aa-f2edd6441cff" providerId="ADAL" clId="{6B709646-9B8B-914B-83A9-D81F12AFDE5E}" dt="2022-06-19T04:48:21.990" v="1175" actId="9405"/>
          <ac:inkMkLst>
            <pc:docMk/>
            <pc:sldMk cId="3767779272" sldId="569"/>
            <ac:inkMk id="125" creationId="{8BCDD845-7D69-ED85-24B7-AADC966C68C2}"/>
          </ac:inkMkLst>
        </pc:inkChg>
        <pc:inkChg chg="add">
          <ac:chgData name="Aniket Chhabra" userId="598e0514-bef3-4e71-b6aa-f2edd6441cff" providerId="ADAL" clId="{6B709646-9B8B-914B-83A9-D81F12AFDE5E}" dt="2022-06-19T04:48:22.186" v="1176" actId="9405"/>
          <ac:inkMkLst>
            <pc:docMk/>
            <pc:sldMk cId="3767779272" sldId="569"/>
            <ac:inkMk id="126" creationId="{27701DED-3656-27AB-DF33-281A08008634}"/>
          </ac:inkMkLst>
        </pc:inkChg>
        <pc:inkChg chg="add">
          <ac:chgData name="Aniket Chhabra" userId="598e0514-bef3-4e71-b6aa-f2edd6441cff" providerId="ADAL" clId="{6B709646-9B8B-914B-83A9-D81F12AFDE5E}" dt="2022-06-19T04:48:22.847" v="1177" actId="9405"/>
          <ac:inkMkLst>
            <pc:docMk/>
            <pc:sldMk cId="3767779272" sldId="569"/>
            <ac:inkMk id="127" creationId="{D7748E78-28BF-A078-4854-18C3DCCB56B2}"/>
          </ac:inkMkLst>
        </pc:inkChg>
        <pc:inkChg chg="add">
          <ac:chgData name="Aniket Chhabra" userId="598e0514-bef3-4e71-b6aa-f2edd6441cff" providerId="ADAL" clId="{6B709646-9B8B-914B-83A9-D81F12AFDE5E}" dt="2022-06-19T04:48:23.090" v="1178" actId="9405"/>
          <ac:inkMkLst>
            <pc:docMk/>
            <pc:sldMk cId="3767779272" sldId="569"/>
            <ac:inkMk id="128" creationId="{77B09165-BCC9-615A-7F5A-E2E05799F258}"/>
          </ac:inkMkLst>
        </pc:inkChg>
        <pc:inkChg chg="add">
          <ac:chgData name="Aniket Chhabra" userId="598e0514-bef3-4e71-b6aa-f2edd6441cff" providerId="ADAL" clId="{6B709646-9B8B-914B-83A9-D81F12AFDE5E}" dt="2022-06-19T04:48:23.408" v="1179" actId="9405"/>
          <ac:inkMkLst>
            <pc:docMk/>
            <pc:sldMk cId="3767779272" sldId="569"/>
            <ac:inkMk id="129" creationId="{E75F2F6F-4F53-A49B-4CF8-5D1D14859FA1}"/>
          </ac:inkMkLst>
        </pc:inkChg>
        <pc:inkChg chg="add">
          <ac:chgData name="Aniket Chhabra" userId="598e0514-bef3-4e71-b6aa-f2edd6441cff" providerId="ADAL" clId="{6B709646-9B8B-914B-83A9-D81F12AFDE5E}" dt="2022-06-19T04:48:25.604" v="1180" actId="9405"/>
          <ac:inkMkLst>
            <pc:docMk/>
            <pc:sldMk cId="3767779272" sldId="569"/>
            <ac:inkMk id="130" creationId="{F355CF68-6FC0-FB74-F2D5-6F99E4E7E641}"/>
          </ac:inkMkLst>
        </pc:inkChg>
        <pc:inkChg chg="add">
          <ac:chgData name="Aniket Chhabra" userId="598e0514-bef3-4e71-b6aa-f2edd6441cff" providerId="ADAL" clId="{6B709646-9B8B-914B-83A9-D81F12AFDE5E}" dt="2022-06-19T04:48:25.838" v="1181" actId="9405"/>
          <ac:inkMkLst>
            <pc:docMk/>
            <pc:sldMk cId="3767779272" sldId="569"/>
            <ac:inkMk id="131" creationId="{EA464F59-2B74-8B7E-4AEB-1B3CD7816D49}"/>
          </ac:inkMkLst>
        </pc:inkChg>
        <pc:inkChg chg="add">
          <ac:chgData name="Aniket Chhabra" userId="598e0514-bef3-4e71-b6aa-f2edd6441cff" providerId="ADAL" clId="{6B709646-9B8B-914B-83A9-D81F12AFDE5E}" dt="2022-06-19T04:48:26.428" v="1182" actId="9405"/>
          <ac:inkMkLst>
            <pc:docMk/>
            <pc:sldMk cId="3767779272" sldId="569"/>
            <ac:inkMk id="132" creationId="{B7A48C0A-9756-383B-994D-97D7197C0C37}"/>
          </ac:inkMkLst>
        </pc:inkChg>
        <pc:inkChg chg="add">
          <ac:chgData name="Aniket Chhabra" userId="598e0514-bef3-4e71-b6aa-f2edd6441cff" providerId="ADAL" clId="{6B709646-9B8B-914B-83A9-D81F12AFDE5E}" dt="2022-06-19T04:48:26.653" v="1183" actId="9405"/>
          <ac:inkMkLst>
            <pc:docMk/>
            <pc:sldMk cId="3767779272" sldId="569"/>
            <ac:inkMk id="133" creationId="{11780C91-0421-2EC7-1115-5EC48EBB3ED7}"/>
          </ac:inkMkLst>
        </pc:inkChg>
        <pc:inkChg chg="add">
          <ac:chgData name="Aniket Chhabra" userId="598e0514-bef3-4e71-b6aa-f2edd6441cff" providerId="ADAL" clId="{6B709646-9B8B-914B-83A9-D81F12AFDE5E}" dt="2022-06-19T04:48:27.152" v="1184" actId="9405"/>
          <ac:inkMkLst>
            <pc:docMk/>
            <pc:sldMk cId="3767779272" sldId="569"/>
            <ac:inkMk id="134" creationId="{4DAA0129-A1A5-D4BB-2FE5-A9118C8FCEDF}"/>
          </ac:inkMkLst>
        </pc:inkChg>
        <pc:inkChg chg="add">
          <ac:chgData name="Aniket Chhabra" userId="598e0514-bef3-4e71-b6aa-f2edd6441cff" providerId="ADAL" clId="{6B709646-9B8B-914B-83A9-D81F12AFDE5E}" dt="2022-06-19T04:48:27.288" v="1185" actId="9405"/>
          <ac:inkMkLst>
            <pc:docMk/>
            <pc:sldMk cId="3767779272" sldId="569"/>
            <ac:inkMk id="135" creationId="{DDCC8CE6-D195-3C07-1A3D-79C71741B2B4}"/>
          </ac:inkMkLst>
        </pc:inkChg>
        <pc:inkChg chg="add">
          <ac:chgData name="Aniket Chhabra" userId="598e0514-bef3-4e71-b6aa-f2edd6441cff" providerId="ADAL" clId="{6B709646-9B8B-914B-83A9-D81F12AFDE5E}" dt="2022-06-19T04:48:27.512" v="1186" actId="9405"/>
          <ac:inkMkLst>
            <pc:docMk/>
            <pc:sldMk cId="3767779272" sldId="569"/>
            <ac:inkMk id="136" creationId="{0D373B7E-E861-1241-E979-80B1C7CE3EB0}"/>
          </ac:inkMkLst>
        </pc:inkChg>
        <pc:inkChg chg="add">
          <ac:chgData name="Aniket Chhabra" userId="598e0514-bef3-4e71-b6aa-f2edd6441cff" providerId="ADAL" clId="{6B709646-9B8B-914B-83A9-D81F12AFDE5E}" dt="2022-06-19T04:48:27.716" v="1187" actId="9405"/>
          <ac:inkMkLst>
            <pc:docMk/>
            <pc:sldMk cId="3767779272" sldId="569"/>
            <ac:inkMk id="137" creationId="{9270D71A-EDB9-B235-43BB-DE207C872CD8}"/>
          </ac:inkMkLst>
        </pc:inkChg>
        <pc:inkChg chg="add">
          <ac:chgData name="Aniket Chhabra" userId="598e0514-bef3-4e71-b6aa-f2edd6441cff" providerId="ADAL" clId="{6B709646-9B8B-914B-83A9-D81F12AFDE5E}" dt="2022-06-19T04:48:27.864" v="1188" actId="9405"/>
          <ac:inkMkLst>
            <pc:docMk/>
            <pc:sldMk cId="3767779272" sldId="569"/>
            <ac:inkMk id="138" creationId="{9856E60C-4F9D-F569-BCA4-223C9D8520CC}"/>
          </ac:inkMkLst>
        </pc:inkChg>
        <pc:inkChg chg="add">
          <ac:chgData name="Aniket Chhabra" userId="598e0514-bef3-4e71-b6aa-f2edd6441cff" providerId="ADAL" clId="{6B709646-9B8B-914B-83A9-D81F12AFDE5E}" dt="2022-06-19T04:48:29.704" v="1189" actId="9405"/>
          <ac:inkMkLst>
            <pc:docMk/>
            <pc:sldMk cId="3767779272" sldId="569"/>
            <ac:inkMk id="139" creationId="{A6C21761-A6D1-616F-2411-C70393E0E8B5}"/>
          </ac:inkMkLst>
        </pc:inkChg>
        <pc:inkChg chg="add">
          <ac:chgData name="Aniket Chhabra" userId="598e0514-bef3-4e71-b6aa-f2edd6441cff" providerId="ADAL" clId="{6B709646-9B8B-914B-83A9-D81F12AFDE5E}" dt="2022-06-19T04:48:30.001" v="1190" actId="9405"/>
          <ac:inkMkLst>
            <pc:docMk/>
            <pc:sldMk cId="3767779272" sldId="569"/>
            <ac:inkMk id="140" creationId="{F0039A06-4809-3FED-94F4-8E3B1DC57A35}"/>
          </ac:inkMkLst>
        </pc:inkChg>
        <pc:inkChg chg="add">
          <ac:chgData name="Aniket Chhabra" userId="598e0514-bef3-4e71-b6aa-f2edd6441cff" providerId="ADAL" clId="{6B709646-9B8B-914B-83A9-D81F12AFDE5E}" dt="2022-06-19T04:48:30.430" v="1191" actId="9405"/>
          <ac:inkMkLst>
            <pc:docMk/>
            <pc:sldMk cId="3767779272" sldId="569"/>
            <ac:inkMk id="141" creationId="{DCEDD30F-1AB6-FCE7-ADAD-1A263EBCAD3F}"/>
          </ac:inkMkLst>
        </pc:inkChg>
        <pc:inkChg chg="add">
          <ac:chgData name="Aniket Chhabra" userId="598e0514-bef3-4e71-b6aa-f2edd6441cff" providerId="ADAL" clId="{6B709646-9B8B-914B-83A9-D81F12AFDE5E}" dt="2022-06-19T04:48:30.546" v="1192" actId="9405"/>
          <ac:inkMkLst>
            <pc:docMk/>
            <pc:sldMk cId="3767779272" sldId="569"/>
            <ac:inkMk id="142" creationId="{4A15EA56-F0F5-5A82-4A3F-F44505F20703}"/>
          </ac:inkMkLst>
        </pc:inkChg>
        <pc:inkChg chg="add">
          <ac:chgData name="Aniket Chhabra" userId="598e0514-bef3-4e71-b6aa-f2edd6441cff" providerId="ADAL" clId="{6B709646-9B8B-914B-83A9-D81F12AFDE5E}" dt="2022-06-19T04:48:31.145" v="1193" actId="9405"/>
          <ac:inkMkLst>
            <pc:docMk/>
            <pc:sldMk cId="3767779272" sldId="569"/>
            <ac:inkMk id="143" creationId="{E9A8EA5E-5C93-4CA5-BA0A-4C16086E5680}"/>
          </ac:inkMkLst>
        </pc:inkChg>
        <pc:inkChg chg="add">
          <ac:chgData name="Aniket Chhabra" userId="598e0514-bef3-4e71-b6aa-f2edd6441cff" providerId="ADAL" clId="{6B709646-9B8B-914B-83A9-D81F12AFDE5E}" dt="2022-06-19T04:48:31.875" v="1194" actId="9405"/>
          <ac:inkMkLst>
            <pc:docMk/>
            <pc:sldMk cId="3767779272" sldId="569"/>
            <ac:inkMk id="144" creationId="{E65CD072-760C-BFD6-9027-08942E19C891}"/>
          </ac:inkMkLst>
        </pc:inkChg>
        <pc:inkChg chg="add">
          <ac:chgData name="Aniket Chhabra" userId="598e0514-bef3-4e71-b6aa-f2edd6441cff" providerId="ADAL" clId="{6B709646-9B8B-914B-83A9-D81F12AFDE5E}" dt="2022-06-19T04:48:32.069" v="1195" actId="9405"/>
          <ac:inkMkLst>
            <pc:docMk/>
            <pc:sldMk cId="3767779272" sldId="569"/>
            <ac:inkMk id="145" creationId="{CA8C8D90-6F64-6E1A-BC5A-C236CD8684B2}"/>
          </ac:inkMkLst>
        </pc:inkChg>
        <pc:inkChg chg="add">
          <ac:chgData name="Aniket Chhabra" userId="598e0514-bef3-4e71-b6aa-f2edd6441cff" providerId="ADAL" clId="{6B709646-9B8B-914B-83A9-D81F12AFDE5E}" dt="2022-06-19T04:48:32.515" v="1196" actId="9405"/>
          <ac:inkMkLst>
            <pc:docMk/>
            <pc:sldMk cId="3767779272" sldId="569"/>
            <ac:inkMk id="146" creationId="{DD78DAD4-F0E9-CCE1-9EBC-80F7CEB6F602}"/>
          </ac:inkMkLst>
        </pc:inkChg>
        <pc:inkChg chg="add">
          <ac:chgData name="Aniket Chhabra" userId="598e0514-bef3-4e71-b6aa-f2edd6441cff" providerId="ADAL" clId="{6B709646-9B8B-914B-83A9-D81F12AFDE5E}" dt="2022-06-19T04:48:33.154" v="1197" actId="9405"/>
          <ac:inkMkLst>
            <pc:docMk/>
            <pc:sldMk cId="3767779272" sldId="569"/>
            <ac:inkMk id="147" creationId="{B7C2D736-C7F5-758F-E91C-12B86BB9D379}"/>
          </ac:inkMkLst>
        </pc:inkChg>
        <pc:inkChg chg="add">
          <ac:chgData name="Aniket Chhabra" userId="598e0514-bef3-4e71-b6aa-f2edd6441cff" providerId="ADAL" clId="{6B709646-9B8B-914B-83A9-D81F12AFDE5E}" dt="2022-06-19T04:48:34.199" v="1198" actId="9405"/>
          <ac:inkMkLst>
            <pc:docMk/>
            <pc:sldMk cId="3767779272" sldId="569"/>
            <ac:inkMk id="148" creationId="{A22F0965-5FEE-4862-67C7-E45B484D239F}"/>
          </ac:inkMkLst>
        </pc:inkChg>
        <pc:inkChg chg="add">
          <ac:chgData name="Aniket Chhabra" userId="598e0514-bef3-4e71-b6aa-f2edd6441cff" providerId="ADAL" clId="{6B709646-9B8B-914B-83A9-D81F12AFDE5E}" dt="2022-06-19T04:48:34.403" v="1199" actId="9405"/>
          <ac:inkMkLst>
            <pc:docMk/>
            <pc:sldMk cId="3767779272" sldId="569"/>
            <ac:inkMk id="149" creationId="{9FA61CA0-E107-0DEF-4939-A7A5CE72B196}"/>
          </ac:inkMkLst>
        </pc:inkChg>
        <pc:inkChg chg="add">
          <ac:chgData name="Aniket Chhabra" userId="598e0514-bef3-4e71-b6aa-f2edd6441cff" providerId="ADAL" clId="{6B709646-9B8B-914B-83A9-D81F12AFDE5E}" dt="2022-06-19T04:48:34.801" v="1200" actId="9405"/>
          <ac:inkMkLst>
            <pc:docMk/>
            <pc:sldMk cId="3767779272" sldId="569"/>
            <ac:inkMk id="150" creationId="{4CE64E20-CA9F-5F37-4CB6-EC3CF27475C7}"/>
          </ac:inkMkLst>
        </pc:inkChg>
        <pc:inkChg chg="add">
          <ac:chgData name="Aniket Chhabra" userId="598e0514-bef3-4e71-b6aa-f2edd6441cff" providerId="ADAL" clId="{6B709646-9B8B-914B-83A9-D81F12AFDE5E}" dt="2022-06-19T04:48:34.930" v="1201" actId="9405"/>
          <ac:inkMkLst>
            <pc:docMk/>
            <pc:sldMk cId="3767779272" sldId="569"/>
            <ac:inkMk id="151" creationId="{9FF8FD36-5853-6415-8496-9E34AF225316}"/>
          </ac:inkMkLst>
        </pc:inkChg>
        <pc:inkChg chg="add">
          <ac:chgData name="Aniket Chhabra" userId="598e0514-bef3-4e71-b6aa-f2edd6441cff" providerId="ADAL" clId="{6B709646-9B8B-914B-83A9-D81F12AFDE5E}" dt="2022-06-19T04:48:35.366" v="1202" actId="9405"/>
          <ac:inkMkLst>
            <pc:docMk/>
            <pc:sldMk cId="3767779272" sldId="569"/>
            <ac:inkMk id="152" creationId="{AFD9441B-8FF2-2450-1468-02395E89B211}"/>
          </ac:inkMkLst>
        </pc:inkChg>
        <pc:inkChg chg="add">
          <ac:chgData name="Aniket Chhabra" userId="598e0514-bef3-4e71-b6aa-f2edd6441cff" providerId="ADAL" clId="{6B709646-9B8B-914B-83A9-D81F12AFDE5E}" dt="2022-06-19T04:48:36.080" v="1203" actId="9405"/>
          <ac:inkMkLst>
            <pc:docMk/>
            <pc:sldMk cId="3767779272" sldId="569"/>
            <ac:inkMk id="153" creationId="{2F40E9A5-FD66-387D-7DD8-8D020EB8D8CF}"/>
          </ac:inkMkLst>
        </pc:inkChg>
        <pc:inkChg chg="add">
          <ac:chgData name="Aniket Chhabra" userId="598e0514-bef3-4e71-b6aa-f2edd6441cff" providerId="ADAL" clId="{6B709646-9B8B-914B-83A9-D81F12AFDE5E}" dt="2022-06-19T04:48:36.296" v="1204" actId="9405"/>
          <ac:inkMkLst>
            <pc:docMk/>
            <pc:sldMk cId="3767779272" sldId="569"/>
            <ac:inkMk id="154" creationId="{86DA3ADD-6F31-C681-1481-32D002505457}"/>
          </ac:inkMkLst>
        </pc:inkChg>
        <pc:inkChg chg="add">
          <ac:chgData name="Aniket Chhabra" userId="598e0514-bef3-4e71-b6aa-f2edd6441cff" providerId="ADAL" clId="{6B709646-9B8B-914B-83A9-D81F12AFDE5E}" dt="2022-06-19T04:48:36.496" v="1205" actId="9405"/>
          <ac:inkMkLst>
            <pc:docMk/>
            <pc:sldMk cId="3767779272" sldId="569"/>
            <ac:inkMk id="155" creationId="{9FDFF8FE-C7FF-24B4-6CA8-086F17B8548B}"/>
          </ac:inkMkLst>
        </pc:inkChg>
        <pc:inkChg chg="add">
          <ac:chgData name="Aniket Chhabra" userId="598e0514-bef3-4e71-b6aa-f2edd6441cff" providerId="ADAL" clId="{6B709646-9B8B-914B-83A9-D81F12AFDE5E}" dt="2022-06-19T04:48:36.870" v="1206" actId="9405"/>
          <ac:inkMkLst>
            <pc:docMk/>
            <pc:sldMk cId="3767779272" sldId="569"/>
            <ac:inkMk id="156" creationId="{C2D3A614-41C4-F515-2C73-9E07A62D7494}"/>
          </ac:inkMkLst>
        </pc:inkChg>
        <pc:inkChg chg="add">
          <ac:chgData name="Aniket Chhabra" userId="598e0514-bef3-4e71-b6aa-f2edd6441cff" providerId="ADAL" clId="{6B709646-9B8B-914B-83A9-D81F12AFDE5E}" dt="2022-06-19T04:48:39.790" v="1207" actId="9405"/>
          <ac:inkMkLst>
            <pc:docMk/>
            <pc:sldMk cId="3767779272" sldId="569"/>
            <ac:inkMk id="157" creationId="{A92F87A0-7319-0229-3FDB-CA240EA62A02}"/>
          </ac:inkMkLst>
        </pc:inkChg>
        <pc:inkChg chg="add">
          <ac:chgData name="Aniket Chhabra" userId="598e0514-bef3-4e71-b6aa-f2edd6441cff" providerId="ADAL" clId="{6B709646-9B8B-914B-83A9-D81F12AFDE5E}" dt="2022-06-19T04:48:40.029" v="1208" actId="9405"/>
          <ac:inkMkLst>
            <pc:docMk/>
            <pc:sldMk cId="3767779272" sldId="569"/>
            <ac:inkMk id="158" creationId="{C304473A-C989-767D-3508-4678848B61C8}"/>
          </ac:inkMkLst>
        </pc:inkChg>
        <pc:inkChg chg="add">
          <ac:chgData name="Aniket Chhabra" userId="598e0514-bef3-4e71-b6aa-f2edd6441cff" providerId="ADAL" clId="{6B709646-9B8B-914B-83A9-D81F12AFDE5E}" dt="2022-06-19T04:48:40.667" v="1209" actId="9405"/>
          <ac:inkMkLst>
            <pc:docMk/>
            <pc:sldMk cId="3767779272" sldId="569"/>
            <ac:inkMk id="159" creationId="{8F51DDB2-0CAB-7788-489A-DBFB311287EA}"/>
          </ac:inkMkLst>
        </pc:inkChg>
        <pc:inkChg chg="add">
          <ac:chgData name="Aniket Chhabra" userId="598e0514-bef3-4e71-b6aa-f2edd6441cff" providerId="ADAL" clId="{6B709646-9B8B-914B-83A9-D81F12AFDE5E}" dt="2022-06-19T04:48:42.048" v="1210" actId="9405"/>
          <ac:inkMkLst>
            <pc:docMk/>
            <pc:sldMk cId="3767779272" sldId="569"/>
            <ac:inkMk id="160" creationId="{95287730-C162-2A18-21B6-C596A94501E9}"/>
          </ac:inkMkLst>
        </pc:inkChg>
        <pc:inkChg chg="add">
          <ac:chgData name="Aniket Chhabra" userId="598e0514-bef3-4e71-b6aa-f2edd6441cff" providerId="ADAL" clId="{6B709646-9B8B-914B-83A9-D81F12AFDE5E}" dt="2022-06-19T04:48:42.304" v="1211" actId="9405"/>
          <ac:inkMkLst>
            <pc:docMk/>
            <pc:sldMk cId="3767779272" sldId="569"/>
            <ac:inkMk id="161" creationId="{02EAE741-4C6C-7325-97C7-5ACA38A3E3B8}"/>
          </ac:inkMkLst>
        </pc:inkChg>
        <pc:inkChg chg="add">
          <ac:chgData name="Aniket Chhabra" userId="598e0514-bef3-4e71-b6aa-f2edd6441cff" providerId="ADAL" clId="{6B709646-9B8B-914B-83A9-D81F12AFDE5E}" dt="2022-06-19T04:48:42.718" v="1212" actId="9405"/>
          <ac:inkMkLst>
            <pc:docMk/>
            <pc:sldMk cId="3767779272" sldId="569"/>
            <ac:inkMk id="162" creationId="{E2F2F677-F17B-8734-5E9F-475C508F90F1}"/>
          </ac:inkMkLst>
        </pc:inkChg>
        <pc:inkChg chg="add">
          <ac:chgData name="Aniket Chhabra" userId="598e0514-bef3-4e71-b6aa-f2edd6441cff" providerId="ADAL" clId="{6B709646-9B8B-914B-83A9-D81F12AFDE5E}" dt="2022-06-19T04:48:42.848" v="1213" actId="9405"/>
          <ac:inkMkLst>
            <pc:docMk/>
            <pc:sldMk cId="3767779272" sldId="569"/>
            <ac:inkMk id="163" creationId="{B3BC9171-AA50-3DEE-B55A-48780AB9A00A}"/>
          </ac:inkMkLst>
        </pc:inkChg>
        <pc:inkChg chg="add">
          <ac:chgData name="Aniket Chhabra" userId="598e0514-bef3-4e71-b6aa-f2edd6441cff" providerId="ADAL" clId="{6B709646-9B8B-914B-83A9-D81F12AFDE5E}" dt="2022-06-19T04:48:43.276" v="1214" actId="9405"/>
          <ac:inkMkLst>
            <pc:docMk/>
            <pc:sldMk cId="3767779272" sldId="569"/>
            <ac:inkMk id="164" creationId="{070B53E2-54A3-E508-F5B0-0CB973BC1A46}"/>
          </ac:inkMkLst>
        </pc:inkChg>
        <pc:inkChg chg="add">
          <ac:chgData name="Aniket Chhabra" userId="598e0514-bef3-4e71-b6aa-f2edd6441cff" providerId="ADAL" clId="{6B709646-9B8B-914B-83A9-D81F12AFDE5E}" dt="2022-06-19T04:48:44.021" v="1215" actId="9405"/>
          <ac:inkMkLst>
            <pc:docMk/>
            <pc:sldMk cId="3767779272" sldId="569"/>
            <ac:inkMk id="165" creationId="{C536EB96-F80B-7C56-6919-0D4E1129A9A9}"/>
          </ac:inkMkLst>
        </pc:inkChg>
        <pc:inkChg chg="add">
          <ac:chgData name="Aniket Chhabra" userId="598e0514-bef3-4e71-b6aa-f2edd6441cff" providerId="ADAL" clId="{6B709646-9B8B-914B-83A9-D81F12AFDE5E}" dt="2022-06-19T04:48:44.239" v="1216" actId="9405"/>
          <ac:inkMkLst>
            <pc:docMk/>
            <pc:sldMk cId="3767779272" sldId="569"/>
            <ac:inkMk id="166" creationId="{66EA2EAD-D0D6-2C28-6480-5C1A2755CCFB}"/>
          </ac:inkMkLst>
        </pc:inkChg>
        <pc:inkChg chg="add">
          <ac:chgData name="Aniket Chhabra" userId="598e0514-bef3-4e71-b6aa-f2edd6441cff" providerId="ADAL" clId="{6B709646-9B8B-914B-83A9-D81F12AFDE5E}" dt="2022-06-19T04:48:44.436" v="1217" actId="9405"/>
          <ac:inkMkLst>
            <pc:docMk/>
            <pc:sldMk cId="3767779272" sldId="569"/>
            <ac:inkMk id="167" creationId="{44F04EBB-8C72-48A2-0D3E-4AE8AA65A87D}"/>
          </ac:inkMkLst>
        </pc:inkChg>
        <pc:inkChg chg="add">
          <ac:chgData name="Aniket Chhabra" userId="598e0514-bef3-4e71-b6aa-f2edd6441cff" providerId="ADAL" clId="{6B709646-9B8B-914B-83A9-D81F12AFDE5E}" dt="2022-06-19T04:48:44.584" v="1218" actId="9405"/>
          <ac:inkMkLst>
            <pc:docMk/>
            <pc:sldMk cId="3767779272" sldId="569"/>
            <ac:inkMk id="168" creationId="{28368141-F63A-BA2E-10CF-7A6375422CFE}"/>
          </ac:inkMkLst>
        </pc:inkChg>
        <pc:inkChg chg="add">
          <ac:chgData name="Aniket Chhabra" userId="598e0514-bef3-4e71-b6aa-f2edd6441cff" providerId="ADAL" clId="{6B709646-9B8B-914B-83A9-D81F12AFDE5E}" dt="2022-06-19T04:48:46.054" v="1219" actId="9405"/>
          <ac:inkMkLst>
            <pc:docMk/>
            <pc:sldMk cId="3767779272" sldId="569"/>
            <ac:inkMk id="169" creationId="{6DD844C6-1291-FA73-BFC3-7F5A55782A89}"/>
          </ac:inkMkLst>
        </pc:inkChg>
        <pc:inkChg chg="add">
          <ac:chgData name="Aniket Chhabra" userId="598e0514-bef3-4e71-b6aa-f2edd6441cff" providerId="ADAL" clId="{6B709646-9B8B-914B-83A9-D81F12AFDE5E}" dt="2022-06-19T04:48:46.467" v="1220" actId="9405"/>
          <ac:inkMkLst>
            <pc:docMk/>
            <pc:sldMk cId="3767779272" sldId="569"/>
            <ac:inkMk id="170" creationId="{2D11FB60-DEE8-13D9-EE4C-F333979F5188}"/>
          </ac:inkMkLst>
        </pc:inkChg>
        <pc:inkChg chg="add">
          <ac:chgData name="Aniket Chhabra" userId="598e0514-bef3-4e71-b6aa-f2edd6441cff" providerId="ADAL" clId="{6B709646-9B8B-914B-83A9-D81F12AFDE5E}" dt="2022-06-19T04:48:46.817" v="1221" actId="9405"/>
          <ac:inkMkLst>
            <pc:docMk/>
            <pc:sldMk cId="3767779272" sldId="569"/>
            <ac:inkMk id="171" creationId="{21D75BF4-449D-CD07-3122-7D5CCCEA2225}"/>
          </ac:inkMkLst>
        </pc:inkChg>
        <pc:inkChg chg="add">
          <ac:chgData name="Aniket Chhabra" userId="598e0514-bef3-4e71-b6aa-f2edd6441cff" providerId="ADAL" clId="{6B709646-9B8B-914B-83A9-D81F12AFDE5E}" dt="2022-06-19T04:48:47.315" v="1222" actId="9405"/>
          <ac:inkMkLst>
            <pc:docMk/>
            <pc:sldMk cId="3767779272" sldId="569"/>
            <ac:inkMk id="172" creationId="{698AE11E-E70B-154E-730A-5707D513B05D}"/>
          </ac:inkMkLst>
        </pc:inkChg>
        <pc:inkChg chg="add">
          <ac:chgData name="Aniket Chhabra" userId="598e0514-bef3-4e71-b6aa-f2edd6441cff" providerId="ADAL" clId="{6B709646-9B8B-914B-83A9-D81F12AFDE5E}" dt="2022-06-19T04:48:47.449" v="1223" actId="9405"/>
          <ac:inkMkLst>
            <pc:docMk/>
            <pc:sldMk cId="3767779272" sldId="569"/>
            <ac:inkMk id="173" creationId="{61A96F29-8CBE-4379-458C-71BDB6771586}"/>
          </ac:inkMkLst>
        </pc:inkChg>
        <pc:inkChg chg="add">
          <ac:chgData name="Aniket Chhabra" userId="598e0514-bef3-4e71-b6aa-f2edd6441cff" providerId="ADAL" clId="{6B709646-9B8B-914B-83A9-D81F12AFDE5E}" dt="2022-06-19T04:48:47.930" v="1224" actId="9405"/>
          <ac:inkMkLst>
            <pc:docMk/>
            <pc:sldMk cId="3767779272" sldId="569"/>
            <ac:inkMk id="174" creationId="{E5D06B5F-E970-C0D0-BC32-C4B8911C7041}"/>
          </ac:inkMkLst>
        </pc:inkChg>
        <pc:inkChg chg="add">
          <ac:chgData name="Aniket Chhabra" userId="598e0514-bef3-4e71-b6aa-f2edd6441cff" providerId="ADAL" clId="{6B709646-9B8B-914B-83A9-D81F12AFDE5E}" dt="2022-06-19T04:48:49.638" v="1225" actId="9405"/>
          <ac:inkMkLst>
            <pc:docMk/>
            <pc:sldMk cId="3767779272" sldId="569"/>
            <ac:inkMk id="175" creationId="{CAB6513E-CC31-7D58-6C09-CB1C07E1E1EE}"/>
          </ac:inkMkLst>
        </pc:inkChg>
        <pc:inkChg chg="add">
          <ac:chgData name="Aniket Chhabra" userId="598e0514-bef3-4e71-b6aa-f2edd6441cff" providerId="ADAL" clId="{6B709646-9B8B-914B-83A9-D81F12AFDE5E}" dt="2022-06-19T04:48:49.876" v="1226" actId="9405"/>
          <ac:inkMkLst>
            <pc:docMk/>
            <pc:sldMk cId="3767779272" sldId="569"/>
            <ac:inkMk id="176" creationId="{4649AF5E-94B4-FD54-149B-CB5B974511F8}"/>
          </ac:inkMkLst>
        </pc:inkChg>
        <pc:inkChg chg="add">
          <ac:chgData name="Aniket Chhabra" userId="598e0514-bef3-4e71-b6aa-f2edd6441cff" providerId="ADAL" clId="{6B709646-9B8B-914B-83A9-D81F12AFDE5E}" dt="2022-06-19T04:48:50.224" v="1227" actId="9405"/>
          <ac:inkMkLst>
            <pc:docMk/>
            <pc:sldMk cId="3767779272" sldId="569"/>
            <ac:inkMk id="177" creationId="{CFB82003-B08D-253F-1AFC-E077AD076FE5}"/>
          </ac:inkMkLst>
        </pc:inkChg>
        <pc:inkChg chg="add">
          <ac:chgData name="Aniket Chhabra" userId="598e0514-bef3-4e71-b6aa-f2edd6441cff" providerId="ADAL" clId="{6B709646-9B8B-914B-83A9-D81F12AFDE5E}" dt="2022-06-19T04:48:51.018" v="1228" actId="9405"/>
          <ac:inkMkLst>
            <pc:docMk/>
            <pc:sldMk cId="3767779272" sldId="569"/>
            <ac:inkMk id="178" creationId="{EBDAFC3C-67A3-E68C-ADC7-56D2F76E6CB7}"/>
          </ac:inkMkLst>
        </pc:inkChg>
        <pc:inkChg chg="add">
          <ac:chgData name="Aniket Chhabra" userId="598e0514-bef3-4e71-b6aa-f2edd6441cff" providerId="ADAL" clId="{6B709646-9B8B-914B-83A9-D81F12AFDE5E}" dt="2022-06-19T04:48:51.249" v="1229" actId="9405"/>
          <ac:inkMkLst>
            <pc:docMk/>
            <pc:sldMk cId="3767779272" sldId="569"/>
            <ac:inkMk id="179" creationId="{A84FA9D8-E550-FC6A-D02B-E3354CAC7609}"/>
          </ac:inkMkLst>
        </pc:inkChg>
        <pc:inkChg chg="add">
          <ac:chgData name="Aniket Chhabra" userId="598e0514-bef3-4e71-b6aa-f2edd6441cff" providerId="ADAL" clId="{6B709646-9B8B-914B-83A9-D81F12AFDE5E}" dt="2022-06-19T04:48:51.432" v="1230" actId="9405"/>
          <ac:inkMkLst>
            <pc:docMk/>
            <pc:sldMk cId="3767779272" sldId="569"/>
            <ac:inkMk id="180" creationId="{20185BE8-9CDA-9E28-AAA2-EF33213EA61E}"/>
          </ac:inkMkLst>
        </pc:inkChg>
        <pc:inkChg chg="add">
          <ac:chgData name="Aniket Chhabra" userId="598e0514-bef3-4e71-b6aa-f2edd6441cff" providerId="ADAL" clId="{6B709646-9B8B-914B-83A9-D81F12AFDE5E}" dt="2022-06-19T04:48:51.885" v="1231" actId="9405"/>
          <ac:inkMkLst>
            <pc:docMk/>
            <pc:sldMk cId="3767779272" sldId="569"/>
            <ac:inkMk id="181" creationId="{A0957A89-DEFC-0484-B676-AF22BA63CE98}"/>
          </ac:inkMkLst>
        </pc:inkChg>
        <pc:inkChg chg="add">
          <ac:chgData name="Aniket Chhabra" userId="598e0514-bef3-4e71-b6aa-f2edd6441cff" providerId="ADAL" clId="{6B709646-9B8B-914B-83A9-D81F12AFDE5E}" dt="2022-06-19T04:48:52.102" v="1232" actId="9405"/>
          <ac:inkMkLst>
            <pc:docMk/>
            <pc:sldMk cId="3767779272" sldId="569"/>
            <ac:inkMk id="182" creationId="{2C867D96-3543-311B-B612-18BCFBBD047E}"/>
          </ac:inkMkLst>
        </pc:inkChg>
        <pc:inkChg chg="add">
          <ac:chgData name="Aniket Chhabra" userId="598e0514-bef3-4e71-b6aa-f2edd6441cff" providerId="ADAL" clId="{6B709646-9B8B-914B-83A9-D81F12AFDE5E}" dt="2022-06-19T04:48:53.585" v="1233" actId="9405"/>
          <ac:inkMkLst>
            <pc:docMk/>
            <pc:sldMk cId="3767779272" sldId="569"/>
            <ac:inkMk id="183" creationId="{9DC2877A-8195-56CC-5911-415165EB7961}"/>
          </ac:inkMkLst>
        </pc:inkChg>
        <pc:inkChg chg="add">
          <ac:chgData name="Aniket Chhabra" userId="598e0514-bef3-4e71-b6aa-f2edd6441cff" providerId="ADAL" clId="{6B709646-9B8B-914B-83A9-D81F12AFDE5E}" dt="2022-06-19T04:48:53.799" v="1234" actId="9405"/>
          <ac:inkMkLst>
            <pc:docMk/>
            <pc:sldMk cId="3767779272" sldId="569"/>
            <ac:inkMk id="184" creationId="{4D3B53CA-F148-6B9E-4D06-E538D767998C}"/>
          </ac:inkMkLst>
        </pc:inkChg>
        <pc:inkChg chg="add">
          <ac:chgData name="Aniket Chhabra" userId="598e0514-bef3-4e71-b6aa-f2edd6441cff" providerId="ADAL" clId="{6B709646-9B8B-914B-83A9-D81F12AFDE5E}" dt="2022-06-19T04:48:54.148" v="1235" actId="9405"/>
          <ac:inkMkLst>
            <pc:docMk/>
            <pc:sldMk cId="3767779272" sldId="569"/>
            <ac:inkMk id="185" creationId="{819CC15D-E3ED-9D5D-3B32-D326CBB9B580}"/>
          </ac:inkMkLst>
        </pc:inkChg>
        <pc:inkChg chg="add">
          <ac:chgData name="Aniket Chhabra" userId="598e0514-bef3-4e71-b6aa-f2edd6441cff" providerId="ADAL" clId="{6B709646-9B8B-914B-83A9-D81F12AFDE5E}" dt="2022-06-19T04:48:55.391" v="1236" actId="9405"/>
          <ac:inkMkLst>
            <pc:docMk/>
            <pc:sldMk cId="3767779272" sldId="569"/>
            <ac:inkMk id="186" creationId="{B0606887-8A7D-BCAF-B97C-8052E840FA9C}"/>
          </ac:inkMkLst>
        </pc:inkChg>
        <pc:inkChg chg="add">
          <ac:chgData name="Aniket Chhabra" userId="598e0514-bef3-4e71-b6aa-f2edd6441cff" providerId="ADAL" clId="{6B709646-9B8B-914B-83A9-D81F12AFDE5E}" dt="2022-06-19T04:48:55.607" v="1237" actId="9405"/>
          <ac:inkMkLst>
            <pc:docMk/>
            <pc:sldMk cId="3767779272" sldId="569"/>
            <ac:inkMk id="187" creationId="{F4593ACE-6AF6-30B4-2917-3839C0ACFBF9}"/>
          </ac:inkMkLst>
        </pc:inkChg>
        <pc:inkChg chg="add">
          <ac:chgData name="Aniket Chhabra" userId="598e0514-bef3-4e71-b6aa-f2edd6441cff" providerId="ADAL" clId="{6B709646-9B8B-914B-83A9-D81F12AFDE5E}" dt="2022-06-19T04:48:56.010" v="1238" actId="9405"/>
          <ac:inkMkLst>
            <pc:docMk/>
            <pc:sldMk cId="3767779272" sldId="569"/>
            <ac:inkMk id="188" creationId="{9B52D63A-1A53-7BD6-E70E-31A8A4CECE7D}"/>
          </ac:inkMkLst>
        </pc:inkChg>
        <pc:inkChg chg="add">
          <ac:chgData name="Aniket Chhabra" userId="598e0514-bef3-4e71-b6aa-f2edd6441cff" providerId="ADAL" clId="{6B709646-9B8B-914B-83A9-D81F12AFDE5E}" dt="2022-06-19T04:48:56.141" v="1239" actId="9405"/>
          <ac:inkMkLst>
            <pc:docMk/>
            <pc:sldMk cId="3767779272" sldId="569"/>
            <ac:inkMk id="189" creationId="{35693DF3-7DB1-982D-697F-7EE5AA061962}"/>
          </ac:inkMkLst>
        </pc:inkChg>
        <pc:inkChg chg="add">
          <ac:chgData name="Aniket Chhabra" userId="598e0514-bef3-4e71-b6aa-f2edd6441cff" providerId="ADAL" clId="{6B709646-9B8B-914B-83A9-D81F12AFDE5E}" dt="2022-06-19T04:48:56.711" v="1240" actId="9405"/>
          <ac:inkMkLst>
            <pc:docMk/>
            <pc:sldMk cId="3767779272" sldId="569"/>
            <ac:inkMk id="190" creationId="{FD54F5C5-D51B-9737-83A7-00E4DC172AE3}"/>
          </ac:inkMkLst>
        </pc:inkChg>
        <pc:inkChg chg="add">
          <ac:chgData name="Aniket Chhabra" userId="598e0514-bef3-4e71-b6aa-f2edd6441cff" providerId="ADAL" clId="{6B709646-9B8B-914B-83A9-D81F12AFDE5E}" dt="2022-06-19T04:48:57.145" v="1241" actId="9405"/>
          <ac:inkMkLst>
            <pc:docMk/>
            <pc:sldMk cId="3767779272" sldId="569"/>
            <ac:inkMk id="191" creationId="{68479CEE-6161-CC1D-A7A4-DF254D527C64}"/>
          </ac:inkMkLst>
        </pc:inkChg>
        <pc:inkChg chg="add">
          <ac:chgData name="Aniket Chhabra" userId="598e0514-bef3-4e71-b6aa-f2edd6441cff" providerId="ADAL" clId="{6B709646-9B8B-914B-83A9-D81F12AFDE5E}" dt="2022-06-19T04:48:57.718" v="1242" actId="9405"/>
          <ac:inkMkLst>
            <pc:docMk/>
            <pc:sldMk cId="3767779272" sldId="569"/>
            <ac:inkMk id="192" creationId="{65C0282D-5E69-2736-224D-EAC21B0A37EF}"/>
          </ac:inkMkLst>
        </pc:inkChg>
        <pc:inkChg chg="add">
          <ac:chgData name="Aniket Chhabra" userId="598e0514-bef3-4e71-b6aa-f2edd6441cff" providerId="ADAL" clId="{6B709646-9B8B-914B-83A9-D81F12AFDE5E}" dt="2022-06-19T04:48:57.950" v="1243" actId="9405"/>
          <ac:inkMkLst>
            <pc:docMk/>
            <pc:sldMk cId="3767779272" sldId="569"/>
            <ac:inkMk id="193" creationId="{19B6E301-3C51-FA53-F974-71142EC247B8}"/>
          </ac:inkMkLst>
        </pc:inkChg>
        <pc:inkChg chg="add">
          <ac:chgData name="Aniket Chhabra" userId="598e0514-bef3-4e71-b6aa-f2edd6441cff" providerId="ADAL" clId="{6B709646-9B8B-914B-83A9-D81F12AFDE5E}" dt="2022-06-19T04:48:58.141" v="1244" actId="9405"/>
          <ac:inkMkLst>
            <pc:docMk/>
            <pc:sldMk cId="3767779272" sldId="569"/>
            <ac:inkMk id="194" creationId="{A0B1FC61-4F58-ECE4-34F0-5DA6941448A8}"/>
          </ac:inkMkLst>
        </pc:inkChg>
        <pc:inkChg chg="add">
          <ac:chgData name="Aniket Chhabra" userId="598e0514-bef3-4e71-b6aa-f2edd6441cff" providerId="ADAL" clId="{6B709646-9B8B-914B-83A9-D81F12AFDE5E}" dt="2022-06-19T04:48:58.274" v="1245" actId="9405"/>
          <ac:inkMkLst>
            <pc:docMk/>
            <pc:sldMk cId="3767779272" sldId="569"/>
            <ac:inkMk id="195" creationId="{AF7B94A0-5D1B-C30D-289A-09D4BD58BA2D}"/>
          </ac:inkMkLst>
        </pc:inkChg>
        <pc:inkChg chg="add">
          <ac:chgData name="Aniket Chhabra" userId="598e0514-bef3-4e71-b6aa-f2edd6441cff" providerId="ADAL" clId="{6B709646-9B8B-914B-83A9-D81F12AFDE5E}" dt="2022-06-19T04:48:59.185" v="1246" actId="9405"/>
          <ac:inkMkLst>
            <pc:docMk/>
            <pc:sldMk cId="3767779272" sldId="569"/>
            <ac:inkMk id="196" creationId="{DCF9140C-2DB7-0405-DEE4-21589E82EF4E}"/>
          </ac:inkMkLst>
        </pc:inkChg>
        <pc:inkChg chg="add">
          <ac:chgData name="Aniket Chhabra" userId="598e0514-bef3-4e71-b6aa-f2edd6441cff" providerId="ADAL" clId="{6B709646-9B8B-914B-83A9-D81F12AFDE5E}" dt="2022-06-19T04:48:59.508" v="1247" actId="9405"/>
          <ac:inkMkLst>
            <pc:docMk/>
            <pc:sldMk cId="3767779272" sldId="569"/>
            <ac:inkMk id="197" creationId="{FB7776EA-C51E-DE18-745B-5ECD8F4DD690}"/>
          </ac:inkMkLst>
        </pc:inkChg>
        <pc:inkChg chg="add">
          <ac:chgData name="Aniket Chhabra" userId="598e0514-bef3-4e71-b6aa-f2edd6441cff" providerId="ADAL" clId="{6B709646-9B8B-914B-83A9-D81F12AFDE5E}" dt="2022-06-19T04:49:00.110" v="1248" actId="9405"/>
          <ac:inkMkLst>
            <pc:docMk/>
            <pc:sldMk cId="3767779272" sldId="569"/>
            <ac:inkMk id="198" creationId="{C8C7A811-65C2-9D2F-2BAA-0C3D4E090122}"/>
          </ac:inkMkLst>
        </pc:inkChg>
        <pc:inkChg chg="add">
          <ac:chgData name="Aniket Chhabra" userId="598e0514-bef3-4e71-b6aa-f2edd6441cff" providerId="ADAL" clId="{6B709646-9B8B-914B-83A9-D81F12AFDE5E}" dt="2022-06-19T04:49:00.353" v="1249" actId="9405"/>
          <ac:inkMkLst>
            <pc:docMk/>
            <pc:sldMk cId="3767779272" sldId="569"/>
            <ac:inkMk id="199" creationId="{9874C91D-A7DC-ECF0-141B-24E2238C681F}"/>
          </ac:inkMkLst>
        </pc:inkChg>
        <pc:inkChg chg="add">
          <ac:chgData name="Aniket Chhabra" userId="598e0514-bef3-4e71-b6aa-f2edd6441cff" providerId="ADAL" clId="{6B709646-9B8B-914B-83A9-D81F12AFDE5E}" dt="2022-06-19T04:49:00.784" v="1250" actId="9405"/>
          <ac:inkMkLst>
            <pc:docMk/>
            <pc:sldMk cId="3767779272" sldId="569"/>
            <ac:inkMk id="200" creationId="{EE987086-B128-ECC1-9898-E8DFB8BC9161}"/>
          </ac:inkMkLst>
        </pc:inkChg>
        <pc:inkChg chg="add">
          <ac:chgData name="Aniket Chhabra" userId="598e0514-bef3-4e71-b6aa-f2edd6441cff" providerId="ADAL" clId="{6B709646-9B8B-914B-83A9-D81F12AFDE5E}" dt="2022-06-19T04:49:00.921" v="1251" actId="9405"/>
          <ac:inkMkLst>
            <pc:docMk/>
            <pc:sldMk cId="3767779272" sldId="569"/>
            <ac:inkMk id="201" creationId="{51448BFF-A53F-712F-EE79-1B4E9B015896}"/>
          </ac:inkMkLst>
        </pc:inkChg>
        <pc:inkChg chg="add">
          <ac:chgData name="Aniket Chhabra" userId="598e0514-bef3-4e71-b6aa-f2edd6441cff" providerId="ADAL" clId="{6B709646-9B8B-914B-83A9-D81F12AFDE5E}" dt="2022-06-19T04:49:01.543" v="1252" actId="9405"/>
          <ac:inkMkLst>
            <pc:docMk/>
            <pc:sldMk cId="3767779272" sldId="569"/>
            <ac:inkMk id="202" creationId="{8B89C148-5DCB-DD3F-F4CE-E3443B7BCB3E}"/>
          </ac:inkMkLst>
        </pc:inkChg>
        <pc:inkChg chg="add">
          <ac:chgData name="Aniket Chhabra" userId="598e0514-bef3-4e71-b6aa-f2edd6441cff" providerId="ADAL" clId="{6B709646-9B8B-914B-83A9-D81F12AFDE5E}" dt="2022-06-19T04:49:01.756" v="1253" actId="9405"/>
          <ac:inkMkLst>
            <pc:docMk/>
            <pc:sldMk cId="3767779272" sldId="569"/>
            <ac:inkMk id="203" creationId="{F8CF17E4-FB79-7626-1A7D-78CD75EAC749}"/>
          </ac:inkMkLst>
        </pc:inkChg>
        <pc:inkChg chg="add">
          <ac:chgData name="Aniket Chhabra" userId="598e0514-bef3-4e71-b6aa-f2edd6441cff" providerId="ADAL" clId="{6B709646-9B8B-914B-83A9-D81F12AFDE5E}" dt="2022-06-19T04:49:02.465" v="1254" actId="9405"/>
          <ac:inkMkLst>
            <pc:docMk/>
            <pc:sldMk cId="3767779272" sldId="569"/>
            <ac:inkMk id="204" creationId="{62E9CF52-6EDB-F50A-CE4F-2B2886C35326}"/>
          </ac:inkMkLst>
        </pc:inkChg>
        <pc:inkChg chg="add">
          <ac:chgData name="Aniket Chhabra" userId="598e0514-bef3-4e71-b6aa-f2edd6441cff" providerId="ADAL" clId="{6B709646-9B8B-914B-83A9-D81F12AFDE5E}" dt="2022-06-19T04:49:02.704" v="1255" actId="9405"/>
          <ac:inkMkLst>
            <pc:docMk/>
            <pc:sldMk cId="3767779272" sldId="569"/>
            <ac:inkMk id="205" creationId="{B0CCBDB6-BC48-1720-2D75-B9A4F16B554C}"/>
          </ac:inkMkLst>
        </pc:inkChg>
        <pc:inkChg chg="add">
          <ac:chgData name="Aniket Chhabra" userId="598e0514-bef3-4e71-b6aa-f2edd6441cff" providerId="ADAL" clId="{6B709646-9B8B-914B-83A9-D81F12AFDE5E}" dt="2022-06-19T04:49:03.091" v="1256" actId="9405"/>
          <ac:inkMkLst>
            <pc:docMk/>
            <pc:sldMk cId="3767779272" sldId="569"/>
            <ac:inkMk id="206" creationId="{0F7BCBE6-E355-BA9C-4F5A-FC2C87FB0263}"/>
          </ac:inkMkLst>
        </pc:inkChg>
        <pc:inkChg chg="add">
          <ac:chgData name="Aniket Chhabra" userId="598e0514-bef3-4e71-b6aa-f2edd6441cff" providerId="ADAL" clId="{6B709646-9B8B-914B-83A9-D81F12AFDE5E}" dt="2022-06-19T04:49:03.199" v="1257" actId="9405"/>
          <ac:inkMkLst>
            <pc:docMk/>
            <pc:sldMk cId="3767779272" sldId="569"/>
            <ac:inkMk id="207" creationId="{EF8A2E9D-D3AC-8EEB-2932-BDB7989AE7CD}"/>
          </ac:inkMkLst>
        </pc:inkChg>
        <pc:inkChg chg="add">
          <ac:chgData name="Aniket Chhabra" userId="598e0514-bef3-4e71-b6aa-f2edd6441cff" providerId="ADAL" clId="{6B709646-9B8B-914B-83A9-D81F12AFDE5E}" dt="2022-06-19T04:49:03.391" v="1258" actId="9405"/>
          <ac:inkMkLst>
            <pc:docMk/>
            <pc:sldMk cId="3767779272" sldId="569"/>
            <ac:inkMk id="208" creationId="{C5A8C3FE-9596-381F-4B50-D039E18D573B}"/>
          </ac:inkMkLst>
        </pc:inkChg>
        <pc:inkChg chg="add">
          <ac:chgData name="Aniket Chhabra" userId="598e0514-bef3-4e71-b6aa-f2edd6441cff" providerId="ADAL" clId="{6B709646-9B8B-914B-83A9-D81F12AFDE5E}" dt="2022-06-19T04:49:04.100" v="1259" actId="9405"/>
          <ac:inkMkLst>
            <pc:docMk/>
            <pc:sldMk cId="3767779272" sldId="569"/>
            <ac:inkMk id="209" creationId="{011CAF5A-2466-E2F2-77E5-29FC54F821B7}"/>
          </ac:inkMkLst>
        </pc:inkChg>
        <pc:inkChg chg="add">
          <ac:chgData name="Aniket Chhabra" userId="598e0514-bef3-4e71-b6aa-f2edd6441cff" providerId="ADAL" clId="{6B709646-9B8B-914B-83A9-D81F12AFDE5E}" dt="2022-06-19T04:49:04.291" v="1260" actId="9405"/>
          <ac:inkMkLst>
            <pc:docMk/>
            <pc:sldMk cId="3767779272" sldId="569"/>
            <ac:inkMk id="210" creationId="{F520C792-62A6-9A0B-EDCB-E14C230348DF}"/>
          </ac:inkMkLst>
        </pc:inkChg>
        <pc:inkChg chg="add">
          <ac:chgData name="Aniket Chhabra" userId="598e0514-bef3-4e71-b6aa-f2edd6441cff" providerId="ADAL" clId="{6B709646-9B8B-914B-83A9-D81F12AFDE5E}" dt="2022-06-19T04:49:04.475" v="1261" actId="9405"/>
          <ac:inkMkLst>
            <pc:docMk/>
            <pc:sldMk cId="3767779272" sldId="569"/>
            <ac:inkMk id="211" creationId="{5A998F1D-2F07-ACBA-1B9A-415E9CE5E090}"/>
          </ac:inkMkLst>
        </pc:inkChg>
        <pc:inkChg chg="add">
          <ac:chgData name="Aniket Chhabra" userId="598e0514-bef3-4e71-b6aa-f2edd6441cff" providerId="ADAL" clId="{6B709646-9B8B-914B-83A9-D81F12AFDE5E}" dt="2022-06-19T04:49:04.871" v="1262" actId="9405"/>
          <ac:inkMkLst>
            <pc:docMk/>
            <pc:sldMk cId="3767779272" sldId="569"/>
            <ac:inkMk id="212" creationId="{21AF5E0F-BC35-90DA-8E56-587ABCA2A9A7}"/>
          </ac:inkMkLst>
        </pc:inkChg>
        <pc:inkChg chg="add">
          <ac:chgData name="Aniket Chhabra" userId="598e0514-bef3-4e71-b6aa-f2edd6441cff" providerId="ADAL" clId="{6B709646-9B8B-914B-83A9-D81F12AFDE5E}" dt="2022-06-19T04:49:10.786" v="1263" actId="9405"/>
          <ac:inkMkLst>
            <pc:docMk/>
            <pc:sldMk cId="3767779272" sldId="569"/>
            <ac:inkMk id="213" creationId="{FC1BB648-A032-EE48-6F4B-3FD38DB1994F}"/>
          </ac:inkMkLst>
        </pc:inkChg>
        <pc:inkChg chg="add">
          <ac:chgData name="Aniket Chhabra" userId="598e0514-bef3-4e71-b6aa-f2edd6441cff" providerId="ADAL" clId="{6B709646-9B8B-914B-83A9-D81F12AFDE5E}" dt="2022-06-19T04:49:13.129" v="1264" actId="9405"/>
          <ac:inkMkLst>
            <pc:docMk/>
            <pc:sldMk cId="3767779272" sldId="569"/>
            <ac:inkMk id="214" creationId="{6CE49D28-7468-DB7A-ED22-D625FCD72C7B}"/>
          </ac:inkMkLst>
        </pc:inkChg>
        <pc:inkChg chg="add">
          <ac:chgData name="Aniket Chhabra" userId="598e0514-bef3-4e71-b6aa-f2edd6441cff" providerId="ADAL" clId="{6B709646-9B8B-914B-83A9-D81F12AFDE5E}" dt="2022-06-19T04:49:13.387" v="1265" actId="9405"/>
          <ac:inkMkLst>
            <pc:docMk/>
            <pc:sldMk cId="3767779272" sldId="569"/>
            <ac:inkMk id="215" creationId="{AA08014D-C011-B2AE-C26D-926C3732BFB2}"/>
          </ac:inkMkLst>
        </pc:inkChg>
        <pc:inkChg chg="add">
          <ac:chgData name="Aniket Chhabra" userId="598e0514-bef3-4e71-b6aa-f2edd6441cff" providerId="ADAL" clId="{6B709646-9B8B-914B-83A9-D81F12AFDE5E}" dt="2022-06-19T04:49:13.793" v="1266" actId="9405"/>
          <ac:inkMkLst>
            <pc:docMk/>
            <pc:sldMk cId="3767779272" sldId="569"/>
            <ac:inkMk id="216" creationId="{45127ECF-C342-538F-AF23-92B3976D06E1}"/>
          </ac:inkMkLst>
        </pc:inkChg>
        <pc:inkChg chg="add">
          <ac:chgData name="Aniket Chhabra" userId="598e0514-bef3-4e71-b6aa-f2edd6441cff" providerId="ADAL" clId="{6B709646-9B8B-914B-83A9-D81F12AFDE5E}" dt="2022-06-19T04:49:13.947" v="1267" actId="9405"/>
          <ac:inkMkLst>
            <pc:docMk/>
            <pc:sldMk cId="3767779272" sldId="569"/>
            <ac:inkMk id="217" creationId="{6F023816-4841-4E12-BF81-8FE215822E10}"/>
          </ac:inkMkLst>
        </pc:inkChg>
        <pc:inkChg chg="add">
          <ac:chgData name="Aniket Chhabra" userId="598e0514-bef3-4e71-b6aa-f2edd6441cff" providerId="ADAL" clId="{6B709646-9B8B-914B-83A9-D81F12AFDE5E}" dt="2022-06-19T04:49:14.155" v="1268" actId="9405"/>
          <ac:inkMkLst>
            <pc:docMk/>
            <pc:sldMk cId="3767779272" sldId="569"/>
            <ac:inkMk id="218" creationId="{8D6093D8-62CE-FACB-CBA0-8F705BB7D6ED}"/>
          </ac:inkMkLst>
        </pc:inkChg>
        <pc:inkChg chg="add">
          <ac:chgData name="Aniket Chhabra" userId="598e0514-bef3-4e71-b6aa-f2edd6441cff" providerId="ADAL" clId="{6B709646-9B8B-914B-83A9-D81F12AFDE5E}" dt="2022-06-19T04:49:14.826" v="1269" actId="9405"/>
          <ac:inkMkLst>
            <pc:docMk/>
            <pc:sldMk cId="3767779272" sldId="569"/>
            <ac:inkMk id="219" creationId="{46531462-85D7-9BFE-4B69-91128AA03930}"/>
          </ac:inkMkLst>
        </pc:inkChg>
        <pc:inkChg chg="add">
          <ac:chgData name="Aniket Chhabra" userId="598e0514-bef3-4e71-b6aa-f2edd6441cff" providerId="ADAL" clId="{6B709646-9B8B-914B-83A9-D81F12AFDE5E}" dt="2022-06-19T04:49:15.083" v="1270" actId="9405"/>
          <ac:inkMkLst>
            <pc:docMk/>
            <pc:sldMk cId="3767779272" sldId="569"/>
            <ac:inkMk id="220" creationId="{888DCDE8-700B-DDF9-A293-BB535FC5EAFF}"/>
          </ac:inkMkLst>
        </pc:inkChg>
        <pc:inkChg chg="add">
          <ac:chgData name="Aniket Chhabra" userId="598e0514-bef3-4e71-b6aa-f2edd6441cff" providerId="ADAL" clId="{6B709646-9B8B-914B-83A9-D81F12AFDE5E}" dt="2022-06-19T04:49:15.235" v="1271" actId="9405"/>
          <ac:inkMkLst>
            <pc:docMk/>
            <pc:sldMk cId="3767779272" sldId="569"/>
            <ac:inkMk id="221" creationId="{93AA8A37-C339-E1F5-C13B-1417E008F199}"/>
          </ac:inkMkLst>
        </pc:inkChg>
        <pc:inkChg chg="add">
          <ac:chgData name="Aniket Chhabra" userId="598e0514-bef3-4e71-b6aa-f2edd6441cff" providerId="ADAL" clId="{6B709646-9B8B-914B-83A9-D81F12AFDE5E}" dt="2022-06-19T04:49:16.407" v="1272" actId="9405"/>
          <ac:inkMkLst>
            <pc:docMk/>
            <pc:sldMk cId="3767779272" sldId="569"/>
            <ac:inkMk id="222" creationId="{F45881CA-3049-3C7A-5A56-3233B19A44D6}"/>
          </ac:inkMkLst>
        </pc:inkChg>
        <pc:inkChg chg="add">
          <ac:chgData name="Aniket Chhabra" userId="598e0514-bef3-4e71-b6aa-f2edd6441cff" providerId="ADAL" clId="{6B709646-9B8B-914B-83A9-D81F12AFDE5E}" dt="2022-06-19T04:49:16.643" v="1273" actId="9405"/>
          <ac:inkMkLst>
            <pc:docMk/>
            <pc:sldMk cId="3767779272" sldId="569"/>
            <ac:inkMk id="223" creationId="{A9963AED-4E68-F5A5-FCCA-A863C20CAE68}"/>
          </ac:inkMkLst>
        </pc:inkChg>
        <pc:inkChg chg="add">
          <ac:chgData name="Aniket Chhabra" userId="598e0514-bef3-4e71-b6aa-f2edd6441cff" providerId="ADAL" clId="{6B709646-9B8B-914B-83A9-D81F12AFDE5E}" dt="2022-06-19T04:49:17.228" v="1274" actId="9405"/>
          <ac:inkMkLst>
            <pc:docMk/>
            <pc:sldMk cId="3767779272" sldId="569"/>
            <ac:inkMk id="224" creationId="{A80C69C6-F80B-8BBE-0D8F-0B9968214C64}"/>
          </ac:inkMkLst>
        </pc:inkChg>
        <pc:inkChg chg="add">
          <ac:chgData name="Aniket Chhabra" userId="598e0514-bef3-4e71-b6aa-f2edd6441cff" providerId="ADAL" clId="{6B709646-9B8B-914B-83A9-D81F12AFDE5E}" dt="2022-06-19T04:49:17.438" v="1275" actId="9405"/>
          <ac:inkMkLst>
            <pc:docMk/>
            <pc:sldMk cId="3767779272" sldId="569"/>
            <ac:inkMk id="225" creationId="{17934E52-A403-F00C-6F22-BE2B72B72948}"/>
          </ac:inkMkLst>
        </pc:inkChg>
        <pc:inkChg chg="add">
          <ac:chgData name="Aniket Chhabra" userId="598e0514-bef3-4e71-b6aa-f2edd6441cff" providerId="ADAL" clId="{6B709646-9B8B-914B-83A9-D81F12AFDE5E}" dt="2022-06-19T04:49:17.620" v="1276" actId="9405"/>
          <ac:inkMkLst>
            <pc:docMk/>
            <pc:sldMk cId="3767779272" sldId="569"/>
            <ac:inkMk id="226" creationId="{07F711A2-0862-2C2C-33C7-C2DE648959F9}"/>
          </ac:inkMkLst>
        </pc:inkChg>
        <pc:inkChg chg="add">
          <ac:chgData name="Aniket Chhabra" userId="598e0514-bef3-4e71-b6aa-f2edd6441cff" providerId="ADAL" clId="{6B709646-9B8B-914B-83A9-D81F12AFDE5E}" dt="2022-06-19T04:49:17.761" v="1277" actId="9405"/>
          <ac:inkMkLst>
            <pc:docMk/>
            <pc:sldMk cId="3767779272" sldId="569"/>
            <ac:inkMk id="227" creationId="{48CB377C-4C61-1122-2F88-794D970F190F}"/>
          </ac:inkMkLst>
        </pc:inkChg>
        <pc:inkChg chg="add">
          <ac:chgData name="Aniket Chhabra" userId="598e0514-bef3-4e71-b6aa-f2edd6441cff" providerId="ADAL" clId="{6B709646-9B8B-914B-83A9-D81F12AFDE5E}" dt="2022-06-19T04:49:18.559" v="1278" actId="9405"/>
          <ac:inkMkLst>
            <pc:docMk/>
            <pc:sldMk cId="3767779272" sldId="569"/>
            <ac:inkMk id="228" creationId="{B743DBA2-7CA9-5DBF-2C3A-CAF63BBADECF}"/>
          </ac:inkMkLst>
        </pc:inkChg>
        <pc:inkChg chg="add">
          <ac:chgData name="Aniket Chhabra" userId="598e0514-bef3-4e71-b6aa-f2edd6441cff" providerId="ADAL" clId="{6B709646-9B8B-914B-83A9-D81F12AFDE5E}" dt="2022-06-19T04:49:18.805" v="1279" actId="9405"/>
          <ac:inkMkLst>
            <pc:docMk/>
            <pc:sldMk cId="3767779272" sldId="569"/>
            <ac:inkMk id="229" creationId="{4A77FC29-92B1-0CDC-79E0-771E4D41CF65}"/>
          </ac:inkMkLst>
        </pc:inkChg>
        <pc:inkChg chg="add">
          <ac:chgData name="Aniket Chhabra" userId="598e0514-bef3-4e71-b6aa-f2edd6441cff" providerId="ADAL" clId="{6B709646-9B8B-914B-83A9-D81F12AFDE5E}" dt="2022-06-19T04:49:19.346" v="1280" actId="9405"/>
          <ac:inkMkLst>
            <pc:docMk/>
            <pc:sldMk cId="3767779272" sldId="569"/>
            <ac:inkMk id="230" creationId="{08DD48C0-0C61-04AF-5982-BAC2BCB0D090}"/>
          </ac:inkMkLst>
        </pc:inkChg>
        <pc:inkChg chg="add">
          <ac:chgData name="Aniket Chhabra" userId="598e0514-bef3-4e71-b6aa-f2edd6441cff" providerId="ADAL" clId="{6B709646-9B8B-914B-83A9-D81F12AFDE5E}" dt="2022-06-19T04:49:19.582" v="1281" actId="9405"/>
          <ac:inkMkLst>
            <pc:docMk/>
            <pc:sldMk cId="3767779272" sldId="569"/>
            <ac:inkMk id="231" creationId="{DB4DDF5F-C75E-667E-11EF-4BF58F17FF00}"/>
          </ac:inkMkLst>
        </pc:inkChg>
        <pc:inkChg chg="add">
          <ac:chgData name="Aniket Chhabra" userId="598e0514-bef3-4e71-b6aa-f2edd6441cff" providerId="ADAL" clId="{6B709646-9B8B-914B-83A9-D81F12AFDE5E}" dt="2022-06-19T04:49:20.024" v="1282" actId="9405"/>
          <ac:inkMkLst>
            <pc:docMk/>
            <pc:sldMk cId="3767779272" sldId="569"/>
            <ac:inkMk id="232" creationId="{95E539C2-E3E2-EA5A-E254-C270B319F844}"/>
          </ac:inkMkLst>
        </pc:inkChg>
        <pc:inkChg chg="add">
          <ac:chgData name="Aniket Chhabra" userId="598e0514-bef3-4e71-b6aa-f2edd6441cff" providerId="ADAL" clId="{6B709646-9B8B-914B-83A9-D81F12AFDE5E}" dt="2022-06-19T04:49:20.163" v="1283" actId="9405"/>
          <ac:inkMkLst>
            <pc:docMk/>
            <pc:sldMk cId="3767779272" sldId="569"/>
            <ac:inkMk id="233" creationId="{3F294FD9-8AC8-B7E9-2818-D2D7E17CB511}"/>
          </ac:inkMkLst>
        </pc:inkChg>
        <pc:inkChg chg="add">
          <ac:chgData name="Aniket Chhabra" userId="598e0514-bef3-4e71-b6aa-f2edd6441cff" providerId="ADAL" clId="{6B709646-9B8B-914B-83A9-D81F12AFDE5E}" dt="2022-06-19T04:49:20.399" v="1284" actId="9405"/>
          <ac:inkMkLst>
            <pc:docMk/>
            <pc:sldMk cId="3767779272" sldId="569"/>
            <ac:inkMk id="234" creationId="{182A5816-F309-D690-6FE2-8D15B8EDB91A}"/>
          </ac:inkMkLst>
        </pc:inkChg>
        <pc:inkChg chg="add">
          <ac:chgData name="Aniket Chhabra" userId="598e0514-bef3-4e71-b6aa-f2edd6441cff" providerId="ADAL" clId="{6B709646-9B8B-914B-83A9-D81F12AFDE5E}" dt="2022-06-19T04:49:20.869" v="1285" actId="9405"/>
          <ac:inkMkLst>
            <pc:docMk/>
            <pc:sldMk cId="3767779272" sldId="569"/>
            <ac:inkMk id="235" creationId="{AC6F0AF9-6E74-52CC-EF37-534BCD600D8E}"/>
          </ac:inkMkLst>
        </pc:inkChg>
        <pc:inkChg chg="add">
          <ac:chgData name="Aniket Chhabra" userId="598e0514-bef3-4e71-b6aa-f2edd6441cff" providerId="ADAL" clId="{6B709646-9B8B-914B-83A9-D81F12AFDE5E}" dt="2022-06-19T04:49:21.805" v="1286" actId="9405"/>
          <ac:inkMkLst>
            <pc:docMk/>
            <pc:sldMk cId="3767779272" sldId="569"/>
            <ac:inkMk id="236" creationId="{DFD8F429-893D-0280-BB5C-F315BC764DAD}"/>
          </ac:inkMkLst>
        </pc:inkChg>
        <pc:inkChg chg="add">
          <ac:chgData name="Aniket Chhabra" userId="598e0514-bef3-4e71-b6aa-f2edd6441cff" providerId="ADAL" clId="{6B709646-9B8B-914B-83A9-D81F12AFDE5E}" dt="2022-06-19T04:49:22.040" v="1287" actId="9405"/>
          <ac:inkMkLst>
            <pc:docMk/>
            <pc:sldMk cId="3767779272" sldId="569"/>
            <ac:inkMk id="237" creationId="{9C29CC0E-7A04-5B8D-209D-7F86C2041129}"/>
          </ac:inkMkLst>
        </pc:inkChg>
        <pc:inkChg chg="add">
          <ac:chgData name="Aniket Chhabra" userId="598e0514-bef3-4e71-b6aa-f2edd6441cff" providerId="ADAL" clId="{6B709646-9B8B-914B-83A9-D81F12AFDE5E}" dt="2022-06-19T04:49:22.422" v="1288" actId="9405"/>
          <ac:inkMkLst>
            <pc:docMk/>
            <pc:sldMk cId="3767779272" sldId="569"/>
            <ac:inkMk id="238" creationId="{8CFB28CA-7DF9-A1F6-9845-E044CC923726}"/>
          </ac:inkMkLst>
        </pc:inkChg>
        <pc:inkChg chg="add">
          <ac:chgData name="Aniket Chhabra" userId="598e0514-bef3-4e71-b6aa-f2edd6441cff" providerId="ADAL" clId="{6B709646-9B8B-914B-83A9-D81F12AFDE5E}" dt="2022-06-19T04:49:22.562" v="1289" actId="9405"/>
          <ac:inkMkLst>
            <pc:docMk/>
            <pc:sldMk cId="3767779272" sldId="569"/>
            <ac:inkMk id="239" creationId="{57C10746-05CD-A17F-E960-261B8D8EDBA7}"/>
          </ac:inkMkLst>
        </pc:inkChg>
        <pc:inkChg chg="add">
          <ac:chgData name="Aniket Chhabra" userId="598e0514-bef3-4e71-b6aa-f2edd6441cff" providerId="ADAL" clId="{6B709646-9B8B-914B-83A9-D81F12AFDE5E}" dt="2022-06-19T04:49:22.785" v="1290" actId="9405"/>
          <ac:inkMkLst>
            <pc:docMk/>
            <pc:sldMk cId="3767779272" sldId="569"/>
            <ac:inkMk id="240" creationId="{294B0482-FAFF-021A-B165-ED4B3CA67452}"/>
          </ac:inkMkLst>
        </pc:inkChg>
        <pc:inkChg chg="add">
          <ac:chgData name="Aniket Chhabra" userId="598e0514-bef3-4e71-b6aa-f2edd6441cff" providerId="ADAL" clId="{6B709646-9B8B-914B-83A9-D81F12AFDE5E}" dt="2022-06-19T04:49:23.611" v="1291" actId="9405"/>
          <ac:inkMkLst>
            <pc:docMk/>
            <pc:sldMk cId="3767779272" sldId="569"/>
            <ac:inkMk id="241" creationId="{01019DFB-8394-B715-268D-5D34FE76D8D6}"/>
          </ac:inkMkLst>
        </pc:inkChg>
        <pc:inkChg chg="add">
          <ac:chgData name="Aniket Chhabra" userId="598e0514-bef3-4e71-b6aa-f2edd6441cff" providerId="ADAL" clId="{6B709646-9B8B-914B-83A9-D81F12AFDE5E}" dt="2022-06-19T04:49:24.394" v="1292" actId="9405"/>
          <ac:inkMkLst>
            <pc:docMk/>
            <pc:sldMk cId="3767779272" sldId="569"/>
            <ac:inkMk id="242" creationId="{8278AF20-F539-B437-7D54-7CA8DEB5C974}"/>
          </ac:inkMkLst>
        </pc:inkChg>
        <pc:inkChg chg="add">
          <ac:chgData name="Aniket Chhabra" userId="598e0514-bef3-4e71-b6aa-f2edd6441cff" providerId="ADAL" clId="{6B709646-9B8B-914B-83A9-D81F12AFDE5E}" dt="2022-06-19T04:49:24.581" v="1293" actId="9405"/>
          <ac:inkMkLst>
            <pc:docMk/>
            <pc:sldMk cId="3767779272" sldId="569"/>
            <ac:inkMk id="243" creationId="{F707516C-7104-9B11-29EB-98BACCB356C0}"/>
          </ac:inkMkLst>
        </pc:inkChg>
        <pc:inkChg chg="add">
          <ac:chgData name="Aniket Chhabra" userId="598e0514-bef3-4e71-b6aa-f2edd6441cff" providerId="ADAL" clId="{6B709646-9B8B-914B-83A9-D81F12AFDE5E}" dt="2022-06-19T04:49:24.787" v="1294" actId="9405"/>
          <ac:inkMkLst>
            <pc:docMk/>
            <pc:sldMk cId="3767779272" sldId="569"/>
            <ac:inkMk id="244" creationId="{D97EFC21-DBE1-46A6-9F4A-62B21D44944A}"/>
          </ac:inkMkLst>
        </pc:inkChg>
        <pc:inkChg chg="add">
          <ac:chgData name="Aniket Chhabra" userId="598e0514-bef3-4e71-b6aa-f2edd6441cff" providerId="ADAL" clId="{6B709646-9B8B-914B-83A9-D81F12AFDE5E}" dt="2022-06-19T04:49:25.187" v="1295" actId="9405"/>
          <ac:inkMkLst>
            <pc:docMk/>
            <pc:sldMk cId="3767779272" sldId="569"/>
            <ac:inkMk id="245" creationId="{AFE6CF23-5C77-90BE-BD46-F9F284D945CB}"/>
          </ac:inkMkLst>
        </pc:inkChg>
        <pc:inkChg chg="add">
          <ac:chgData name="Aniket Chhabra" userId="598e0514-bef3-4e71-b6aa-f2edd6441cff" providerId="ADAL" clId="{6B709646-9B8B-914B-83A9-D81F12AFDE5E}" dt="2022-06-19T04:49:30.182" v="1296" actId="9405"/>
          <ac:inkMkLst>
            <pc:docMk/>
            <pc:sldMk cId="3767779272" sldId="569"/>
            <ac:inkMk id="246" creationId="{5158EE0D-D436-B730-F43B-EA8E98A909E4}"/>
          </ac:inkMkLst>
        </pc:inkChg>
        <pc:inkChg chg="add">
          <ac:chgData name="Aniket Chhabra" userId="598e0514-bef3-4e71-b6aa-f2edd6441cff" providerId="ADAL" clId="{6B709646-9B8B-914B-83A9-D81F12AFDE5E}" dt="2022-06-19T04:49:30.426" v="1297" actId="9405"/>
          <ac:inkMkLst>
            <pc:docMk/>
            <pc:sldMk cId="3767779272" sldId="569"/>
            <ac:inkMk id="247" creationId="{BF25942A-1F56-96D6-B2B8-DFAD67C0CBED}"/>
          </ac:inkMkLst>
        </pc:inkChg>
        <pc:inkChg chg="add">
          <ac:chgData name="Aniket Chhabra" userId="598e0514-bef3-4e71-b6aa-f2edd6441cff" providerId="ADAL" clId="{6B709646-9B8B-914B-83A9-D81F12AFDE5E}" dt="2022-06-19T04:49:30.997" v="1298" actId="9405"/>
          <ac:inkMkLst>
            <pc:docMk/>
            <pc:sldMk cId="3767779272" sldId="569"/>
            <ac:inkMk id="248" creationId="{16892DAD-53D6-2DBE-51C5-6E052E92E5E9}"/>
          </ac:inkMkLst>
        </pc:inkChg>
        <pc:inkChg chg="add">
          <ac:chgData name="Aniket Chhabra" userId="598e0514-bef3-4e71-b6aa-f2edd6441cff" providerId="ADAL" clId="{6B709646-9B8B-914B-83A9-D81F12AFDE5E}" dt="2022-06-19T04:49:31.212" v="1299" actId="9405"/>
          <ac:inkMkLst>
            <pc:docMk/>
            <pc:sldMk cId="3767779272" sldId="569"/>
            <ac:inkMk id="249" creationId="{5D5F6AD3-4853-4A5C-24D8-07DEC0C25536}"/>
          </ac:inkMkLst>
        </pc:inkChg>
        <pc:inkChg chg="add">
          <ac:chgData name="Aniket Chhabra" userId="598e0514-bef3-4e71-b6aa-f2edd6441cff" providerId="ADAL" clId="{6B709646-9B8B-914B-83A9-D81F12AFDE5E}" dt="2022-06-19T04:49:31.707" v="1300" actId="9405"/>
          <ac:inkMkLst>
            <pc:docMk/>
            <pc:sldMk cId="3767779272" sldId="569"/>
            <ac:inkMk id="250" creationId="{8F8DA0F2-E12F-F04B-E531-17970FF2B60E}"/>
          </ac:inkMkLst>
        </pc:inkChg>
        <pc:inkChg chg="add">
          <ac:chgData name="Aniket Chhabra" userId="598e0514-bef3-4e71-b6aa-f2edd6441cff" providerId="ADAL" clId="{6B709646-9B8B-914B-83A9-D81F12AFDE5E}" dt="2022-06-19T04:49:31.847" v="1301" actId="9405"/>
          <ac:inkMkLst>
            <pc:docMk/>
            <pc:sldMk cId="3767779272" sldId="569"/>
            <ac:inkMk id="251" creationId="{3DEF0496-9DFF-75F6-1C75-52A19635AF1E}"/>
          </ac:inkMkLst>
        </pc:inkChg>
        <pc:inkChg chg="add">
          <ac:chgData name="Aniket Chhabra" userId="598e0514-bef3-4e71-b6aa-f2edd6441cff" providerId="ADAL" clId="{6B709646-9B8B-914B-83A9-D81F12AFDE5E}" dt="2022-06-19T04:49:32.120" v="1302" actId="9405"/>
          <ac:inkMkLst>
            <pc:docMk/>
            <pc:sldMk cId="3767779272" sldId="569"/>
            <ac:inkMk id="252" creationId="{BB660C1C-B680-E3C3-6A40-C6346CBD2AD4}"/>
          </ac:inkMkLst>
        </pc:inkChg>
        <pc:inkChg chg="add">
          <ac:chgData name="Aniket Chhabra" userId="598e0514-bef3-4e71-b6aa-f2edd6441cff" providerId="ADAL" clId="{6B709646-9B8B-914B-83A9-D81F12AFDE5E}" dt="2022-06-19T04:49:32.860" v="1303" actId="9405"/>
          <ac:inkMkLst>
            <pc:docMk/>
            <pc:sldMk cId="3767779272" sldId="569"/>
            <ac:inkMk id="253" creationId="{D8AE4252-CAFF-092B-E3A0-637344CAA3F8}"/>
          </ac:inkMkLst>
        </pc:inkChg>
        <pc:inkChg chg="add">
          <ac:chgData name="Aniket Chhabra" userId="598e0514-bef3-4e71-b6aa-f2edd6441cff" providerId="ADAL" clId="{6B709646-9B8B-914B-83A9-D81F12AFDE5E}" dt="2022-06-19T04:49:33.065" v="1304" actId="9405"/>
          <ac:inkMkLst>
            <pc:docMk/>
            <pc:sldMk cId="3767779272" sldId="569"/>
            <ac:inkMk id="254" creationId="{54818279-A70C-98A1-15E1-08D0A9856BF6}"/>
          </ac:inkMkLst>
        </pc:inkChg>
        <pc:inkChg chg="add">
          <ac:chgData name="Aniket Chhabra" userId="598e0514-bef3-4e71-b6aa-f2edd6441cff" providerId="ADAL" clId="{6B709646-9B8B-914B-83A9-D81F12AFDE5E}" dt="2022-06-19T04:49:33.984" v="1305" actId="9405"/>
          <ac:inkMkLst>
            <pc:docMk/>
            <pc:sldMk cId="3767779272" sldId="569"/>
            <ac:inkMk id="255" creationId="{388670C9-9735-7A08-A41D-03896FC29F29}"/>
          </ac:inkMkLst>
        </pc:inkChg>
        <pc:inkChg chg="add">
          <ac:chgData name="Aniket Chhabra" userId="598e0514-bef3-4e71-b6aa-f2edd6441cff" providerId="ADAL" clId="{6B709646-9B8B-914B-83A9-D81F12AFDE5E}" dt="2022-06-19T04:49:34.211" v="1306" actId="9405"/>
          <ac:inkMkLst>
            <pc:docMk/>
            <pc:sldMk cId="3767779272" sldId="569"/>
            <ac:inkMk id="256" creationId="{EA952B8D-7520-4657-918B-162C06AD4BFB}"/>
          </ac:inkMkLst>
        </pc:inkChg>
        <pc:inkChg chg="add">
          <ac:chgData name="Aniket Chhabra" userId="598e0514-bef3-4e71-b6aa-f2edd6441cff" providerId="ADAL" clId="{6B709646-9B8B-914B-83A9-D81F12AFDE5E}" dt="2022-06-19T04:49:34.621" v="1307" actId="9405"/>
          <ac:inkMkLst>
            <pc:docMk/>
            <pc:sldMk cId="3767779272" sldId="569"/>
            <ac:inkMk id="257" creationId="{BB5C73CF-D098-D727-B3F6-8299FF82DFCE}"/>
          </ac:inkMkLst>
        </pc:inkChg>
        <pc:inkChg chg="add">
          <ac:chgData name="Aniket Chhabra" userId="598e0514-bef3-4e71-b6aa-f2edd6441cff" providerId="ADAL" clId="{6B709646-9B8B-914B-83A9-D81F12AFDE5E}" dt="2022-06-19T04:49:34.758" v="1308" actId="9405"/>
          <ac:inkMkLst>
            <pc:docMk/>
            <pc:sldMk cId="3767779272" sldId="569"/>
            <ac:inkMk id="258" creationId="{2B01C37F-28A1-E3DF-D7FA-51B893F8B847}"/>
          </ac:inkMkLst>
        </pc:inkChg>
        <pc:inkChg chg="add">
          <ac:chgData name="Aniket Chhabra" userId="598e0514-bef3-4e71-b6aa-f2edd6441cff" providerId="ADAL" clId="{6B709646-9B8B-914B-83A9-D81F12AFDE5E}" dt="2022-06-19T04:49:35.001" v="1309" actId="9405"/>
          <ac:inkMkLst>
            <pc:docMk/>
            <pc:sldMk cId="3767779272" sldId="569"/>
            <ac:inkMk id="259" creationId="{80785AB7-3929-E547-C23B-9A83DC7A2692}"/>
          </ac:inkMkLst>
        </pc:inkChg>
        <pc:inkChg chg="add">
          <ac:chgData name="Aniket Chhabra" userId="598e0514-bef3-4e71-b6aa-f2edd6441cff" providerId="ADAL" clId="{6B709646-9B8B-914B-83A9-D81F12AFDE5E}" dt="2022-06-19T04:49:35.719" v="1310" actId="9405"/>
          <ac:inkMkLst>
            <pc:docMk/>
            <pc:sldMk cId="3767779272" sldId="569"/>
            <ac:inkMk id="260" creationId="{53815C6D-5E12-AD22-7250-8CD495844670}"/>
          </ac:inkMkLst>
        </pc:inkChg>
        <pc:inkChg chg="add">
          <ac:chgData name="Aniket Chhabra" userId="598e0514-bef3-4e71-b6aa-f2edd6441cff" providerId="ADAL" clId="{6B709646-9B8B-914B-83A9-D81F12AFDE5E}" dt="2022-06-19T04:49:35.985" v="1311" actId="9405"/>
          <ac:inkMkLst>
            <pc:docMk/>
            <pc:sldMk cId="3767779272" sldId="569"/>
            <ac:inkMk id="261" creationId="{3C6B6E6F-8A31-B3D2-7752-E7BD38B814B4}"/>
          </ac:inkMkLst>
        </pc:inkChg>
        <pc:inkChg chg="add">
          <ac:chgData name="Aniket Chhabra" userId="598e0514-bef3-4e71-b6aa-f2edd6441cff" providerId="ADAL" clId="{6B709646-9B8B-914B-83A9-D81F12AFDE5E}" dt="2022-06-19T04:49:36.205" v="1312" actId="9405"/>
          <ac:inkMkLst>
            <pc:docMk/>
            <pc:sldMk cId="3767779272" sldId="569"/>
            <ac:inkMk id="262" creationId="{1DE86BC6-080F-E3A2-F05E-02C343DD26E9}"/>
          </ac:inkMkLst>
        </pc:inkChg>
        <pc:inkChg chg="add">
          <ac:chgData name="Aniket Chhabra" userId="598e0514-bef3-4e71-b6aa-f2edd6441cff" providerId="ADAL" clId="{6B709646-9B8B-914B-83A9-D81F12AFDE5E}" dt="2022-06-19T04:49:37.029" v="1313" actId="9405"/>
          <ac:inkMkLst>
            <pc:docMk/>
            <pc:sldMk cId="3767779272" sldId="569"/>
            <ac:inkMk id="263" creationId="{A00E9F56-F517-42F4-1AD9-8C87EB94B774}"/>
          </ac:inkMkLst>
        </pc:inkChg>
        <pc:inkChg chg="add">
          <ac:chgData name="Aniket Chhabra" userId="598e0514-bef3-4e71-b6aa-f2edd6441cff" providerId="ADAL" clId="{6B709646-9B8B-914B-83A9-D81F12AFDE5E}" dt="2022-06-19T04:49:37.253" v="1314" actId="9405"/>
          <ac:inkMkLst>
            <pc:docMk/>
            <pc:sldMk cId="3767779272" sldId="569"/>
            <ac:inkMk id="264" creationId="{4027540E-C9BA-ABF9-10C8-FB520B95DAF6}"/>
          </ac:inkMkLst>
        </pc:inkChg>
        <pc:inkChg chg="add">
          <ac:chgData name="Aniket Chhabra" userId="598e0514-bef3-4e71-b6aa-f2edd6441cff" providerId="ADAL" clId="{6B709646-9B8B-914B-83A9-D81F12AFDE5E}" dt="2022-06-19T04:49:37.816" v="1315" actId="9405"/>
          <ac:inkMkLst>
            <pc:docMk/>
            <pc:sldMk cId="3767779272" sldId="569"/>
            <ac:inkMk id="265" creationId="{B38EF8D0-04F6-045B-1BB8-AC4A8289A69F}"/>
          </ac:inkMkLst>
        </pc:inkChg>
        <pc:inkChg chg="add">
          <ac:chgData name="Aniket Chhabra" userId="598e0514-bef3-4e71-b6aa-f2edd6441cff" providerId="ADAL" clId="{6B709646-9B8B-914B-83A9-D81F12AFDE5E}" dt="2022-06-19T04:49:38.038" v="1316" actId="9405"/>
          <ac:inkMkLst>
            <pc:docMk/>
            <pc:sldMk cId="3767779272" sldId="569"/>
            <ac:inkMk id="266" creationId="{DBE3E18C-DFA6-7E1E-4CE1-EEEC1102B23D}"/>
          </ac:inkMkLst>
        </pc:inkChg>
        <pc:inkChg chg="add">
          <ac:chgData name="Aniket Chhabra" userId="598e0514-bef3-4e71-b6aa-f2edd6441cff" providerId="ADAL" clId="{6B709646-9B8B-914B-83A9-D81F12AFDE5E}" dt="2022-06-19T04:49:38.969" v="1317" actId="9405"/>
          <ac:inkMkLst>
            <pc:docMk/>
            <pc:sldMk cId="3767779272" sldId="569"/>
            <ac:inkMk id="267" creationId="{5D5C777B-FD10-E5A8-3288-30D4D518C46B}"/>
          </ac:inkMkLst>
        </pc:inkChg>
        <pc:inkChg chg="add">
          <ac:chgData name="Aniket Chhabra" userId="598e0514-bef3-4e71-b6aa-f2edd6441cff" providerId="ADAL" clId="{6B709646-9B8B-914B-83A9-D81F12AFDE5E}" dt="2022-06-19T04:49:40.332" v="1318" actId="9405"/>
          <ac:inkMkLst>
            <pc:docMk/>
            <pc:sldMk cId="3767779272" sldId="569"/>
            <ac:inkMk id="268" creationId="{7AB0380F-2D13-3A16-0C81-7362EEB66D0D}"/>
          </ac:inkMkLst>
        </pc:inkChg>
        <pc:inkChg chg="add">
          <ac:chgData name="Aniket Chhabra" userId="598e0514-bef3-4e71-b6aa-f2edd6441cff" providerId="ADAL" clId="{6B709646-9B8B-914B-83A9-D81F12AFDE5E}" dt="2022-06-19T04:49:40.578" v="1319" actId="9405"/>
          <ac:inkMkLst>
            <pc:docMk/>
            <pc:sldMk cId="3767779272" sldId="569"/>
            <ac:inkMk id="269" creationId="{05A0EC5B-2795-7C14-C979-87B582D46A35}"/>
          </ac:inkMkLst>
        </pc:inkChg>
        <pc:inkChg chg="add">
          <ac:chgData name="Aniket Chhabra" userId="598e0514-bef3-4e71-b6aa-f2edd6441cff" providerId="ADAL" clId="{6B709646-9B8B-914B-83A9-D81F12AFDE5E}" dt="2022-06-19T04:49:40.971" v="1320" actId="9405"/>
          <ac:inkMkLst>
            <pc:docMk/>
            <pc:sldMk cId="3767779272" sldId="569"/>
            <ac:inkMk id="270" creationId="{29C4A661-4DF8-13E7-936F-427054EA7EAC}"/>
          </ac:inkMkLst>
        </pc:inkChg>
        <pc:inkChg chg="add">
          <ac:chgData name="Aniket Chhabra" userId="598e0514-bef3-4e71-b6aa-f2edd6441cff" providerId="ADAL" clId="{6B709646-9B8B-914B-83A9-D81F12AFDE5E}" dt="2022-06-19T04:49:41.116" v="1321" actId="9405"/>
          <ac:inkMkLst>
            <pc:docMk/>
            <pc:sldMk cId="3767779272" sldId="569"/>
            <ac:inkMk id="271" creationId="{1FECBFBA-B2BF-2A0B-8510-216A01672697}"/>
          </ac:inkMkLst>
        </pc:inkChg>
        <pc:inkChg chg="add">
          <ac:chgData name="Aniket Chhabra" userId="598e0514-bef3-4e71-b6aa-f2edd6441cff" providerId="ADAL" clId="{6B709646-9B8B-914B-83A9-D81F12AFDE5E}" dt="2022-06-19T04:49:41.326" v="1322" actId="9405"/>
          <ac:inkMkLst>
            <pc:docMk/>
            <pc:sldMk cId="3767779272" sldId="569"/>
            <ac:inkMk id="272" creationId="{4CEE9CC7-C3AC-7540-5DFA-E5A150A6A6A5}"/>
          </ac:inkMkLst>
        </pc:inkChg>
        <pc:inkChg chg="add">
          <ac:chgData name="Aniket Chhabra" userId="598e0514-bef3-4e71-b6aa-f2edd6441cff" providerId="ADAL" clId="{6B709646-9B8B-914B-83A9-D81F12AFDE5E}" dt="2022-06-19T04:49:46.543" v="1323" actId="9405"/>
          <ac:inkMkLst>
            <pc:docMk/>
            <pc:sldMk cId="3767779272" sldId="569"/>
            <ac:inkMk id="273" creationId="{FF517391-2D0D-24E6-9AED-4833D1C4C19F}"/>
          </ac:inkMkLst>
        </pc:inkChg>
        <pc:inkChg chg="add">
          <ac:chgData name="Aniket Chhabra" userId="598e0514-bef3-4e71-b6aa-f2edd6441cff" providerId="ADAL" clId="{6B709646-9B8B-914B-83A9-D81F12AFDE5E}" dt="2022-06-19T04:49:46.917" v="1324" actId="9405"/>
          <ac:inkMkLst>
            <pc:docMk/>
            <pc:sldMk cId="3767779272" sldId="569"/>
            <ac:inkMk id="274" creationId="{6B1938D1-7D21-137B-DF57-ACEE9C2C44BB}"/>
          </ac:inkMkLst>
        </pc:inkChg>
        <pc:inkChg chg="add">
          <ac:chgData name="Aniket Chhabra" userId="598e0514-bef3-4e71-b6aa-f2edd6441cff" providerId="ADAL" clId="{6B709646-9B8B-914B-83A9-D81F12AFDE5E}" dt="2022-06-19T04:49:47.121" v="1325" actId="9405"/>
          <ac:inkMkLst>
            <pc:docMk/>
            <pc:sldMk cId="3767779272" sldId="569"/>
            <ac:inkMk id="275" creationId="{8156EB93-D0E9-6D13-B761-BF9B8EDB7D0C}"/>
          </ac:inkMkLst>
        </pc:inkChg>
        <pc:inkChg chg="add">
          <ac:chgData name="Aniket Chhabra" userId="598e0514-bef3-4e71-b6aa-f2edd6441cff" providerId="ADAL" clId="{6B709646-9B8B-914B-83A9-D81F12AFDE5E}" dt="2022-06-19T04:49:47.504" v="1326" actId="9405"/>
          <ac:inkMkLst>
            <pc:docMk/>
            <pc:sldMk cId="3767779272" sldId="569"/>
            <ac:inkMk id="276" creationId="{9DED1E6D-F02B-45BE-0F5D-BF11AEE7D675}"/>
          </ac:inkMkLst>
        </pc:inkChg>
        <pc:inkChg chg="add">
          <ac:chgData name="Aniket Chhabra" userId="598e0514-bef3-4e71-b6aa-f2edd6441cff" providerId="ADAL" clId="{6B709646-9B8B-914B-83A9-D81F12AFDE5E}" dt="2022-06-19T04:49:52.543" v="1327" actId="9405"/>
          <ac:inkMkLst>
            <pc:docMk/>
            <pc:sldMk cId="3767779272" sldId="569"/>
            <ac:inkMk id="277" creationId="{24D030A8-B5DA-4192-1B14-D32FF449A675}"/>
          </ac:inkMkLst>
        </pc:inkChg>
        <pc:inkChg chg="add">
          <ac:chgData name="Aniket Chhabra" userId="598e0514-bef3-4e71-b6aa-f2edd6441cff" providerId="ADAL" clId="{6B709646-9B8B-914B-83A9-D81F12AFDE5E}" dt="2022-06-19T04:49:56.743" v="1328" actId="9405"/>
          <ac:inkMkLst>
            <pc:docMk/>
            <pc:sldMk cId="3767779272" sldId="569"/>
            <ac:inkMk id="278" creationId="{597D3E54-30C7-61D2-2A39-A47B2183521B}"/>
          </ac:inkMkLst>
        </pc:inkChg>
        <pc:inkChg chg="add mod">
          <ac:chgData name="Aniket Chhabra" userId="598e0514-bef3-4e71-b6aa-f2edd6441cff" providerId="ADAL" clId="{6B709646-9B8B-914B-83A9-D81F12AFDE5E}" dt="2022-06-19T04:50:37.277" v="1388"/>
          <ac:inkMkLst>
            <pc:docMk/>
            <pc:sldMk cId="3767779272" sldId="569"/>
            <ac:inkMk id="279" creationId="{4E98ECD0-DB21-22C8-9713-E4EEBDC5CA6F}"/>
          </ac:inkMkLst>
        </pc:inkChg>
        <pc:inkChg chg="add mod">
          <ac:chgData name="Aniket Chhabra" userId="598e0514-bef3-4e71-b6aa-f2edd6441cff" providerId="ADAL" clId="{6B709646-9B8B-914B-83A9-D81F12AFDE5E}" dt="2022-06-19T04:50:37.277" v="1388"/>
          <ac:inkMkLst>
            <pc:docMk/>
            <pc:sldMk cId="3767779272" sldId="569"/>
            <ac:inkMk id="280" creationId="{FBA5A322-9EC8-C445-7D9D-EA81DDB33CF3}"/>
          </ac:inkMkLst>
        </pc:inkChg>
        <pc:inkChg chg="add mod">
          <ac:chgData name="Aniket Chhabra" userId="598e0514-bef3-4e71-b6aa-f2edd6441cff" providerId="ADAL" clId="{6B709646-9B8B-914B-83A9-D81F12AFDE5E}" dt="2022-06-19T04:50:39.040" v="1391"/>
          <ac:inkMkLst>
            <pc:docMk/>
            <pc:sldMk cId="3767779272" sldId="569"/>
            <ac:inkMk id="282" creationId="{D9EDD76B-FD32-9492-3FE9-B54C3816C3EF}"/>
          </ac:inkMkLst>
        </pc:inkChg>
        <pc:inkChg chg="add mod">
          <ac:chgData name="Aniket Chhabra" userId="598e0514-bef3-4e71-b6aa-f2edd6441cff" providerId="ADAL" clId="{6B709646-9B8B-914B-83A9-D81F12AFDE5E}" dt="2022-06-19T04:50:39.040" v="1391"/>
          <ac:inkMkLst>
            <pc:docMk/>
            <pc:sldMk cId="3767779272" sldId="569"/>
            <ac:inkMk id="283" creationId="{193836AD-DBC6-91FC-55A0-83A24DF92D4C}"/>
          </ac:inkMkLst>
        </pc:inkChg>
      </pc:sldChg>
      <pc:sldChg chg="addSp delSp modSp new mod">
        <pc:chgData name="Aniket Chhabra" userId="598e0514-bef3-4e71-b6aa-f2edd6441cff" providerId="ADAL" clId="{6B709646-9B8B-914B-83A9-D81F12AFDE5E}" dt="2022-06-19T05:01:48.661" v="1717"/>
        <pc:sldMkLst>
          <pc:docMk/>
          <pc:sldMk cId="1232166785" sldId="570"/>
        </pc:sldMkLst>
        <pc:grpChg chg="del mod">
          <ac:chgData name="Aniket Chhabra" userId="598e0514-bef3-4e71-b6aa-f2edd6441cff" providerId="ADAL" clId="{6B709646-9B8B-914B-83A9-D81F12AFDE5E}" dt="2022-06-19T04:51:43.039" v="1414"/>
          <ac:grpSpMkLst>
            <pc:docMk/>
            <pc:sldMk cId="1232166785" sldId="570"/>
            <ac:grpSpMk id="25" creationId="{D2F0A329-D5E5-F97A-5BAE-B303148BCA4F}"/>
          </ac:grpSpMkLst>
        </pc:grpChg>
        <pc:grpChg chg="del mod">
          <ac:chgData name="Aniket Chhabra" userId="598e0514-bef3-4e71-b6aa-f2edd6441cff" providerId="ADAL" clId="{6B709646-9B8B-914B-83A9-D81F12AFDE5E}" dt="2022-06-19T04:53:13.522" v="1475"/>
          <ac:grpSpMkLst>
            <pc:docMk/>
            <pc:sldMk cId="1232166785" sldId="570"/>
            <ac:grpSpMk id="26" creationId="{235FF492-7E8F-3323-6F0C-398A23DF803E}"/>
          </ac:grpSpMkLst>
        </pc:grpChg>
        <pc:grpChg chg="mod">
          <ac:chgData name="Aniket Chhabra" userId="598e0514-bef3-4e71-b6aa-f2edd6441cff" providerId="ADAL" clId="{6B709646-9B8B-914B-83A9-D81F12AFDE5E}" dt="2022-06-19T04:52:07.658" v="1428"/>
          <ac:grpSpMkLst>
            <pc:docMk/>
            <pc:sldMk cId="1232166785" sldId="570"/>
            <ac:grpSpMk id="36" creationId="{F2375ED3-37A8-1501-FFFC-73026308213D}"/>
          </ac:grpSpMkLst>
        </pc:grpChg>
        <pc:grpChg chg="del mod">
          <ac:chgData name="Aniket Chhabra" userId="598e0514-bef3-4e71-b6aa-f2edd6441cff" providerId="ADAL" clId="{6B709646-9B8B-914B-83A9-D81F12AFDE5E}" dt="2022-06-19T04:52:46.500" v="1453"/>
          <ac:grpSpMkLst>
            <pc:docMk/>
            <pc:sldMk cId="1232166785" sldId="570"/>
            <ac:grpSpMk id="48" creationId="{B4C95DEC-BDF6-D6BC-4505-18CB9FA3CD3D}"/>
          </ac:grpSpMkLst>
        </pc:grpChg>
        <pc:grpChg chg="del mod">
          <ac:chgData name="Aniket Chhabra" userId="598e0514-bef3-4e71-b6aa-f2edd6441cff" providerId="ADAL" clId="{6B709646-9B8B-914B-83A9-D81F12AFDE5E}" dt="2022-06-19T04:52:46.500" v="1453"/>
          <ac:grpSpMkLst>
            <pc:docMk/>
            <pc:sldMk cId="1232166785" sldId="570"/>
            <ac:grpSpMk id="49" creationId="{809E6F77-6F29-CFFD-4A2D-7727D8FA05EC}"/>
          </ac:grpSpMkLst>
        </pc:grpChg>
        <pc:grpChg chg="mod">
          <ac:chgData name="Aniket Chhabra" userId="598e0514-bef3-4e71-b6aa-f2edd6441cff" providerId="ADAL" clId="{6B709646-9B8B-914B-83A9-D81F12AFDE5E}" dt="2022-06-19T04:52:46.500" v="1453"/>
          <ac:grpSpMkLst>
            <pc:docMk/>
            <pc:sldMk cId="1232166785" sldId="570"/>
            <ac:grpSpMk id="62" creationId="{6EC5BB26-5E15-5E33-C43C-266889E7BB3B}"/>
          </ac:grpSpMkLst>
        </pc:grpChg>
        <pc:grpChg chg="mod">
          <ac:chgData name="Aniket Chhabra" userId="598e0514-bef3-4e71-b6aa-f2edd6441cff" providerId="ADAL" clId="{6B709646-9B8B-914B-83A9-D81F12AFDE5E}" dt="2022-06-19T04:52:46.500" v="1453"/>
          <ac:grpSpMkLst>
            <pc:docMk/>
            <pc:sldMk cId="1232166785" sldId="570"/>
            <ac:grpSpMk id="63" creationId="{9847C99A-9193-6E48-F24A-232838511D16}"/>
          </ac:grpSpMkLst>
        </pc:grpChg>
        <pc:grpChg chg="mod">
          <ac:chgData name="Aniket Chhabra" userId="598e0514-bef3-4e71-b6aa-f2edd6441cff" providerId="ADAL" clId="{6B709646-9B8B-914B-83A9-D81F12AFDE5E}" dt="2022-06-19T04:52:46.500" v="1453"/>
          <ac:grpSpMkLst>
            <pc:docMk/>
            <pc:sldMk cId="1232166785" sldId="570"/>
            <ac:grpSpMk id="64" creationId="{6A581747-D372-D08D-342A-41573D968534}"/>
          </ac:grpSpMkLst>
        </pc:grpChg>
        <pc:grpChg chg="mod">
          <ac:chgData name="Aniket Chhabra" userId="598e0514-bef3-4e71-b6aa-f2edd6441cff" providerId="ADAL" clId="{6B709646-9B8B-914B-83A9-D81F12AFDE5E}" dt="2022-06-19T04:53:09.074" v="1473"/>
          <ac:grpSpMkLst>
            <pc:docMk/>
            <pc:sldMk cId="1232166785" sldId="570"/>
            <ac:grpSpMk id="84" creationId="{79EF864C-0756-5583-2A17-56F4099B7DE9}"/>
          </ac:grpSpMkLst>
        </pc:grpChg>
        <pc:grpChg chg="del mod">
          <ac:chgData name="Aniket Chhabra" userId="598e0514-bef3-4e71-b6aa-f2edd6441cff" providerId="ADAL" clId="{6B709646-9B8B-914B-83A9-D81F12AFDE5E}" dt="2022-06-19T04:59:29.248" v="1660"/>
          <ac:grpSpMkLst>
            <pc:docMk/>
            <pc:sldMk cId="1232166785" sldId="570"/>
            <ac:grpSpMk id="85" creationId="{DC079D0D-DD67-F771-1987-5A2A0008910F}"/>
          </ac:grpSpMkLst>
        </pc:grpChg>
        <pc:grpChg chg="del mod">
          <ac:chgData name="Aniket Chhabra" userId="598e0514-bef3-4e71-b6aa-f2edd6441cff" providerId="ADAL" clId="{6B709646-9B8B-914B-83A9-D81F12AFDE5E}" dt="2022-06-19T05:01:48.661" v="1717"/>
          <ac:grpSpMkLst>
            <pc:docMk/>
            <pc:sldMk cId="1232166785" sldId="570"/>
            <ac:grpSpMk id="87" creationId="{EAA4A2F7-58AD-0236-BFA0-A13166C42DB2}"/>
          </ac:grpSpMkLst>
        </pc:grpChg>
        <pc:grpChg chg="del mod">
          <ac:chgData name="Aniket Chhabra" userId="598e0514-bef3-4e71-b6aa-f2edd6441cff" providerId="ADAL" clId="{6B709646-9B8B-914B-83A9-D81F12AFDE5E}" dt="2022-06-19T04:56:20.092" v="1596"/>
          <ac:grpSpMkLst>
            <pc:docMk/>
            <pc:sldMk cId="1232166785" sldId="570"/>
            <ac:grpSpMk id="110" creationId="{8F6A5B6A-D0C8-5E42-C925-39C69552F048}"/>
          </ac:grpSpMkLst>
        </pc:grpChg>
        <pc:grpChg chg="del mod">
          <ac:chgData name="Aniket Chhabra" userId="598e0514-bef3-4e71-b6aa-f2edd6441cff" providerId="ADAL" clId="{6B709646-9B8B-914B-83A9-D81F12AFDE5E}" dt="2022-06-19T04:53:50.129" v="1531"/>
          <ac:grpSpMkLst>
            <pc:docMk/>
            <pc:sldMk cId="1232166785" sldId="570"/>
            <ac:grpSpMk id="115" creationId="{F3A7DB91-30BE-F6E3-A1F2-12FCC3146571}"/>
          </ac:grpSpMkLst>
        </pc:grpChg>
        <pc:grpChg chg="mod">
          <ac:chgData name="Aniket Chhabra" userId="598e0514-bef3-4e71-b6aa-f2edd6441cff" providerId="ADAL" clId="{6B709646-9B8B-914B-83A9-D81F12AFDE5E}" dt="2022-06-19T04:53:39.457" v="1510"/>
          <ac:grpSpMkLst>
            <pc:docMk/>
            <pc:sldMk cId="1232166785" sldId="570"/>
            <ac:grpSpMk id="122" creationId="{EC9A48BA-0476-8909-8602-B62F58A61AE5}"/>
          </ac:grpSpMkLst>
        </pc:grpChg>
        <pc:grpChg chg="del mod">
          <ac:chgData name="Aniket Chhabra" userId="598e0514-bef3-4e71-b6aa-f2edd6441cff" providerId="ADAL" clId="{6B709646-9B8B-914B-83A9-D81F12AFDE5E}" dt="2022-06-19T04:53:50.129" v="1531"/>
          <ac:grpSpMkLst>
            <pc:docMk/>
            <pc:sldMk cId="1232166785" sldId="570"/>
            <ac:grpSpMk id="134" creationId="{3341FFC7-7849-42C0-2B3C-69C51D5AC5D7}"/>
          </ac:grpSpMkLst>
        </pc:grpChg>
        <pc:grpChg chg="mod">
          <ac:chgData name="Aniket Chhabra" userId="598e0514-bef3-4e71-b6aa-f2edd6441cff" providerId="ADAL" clId="{6B709646-9B8B-914B-83A9-D81F12AFDE5E}" dt="2022-06-19T04:53:44.625" v="1522"/>
          <ac:grpSpMkLst>
            <pc:docMk/>
            <pc:sldMk cId="1232166785" sldId="570"/>
            <ac:grpSpMk id="135" creationId="{87CB585F-5420-4597-9D0F-40D7157B6725}"/>
          </ac:grpSpMkLst>
        </pc:grpChg>
        <pc:grpChg chg="del mod">
          <ac:chgData name="Aniket Chhabra" userId="598e0514-bef3-4e71-b6aa-f2edd6441cff" providerId="ADAL" clId="{6B709646-9B8B-914B-83A9-D81F12AFDE5E}" dt="2022-06-19T04:56:29.867" v="1611"/>
          <ac:grpSpMkLst>
            <pc:docMk/>
            <pc:sldMk cId="1232166785" sldId="570"/>
            <ac:grpSpMk id="144" creationId="{B274B1CA-2D07-3D3D-AB97-6FE8526CCB50}"/>
          </ac:grpSpMkLst>
        </pc:grpChg>
        <pc:grpChg chg="mod">
          <ac:chgData name="Aniket Chhabra" userId="598e0514-bef3-4e71-b6aa-f2edd6441cff" providerId="ADAL" clId="{6B709646-9B8B-914B-83A9-D81F12AFDE5E}" dt="2022-06-19T04:54:46.507" v="1549"/>
          <ac:grpSpMkLst>
            <pc:docMk/>
            <pc:sldMk cId="1232166785" sldId="570"/>
            <ac:grpSpMk id="162" creationId="{C9162E84-53A9-8CA6-F146-C324A665CCD8}"/>
          </ac:grpSpMkLst>
        </pc:grpChg>
        <pc:grpChg chg="mod">
          <ac:chgData name="Aniket Chhabra" userId="598e0514-bef3-4e71-b6aa-f2edd6441cff" providerId="ADAL" clId="{6B709646-9B8B-914B-83A9-D81F12AFDE5E}" dt="2022-06-19T04:54:46.507" v="1549"/>
          <ac:grpSpMkLst>
            <pc:docMk/>
            <pc:sldMk cId="1232166785" sldId="570"/>
            <ac:grpSpMk id="163" creationId="{540E2DA5-176C-8293-01B5-856B41FD7619}"/>
          </ac:grpSpMkLst>
        </pc:grpChg>
        <pc:grpChg chg="del mod">
          <ac:chgData name="Aniket Chhabra" userId="598e0514-bef3-4e71-b6aa-f2edd6441cff" providerId="ADAL" clId="{6B709646-9B8B-914B-83A9-D81F12AFDE5E}" dt="2022-06-19T04:55:00.266" v="1570"/>
          <ac:grpSpMkLst>
            <pc:docMk/>
            <pc:sldMk cId="1232166785" sldId="570"/>
            <ac:grpSpMk id="176" creationId="{A12A46BC-A02D-EF5B-0421-272DF8BCB057}"/>
          </ac:grpSpMkLst>
        </pc:grpChg>
        <pc:grpChg chg="del mod">
          <ac:chgData name="Aniket Chhabra" userId="598e0514-bef3-4e71-b6aa-f2edd6441cff" providerId="ADAL" clId="{6B709646-9B8B-914B-83A9-D81F12AFDE5E}" dt="2022-06-19T04:55:00.266" v="1570"/>
          <ac:grpSpMkLst>
            <pc:docMk/>
            <pc:sldMk cId="1232166785" sldId="570"/>
            <ac:grpSpMk id="180" creationId="{22895912-82EA-BD3D-6534-FA08B9680866}"/>
          </ac:grpSpMkLst>
        </pc:grpChg>
        <pc:grpChg chg="mod">
          <ac:chgData name="Aniket Chhabra" userId="598e0514-bef3-4e71-b6aa-f2edd6441cff" providerId="ADAL" clId="{6B709646-9B8B-914B-83A9-D81F12AFDE5E}" dt="2022-06-19T04:55:09.573" v="1580"/>
          <ac:grpSpMkLst>
            <pc:docMk/>
            <pc:sldMk cId="1232166785" sldId="570"/>
            <ac:grpSpMk id="184" creationId="{C8B7250D-616D-E014-1023-D503F8E7D0BD}"/>
          </ac:grpSpMkLst>
        </pc:grpChg>
        <pc:grpChg chg="mod">
          <ac:chgData name="Aniket Chhabra" userId="598e0514-bef3-4e71-b6aa-f2edd6441cff" providerId="ADAL" clId="{6B709646-9B8B-914B-83A9-D81F12AFDE5E}" dt="2022-06-19T04:55:17.320" v="1591"/>
          <ac:grpSpMkLst>
            <pc:docMk/>
            <pc:sldMk cId="1232166785" sldId="570"/>
            <ac:grpSpMk id="195" creationId="{8CFE9AE3-EA40-A4F2-AFFA-229A7C3ECB2D}"/>
          </ac:grpSpMkLst>
        </pc:grpChg>
        <pc:grpChg chg="del mod">
          <ac:chgData name="Aniket Chhabra" userId="598e0514-bef3-4e71-b6aa-f2edd6441cff" providerId="ADAL" clId="{6B709646-9B8B-914B-83A9-D81F12AFDE5E}" dt="2022-06-19T04:56:20.092" v="1596"/>
          <ac:grpSpMkLst>
            <pc:docMk/>
            <pc:sldMk cId="1232166785" sldId="570"/>
            <ac:grpSpMk id="198" creationId="{DF3217CC-7B6C-C3E8-BEAF-F8156E7489B6}"/>
          </ac:grpSpMkLst>
        </pc:grpChg>
        <pc:grpChg chg="del mod">
          <ac:chgData name="Aniket Chhabra" userId="598e0514-bef3-4e71-b6aa-f2edd6441cff" providerId="ADAL" clId="{6B709646-9B8B-914B-83A9-D81F12AFDE5E}" dt="2022-06-19T04:56:29.867" v="1611"/>
          <ac:grpSpMkLst>
            <pc:docMk/>
            <pc:sldMk cId="1232166785" sldId="570"/>
            <ac:grpSpMk id="200" creationId="{4173C458-EB6C-C53D-BC13-94C253D28E2D}"/>
          </ac:grpSpMkLst>
        </pc:grpChg>
        <pc:grpChg chg="del mod">
          <ac:chgData name="Aniket Chhabra" userId="598e0514-bef3-4e71-b6aa-f2edd6441cff" providerId="ADAL" clId="{6B709646-9B8B-914B-83A9-D81F12AFDE5E}" dt="2022-06-19T04:56:29.867" v="1611"/>
          <ac:grpSpMkLst>
            <pc:docMk/>
            <pc:sldMk cId="1232166785" sldId="570"/>
            <ac:grpSpMk id="203" creationId="{CC591275-D9B7-C6AC-176D-3AC80087A42A}"/>
          </ac:grpSpMkLst>
        </pc:grpChg>
        <pc:grpChg chg="mod">
          <ac:chgData name="Aniket Chhabra" userId="598e0514-bef3-4e71-b6aa-f2edd6441cff" providerId="ADAL" clId="{6B709646-9B8B-914B-83A9-D81F12AFDE5E}" dt="2022-06-19T04:56:25.732" v="1609"/>
          <ac:grpSpMkLst>
            <pc:docMk/>
            <pc:sldMk cId="1232166785" sldId="570"/>
            <ac:grpSpMk id="213" creationId="{42F3C8EB-8D47-A1E3-C102-449104BB22C6}"/>
          </ac:grpSpMkLst>
        </pc:grpChg>
        <pc:grpChg chg="del mod">
          <ac:chgData name="Aniket Chhabra" userId="598e0514-bef3-4e71-b6aa-f2edd6441cff" providerId="ADAL" clId="{6B709646-9B8B-914B-83A9-D81F12AFDE5E}" dt="2022-06-19T04:59:31.017" v="1663"/>
          <ac:grpSpMkLst>
            <pc:docMk/>
            <pc:sldMk cId="1232166785" sldId="570"/>
            <ac:grpSpMk id="215" creationId="{DAD97F4B-64E9-53BA-DA4A-3481AC086DA5}"/>
          </ac:grpSpMkLst>
        </pc:grpChg>
        <pc:grpChg chg="mod">
          <ac:chgData name="Aniket Chhabra" userId="598e0514-bef3-4e71-b6aa-f2edd6441cff" providerId="ADAL" clId="{6B709646-9B8B-914B-83A9-D81F12AFDE5E}" dt="2022-06-19T04:56:34.169" v="1617"/>
          <ac:grpSpMkLst>
            <pc:docMk/>
            <pc:sldMk cId="1232166785" sldId="570"/>
            <ac:grpSpMk id="221" creationId="{A744F072-912A-68BC-A143-81B8938DBD34}"/>
          </ac:grpSpMkLst>
        </pc:grpChg>
        <pc:grpChg chg="mod">
          <ac:chgData name="Aniket Chhabra" userId="598e0514-bef3-4e71-b6aa-f2edd6441cff" providerId="ADAL" clId="{6B709646-9B8B-914B-83A9-D81F12AFDE5E}" dt="2022-06-19T04:56:50.241" v="1620"/>
          <ac:grpSpMkLst>
            <pc:docMk/>
            <pc:sldMk cId="1232166785" sldId="570"/>
            <ac:grpSpMk id="224" creationId="{5E0CF08B-0B19-B719-1021-ED765D8ADBD8}"/>
          </ac:grpSpMkLst>
        </pc:grpChg>
        <pc:grpChg chg="mod">
          <ac:chgData name="Aniket Chhabra" userId="598e0514-bef3-4e71-b6aa-f2edd6441cff" providerId="ADAL" clId="{6B709646-9B8B-914B-83A9-D81F12AFDE5E}" dt="2022-06-19T04:57:12.301" v="1623"/>
          <ac:grpSpMkLst>
            <pc:docMk/>
            <pc:sldMk cId="1232166785" sldId="570"/>
            <ac:grpSpMk id="227" creationId="{FB2A49A3-6315-E311-DD6F-51E0B1376C1F}"/>
          </ac:grpSpMkLst>
        </pc:grpChg>
        <pc:grpChg chg="mod">
          <ac:chgData name="Aniket Chhabra" userId="598e0514-bef3-4e71-b6aa-f2edd6441cff" providerId="ADAL" clId="{6B709646-9B8B-914B-83A9-D81F12AFDE5E}" dt="2022-06-19T04:57:16.035" v="1628"/>
          <ac:grpSpMkLst>
            <pc:docMk/>
            <pc:sldMk cId="1232166785" sldId="570"/>
            <ac:grpSpMk id="232" creationId="{4A9E0CD4-1D0A-2482-FF0A-BA07AE9AD0B2}"/>
          </ac:grpSpMkLst>
        </pc:grpChg>
        <pc:grpChg chg="mod">
          <ac:chgData name="Aniket Chhabra" userId="598e0514-bef3-4e71-b6aa-f2edd6441cff" providerId="ADAL" clId="{6B709646-9B8B-914B-83A9-D81F12AFDE5E}" dt="2022-06-19T04:57:21.988" v="1635"/>
          <ac:grpSpMkLst>
            <pc:docMk/>
            <pc:sldMk cId="1232166785" sldId="570"/>
            <ac:grpSpMk id="239" creationId="{AEE9468A-7524-3132-856D-C78E7757CE12}"/>
          </ac:grpSpMkLst>
        </pc:grpChg>
        <pc:grpChg chg="mod">
          <ac:chgData name="Aniket Chhabra" userId="598e0514-bef3-4e71-b6aa-f2edd6441cff" providerId="ADAL" clId="{6B709646-9B8B-914B-83A9-D81F12AFDE5E}" dt="2022-06-19T04:59:18.147" v="1644"/>
          <ac:grpSpMkLst>
            <pc:docMk/>
            <pc:sldMk cId="1232166785" sldId="570"/>
            <ac:grpSpMk id="248" creationId="{B3CF2913-4108-AF70-172B-257FA9835F57}"/>
          </ac:grpSpMkLst>
        </pc:grpChg>
        <pc:grpChg chg="del mod">
          <ac:chgData name="Aniket Chhabra" userId="598e0514-bef3-4e71-b6aa-f2edd6441cff" providerId="ADAL" clId="{6B709646-9B8B-914B-83A9-D81F12AFDE5E}" dt="2022-06-19T05:00:03.975" v="1689"/>
          <ac:grpSpMkLst>
            <pc:docMk/>
            <pc:sldMk cId="1232166785" sldId="570"/>
            <ac:grpSpMk id="261" creationId="{1CB82616-9ABB-590B-36AB-7B9ED5EE16FF}"/>
          </ac:grpSpMkLst>
        </pc:grpChg>
        <pc:grpChg chg="del mod">
          <ac:chgData name="Aniket Chhabra" userId="598e0514-bef3-4e71-b6aa-f2edd6441cff" providerId="ADAL" clId="{6B709646-9B8B-914B-83A9-D81F12AFDE5E}" dt="2022-06-19T04:59:59.999" v="1686"/>
          <ac:grpSpMkLst>
            <pc:docMk/>
            <pc:sldMk cId="1232166785" sldId="570"/>
            <ac:grpSpMk id="264" creationId="{F1E83D9A-EE2E-A65F-2888-43D67F2A0578}"/>
          </ac:grpSpMkLst>
        </pc:grpChg>
        <pc:grpChg chg="mod">
          <ac:chgData name="Aniket Chhabra" userId="598e0514-bef3-4e71-b6aa-f2edd6441cff" providerId="ADAL" clId="{6B709646-9B8B-914B-83A9-D81F12AFDE5E}" dt="2022-06-19T04:59:31.017" v="1663"/>
          <ac:grpSpMkLst>
            <pc:docMk/>
            <pc:sldMk cId="1232166785" sldId="570"/>
            <ac:grpSpMk id="267" creationId="{59DDCD4A-227D-FA80-9EFD-D0D6B2241E07}"/>
          </ac:grpSpMkLst>
        </pc:grpChg>
        <pc:grpChg chg="mod">
          <ac:chgData name="Aniket Chhabra" userId="598e0514-bef3-4e71-b6aa-f2edd6441cff" providerId="ADAL" clId="{6B709646-9B8B-914B-83A9-D81F12AFDE5E}" dt="2022-06-19T04:59:41.546" v="1672"/>
          <ac:grpSpMkLst>
            <pc:docMk/>
            <pc:sldMk cId="1232166785" sldId="570"/>
            <ac:grpSpMk id="276" creationId="{23C4EC2F-62A5-2E20-4E0D-36B880458589}"/>
          </ac:grpSpMkLst>
        </pc:grpChg>
        <pc:grpChg chg="del mod">
          <ac:chgData name="Aniket Chhabra" userId="598e0514-bef3-4e71-b6aa-f2edd6441cff" providerId="ADAL" clId="{6B709646-9B8B-914B-83A9-D81F12AFDE5E}" dt="2022-06-19T05:00:05.469" v="1692"/>
          <ac:grpSpMkLst>
            <pc:docMk/>
            <pc:sldMk cId="1232166785" sldId="570"/>
            <ac:grpSpMk id="281" creationId="{5E4D7229-49EF-73AC-FE0A-3C59198024AD}"/>
          </ac:grpSpMkLst>
        </pc:grpChg>
        <pc:grpChg chg="mod">
          <ac:chgData name="Aniket Chhabra" userId="598e0514-bef3-4e71-b6aa-f2edd6441cff" providerId="ADAL" clId="{6B709646-9B8B-914B-83A9-D81F12AFDE5E}" dt="2022-06-19T04:59:47.735" v="1683"/>
          <ac:grpSpMkLst>
            <pc:docMk/>
            <pc:sldMk cId="1232166785" sldId="570"/>
            <ac:grpSpMk id="287" creationId="{041429C3-9358-85D0-9B50-6E6EFDBDBFDE}"/>
          </ac:grpSpMkLst>
        </pc:grpChg>
        <pc:grpChg chg="mod">
          <ac:chgData name="Aniket Chhabra" userId="598e0514-bef3-4e71-b6aa-f2edd6441cff" providerId="ADAL" clId="{6B709646-9B8B-914B-83A9-D81F12AFDE5E}" dt="2022-06-19T04:59:59.999" v="1686"/>
          <ac:grpSpMkLst>
            <pc:docMk/>
            <pc:sldMk cId="1232166785" sldId="570"/>
            <ac:grpSpMk id="290" creationId="{5E016E61-C945-50CE-5F49-A888D69039D4}"/>
          </ac:grpSpMkLst>
        </pc:grpChg>
        <pc:grpChg chg="mod">
          <ac:chgData name="Aniket Chhabra" userId="598e0514-bef3-4e71-b6aa-f2edd6441cff" providerId="ADAL" clId="{6B709646-9B8B-914B-83A9-D81F12AFDE5E}" dt="2022-06-19T05:00:03.975" v="1689"/>
          <ac:grpSpMkLst>
            <pc:docMk/>
            <pc:sldMk cId="1232166785" sldId="570"/>
            <ac:grpSpMk id="293" creationId="{0B4FAA05-B981-787F-969C-BEF3ADC8884F}"/>
          </ac:grpSpMkLst>
        </pc:grpChg>
        <pc:grpChg chg="mod">
          <ac:chgData name="Aniket Chhabra" userId="598e0514-bef3-4e71-b6aa-f2edd6441cff" providerId="ADAL" clId="{6B709646-9B8B-914B-83A9-D81F12AFDE5E}" dt="2022-06-19T05:00:05.469" v="1692"/>
          <ac:grpSpMkLst>
            <pc:docMk/>
            <pc:sldMk cId="1232166785" sldId="570"/>
            <ac:grpSpMk id="296" creationId="{CC4262D1-DB9D-A16A-6078-080BA9C69A76}"/>
          </ac:grpSpMkLst>
        </pc:grpChg>
        <pc:grpChg chg="del mod">
          <ac:chgData name="Aniket Chhabra" userId="598e0514-bef3-4e71-b6aa-f2edd6441cff" providerId="ADAL" clId="{6B709646-9B8B-914B-83A9-D81F12AFDE5E}" dt="2022-06-19T05:00:32.433" v="1715"/>
          <ac:grpSpMkLst>
            <pc:docMk/>
            <pc:sldMk cId="1232166785" sldId="570"/>
            <ac:grpSpMk id="299" creationId="{6206BABA-083A-76B6-0454-7CBEFC30F176}"/>
          </ac:grpSpMkLst>
        </pc:grpChg>
        <pc:grpChg chg="del mod">
          <ac:chgData name="Aniket Chhabra" userId="598e0514-bef3-4e71-b6aa-f2edd6441cff" providerId="ADAL" clId="{6B709646-9B8B-914B-83A9-D81F12AFDE5E}" dt="2022-06-19T05:00:27.600" v="1703"/>
          <ac:grpSpMkLst>
            <pc:docMk/>
            <pc:sldMk cId="1232166785" sldId="570"/>
            <ac:grpSpMk id="302" creationId="{A69CA8E0-506B-3DB9-9AFE-A6B84A8EB23A}"/>
          </ac:grpSpMkLst>
        </pc:grpChg>
        <pc:grpChg chg="del mod">
          <ac:chgData name="Aniket Chhabra" userId="598e0514-bef3-4e71-b6aa-f2edd6441cff" providerId="ADAL" clId="{6B709646-9B8B-914B-83A9-D81F12AFDE5E}" dt="2022-06-19T05:00:32.433" v="1715"/>
          <ac:grpSpMkLst>
            <pc:docMk/>
            <pc:sldMk cId="1232166785" sldId="570"/>
            <ac:grpSpMk id="307" creationId="{92C7CC21-085F-6B77-B1AF-3BB33761712A}"/>
          </ac:grpSpMkLst>
        </pc:grpChg>
        <pc:grpChg chg="mod">
          <ac:chgData name="Aniket Chhabra" userId="598e0514-bef3-4e71-b6aa-f2edd6441cff" providerId="ADAL" clId="{6B709646-9B8B-914B-83A9-D81F12AFDE5E}" dt="2022-06-19T05:00:32.433" v="1715"/>
          <ac:grpSpMkLst>
            <pc:docMk/>
            <pc:sldMk cId="1232166785" sldId="570"/>
            <ac:grpSpMk id="319" creationId="{A6441D07-7C27-B3E0-1179-E732E9362DA5}"/>
          </ac:grpSpMkLst>
        </pc:grpChg>
        <pc:grpChg chg="mod">
          <ac:chgData name="Aniket Chhabra" userId="598e0514-bef3-4e71-b6aa-f2edd6441cff" providerId="ADAL" clId="{6B709646-9B8B-914B-83A9-D81F12AFDE5E}" dt="2022-06-19T05:00:32.433" v="1715"/>
          <ac:grpSpMkLst>
            <pc:docMk/>
            <pc:sldMk cId="1232166785" sldId="570"/>
            <ac:grpSpMk id="320" creationId="{6FA60219-7FF1-070F-90E0-1817B92A3EFD}"/>
          </ac:grpSpMkLst>
        </pc:grpChg>
        <pc:grpChg chg="mod">
          <ac:chgData name="Aniket Chhabra" userId="598e0514-bef3-4e71-b6aa-f2edd6441cff" providerId="ADAL" clId="{6B709646-9B8B-914B-83A9-D81F12AFDE5E}" dt="2022-06-19T05:01:48.661" v="1717"/>
          <ac:grpSpMkLst>
            <pc:docMk/>
            <pc:sldMk cId="1232166785" sldId="570"/>
            <ac:grpSpMk id="322" creationId="{AA9C4610-9E7F-AB77-E469-F80C07D469D0}"/>
          </ac:grpSpMkLst>
        </pc:grpChg>
        <pc:inkChg chg="add mod">
          <ac:chgData name="Aniket Chhabra" userId="598e0514-bef3-4e71-b6aa-f2edd6441cff" providerId="ADAL" clId="{6B709646-9B8B-914B-83A9-D81F12AFDE5E}" dt="2022-06-19T05:01:48.661" v="1717"/>
          <ac:inkMkLst>
            <pc:docMk/>
            <pc:sldMk cId="1232166785" sldId="570"/>
            <ac:inkMk id="4" creationId="{575242AC-DD59-2DA5-DF26-76F1BFE3A975}"/>
          </ac:inkMkLst>
        </pc:inkChg>
        <pc:inkChg chg="add mod">
          <ac:chgData name="Aniket Chhabra" userId="598e0514-bef3-4e71-b6aa-f2edd6441cff" providerId="ADAL" clId="{6B709646-9B8B-914B-83A9-D81F12AFDE5E}" dt="2022-06-19T05:01:48.661" v="1717"/>
          <ac:inkMkLst>
            <pc:docMk/>
            <pc:sldMk cId="1232166785" sldId="570"/>
            <ac:inkMk id="5" creationId="{338825E9-2AF3-F51D-9A43-B27E2F349EDE}"/>
          </ac:inkMkLst>
        </pc:inkChg>
        <pc:inkChg chg="add mod">
          <ac:chgData name="Aniket Chhabra" userId="598e0514-bef3-4e71-b6aa-f2edd6441cff" providerId="ADAL" clId="{6B709646-9B8B-914B-83A9-D81F12AFDE5E}" dt="2022-06-19T05:01:48.661" v="1717"/>
          <ac:inkMkLst>
            <pc:docMk/>
            <pc:sldMk cId="1232166785" sldId="570"/>
            <ac:inkMk id="6" creationId="{C2486950-ACF3-416E-9466-C0034965A55D}"/>
          </ac:inkMkLst>
        </pc:inkChg>
        <pc:inkChg chg="add mod">
          <ac:chgData name="Aniket Chhabra" userId="598e0514-bef3-4e71-b6aa-f2edd6441cff" providerId="ADAL" clId="{6B709646-9B8B-914B-83A9-D81F12AFDE5E}" dt="2022-06-19T05:01:48.661" v="1717"/>
          <ac:inkMkLst>
            <pc:docMk/>
            <pc:sldMk cId="1232166785" sldId="570"/>
            <ac:inkMk id="7" creationId="{BF89EC4E-AD32-DA3B-391D-C630511A5C00}"/>
          </ac:inkMkLst>
        </pc:inkChg>
        <pc:inkChg chg="add mod">
          <ac:chgData name="Aniket Chhabra" userId="598e0514-bef3-4e71-b6aa-f2edd6441cff" providerId="ADAL" clId="{6B709646-9B8B-914B-83A9-D81F12AFDE5E}" dt="2022-06-19T05:01:48.661" v="1717"/>
          <ac:inkMkLst>
            <pc:docMk/>
            <pc:sldMk cId="1232166785" sldId="570"/>
            <ac:inkMk id="8" creationId="{B7F46561-F1E8-DC96-A669-474FD5DFE8AA}"/>
          </ac:inkMkLst>
        </pc:inkChg>
        <pc:inkChg chg="add mod">
          <ac:chgData name="Aniket Chhabra" userId="598e0514-bef3-4e71-b6aa-f2edd6441cff" providerId="ADAL" clId="{6B709646-9B8B-914B-83A9-D81F12AFDE5E}" dt="2022-06-19T05:01:48.661" v="1717"/>
          <ac:inkMkLst>
            <pc:docMk/>
            <pc:sldMk cId="1232166785" sldId="570"/>
            <ac:inkMk id="9" creationId="{A709DBD9-1092-7175-37AD-2B067756CB99}"/>
          </ac:inkMkLst>
        </pc:inkChg>
        <pc:inkChg chg="add mod">
          <ac:chgData name="Aniket Chhabra" userId="598e0514-bef3-4e71-b6aa-f2edd6441cff" providerId="ADAL" clId="{6B709646-9B8B-914B-83A9-D81F12AFDE5E}" dt="2022-06-19T05:01:48.661" v="1717"/>
          <ac:inkMkLst>
            <pc:docMk/>
            <pc:sldMk cId="1232166785" sldId="570"/>
            <ac:inkMk id="10" creationId="{C0472BD3-F84C-729F-734D-0154FACC5AC4}"/>
          </ac:inkMkLst>
        </pc:inkChg>
        <pc:inkChg chg="add mod">
          <ac:chgData name="Aniket Chhabra" userId="598e0514-bef3-4e71-b6aa-f2edd6441cff" providerId="ADAL" clId="{6B709646-9B8B-914B-83A9-D81F12AFDE5E}" dt="2022-06-19T05:01:48.661" v="1717"/>
          <ac:inkMkLst>
            <pc:docMk/>
            <pc:sldMk cId="1232166785" sldId="570"/>
            <ac:inkMk id="11" creationId="{CA75F514-028C-C1C2-531E-01AA15AF0D62}"/>
          </ac:inkMkLst>
        </pc:inkChg>
        <pc:inkChg chg="add mod">
          <ac:chgData name="Aniket Chhabra" userId="598e0514-bef3-4e71-b6aa-f2edd6441cff" providerId="ADAL" clId="{6B709646-9B8B-914B-83A9-D81F12AFDE5E}" dt="2022-06-19T05:01:48.661" v="1717"/>
          <ac:inkMkLst>
            <pc:docMk/>
            <pc:sldMk cId="1232166785" sldId="570"/>
            <ac:inkMk id="12" creationId="{702741B1-4486-601E-33FA-A48E4E01F7A4}"/>
          </ac:inkMkLst>
        </pc:inkChg>
        <pc:inkChg chg="add mod">
          <ac:chgData name="Aniket Chhabra" userId="598e0514-bef3-4e71-b6aa-f2edd6441cff" providerId="ADAL" clId="{6B709646-9B8B-914B-83A9-D81F12AFDE5E}" dt="2022-06-19T05:01:48.661" v="1717"/>
          <ac:inkMkLst>
            <pc:docMk/>
            <pc:sldMk cId="1232166785" sldId="570"/>
            <ac:inkMk id="13" creationId="{B6E2EBF7-B22A-8657-6390-A48402C3B175}"/>
          </ac:inkMkLst>
        </pc:inkChg>
        <pc:inkChg chg="add mod">
          <ac:chgData name="Aniket Chhabra" userId="598e0514-bef3-4e71-b6aa-f2edd6441cff" providerId="ADAL" clId="{6B709646-9B8B-914B-83A9-D81F12AFDE5E}" dt="2022-06-19T05:01:48.661" v="1717"/>
          <ac:inkMkLst>
            <pc:docMk/>
            <pc:sldMk cId="1232166785" sldId="570"/>
            <ac:inkMk id="14" creationId="{77DAA2D4-7C92-5A33-AD40-9BC3B49D3579}"/>
          </ac:inkMkLst>
        </pc:inkChg>
        <pc:inkChg chg="add mod">
          <ac:chgData name="Aniket Chhabra" userId="598e0514-bef3-4e71-b6aa-f2edd6441cff" providerId="ADAL" clId="{6B709646-9B8B-914B-83A9-D81F12AFDE5E}" dt="2022-06-19T05:01:48.661" v="1717"/>
          <ac:inkMkLst>
            <pc:docMk/>
            <pc:sldMk cId="1232166785" sldId="570"/>
            <ac:inkMk id="15" creationId="{46902CF9-CD4A-E492-8AC3-9E3B77EC80B6}"/>
          </ac:inkMkLst>
        </pc:inkChg>
        <pc:inkChg chg="add mod">
          <ac:chgData name="Aniket Chhabra" userId="598e0514-bef3-4e71-b6aa-f2edd6441cff" providerId="ADAL" clId="{6B709646-9B8B-914B-83A9-D81F12AFDE5E}" dt="2022-06-19T05:01:48.661" v="1717"/>
          <ac:inkMkLst>
            <pc:docMk/>
            <pc:sldMk cId="1232166785" sldId="570"/>
            <ac:inkMk id="16" creationId="{529FFB41-461D-5328-EE26-673C71437980}"/>
          </ac:inkMkLst>
        </pc:inkChg>
        <pc:inkChg chg="add mod">
          <ac:chgData name="Aniket Chhabra" userId="598e0514-bef3-4e71-b6aa-f2edd6441cff" providerId="ADAL" clId="{6B709646-9B8B-914B-83A9-D81F12AFDE5E}" dt="2022-06-19T05:01:48.661" v="1717"/>
          <ac:inkMkLst>
            <pc:docMk/>
            <pc:sldMk cId="1232166785" sldId="570"/>
            <ac:inkMk id="17" creationId="{F5B7A120-704C-E75F-D6B9-C93613236560}"/>
          </ac:inkMkLst>
        </pc:inkChg>
        <pc:inkChg chg="add mod">
          <ac:chgData name="Aniket Chhabra" userId="598e0514-bef3-4e71-b6aa-f2edd6441cff" providerId="ADAL" clId="{6B709646-9B8B-914B-83A9-D81F12AFDE5E}" dt="2022-06-19T05:01:48.661" v="1717"/>
          <ac:inkMkLst>
            <pc:docMk/>
            <pc:sldMk cId="1232166785" sldId="570"/>
            <ac:inkMk id="18" creationId="{69B70739-0F80-EBD8-2A48-2BDE2AAC1422}"/>
          </ac:inkMkLst>
        </pc:inkChg>
        <pc:inkChg chg="add mod">
          <ac:chgData name="Aniket Chhabra" userId="598e0514-bef3-4e71-b6aa-f2edd6441cff" providerId="ADAL" clId="{6B709646-9B8B-914B-83A9-D81F12AFDE5E}" dt="2022-06-19T05:01:48.661" v="1717"/>
          <ac:inkMkLst>
            <pc:docMk/>
            <pc:sldMk cId="1232166785" sldId="570"/>
            <ac:inkMk id="19" creationId="{EB1BFC3F-CA2F-4780-1D28-FEEC45277099}"/>
          </ac:inkMkLst>
        </pc:inkChg>
        <pc:inkChg chg="add mod">
          <ac:chgData name="Aniket Chhabra" userId="598e0514-bef3-4e71-b6aa-f2edd6441cff" providerId="ADAL" clId="{6B709646-9B8B-914B-83A9-D81F12AFDE5E}" dt="2022-06-19T05:01:48.661" v="1717"/>
          <ac:inkMkLst>
            <pc:docMk/>
            <pc:sldMk cId="1232166785" sldId="570"/>
            <ac:inkMk id="20" creationId="{07362754-B573-CB9D-F70C-88943D01BF79}"/>
          </ac:inkMkLst>
        </pc:inkChg>
        <pc:inkChg chg="add del mod">
          <ac:chgData name="Aniket Chhabra" userId="598e0514-bef3-4e71-b6aa-f2edd6441cff" providerId="ADAL" clId="{6B709646-9B8B-914B-83A9-D81F12AFDE5E}" dt="2022-06-19T04:51:48.931" v="1415"/>
          <ac:inkMkLst>
            <pc:docMk/>
            <pc:sldMk cId="1232166785" sldId="570"/>
            <ac:inkMk id="21" creationId="{F94F34E9-F146-BDD6-4ED4-4DE63DBFA92E}"/>
          </ac:inkMkLst>
        </pc:inkChg>
        <pc:inkChg chg="add del mod">
          <ac:chgData name="Aniket Chhabra" userId="598e0514-bef3-4e71-b6aa-f2edd6441cff" providerId="ADAL" clId="{6B709646-9B8B-914B-83A9-D81F12AFDE5E}" dt="2022-06-19T04:51:48.931" v="1416"/>
          <ac:inkMkLst>
            <pc:docMk/>
            <pc:sldMk cId="1232166785" sldId="570"/>
            <ac:inkMk id="22" creationId="{DE9F77AF-FBCF-6916-6D9D-3C0D9EAACD74}"/>
          </ac:inkMkLst>
        </pc:inkChg>
        <pc:inkChg chg="add del mod">
          <ac:chgData name="Aniket Chhabra" userId="598e0514-bef3-4e71-b6aa-f2edd6441cff" providerId="ADAL" clId="{6B709646-9B8B-914B-83A9-D81F12AFDE5E}" dt="2022-06-19T04:51:48.932" v="1418"/>
          <ac:inkMkLst>
            <pc:docMk/>
            <pc:sldMk cId="1232166785" sldId="570"/>
            <ac:inkMk id="23" creationId="{CC29F06E-7B76-8816-E15C-81F298B2B895}"/>
          </ac:inkMkLst>
        </pc:inkChg>
        <pc:inkChg chg="add del mod">
          <ac:chgData name="Aniket Chhabra" userId="598e0514-bef3-4e71-b6aa-f2edd6441cff" providerId="ADAL" clId="{6B709646-9B8B-914B-83A9-D81F12AFDE5E}" dt="2022-06-19T04:51:48.932" v="1417"/>
          <ac:inkMkLst>
            <pc:docMk/>
            <pc:sldMk cId="1232166785" sldId="570"/>
            <ac:inkMk id="24" creationId="{65F5147B-AB0D-36E8-6D48-61C694E8A548}"/>
          </ac:inkMkLst>
        </pc:inkChg>
        <pc:inkChg chg="add mod">
          <ac:chgData name="Aniket Chhabra" userId="598e0514-bef3-4e71-b6aa-f2edd6441cff" providerId="ADAL" clId="{6B709646-9B8B-914B-83A9-D81F12AFDE5E}" dt="2022-06-19T04:52:07.658" v="1428"/>
          <ac:inkMkLst>
            <pc:docMk/>
            <pc:sldMk cId="1232166785" sldId="570"/>
            <ac:inkMk id="27" creationId="{1B10A9DC-9D20-E1A4-A52F-A2D599DBFD22}"/>
          </ac:inkMkLst>
        </pc:inkChg>
        <pc:inkChg chg="add mod">
          <ac:chgData name="Aniket Chhabra" userId="598e0514-bef3-4e71-b6aa-f2edd6441cff" providerId="ADAL" clId="{6B709646-9B8B-914B-83A9-D81F12AFDE5E}" dt="2022-06-19T04:52:07.658" v="1428"/>
          <ac:inkMkLst>
            <pc:docMk/>
            <pc:sldMk cId="1232166785" sldId="570"/>
            <ac:inkMk id="28" creationId="{591FF0DF-C056-56EC-FFAF-220D4DB46833}"/>
          </ac:inkMkLst>
        </pc:inkChg>
        <pc:inkChg chg="add mod">
          <ac:chgData name="Aniket Chhabra" userId="598e0514-bef3-4e71-b6aa-f2edd6441cff" providerId="ADAL" clId="{6B709646-9B8B-914B-83A9-D81F12AFDE5E}" dt="2022-06-19T04:52:07.658" v="1428"/>
          <ac:inkMkLst>
            <pc:docMk/>
            <pc:sldMk cId="1232166785" sldId="570"/>
            <ac:inkMk id="29" creationId="{30D91210-1A51-A7F8-6C14-85701CD1AF20}"/>
          </ac:inkMkLst>
        </pc:inkChg>
        <pc:inkChg chg="add mod">
          <ac:chgData name="Aniket Chhabra" userId="598e0514-bef3-4e71-b6aa-f2edd6441cff" providerId="ADAL" clId="{6B709646-9B8B-914B-83A9-D81F12AFDE5E}" dt="2022-06-19T04:52:07.658" v="1428"/>
          <ac:inkMkLst>
            <pc:docMk/>
            <pc:sldMk cId="1232166785" sldId="570"/>
            <ac:inkMk id="30" creationId="{9F880752-C3A7-2450-B6DD-B26C6E62D289}"/>
          </ac:inkMkLst>
        </pc:inkChg>
        <pc:inkChg chg="add mod">
          <ac:chgData name="Aniket Chhabra" userId="598e0514-bef3-4e71-b6aa-f2edd6441cff" providerId="ADAL" clId="{6B709646-9B8B-914B-83A9-D81F12AFDE5E}" dt="2022-06-19T04:52:07.658" v="1428"/>
          <ac:inkMkLst>
            <pc:docMk/>
            <pc:sldMk cId="1232166785" sldId="570"/>
            <ac:inkMk id="31" creationId="{A3A29D8C-4335-4DE3-0786-6043AF58AD99}"/>
          </ac:inkMkLst>
        </pc:inkChg>
        <pc:inkChg chg="add mod">
          <ac:chgData name="Aniket Chhabra" userId="598e0514-bef3-4e71-b6aa-f2edd6441cff" providerId="ADAL" clId="{6B709646-9B8B-914B-83A9-D81F12AFDE5E}" dt="2022-06-19T04:52:07.658" v="1428"/>
          <ac:inkMkLst>
            <pc:docMk/>
            <pc:sldMk cId="1232166785" sldId="570"/>
            <ac:inkMk id="32" creationId="{44FA1E11-0A7A-981E-A52C-E11E0CB04F6D}"/>
          </ac:inkMkLst>
        </pc:inkChg>
        <pc:inkChg chg="add mod">
          <ac:chgData name="Aniket Chhabra" userId="598e0514-bef3-4e71-b6aa-f2edd6441cff" providerId="ADAL" clId="{6B709646-9B8B-914B-83A9-D81F12AFDE5E}" dt="2022-06-19T04:52:07.658" v="1428"/>
          <ac:inkMkLst>
            <pc:docMk/>
            <pc:sldMk cId="1232166785" sldId="570"/>
            <ac:inkMk id="33" creationId="{C461E442-4617-EDEF-07B6-3F7AD2C67F47}"/>
          </ac:inkMkLst>
        </pc:inkChg>
        <pc:inkChg chg="add">
          <ac:chgData name="Aniket Chhabra" userId="598e0514-bef3-4e71-b6aa-f2edd6441cff" providerId="ADAL" clId="{6B709646-9B8B-914B-83A9-D81F12AFDE5E}" dt="2022-06-19T04:52:06.489" v="1426" actId="9405"/>
          <ac:inkMkLst>
            <pc:docMk/>
            <pc:sldMk cId="1232166785" sldId="570"/>
            <ac:inkMk id="34" creationId="{EB5D5297-282F-0FC2-6698-5AFEE2BFF21F}"/>
          </ac:inkMkLst>
        </pc:inkChg>
        <pc:inkChg chg="add">
          <ac:chgData name="Aniket Chhabra" userId="598e0514-bef3-4e71-b6aa-f2edd6441cff" providerId="ADAL" clId="{6B709646-9B8B-914B-83A9-D81F12AFDE5E}" dt="2022-06-19T04:52:06.735" v="1427" actId="9405"/>
          <ac:inkMkLst>
            <pc:docMk/>
            <pc:sldMk cId="1232166785" sldId="570"/>
            <ac:inkMk id="35" creationId="{E13AA914-E63F-3028-AA1E-544C69D60F1D}"/>
          </ac:inkMkLst>
        </pc:inkChg>
        <pc:inkChg chg="add mod">
          <ac:chgData name="Aniket Chhabra" userId="598e0514-bef3-4e71-b6aa-f2edd6441cff" providerId="ADAL" clId="{6B709646-9B8B-914B-83A9-D81F12AFDE5E}" dt="2022-06-19T04:52:46.500" v="1453"/>
          <ac:inkMkLst>
            <pc:docMk/>
            <pc:sldMk cId="1232166785" sldId="570"/>
            <ac:inkMk id="37" creationId="{46780695-5F2C-029F-F861-18FE6C22837F}"/>
          </ac:inkMkLst>
        </pc:inkChg>
        <pc:inkChg chg="add mod">
          <ac:chgData name="Aniket Chhabra" userId="598e0514-bef3-4e71-b6aa-f2edd6441cff" providerId="ADAL" clId="{6B709646-9B8B-914B-83A9-D81F12AFDE5E}" dt="2022-06-19T04:52:46.500" v="1453"/>
          <ac:inkMkLst>
            <pc:docMk/>
            <pc:sldMk cId="1232166785" sldId="570"/>
            <ac:inkMk id="38" creationId="{B8C1EB88-906C-4A20-C0DB-DD871835103A}"/>
          </ac:inkMkLst>
        </pc:inkChg>
        <pc:inkChg chg="add mod">
          <ac:chgData name="Aniket Chhabra" userId="598e0514-bef3-4e71-b6aa-f2edd6441cff" providerId="ADAL" clId="{6B709646-9B8B-914B-83A9-D81F12AFDE5E}" dt="2022-06-19T04:52:46.500" v="1453"/>
          <ac:inkMkLst>
            <pc:docMk/>
            <pc:sldMk cId="1232166785" sldId="570"/>
            <ac:inkMk id="39" creationId="{F2E83A51-73AA-C60E-37AA-166E5AF05BC0}"/>
          </ac:inkMkLst>
        </pc:inkChg>
        <pc:inkChg chg="add mod">
          <ac:chgData name="Aniket Chhabra" userId="598e0514-bef3-4e71-b6aa-f2edd6441cff" providerId="ADAL" clId="{6B709646-9B8B-914B-83A9-D81F12AFDE5E}" dt="2022-06-19T04:52:46.500" v="1453"/>
          <ac:inkMkLst>
            <pc:docMk/>
            <pc:sldMk cId="1232166785" sldId="570"/>
            <ac:inkMk id="40" creationId="{70EE3265-CDF6-C553-1AEF-0A8CD3D28AE6}"/>
          </ac:inkMkLst>
        </pc:inkChg>
        <pc:inkChg chg="add mod">
          <ac:chgData name="Aniket Chhabra" userId="598e0514-bef3-4e71-b6aa-f2edd6441cff" providerId="ADAL" clId="{6B709646-9B8B-914B-83A9-D81F12AFDE5E}" dt="2022-06-19T04:52:46.500" v="1453"/>
          <ac:inkMkLst>
            <pc:docMk/>
            <pc:sldMk cId="1232166785" sldId="570"/>
            <ac:inkMk id="41" creationId="{6B60C207-ECCB-026E-93E6-64E34D45D49F}"/>
          </ac:inkMkLst>
        </pc:inkChg>
        <pc:inkChg chg="add mod">
          <ac:chgData name="Aniket Chhabra" userId="598e0514-bef3-4e71-b6aa-f2edd6441cff" providerId="ADAL" clId="{6B709646-9B8B-914B-83A9-D81F12AFDE5E}" dt="2022-06-19T04:52:46.500" v="1453"/>
          <ac:inkMkLst>
            <pc:docMk/>
            <pc:sldMk cId="1232166785" sldId="570"/>
            <ac:inkMk id="42" creationId="{74DB50DB-BBDF-7CA9-4D11-DDB96B5EECBB}"/>
          </ac:inkMkLst>
        </pc:inkChg>
        <pc:inkChg chg="add mod">
          <ac:chgData name="Aniket Chhabra" userId="598e0514-bef3-4e71-b6aa-f2edd6441cff" providerId="ADAL" clId="{6B709646-9B8B-914B-83A9-D81F12AFDE5E}" dt="2022-06-19T04:52:46.500" v="1453"/>
          <ac:inkMkLst>
            <pc:docMk/>
            <pc:sldMk cId="1232166785" sldId="570"/>
            <ac:inkMk id="43" creationId="{12F753AB-7F58-F8BC-2E91-50B7806F5969}"/>
          </ac:inkMkLst>
        </pc:inkChg>
        <pc:inkChg chg="add mod">
          <ac:chgData name="Aniket Chhabra" userId="598e0514-bef3-4e71-b6aa-f2edd6441cff" providerId="ADAL" clId="{6B709646-9B8B-914B-83A9-D81F12AFDE5E}" dt="2022-06-19T04:52:46.500" v="1453"/>
          <ac:inkMkLst>
            <pc:docMk/>
            <pc:sldMk cId="1232166785" sldId="570"/>
            <ac:inkMk id="44" creationId="{4866A627-2DEA-DC58-7C65-34251CF79901}"/>
          </ac:inkMkLst>
        </pc:inkChg>
        <pc:inkChg chg="add mod">
          <ac:chgData name="Aniket Chhabra" userId="598e0514-bef3-4e71-b6aa-f2edd6441cff" providerId="ADAL" clId="{6B709646-9B8B-914B-83A9-D81F12AFDE5E}" dt="2022-06-19T04:52:46.500" v="1453"/>
          <ac:inkMkLst>
            <pc:docMk/>
            <pc:sldMk cId="1232166785" sldId="570"/>
            <ac:inkMk id="45" creationId="{5E2585F7-162C-A96F-263A-854580743879}"/>
          </ac:inkMkLst>
        </pc:inkChg>
        <pc:inkChg chg="add mod">
          <ac:chgData name="Aniket Chhabra" userId="598e0514-bef3-4e71-b6aa-f2edd6441cff" providerId="ADAL" clId="{6B709646-9B8B-914B-83A9-D81F12AFDE5E}" dt="2022-06-19T04:52:46.500" v="1453"/>
          <ac:inkMkLst>
            <pc:docMk/>
            <pc:sldMk cId="1232166785" sldId="570"/>
            <ac:inkMk id="46" creationId="{6138E1D2-70BB-7E7F-1F4F-96DD44C63A42}"/>
          </ac:inkMkLst>
        </pc:inkChg>
        <pc:inkChg chg="add mod">
          <ac:chgData name="Aniket Chhabra" userId="598e0514-bef3-4e71-b6aa-f2edd6441cff" providerId="ADAL" clId="{6B709646-9B8B-914B-83A9-D81F12AFDE5E}" dt="2022-06-19T04:52:46.500" v="1453"/>
          <ac:inkMkLst>
            <pc:docMk/>
            <pc:sldMk cId="1232166785" sldId="570"/>
            <ac:inkMk id="47" creationId="{5BCBDAE8-3805-6793-FC8D-AF9A39356449}"/>
          </ac:inkMkLst>
        </pc:inkChg>
        <pc:inkChg chg="add mod">
          <ac:chgData name="Aniket Chhabra" userId="598e0514-bef3-4e71-b6aa-f2edd6441cff" providerId="ADAL" clId="{6B709646-9B8B-914B-83A9-D81F12AFDE5E}" dt="2022-06-19T04:52:46.500" v="1453"/>
          <ac:inkMkLst>
            <pc:docMk/>
            <pc:sldMk cId="1232166785" sldId="570"/>
            <ac:inkMk id="50" creationId="{1E187B6D-7A7C-B4B8-4136-087C9F2F1480}"/>
          </ac:inkMkLst>
        </pc:inkChg>
        <pc:inkChg chg="add mod">
          <ac:chgData name="Aniket Chhabra" userId="598e0514-bef3-4e71-b6aa-f2edd6441cff" providerId="ADAL" clId="{6B709646-9B8B-914B-83A9-D81F12AFDE5E}" dt="2022-06-19T04:52:46.500" v="1453"/>
          <ac:inkMkLst>
            <pc:docMk/>
            <pc:sldMk cId="1232166785" sldId="570"/>
            <ac:inkMk id="51" creationId="{44447F33-5798-CF76-4F4F-E2090163EF65}"/>
          </ac:inkMkLst>
        </pc:inkChg>
        <pc:inkChg chg="add mod">
          <ac:chgData name="Aniket Chhabra" userId="598e0514-bef3-4e71-b6aa-f2edd6441cff" providerId="ADAL" clId="{6B709646-9B8B-914B-83A9-D81F12AFDE5E}" dt="2022-06-19T04:52:46.500" v="1453"/>
          <ac:inkMkLst>
            <pc:docMk/>
            <pc:sldMk cId="1232166785" sldId="570"/>
            <ac:inkMk id="52" creationId="{C3140067-89C6-0014-09B3-B8512C7B13F9}"/>
          </ac:inkMkLst>
        </pc:inkChg>
        <pc:inkChg chg="add mod">
          <ac:chgData name="Aniket Chhabra" userId="598e0514-bef3-4e71-b6aa-f2edd6441cff" providerId="ADAL" clId="{6B709646-9B8B-914B-83A9-D81F12AFDE5E}" dt="2022-06-19T04:52:46.500" v="1453"/>
          <ac:inkMkLst>
            <pc:docMk/>
            <pc:sldMk cId="1232166785" sldId="570"/>
            <ac:inkMk id="53" creationId="{6ED48772-7192-50AB-A980-26860BCF4AA2}"/>
          </ac:inkMkLst>
        </pc:inkChg>
        <pc:inkChg chg="add mod">
          <ac:chgData name="Aniket Chhabra" userId="598e0514-bef3-4e71-b6aa-f2edd6441cff" providerId="ADAL" clId="{6B709646-9B8B-914B-83A9-D81F12AFDE5E}" dt="2022-06-19T04:52:46.500" v="1453"/>
          <ac:inkMkLst>
            <pc:docMk/>
            <pc:sldMk cId="1232166785" sldId="570"/>
            <ac:inkMk id="54" creationId="{7A166C8D-8FBB-E7A1-E0AC-C3ECC9376FF5}"/>
          </ac:inkMkLst>
        </pc:inkChg>
        <pc:inkChg chg="add mod">
          <ac:chgData name="Aniket Chhabra" userId="598e0514-bef3-4e71-b6aa-f2edd6441cff" providerId="ADAL" clId="{6B709646-9B8B-914B-83A9-D81F12AFDE5E}" dt="2022-06-19T04:52:46.500" v="1453"/>
          <ac:inkMkLst>
            <pc:docMk/>
            <pc:sldMk cId="1232166785" sldId="570"/>
            <ac:inkMk id="55" creationId="{89CDE5C1-A7B3-998D-F520-31D62473F9D1}"/>
          </ac:inkMkLst>
        </pc:inkChg>
        <pc:inkChg chg="add mod">
          <ac:chgData name="Aniket Chhabra" userId="598e0514-bef3-4e71-b6aa-f2edd6441cff" providerId="ADAL" clId="{6B709646-9B8B-914B-83A9-D81F12AFDE5E}" dt="2022-06-19T04:52:46.500" v="1453"/>
          <ac:inkMkLst>
            <pc:docMk/>
            <pc:sldMk cId="1232166785" sldId="570"/>
            <ac:inkMk id="56" creationId="{A2E17BDF-3368-6C03-C869-F4D53A16EA76}"/>
          </ac:inkMkLst>
        </pc:inkChg>
        <pc:inkChg chg="add mod">
          <ac:chgData name="Aniket Chhabra" userId="598e0514-bef3-4e71-b6aa-f2edd6441cff" providerId="ADAL" clId="{6B709646-9B8B-914B-83A9-D81F12AFDE5E}" dt="2022-06-19T04:52:46.500" v="1453"/>
          <ac:inkMkLst>
            <pc:docMk/>
            <pc:sldMk cId="1232166785" sldId="570"/>
            <ac:inkMk id="57" creationId="{482D8A16-8A71-5357-DC7D-76DC9738800F}"/>
          </ac:inkMkLst>
        </pc:inkChg>
        <pc:inkChg chg="add mod">
          <ac:chgData name="Aniket Chhabra" userId="598e0514-bef3-4e71-b6aa-f2edd6441cff" providerId="ADAL" clId="{6B709646-9B8B-914B-83A9-D81F12AFDE5E}" dt="2022-06-19T04:52:46.500" v="1453"/>
          <ac:inkMkLst>
            <pc:docMk/>
            <pc:sldMk cId="1232166785" sldId="570"/>
            <ac:inkMk id="58" creationId="{0F43F528-DD15-D203-E63E-A3D616C99035}"/>
          </ac:inkMkLst>
        </pc:inkChg>
        <pc:inkChg chg="add mod">
          <ac:chgData name="Aniket Chhabra" userId="598e0514-bef3-4e71-b6aa-f2edd6441cff" providerId="ADAL" clId="{6B709646-9B8B-914B-83A9-D81F12AFDE5E}" dt="2022-06-19T04:52:46.500" v="1453"/>
          <ac:inkMkLst>
            <pc:docMk/>
            <pc:sldMk cId="1232166785" sldId="570"/>
            <ac:inkMk id="59" creationId="{249F4F88-EB01-81FD-D4BF-59D3BA5D8F8C}"/>
          </ac:inkMkLst>
        </pc:inkChg>
        <pc:inkChg chg="add mod">
          <ac:chgData name="Aniket Chhabra" userId="598e0514-bef3-4e71-b6aa-f2edd6441cff" providerId="ADAL" clId="{6B709646-9B8B-914B-83A9-D81F12AFDE5E}" dt="2022-06-19T04:52:46.500" v="1453"/>
          <ac:inkMkLst>
            <pc:docMk/>
            <pc:sldMk cId="1232166785" sldId="570"/>
            <ac:inkMk id="60" creationId="{D1863F35-4741-AFE5-265A-AE1059782C44}"/>
          </ac:inkMkLst>
        </pc:inkChg>
        <pc:inkChg chg="add">
          <ac:chgData name="Aniket Chhabra" userId="598e0514-bef3-4e71-b6aa-f2edd6441cff" providerId="ADAL" clId="{6B709646-9B8B-914B-83A9-D81F12AFDE5E}" dt="2022-06-19T04:52:45.984" v="1452" actId="9405"/>
          <ac:inkMkLst>
            <pc:docMk/>
            <pc:sldMk cId="1232166785" sldId="570"/>
            <ac:inkMk id="61" creationId="{C809AE5F-A472-5BDC-7AE1-002465DEEE9C}"/>
          </ac:inkMkLst>
        </pc:inkChg>
        <pc:inkChg chg="add mod">
          <ac:chgData name="Aniket Chhabra" userId="598e0514-bef3-4e71-b6aa-f2edd6441cff" providerId="ADAL" clId="{6B709646-9B8B-914B-83A9-D81F12AFDE5E}" dt="2022-06-19T04:59:59.999" v="1686"/>
          <ac:inkMkLst>
            <pc:docMk/>
            <pc:sldMk cId="1232166785" sldId="570"/>
            <ac:inkMk id="65" creationId="{D77C9028-878A-B585-2DE4-676580906448}"/>
          </ac:inkMkLst>
        </pc:inkChg>
        <pc:inkChg chg="add mod">
          <ac:chgData name="Aniket Chhabra" userId="598e0514-bef3-4e71-b6aa-f2edd6441cff" providerId="ADAL" clId="{6B709646-9B8B-914B-83A9-D81F12AFDE5E}" dt="2022-06-19T04:59:59.999" v="1686"/>
          <ac:inkMkLst>
            <pc:docMk/>
            <pc:sldMk cId="1232166785" sldId="570"/>
            <ac:inkMk id="66" creationId="{932B88FE-00FE-D265-9518-50416C1062D3}"/>
          </ac:inkMkLst>
        </pc:inkChg>
        <pc:inkChg chg="add mod">
          <ac:chgData name="Aniket Chhabra" userId="598e0514-bef3-4e71-b6aa-f2edd6441cff" providerId="ADAL" clId="{6B709646-9B8B-914B-83A9-D81F12AFDE5E}" dt="2022-06-19T04:59:59.999" v="1686"/>
          <ac:inkMkLst>
            <pc:docMk/>
            <pc:sldMk cId="1232166785" sldId="570"/>
            <ac:inkMk id="67" creationId="{35F8070D-BC11-997F-BD61-3BC2D3A497AA}"/>
          </ac:inkMkLst>
        </pc:inkChg>
        <pc:inkChg chg="add mod">
          <ac:chgData name="Aniket Chhabra" userId="598e0514-bef3-4e71-b6aa-f2edd6441cff" providerId="ADAL" clId="{6B709646-9B8B-914B-83A9-D81F12AFDE5E}" dt="2022-06-19T04:59:59.999" v="1686"/>
          <ac:inkMkLst>
            <pc:docMk/>
            <pc:sldMk cId="1232166785" sldId="570"/>
            <ac:inkMk id="68" creationId="{F8E012DA-1D54-0FD3-7B92-DD5F44B9A927}"/>
          </ac:inkMkLst>
        </pc:inkChg>
        <pc:inkChg chg="add mod">
          <ac:chgData name="Aniket Chhabra" userId="598e0514-bef3-4e71-b6aa-f2edd6441cff" providerId="ADAL" clId="{6B709646-9B8B-914B-83A9-D81F12AFDE5E}" dt="2022-06-19T04:59:59.999" v="1686"/>
          <ac:inkMkLst>
            <pc:docMk/>
            <pc:sldMk cId="1232166785" sldId="570"/>
            <ac:inkMk id="69" creationId="{2FBB9B76-BA11-8AE5-F869-C5D35C0F6195}"/>
          </ac:inkMkLst>
        </pc:inkChg>
        <pc:inkChg chg="add mod">
          <ac:chgData name="Aniket Chhabra" userId="598e0514-bef3-4e71-b6aa-f2edd6441cff" providerId="ADAL" clId="{6B709646-9B8B-914B-83A9-D81F12AFDE5E}" dt="2022-06-19T04:59:59.999" v="1686"/>
          <ac:inkMkLst>
            <pc:docMk/>
            <pc:sldMk cId="1232166785" sldId="570"/>
            <ac:inkMk id="70" creationId="{B7465D17-0910-892E-13DB-52709B6154C5}"/>
          </ac:inkMkLst>
        </pc:inkChg>
        <pc:inkChg chg="add mod">
          <ac:chgData name="Aniket Chhabra" userId="598e0514-bef3-4e71-b6aa-f2edd6441cff" providerId="ADAL" clId="{6B709646-9B8B-914B-83A9-D81F12AFDE5E}" dt="2022-06-19T04:59:59.999" v="1686"/>
          <ac:inkMkLst>
            <pc:docMk/>
            <pc:sldMk cId="1232166785" sldId="570"/>
            <ac:inkMk id="71" creationId="{E01E3A7B-E6AE-9D75-C312-00C668D6BAE9}"/>
          </ac:inkMkLst>
        </pc:inkChg>
        <pc:inkChg chg="add mod">
          <ac:chgData name="Aniket Chhabra" userId="598e0514-bef3-4e71-b6aa-f2edd6441cff" providerId="ADAL" clId="{6B709646-9B8B-914B-83A9-D81F12AFDE5E}" dt="2022-06-19T04:59:59.999" v="1686"/>
          <ac:inkMkLst>
            <pc:docMk/>
            <pc:sldMk cId="1232166785" sldId="570"/>
            <ac:inkMk id="72" creationId="{8CE90F7C-8026-E35E-5DDC-655F0351985E}"/>
          </ac:inkMkLst>
        </pc:inkChg>
        <pc:inkChg chg="add mod">
          <ac:chgData name="Aniket Chhabra" userId="598e0514-bef3-4e71-b6aa-f2edd6441cff" providerId="ADAL" clId="{6B709646-9B8B-914B-83A9-D81F12AFDE5E}" dt="2022-06-19T04:59:59.999" v="1686"/>
          <ac:inkMkLst>
            <pc:docMk/>
            <pc:sldMk cId="1232166785" sldId="570"/>
            <ac:inkMk id="73" creationId="{D81131B2-5523-2C4F-EBE4-DF7FE2B3C9FA}"/>
          </ac:inkMkLst>
        </pc:inkChg>
        <pc:inkChg chg="add mod">
          <ac:chgData name="Aniket Chhabra" userId="598e0514-bef3-4e71-b6aa-f2edd6441cff" providerId="ADAL" clId="{6B709646-9B8B-914B-83A9-D81F12AFDE5E}" dt="2022-06-19T04:59:59.999" v="1686"/>
          <ac:inkMkLst>
            <pc:docMk/>
            <pc:sldMk cId="1232166785" sldId="570"/>
            <ac:inkMk id="74" creationId="{EE1D1D9A-36D0-CD40-EA7E-FAAD4504B53A}"/>
          </ac:inkMkLst>
        </pc:inkChg>
        <pc:inkChg chg="add mod">
          <ac:chgData name="Aniket Chhabra" userId="598e0514-bef3-4e71-b6aa-f2edd6441cff" providerId="ADAL" clId="{6B709646-9B8B-914B-83A9-D81F12AFDE5E}" dt="2022-06-19T04:59:59.999" v="1686"/>
          <ac:inkMkLst>
            <pc:docMk/>
            <pc:sldMk cId="1232166785" sldId="570"/>
            <ac:inkMk id="75" creationId="{4F30B8C9-D993-2492-EAC6-05B3D4069951}"/>
          </ac:inkMkLst>
        </pc:inkChg>
        <pc:inkChg chg="add mod">
          <ac:chgData name="Aniket Chhabra" userId="598e0514-bef3-4e71-b6aa-f2edd6441cff" providerId="ADAL" clId="{6B709646-9B8B-914B-83A9-D81F12AFDE5E}" dt="2022-06-19T04:59:59.999" v="1686"/>
          <ac:inkMkLst>
            <pc:docMk/>
            <pc:sldMk cId="1232166785" sldId="570"/>
            <ac:inkMk id="76" creationId="{8BAE47A7-3A4A-8AC9-4529-824D19C5EFB6}"/>
          </ac:inkMkLst>
        </pc:inkChg>
        <pc:inkChg chg="add mod">
          <ac:chgData name="Aniket Chhabra" userId="598e0514-bef3-4e71-b6aa-f2edd6441cff" providerId="ADAL" clId="{6B709646-9B8B-914B-83A9-D81F12AFDE5E}" dt="2022-06-19T04:59:59.999" v="1686"/>
          <ac:inkMkLst>
            <pc:docMk/>
            <pc:sldMk cId="1232166785" sldId="570"/>
            <ac:inkMk id="77" creationId="{BAA94ABC-4DB5-1EA0-938A-F67FD019BA9B}"/>
          </ac:inkMkLst>
        </pc:inkChg>
        <pc:inkChg chg="add mod">
          <ac:chgData name="Aniket Chhabra" userId="598e0514-bef3-4e71-b6aa-f2edd6441cff" providerId="ADAL" clId="{6B709646-9B8B-914B-83A9-D81F12AFDE5E}" dt="2022-06-19T04:59:59.999" v="1686"/>
          <ac:inkMkLst>
            <pc:docMk/>
            <pc:sldMk cId="1232166785" sldId="570"/>
            <ac:inkMk id="78" creationId="{DC8578CC-CDA2-A92A-4459-CE5FF04E5C51}"/>
          </ac:inkMkLst>
        </pc:inkChg>
        <pc:inkChg chg="add mod">
          <ac:chgData name="Aniket Chhabra" userId="598e0514-bef3-4e71-b6aa-f2edd6441cff" providerId="ADAL" clId="{6B709646-9B8B-914B-83A9-D81F12AFDE5E}" dt="2022-06-19T04:59:59.999" v="1686"/>
          <ac:inkMkLst>
            <pc:docMk/>
            <pc:sldMk cId="1232166785" sldId="570"/>
            <ac:inkMk id="79" creationId="{4D17B4D2-0B9A-3E71-F803-DDED039FE8EC}"/>
          </ac:inkMkLst>
        </pc:inkChg>
        <pc:inkChg chg="add mod">
          <ac:chgData name="Aniket Chhabra" userId="598e0514-bef3-4e71-b6aa-f2edd6441cff" providerId="ADAL" clId="{6B709646-9B8B-914B-83A9-D81F12AFDE5E}" dt="2022-06-19T04:53:09.074" v="1473"/>
          <ac:inkMkLst>
            <pc:docMk/>
            <pc:sldMk cId="1232166785" sldId="570"/>
            <ac:inkMk id="80" creationId="{34DB468F-1A2B-3A45-F2D2-8114B5E29F8F}"/>
          </ac:inkMkLst>
        </pc:inkChg>
        <pc:inkChg chg="add mod">
          <ac:chgData name="Aniket Chhabra" userId="598e0514-bef3-4e71-b6aa-f2edd6441cff" providerId="ADAL" clId="{6B709646-9B8B-914B-83A9-D81F12AFDE5E}" dt="2022-06-19T04:53:09.074" v="1473"/>
          <ac:inkMkLst>
            <pc:docMk/>
            <pc:sldMk cId="1232166785" sldId="570"/>
            <ac:inkMk id="81" creationId="{D038F9DF-350B-66E7-64ED-7DD7ACBAB5EC}"/>
          </ac:inkMkLst>
        </pc:inkChg>
        <pc:inkChg chg="add mod">
          <ac:chgData name="Aniket Chhabra" userId="598e0514-bef3-4e71-b6aa-f2edd6441cff" providerId="ADAL" clId="{6B709646-9B8B-914B-83A9-D81F12AFDE5E}" dt="2022-06-19T04:53:09.074" v="1473"/>
          <ac:inkMkLst>
            <pc:docMk/>
            <pc:sldMk cId="1232166785" sldId="570"/>
            <ac:inkMk id="82" creationId="{7D7EE2B4-449E-CCC9-560F-8088D9D45E9B}"/>
          </ac:inkMkLst>
        </pc:inkChg>
        <pc:inkChg chg="add mod">
          <ac:chgData name="Aniket Chhabra" userId="598e0514-bef3-4e71-b6aa-f2edd6441cff" providerId="ADAL" clId="{6B709646-9B8B-914B-83A9-D81F12AFDE5E}" dt="2022-06-19T04:53:09.074" v="1473"/>
          <ac:inkMkLst>
            <pc:docMk/>
            <pc:sldMk cId="1232166785" sldId="570"/>
            <ac:inkMk id="83" creationId="{A548F327-E60B-1011-504C-6A3AB12A4925}"/>
          </ac:inkMkLst>
        </pc:inkChg>
        <pc:inkChg chg="add mod">
          <ac:chgData name="Aniket Chhabra" userId="598e0514-bef3-4e71-b6aa-f2edd6441cff" providerId="ADAL" clId="{6B709646-9B8B-914B-83A9-D81F12AFDE5E}" dt="2022-06-19T05:01:48.661" v="1717"/>
          <ac:inkMkLst>
            <pc:docMk/>
            <pc:sldMk cId="1232166785" sldId="570"/>
            <ac:inkMk id="86" creationId="{1046BFE5-54DB-5C42-E52D-16A964AA4756}"/>
          </ac:inkMkLst>
        </pc:inkChg>
        <pc:inkChg chg="add">
          <ac:chgData name="Aniket Chhabra" userId="598e0514-bef3-4e71-b6aa-f2edd6441cff" providerId="ADAL" clId="{6B709646-9B8B-914B-83A9-D81F12AFDE5E}" dt="2022-06-19T04:53:14.223" v="1476" actId="9405"/>
          <ac:inkMkLst>
            <pc:docMk/>
            <pc:sldMk cId="1232166785" sldId="570"/>
            <ac:inkMk id="88" creationId="{9C44F8DB-EA0C-58AB-BA57-34852064E09F}"/>
          </ac:inkMkLst>
        </pc:inkChg>
        <pc:inkChg chg="add mod">
          <ac:chgData name="Aniket Chhabra" userId="598e0514-bef3-4e71-b6aa-f2edd6441cff" providerId="ADAL" clId="{6B709646-9B8B-914B-83A9-D81F12AFDE5E}" dt="2022-06-19T04:59:31.017" v="1663"/>
          <ac:inkMkLst>
            <pc:docMk/>
            <pc:sldMk cId="1232166785" sldId="570"/>
            <ac:inkMk id="89" creationId="{D0E35A61-BE00-E238-27D5-AF83C3AA2708}"/>
          </ac:inkMkLst>
        </pc:inkChg>
        <pc:inkChg chg="add mod">
          <ac:chgData name="Aniket Chhabra" userId="598e0514-bef3-4e71-b6aa-f2edd6441cff" providerId="ADAL" clId="{6B709646-9B8B-914B-83A9-D81F12AFDE5E}" dt="2022-06-19T04:59:31.017" v="1663"/>
          <ac:inkMkLst>
            <pc:docMk/>
            <pc:sldMk cId="1232166785" sldId="570"/>
            <ac:inkMk id="90" creationId="{F4EFED67-5DE1-1F44-E9C8-40679B804B7C}"/>
          </ac:inkMkLst>
        </pc:inkChg>
        <pc:inkChg chg="add mod">
          <ac:chgData name="Aniket Chhabra" userId="598e0514-bef3-4e71-b6aa-f2edd6441cff" providerId="ADAL" clId="{6B709646-9B8B-914B-83A9-D81F12AFDE5E}" dt="2022-06-19T04:59:31.017" v="1663"/>
          <ac:inkMkLst>
            <pc:docMk/>
            <pc:sldMk cId="1232166785" sldId="570"/>
            <ac:inkMk id="91" creationId="{DFCAFD55-A2A9-B18E-FD50-D93BE3EA09FC}"/>
          </ac:inkMkLst>
        </pc:inkChg>
        <pc:inkChg chg="add mod">
          <ac:chgData name="Aniket Chhabra" userId="598e0514-bef3-4e71-b6aa-f2edd6441cff" providerId="ADAL" clId="{6B709646-9B8B-914B-83A9-D81F12AFDE5E}" dt="2022-06-19T04:59:31.017" v="1663"/>
          <ac:inkMkLst>
            <pc:docMk/>
            <pc:sldMk cId="1232166785" sldId="570"/>
            <ac:inkMk id="92" creationId="{CAC035F9-A235-1F59-7BE8-7496B1422CE4}"/>
          </ac:inkMkLst>
        </pc:inkChg>
        <pc:inkChg chg="add mod">
          <ac:chgData name="Aniket Chhabra" userId="598e0514-bef3-4e71-b6aa-f2edd6441cff" providerId="ADAL" clId="{6B709646-9B8B-914B-83A9-D81F12AFDE5E}" dt="2022-06-19T04:59:31.017" v="1663"/>
          <ac:inkMkLst>
            <pc:docMk/>
            <pc:sldMk cId="1232166785" sldId="570"/>
            <ac:inkMk id="93" creationId="{F871C117-AC9C-1131-4F85-BE1AD4ABC1D2}"/>
          </ac:inkMkLst>
        </pc:inkChg>
        <pc:inkChg chg="add mod">
          <ac:chgData name="Aniket Chhabra" userId="598e0514-bef3-4e71-b6aa-f2edd6441cff" providerId="ADAL" clId="{6B709646-9B8B-914B-83A9-D81F12AFDE5E}" dt="2022-06-19T04:59:31.017" v="1663"/>
          <ac:inkMkLst>
            <pc:docMk/>
            <pc:sldMk cId="1232166785" sldId="570"/>
            <ac:inkMk id="94" creationId="{5F39D074-149B-2F57-E891-40691D865E71}"/>
          </ac:inkMkLst>
        </pc:inkChg>
        <pc:inkChg chg="add mod">
          <ac:chgData name="Aniket Chhabra" userId="598e0514-bef3-4e71-b6aa-f2edd6441cff" providerId="ADAL" clId="{6B709646-9B8B-914B-83A9-D81F12AFDE5E}" dt="2022-06-19T04:59:31.017" v="1663"/>
          <ac:inkMkLst>
            <pc:docMk/>
            <pc:sldMk cId="1232166785" sldId="570"/>
            <ac:inkMk id="95" creationId="{32403B7D-9DB6-C427-9718-BBBB6D5A0E75}"/>
          </ac:inkMkLst>
        </pc:inkChg>
        <pc:inkChg chg="add mod">
          <ac:chgData name="Aniket Chhabra" userId="598e0514-bef3-4e71-b6aa-f2edd6441cff" providerId="ADAL" clId="{6B709646-9B8B-914B-83A9-D81F12AFDE5E}" dt="2022-06-19T04:59:31.017" v="1663"/>
          <ac:inkMkLst>
            <pc:docMk/>
            <pc:sldMk cId="1232166785" sldId="570"/>
            <ac:inkMk id="96" creationId="{8947820B-409D-AAA1-4FB1-3B4FE24BF23E}"/>
          </ac:inkMkLst>
        </pc:inkChg>
        <pc:inkChg chg="add mod">
          <ac:chgData name="Aniket Chhabra" userId="598e0514-bef3-4e71-b6aa-f2edd6441cff" providerId="ADAL" clId="{6B709646-9B8B-914B-83A9-D81F12AFDE5E}" dt="2022-06-19T04:59:31.017" v="1663"/>
          <ac:inkMkLst>
            <pc:docMk/>
            <pc:sldMk cId="1232166785" sldId="570"/>
            <ac:inkMk id="97" creationId="{2C888C5E-D88F-3B2A-E348-C3CF42B063F5}"/>
          </ac:inkMkLst>
        </pc:inkChg>
        <pc:inkChg chg="add mod">
          <ac:chgData name="Aniket Chhabra" userId="598e0514-bef3-4e71-b6aa-f2edd6441cff" providerId="ADAL" clId="{6B709646-9B8B-914B-83A9-D81F12AFDE5E}" dt="2022-06-19T04:59:31.017" v="1663"/>
          <ac:inkMkLst>
            <pc:docMk/>
            <pc:sldMk cId="1232166785" sldId="570"/>
            <ac:inkMk id="98" creationId="{9577BBEA-A487-8647-89B2-F34AF47D449E}"/>
          </ac:inkMkLst>
        </pc:inkChg>
        <pc:inkChg chg="add mod">
          <ac:chgData name="Aniket Chhabra" userId="598e0514-bef3-4e71-b6aa-f2edd6441cff" providerId="ADAL" clId="{6B709646-9B8B-914B-83A9-D81F12AFDE5E}" dt="2022-06-19T04:59:31.017" v="1663"/>
          <ac:inkMkLst>
            <pc:docMk/>
            <pc:sldMk cId="1232166785" sldId="570"/>
            <ac:inkMk id="99" creationId="{304B5B18-08DE-D74B-DA36-1E0C13F151F7}"/>
          </ac:inkMkLst>
        </pc:inkChg>
        <pc:inkChg chg="add mod">
          <ac:chgData name="Aniket Chhabra" userId="598e0514-bef3-4e71-b6aa-f2edd6441cff" providerId="ADAL" clId="{6B709646-9B8B-914B-83A9-D81F12AFDE5E}" dt="2022-06-19T04:59:31.017" v="1663"/>
          <ac:inkMkLst>
            <pc:docMk/>
            <pc:sldMk cId="1232166785" sldId="570"/>
            <ac:inkMk id="100" creationId="{C8CB0852-B84E-AB98-16B7-335329A4B0AC}"/>
          </ac:inkMkLst>
        </pc:inkChg>
        <pc:inkChg chg="add mod">
          <ac:chgData name="Aniket Chhabra" userId="598e0514-bef3-4e71-b6aa-f2edd6441cff" providerId="ADAL" clId="{6B709646-9B8B-914B-83A9-D81F12AFDE5E}" dt="2022-06-19T04:59:31.017" v="1663"/>
          <ac:inkMkLst>
            <pc:docMk/>
            <pc:sldMk cId="1232166785" sldId="570"/>
            <ac:inkMk id="101" creationId="{EF727DD4-9FB8-CFFF-204F-0DCBAB07AC0C}"/>
          </ac:inkMkLst>
        </pc:inkChg>
        <pc:inkChg chg="add mod">
          <ac:chgData name="Aniket Chhabra" userId="598e0514-bef3-4e71-b6aa-f2edd6441cff" providerId="ADAL" clId="{6B709646-9B8B-914B-83A9-D81F12AFDE5E}" dt="2022-06-19T04:59:31.017" v="1663"/>
          <ac:inkMkLst>
            <pc:docMk/>
            <pc:sldMk cId="1232166785" sldId="570"/>
            <ac:inkMk id="102" creationId="{32B7BA67-8F4E-D58C-C742-18885D23BC47}"/>
          </ac:inkMkLst>
        </pc:inkChg>
        <pc:inkChg chg="add mod">
          <ac:chgData name="Aniket Chhabra" userId="598e0514-bef3-4e71-b6aa-f2edd6441cff" providerId="ADAL" clId="{6B709646-9B8B-914B-83A9-D81F12AFDE5E}" dt="2022-06-19T04:59:31.017" v="1663"/>
          <ac:inkMkLst>
            <pc:docMk/>
            <pc:sldMk cId="1232166785" sldId="570"/>
            <ac:inkMk id="103" creationId="{0E49FF72-7A5A-8516-F99B-E941845619ED}"/>
          </ac:inkMkLst>
        </pc:inkChg>
        <pc:inkChg chg="add mod">
          <ac:chgData name="Aniket Chhabra" userId="598e0514-bef3-4e71-b6aa-f2edd6441cff" providerId="ADAL" clId="{6B709646-9B8B-914B-83A9-D81F12AFDE5E}" dt="2022-06-19T04:59:31.017" v="1663"/>
          <ac:inkMkLst>
            <pc:docMk/>
            <pc:sldMk cId="1232166785" sldId="570"/>
            <ac:inkMk id="104" creationId="{4FC12E48-7800-3FA6-8BFA-79E1C11B8FD0}"/>
          </ac:inkMkLst>
        </pc:inkChg>
        <pc:inkChg chg="add mod">
          <ac:chgData name="Aniket Chhabra" userId="598e0514-bef3-4e71-b6aa-f2edd6441cff" providerId="ADAL" clId="{6B709646-9B8B-914B-83A9-D81F12AFDE5E}" dt="2022-06-19T04:59:31.017" v="1663"/>
          <ac:inkMkLst>
            <pc:docMk/>
            <pc:sldMk cId="1232166785" sldId="570"/>
            <ac:inkMk id="105" creationId="{6BDA42F1-DD9A-7B96-860F-07CD3902839A}"/>
          </ac:inkMkLst>
        </pc:inkChg>
        <pc:inkChg chg="add mod">
          <ac:chgData name="Aniket Chhabra" userId="598e0514-bef3-4e71-b6aa-f2edd6441cff" providerId="ADAL" clId="{6B709646-9B8B-914B-83A9-D81F12AFDE5E}" dt="2022-06-19T04:59:31.017" v="1663"/>
          <ac:inkMkLst>
            <pc:docMk/>
            <pc:sldMk cId="1232166785" sldId="570"/>
            <ac:inkMk id="106" creationId="{1EAED4B6-6324-D333-20FA-C0AF88A7AB3E}"/>
          </ac:inkMkLst>
        </pc:inkChg>
        <pc:inkChg chg="add mod">
          <ac:chgData name="Aniket Chhabra" userId="598e0514-bef3-4e71-b6aa-f2edd6441cff" providerId="ADAL" clId="{6B709646-9B8B-914B-83A9-D81F12AFDE5E}" dt="2022-06-19T04:59:31.017" v="1663"/>
          <ac:inkMkLst>
            <pc:docMk/>
            <pc:sldMk cId="1232166785" sldId="570"/>
            <ac:inkMk id="107" creationId="{02536C17-2CC2-145A-F3E4-292303BA4F7C}"/>
          </ac:inkMkLst>
        </pc:inkChg>
        <pc:inkChg chg="add mod">
          <ac:chgData name="Aniket Chhabra" userId="598e0514-bef3-4e71-b6aa-f2edd6441cff" providerId="ADAL" clId="{6B709646-9B8B-914B-83A9-D81F12AFDE5E}" dt="2022-06-19T04:59:31.017" v="1663"/>
          <ac:inkMkLst>
            <pc:docMk/>
            <pc:sldMk cId="1232166785" sldId="570"/>
            <ac:inkMk id="108" creationId="{5B62B65E-BB55-600A-6A68-5B6EEF006E73}"/>
          </ac:inkMkLst>
        </pc:inkChg>
        <pc:inkChg chg="add mod">
          <ac:chgData name="Aniket Chhabra" userId="598e0514-bef3-4e71-b6aa-f2edd6441cff" providerId="ADAL" clId="{6B709646-9B8B-914B-83A9-D81F12AFDE5E}" dt="2022-06-19T04:59:31.017" v="1663"/>
          <ac:inkMkLst>
            <pc:docMk/>
            <pc:sldMk cId="1232166785" sldId="570"/>
            <ac:inkMk id="109" creationId="{C0E87364-6C38-36D2-9D83-C78EEC44993B}"/>
          </ac:inkMkLst>
        </pc:inkChg>
        <pc:inkChg chg="add mod">
          <ac:chgData name="Aniket Chhabra" userId="598e0514-bef3-4e71-b6aa-f2edd6441cff" providerId="ADAL" clId="{6B709646-9B8B-914B-83A9-D81F12AFDE5E}" dt="2022-06-19T04:59:31.017" v="1663"/>
          <ac:inkMkLst>
            <pc:docMk/>
            <pc:sldMk cId="1232166785" sldId="570"/>
            <ac:inkMk id="111" creationId="{0C1D3B4F-0087-E7F2-B244-57D37FC2392C}"/>
          </ac:inkMkLst>
        </pc:inkChg>
        <pc:inkChg chg="add mod">
          <ac:chgData name="Aniket Chhabra" userId="598e0514-bef3-4e71-b6aa-f2edd6441cff" providerId="ADAL" clId="{6B709646-9B8B-914B-83A9-D81F12AFDE5E}" dt="2022-06-19T04:59:31.017" v="1663"/>
          <ac:inkMkLst>
            <pc:docMk/>
            <pc:sldMk cId="1232166785" sldId="570"/>
            <ac:inkMk id="112" creationId="{65B1F4EC-283C-988C-FF81-9EFE41277182}"/>
          </ac:inkMkLst>
        </pc:inkChg>
        <pc:inkChg chg="add mod">
          <ac:chgData name="Aniket Chhabra" userId="598e0514-bef3-4e71-b6aa-f2edd6441cff" providerId="ADAL" clId="{6B709646-9B8B-914B-83A9-D81F12AFDE5E}" dt="2022-06-19T04:59:31.017" v="1663"/>
          <ac:inkMkLst>
            <pc:docMk/>
            <pc:sldMk cId="1232166785" sldId="570"/>
            <ac:inkMk id="113" creationId="{E0341B9C-AB55-A483-7A25-C40A7979E44E}"/>
          </ac:inkMkLst>
        </pc:inkChg>
        <pc:inkChg chg="add mod">
          <ac:chgData name="Aniket Chhabra" userId="598e0514-bef3-4e71-b6aa-f2edd6441cff" providerId="ADAL" clId="{6B709646-9B8B-914B-83A9-D81F12AFDE5E}" dt="2022-06-19T04:59:31.017" v="1663"/>
          <ac:inkMkLst>
            <pc:docMk/>
            <pc:sldMk cId="1232166785" sldId="570"/>
            <ac:inkMk id="114" creationId="{BBF2F7E8-D3D0-466F-3A93-EEC5B8DB5778}"/>
          </ac:inkMkLst>
        </pc:inkChg>
        <pc:inkChg chg="add mod">
          <ac:chgData name="Aniket Chhabra" userId="598e0514-bef3-4e71-b6aa-f2edd6441cff" providerId="ADAL" clId="{6B709646-9B8B-914B-83A9-D81F12AFDE5E}" dt="2022-06-19T04:53:39.457" v="1510"/>
          <ac:inkMkLst>
            <pc:docMk/>
            <pc:sldMk cId="1232166785" sldId="570"/>
            <ac:inkMk id="116" creationId="{1832AFC3-DF45-E10D-FA57-A5453CEFFBA3}"/>
          </ac:inkMkLst>
        </pc:inkChg>
        <pc:inkChg chg="add mod">
          <ac:chgData name="Aniket Chhabra" userId="598e0514-bef3-4e71-b6aa-f2edd6441cff" providerId="ADAL" clId="{6B709646-9B8B-914B-83A9-D81F12AFDE5E}" dt="2022-06-19T04:53:39.457" v="1510"/>
          <ac:inkMkLst>
            <pc:docMk/>
            <pc:sldMk cId="1232166785" sldId="570"/>
            <ac:inkMk id="117" creationId="{A2070FF6-6FBB-9049-7173-BE644BA7CD99}"/>
          </ac:inkMkLst>
        </pc:inkChg>
        <pc:inkChg chg="add mod">
          <ac:chgData name="Aniket Chhabra" userId="598e0514-bef3-4e71-b6aa-f2edd6441cff" providerId="ADAL" clId="{6B709646-9B8B-914B-83A9-D81F12AFDE5E}" dt="2022-06-19T04:53:39.457" v="1510"/>
          <ac:inkMkLst>
            <pc:docMk/>
            <pc:sldMk cId="1232166785" sldId="570"/>
            <ac:inkMk id="118" creationId="{1C78A562-FA34-8E9C-8FE9-9A10EDFC95DE}"/>
          </ac:inkMkLst>
        </pc:inkChg>
        <pc:inkChg chg="add mod">
          <ac:chgData name="Aniket Chhabra" userId="598e0514-bef3-4e71-b6aa-f2edd6441cff" providerId="ADAL" clId="{6B709646-9B8B-914B-83A9-D81F12AFDE5E}" dt="2022-06-19T04:53:39.457" v="1510"/>
          <ac:inkMkLst>
            <pc:docMk/>
            <pc:sldMk cId="1232166785" sldId="570"/>
            <ac:inkMk id="119" creationId="{68AFC8C2-FD55-6E5F-98F9-04BF01EA2EA9}"/>
          </ac:inkMkLst>
        </pc:inkChg>
        <pc:inkChg chg="add mod">
          <ac:chgData name="Aniket Chhabra" userId="598e0514-bef3-4e71-b6aa-f2edd6441cff" providerId="ADAL" clId="{6B709646-9B8B-914B-83A9-D81F12AFDE5E}" dt="2022-06-19T04:53:39.457" v="1510"/>
          <ac:inkMkLst>
            <pc:docMk/>
            <pc:sldMk cId="1232166785" sldId="570"/>
            <ac:inkMk id="120" creationId="{7CFCE277-3445-A27E-261D-B4D7FD362B0F}"/>
          </ac:inkMkLst>
        </pc:inkChg>
        <pc:inkChg chg="add mod">
          <ac:chgData name="Aniket Chhabra" userId="598e0514-bef3-4e71-b6aa-f2edd6441cff" providerId="ADAL" clId="{6B709646-9B8B-914B-83A9-D81F12AFDE5E}" dt="2022-06-19T04:53:39.457" v="1510"/>
          <ac:inkMkLst>
            <pc:docMk/>
            <pc:sldMk cId="1232166785" sldId="570"/>
            <ac:inkMk id="121" creationId="{AC9DCF78-E337-C577-077E-FF40B6C90DC9}"/>
          </ac:inkMkLst>
        </pc:inkChg>
        <pc:inkChg chg="add mod">
          <ac:chgData name="Aniket Chhabra" userId="598e0514-bef3-4e71-b6aa-f2edd6441cff" providerId="ADAL" clId="{6B709646-9B8B-914B-83A9-D81F12AFDE5E}" dt="2022-06-19T04:53:44.625" v="1522"/>
          <ac:inkMkLst>
            <pc:docMk/>
            <pc:sldMk cId="1232166785" sldId="570"/>
            <ac:inkMk id="123" creationId="{D68745B3-0006-20BA-9144-5767F3A604CB}"/>
          </ac:inkMkLst>
        </pc:inkChg>
        <pc:inkChg chg="add mod">
          <ac:chgData name="Aniket Chhabra" userId="598e0514-bef3-4e71-b6aa-f2edd6441cff" providerId="ADAL" clId="{6B709646-9B8B-914B-83A9-D81F12AFDE5E}" dt="2022-06-19T04:53:44.625" v="1522"/>
          <ac:inkMkLst>
            <pc:docMk/>
            <pc:sldMk cId="1232166785" sldId="570"/>
            <ac:inkMk id="124" creationId="{5EC4E205-1DD5-CF9D-F1F7-4423F85C159F}"/>
          </ac:inkMkLst>
        </pc:inkChg>
        <pc:inkChg chg="add mod">
          <ac:chgData name="Aniket Chhabra" userId="598e0514-bef3-4e71-b6aa-f2edd6441cff" providerId="ADAL" clId="{6B709646-9B8B-914B-83A9-D81F12AFDE5E}" dt="2022-06-19T04:53:44.625" v="1522"/>
          <ac:inkMkLst>
            <pc:docMk/>
            <pc:sldMk cId="1232166785" sldId="570"/>
            <ac:inkMk id="125" creationId="{9507562A-36EC-3920-E546-882E1D0E2883}"/>
          </ac:inkMkLst>
        </pc:inkChg>
        <pc:inkChg chg="add mod">
          <ac:chgData name="Aniket Chhabra" userId="598e0514-bef3-4e71-b6aa-f2edd6441cff" providerId="ADAL" clId="{6B709646-9B8B-914B-83A9-D81F12AFDE5E}" dt="2022-06-19T04:53:44.625" v="1522"/>
          <ac:inkMkLst>
            <pc:docMk/>
            <pc:sldMk cId="1232166785" sldId="570"/>
            <ac:inkMk id="126" creationId="{889420AF-8625-BE60-63D0-F1BEDC739FA3}"/>
          </ac:inkMkLst>
        </pc:inkChg>
        <pc:inkChg chg="add mod">
          <ac:chgData name="Aniket Chhabra" userId="598e0514-bef3-4e71-b6aa-f2edd6441cff" providerId="ADAL" clId="{6B709646-9B8B-914B-83A9-D81F12AFDE5E}" dt="2022-06-19T04:53:44.625" v="1522"/>
          <ac:inkMkLst>
            <pc:docMk/>
            <pc:sldMk cId="1232166785" sldId="570"/>
            <ac:inkMk id="127" creationId="{82208AC1-57F7-E427-8DCD-967C813BE777}"/>
          </ac:inkMkLst>
        </pc:inkChg>
        <pc:inkChg chg="add mod">
          <ac:chgData name="Aniket Chhabra" userId="598e0514-bef3-4e71-b6aa-f2edd6441cff" providerId="ADAL" clId="{6B709646-9B8B-914B-83A9-D81F12AFDE5E}" dt="2022-06-19T04:53:44.625" v="1522"/>
          <ac:inkMkLst>
            <pc:docMk/>
            <pc:sldMk cId="1232166785" sldId="570"/>
            <ac:inkMk id="128" creationId="{A7F79366-7DF5-9C52-5D8B-30B6547E3020}"/>
          </ac:inkMkLst>
        </pc:inkChg>
        <pc:inkChg chg="add mod">
          <ac:chgData name="Aniket Chhabra" userId="598e0514-bef3-4e71-b6aa-f2edd6441cff" providerId="ADAL" clId="{6B709646-9B8B-914B-83A9-D81F12AFDE5E}" dt="2022-06-19T04:53:44.625" v="1522"/>
          <ac:inkMkLst>
            <pc:docMk/>
            <pc:sldMk cId="1232166785" sldId="570"/>
            <ac:inkMk id="129" creationId="{E388CC24-EB43-B6D7-A5B6-0FD11CA771B1}"/>
          </ac:inkMkLst>
        </pc:inkChg>
        <pc:inkChg chg="add mod">
          <ac:chgData name="Aniket Chhabra" userId="598e0514-bef3-4e71-b6aa-f2edd6441cff" providerId="ADAL" clId="{6B709646-9B8B-914B-83A9-D81F12AFDE5E}" dt="2022-06-19T04:53:44.625" v="1522"/>
          <ac:inkMkLst>
            <pc:docMk/>
            <pc:sldMk cId="1232166785" sldId="570"/>
            <ac:inkMk id="130" creationId="{A7521C45-3CC5-06DA-783D-E7FF6A95F0FE}"/>
          </ac:inkMkLst>
        </pc:inkChg>
        <pc:inkChg chg="add mod">
          <ac:chgData name="Aniket Chhabra" userId="598e0514-bef3-4e71-b6aa-f2edd6441cff" providerId="ADAL" clId="{6B709646-9B8B-914B-83A9-D81F12AFDE5E}" dt="2022-06-19T04:53:44.625" v="1522"/>
          <ac:inkMkLst>
            <pc:docMk/>
            <pc:sldMk cId="1232166785" sldId="570"/>
            <ac:inkMk id="131" creationId="{576F5018-A521-770F-61B1-78983D1A0C57}"/>
          </ac:inkMkLst>
        </pc:inkChg>
        <pc:inkChg chg="add mod">
          <ac:chgData name="Aniket Chhabra" userId="598e0514-bef3-4e71-b6aa-f2edd6441cff" providerId="ADAL" clId="{6B709646-9B8B-914B-83A9-D81F12AFDE5E}" dt="2022-06-19T04:56:29.867" v="1611"/>
          <ac:inkMkLst>
            <pc:docMk/>
            <pc:sldMk cId="1232166785" sldId="570"/>
            <ac:inkMk id="132" creationId="{D7D6A2B3-079E-5F26-04E8-3D5215974454}"/>
          </ac:inkMkLst>
        </pc:inkChg>
        <pc:inkChg chg="add mod">
          <ac:chgData name="Aniket Chhabra" userId="598e0514-bef3-4e71-b6aa-f2edd6441cff" providerId="ADAL" clId="{6B709646-9B8B-914B-83A9-D81F12AFDE5E}" dt="2022-06-19T04:56:29.867" v="1611"/>
          <ac:inkMkLst>
            <pc:docMk/>
            <pc:sldMk cId="1232166785" sldId="570"/>
            <ac:inkMk id="133" creationId="{9C68123B-DC49-D627-EBD6-401D34138A03}"/>
          </ac:inkMkLst>
        </pc:inkChg>
        <pc:inkChg chg="add mod">
          <ac:chgData name="Aniket Chhabra" userId="598e0514-bef3-4e71-b6aa-f2edd6441cff" providerId="ADAL" clId="{6B709646-9B8B-914B-83A9-D81F12AFDE5E}" dt="2022-06-19T04:56:29.867" v="1611"/>
          <ac:inkMkLst>
            <pc:docMk/>
            <pc:sldMk cId="1232166785" sldId="570"/>
            <ac:inkMk id="136" creationId="{EBFC6F91-2DE1-C2C3-513B-47C0FA457B6B}"/>
          </ac:inkMkLst>
        </pc:inkChg>
        <pc:inkChg chg="add mod">
          <ac:chgData name="Aniket Chhabra" userId="598e0514-bef3-4e71-b6aa-f2edd6441cff" providerId="ADAL" clId="{6B709646-9B8B-914B-83A9-D81F12AFDE5E}" dt="2022-06-19T04:56:29.867" v="1611"/>
          <ac:inkMkLst>
            <pc:docMk/>
            <pc:sldMk cId="1232166785" sldId="570"/>
            <ac:inkMk id="137" creationId="{646022A0-4A55-7498-45F6-19D6061BEAE2}"/>
          </ac:inkMkLst>
        </pc:inkChg>
        <pc:inkChg chg="add mod">
          <ac:chgData name="Aniket Chhabra" userId="598e0514-bef3-4e71-b6aa-f2edd6441cff" providerId="ADAL" clId="{6B709646-9B8B-914B-83A9-D81F12AFDE5E}" dt="2022-06-19T04:56:29.867" v="1611"/>
          <ac:inkMkLst>
            <pc:docMk/>
            <pc:sldMk cId="1232166785" sldId="570"/>
            <ac:inkMk id="138" creationId="{F16DEBDF-D41F-8639-3BBF-500D26A71984}"/>
          </ac:inkMkLst>
        </pc:inkChg>
        <pc:inkChg chg="add mod">
          <ac:chgData name="Aniket Chhabra" userId="598e0514-bef3-4e71-b6aa-f2edd6441cff" providerId="ADAL" clId="{6B709646-9B8B-914B-83A9-D81F12AFDE5E}" dt="2022-06-19T04:56:29.867" v="1611"/>
          <ac:inkMkLst>
            <pc:docMk/>
            <pc:sldMk cId="1232166785" sldId="570"/>
            <ac:inkMk id="139" creationId="{F8565260-5186-5458-EC7F-BD5FFC9D7708}"/>
          </ac:inkMkLst>
        </pc:inkChg>
        <pc:inkChg chg="add mod">
          <ac:chgData name="Aniket Chhabra" userId="598e0514-bef3-4e71-b6aa-f2edd6441cff" providerId="ADAL" clId="{6B709646-9B8B-914B-83A9-D81F12AFDE5E}" dt="2022-06-19T04:56:29.867" v="1611"/>
          <ac:inkMkLst>
            <pc:docMk/>
            <pc:sldMk cId="1232166785" sldId="570"/>
            <ac:inkMk id="140" creationId="{B3AB8EAC-7F4C-8FC9-7795-9FDD75FFF855}"/>
          </ac:inkMkLst>
        </pc:inkChg>
        <pc:inkChg chg="add">
          <ac:chgData name="Aniket Chhabra" userId="598e0514-bef3-4e71-b6aa-f2edd6441cff" providerId="ADAL" clId="{6B709646-9B8B-914B-83A9-D81F12AFDE5E}" dt="2022-06-19T04:53:48.340" v="1528" actId="9405"/>
          <ac:inkMkLst>
            <pc:docMk/>
            <pc:sldMk cId="1232166785" sldId="570"/>
            <ac:inkMk id="141" creationId="{1BC41FC4-93FC-C591-1F8E-013A59BEBE39}"/>
          </ac:inkMkLst>
        </pc:inkChg>
        <pc:inkChg chg="add mod">
          <ac:chgData name="Aniket Chhabra" userId="598e0514-bef3-4e71-b6aa-f2edd6441cff" providerId="ADAL" clId="{6B709646-9B8B-914B-83A9-D81F12AFDE5E}" dt="2022-06-19T04:56:29.867" v="1611"/>
          <ac:inkMkLst>
            <pc:docMk/>
            <pc:sldMk cId="1232166785" sldId="570"/>
            <ac:inkMk id="142" creationId="{A06EEA82-09CF-2904-00FB-C6BC7607A524}"/>
          </ac:inkMkLst>
        </pc:inkChg>
        <pc:inkChg chg="add mod">
          <ac:chgData name="Aniket Chhabra" userId="598e0514-bef3-4e71-b6aa-f2edd6441cff" providerId="ADAL" clId="{6B709646-9B8B-914B-83A9-D81F12AFDE5E}" dt="2022-06-19T04:56:29.867" v="1611"/>
          <ac:inkMkLst>
            <pc:docMk/>
            <pc:sldMk cId="1232166785" sldId="570"/>
            <ac:inkMk id="143" creationId="{E34AFB38-04E3-BED1-A395-2DE32F5DC9CF}"/>
          </ac:inkMkLst>
        </pc:inkChg>
        <pc:inkChg chg="add">
          <ac:chgData name="Aniket Chhabra" userId="598e0514-bef3-4e71-b6aa-f2edd6441cff" providerId="ADAL" clId="{6B709646-9B8B-914B-83A9-D81F12AFDE5E}" dt="2022-06-19T04:54:35.862" v="1532" actId="9405"/>
          <ac:inkMkLst>
            <pc:docMk/>
            <pc:sldMk cId="1232166785" sldId="570"/>
            <ac:inkMk id="145" creationId="{D3365135-3111-8879-6562-398D6CB60B77}"/>
          </ac:inkMkLst>
        </pc:inkChg>
        <pc:inkChg chg="add">
          <ac:chgData name="Aniket Chhabra" userId="598e0514-bef3-4e71-b6aa-f2edd6441cff" providerId="ADAL" clId="{6B709646-9B8B-914B-83A9-D81F12AFDE5E}" dt="2022-06-19T04:54:39.220" v="1533" actId="9405"/>
          <ac:inkMkLst>
            <pc:docMk/>
            <pc:sldMk cId="1232166785" sldId="570"/>
            <ac:inkMk id="146" creationId="{7E5553BF-34C3-5CEE-A93E-A37A5E223FC3}"/>
          </ac:inkMkLst>
        </pc:inkChg>
        <pc:inkChg chg="add mod">
          <ac:chgData name="Aniket Chhabra" userId="598e0514-bef3-4e71-b6aa-f2edd6441cff" providerId="ADAL" clId="{6B709646-9B8B-914B-83A9-D81F12AFDE5E}" dt="2022-06-19T04:54:46.507" v="1549"/>
          <ac:inkMkLst>
            <pc:docMk/>
            <pc:sldMk cId="1232166785" sldId="570"/>
            <ac:inkMk id="147" creationId="{D2091A82-E9C6-CE63-DAF2-E9B242D37681}"/>
          </ac:inkMkLst>
        </pc:inkChg>
        <pc:inkChg chg="add mod">
          <ac:chgData name="Aniket Chhabra" userId="598e0514-bef3-4e71-b6aa-f2edd6441cff" providerId="ADAL" clId="{6B709646-9B8B-914B-83A9-D81F12AFDE5E}" dt="2022-06-19T04:54:46.507" v="1549"/>
          <ac:inkMkLst>
            <pc:docMk/>
            <pc:sldMk cId="1232166785" sldId="570"/>
            <ac:inkMk id="148" creationId="{DE0CCDFB-47B5-15C2-93FC-7A01A99E3A0F}"/>
          </ac:inkMkLst>
        </pc:inkChg>
        <pc:inkChg chg="add mod">
          <ac:chgData name="Aniket Chhabra" userId="598e0514-bef3-4e71-b6aa-f2edd6441cff" providerId="ADAL" clId="{6B709646-9B8B-914B-83A9-D81F12AFDE5E}" dt="2022-06-19T04:54:46.507" v="1549"/>
          <ac:inkMkLst>
            <pc:docMk/>
            <pc:sldMk cId="1232166785" sldId="570"/>
            <ac:inkMk id="149" creationId="{5177EEAC-C759-B2E8-189E-54B659E375AE}"/>
          </ac:inkMkLst>
        </pc:inkChg>
        <pc:inkChg chg="add mod">
          <ac:chgData name="Aniket Chhabra" userId="598e0514-bef3-4e71-b6aa-f2edd6441cff" providerId="ADAL" clId="{6B709646-9B8B-914B-83A9-D81F12AFDE5E}" dt="2022-06-19T04:54:46.507" v="1549"/>
          <ac:inkMkLst>
            <pc:docMk/>
            <pc:sldMk cId="1232166785" sldId="570"/>
            <ac:inkMk id="150" creationId="{D9680264-B76F-BC9B-CCC9-703935B0872E}"/>
          </ac:inkMkLst>
        </pc:inkChg>
        <pc:inkChg chg="add mod">
          <ac:chgData name="Aniket Chhabra" userId="598e0514-bef3-4e71-b6aa-f2edd6441cff" providerId="ADAL" clId="{6B709646-9B8B-914B-83A9-D81F12AFDE5E}" dt="2022-06-19T04:54:46.507" v="1549"/>
          <ac:inkMkLst>
            <pc:docMk/>
            <pc:sldMk cId="1232166785" sldId="570"/>
            <ac:inkMk id="151" creationId="{D1A7E8BC-D7F6-44ED-5F82-5A6A9DCFA2C7}"/>
          </ac:inkMkLst>
        </pc:inkChg>
        <pc:inkChg chg="add mod">
          <ac:chgData name="Aniket Chhabra" userId="598e0514-bef3-4e71-b6aa-f2edd6441cff" providerId="ADAL" clId="{6B709646-9B8B-914B-83A9-D81F12AFDE5E}" dt="2022-06-19T04:54:46.507" v="1549"/>
          <ac:inkMkLst>
            <pc:docMk/>
            <pc:sldMk cId="1232166785" sldId="570"/>
            <ac:inkMk id="152" creationId="{2F865157-E33C-B711-6F88-D19B9F3B1474}"/>
          </ac:inkMkLst>
        </pc:inkChg>
        <pc:inkChg chg="add mod">
          <ac:chgData name="Aniket Chhabra" userId="598e0514-bef3-4e71-b6aa-f2edd6441cff" providerId="ADAL" clId="{6B709646-9B8B-914B-83A9-D81F12AFDE5E}" dt="2022-06-19T04:54:46.507" v="1549"/>
          <ac:inkMkLst>
            <pc:docMk/>
            <pc:sldMk cId="1232166785" sldId="570"/>
            <ac:inkMk id="153" creationId="{E10C917F-8011-D0C5-CBA5-A1C2C80E70B7}"/>
          </ac:inkMkLst>
        </pc:inkChg>
        <pc:inkChg chg="add mod">
          <ac:chgData name="Aniket Chhabra" userId="598e0514-bef3-4e71-b6aa-f2edd6441cff" providerId="ADAL" clId="{6B709646-9B8B-914B-83A9-D81F12AFDE5E}" dt="2022-06-19T04:54:46.507" v="1549"/>
          <ac:inkMkLst>
            <pc:docMk/>
            <pc:sldMk cId="1232166785" sldId="570"/>
            <ac:inkMk id="154" creationId="{B1090A98-3C15-992C-E23D-F27BA833FB06}"/>
          </ac:inkMkLst>
        </pc:inkChg>
        <pc:inkChg chg="add mod">
          <ac:chgData name="Aniket Chhabra" userId="598e0514-bef3-4e71-b6aa-f2edd6441cff" providerId="ADAL" clId="{6B709646-9B8B-914B-83A9-D81F12AFDE5E}" dt="2022-06-19T04:54:46.507" v="1549"/>
          <ac:inkMkLst>
            <pc:docMk/>
            <pc:sldMk cId="1232166785" sldId="570"/>
            <ac:inkMk id="155" creationId="{BBA87386-9C2B-D2A3-55CD-145141ADB024}"/>
          </ac:inkMkLst>
        </pc:inkChg>
        <pc:inkChg chg="add mod">
          <ac:chgData name="Aniket Chhabra" userId="598e0514-bef3-4e71-b6aa-f2edd6441cff" providerId="ADAL" clId="{6B709646-9B8B-914B-83A9-D81F12AFDE5E}" dt="2022-06-19T04:54:46.507" v="1549"/>
          <ac:inkMkLst>
            <pc:docMk/>
            <pc:sldMk cId="1232166785" sldId="570"/>
            <ac:inkMk id="156" creationId="{F772E217-15F9-DCAB-908F-D8436066C827}"/>
          </ac:inkMkLst>
        </pc:inkChg>
        <pc:inkChg chg="add mod">
          <ac:chgData name="Aniket Chhabra" userId="598e0514-bef3-4e71-b6aa-f2edd6441cff" providerId="ADAL" clId="{6B709646-9B8B-914B-83A9-D81F12AFDE5E}" dt="2022-06-19T04:54:46.507" v="1549"/>
          <ac:inkMkLst>
            <pc:docMk/>
            <pc:sldMk cId="1232166785" sldId="570"/>
            <ac:inkMk id="157" creationId="{C7C737F3-0FC9-5024-809A-5899FC460417}"/>
          </ac:inkMkLst>
        </pc:inkChg>
        <pc:inkChg chg="add mod">
          <ac:chgData name="Aniket Chhabra" userId="598e0514-bef3-4e71-b6aa-f2edd6441cff" providerId="ADAL" clId="{6B709646-9B8B-914B-83A9-D81F12AFDE5E}" dt="2022-06-19T04:54:46.507" v="1549"/>
          <ac:inkMkLst>
            <pc:docMk/>
            <pc:sldMk cId="1232166785" sldId="570"/>
            <ac:inkMk id="158" creationId="{C12B60CB-0A00-E1B1-F2C8-74238CC285DE}"/>
          </ac:inkMkLst>
        </pc:inkChg>
        <pc:inkChg chg="add mod">
          <ac:chgData name="Aniket Chhabra" userId="598e0514-bef3-4e71-b6aa-f2edd6441cff" providerId="ADAL" clId="{6B709646-9B8B-914B-83A9-D81F12AFDE5E}" dt="2022-06-19T04:54:46.507" v="1549"/>
          <ac:inkMkLst>
            <pc:docMk/>
            <pc:sldMk cId="1232166785" sldId="570"/>
            <ac:inkMk id="159" creationId="{395821EE-3F4F-0701-6B66-F1594EC68999}"/>
          </ac:inkMkLst>
        </pc:inkChg>
        <pc:inkChg chg="add mod">
          <ac:chgData name="Aniket Chhabra" userId="598e0514-bef3-4e71-b6aa-f2edd6441cff" providerId="ADAL" clId="{6B709646-9B8B-914B-83A9-D81F12AFDE5E}" dt="2022-06-19T04:54:46.507" v="1549"/>
          <ac:inkMkLst>
            <pc:docMk/>
            <pc:sldMk cId="1232166785" sldId="570"/>
            <ac:inkMk id="160" creationId="{328ED410-698F-F860-5EE9-BBD0582C7AA7}"/>
          </ac:inkMkLst>
        </pc:inkChg>
        <pc:inkChg chg="add mod">
          <ac:chgData name="Aniket Chhabra" userId="598e0514-bef3-4e71-b6aa-f2edd6441cff" providerId="ADAL" clId="{6B709646-9B8B-914B-83A9-D81F12AFDE5E}" dt="2022-06-19T04:54:46.507" v="1549"/>
          <ac:inkMkLst>
            <pc:docMk/>
            <pc:sldMk cId="1232166785" sldId="570"/>
            <ac:inkMk id="161" creationId="{0552ECBB-62D7-F14A-9FE3-C7D661A91C06}"/>
          </ac:inkMkLst>
        </pc:inkChg>
        <pc:inkChg chg="add">
          <ac:chgData name="Aniket Chhabra" userId="598e0514-bef3-4e71-b6aa-f2edd6441cff" providerId="ADAL" clId="{6B709646-9B8B-914B-83A9-D81F12AFDE5E}" dt="2022-06-19T04:54:47.562" v="1550" actId="9405"/>
          <ac:inkMkLst>
            <pc:docMk/>
            <pc:sldMk cId="1232166785" sldId="570"/>
            <ac:inkMk id="164" creationId="{14D346BE-08D4-F90A-C0F0-FA7885642BE4}"/>
          </ac:inkMkLst>
        </pc:inkChg>
        <pc:inkChg chg="add mod">
          <ac:chgData name="Aniket Chhabra" userId="598e0514-bef3-4e71-b6aa-f2edd6441cff" providerId="ADAL" clId="{6B709646-9B8B-914B-83A9-D81F12AFDE5E}" dt="2022-06-19T04:55:09.573" v="1580"/>
          <ac:inkMkLst>
            <pc:docMk/>
            <pc:sldMk cId="1232166785" sldId="570"/>
            <ac:inkMk id="165" creationId="{0D8C108D-2725-CF3A-367A-41DA8D82CE68}"/>
          </ac:inkMkLst>
        </pc:inkChg>
        <pc:inkChg chg="add del mod">
          <ac:chgData name="Aniket Chhabra" userId="598e0514-bef3-4e71-b6aa-f2edd6441cff" providerId="ADAL" clId="{6B709646-9B8B-914B-83A9-D81F12AFDE5E}" dt="2022-06-19T04:55:09.571" v="1574"/>
          <ac:inkMkLst>
            <pc:docMk/>
            <pc:sldMk cId="1232166785" sldId="570"/>
            <ac:inkMk id="166" creationId="{2DD1CF6C-F9CB-D856-B813-51DE3757129E}"/>
          </ac:inkMkLst>
        </pc:inkChg>
        <pc:inkChg chg="add del mod">
          <ac:chgData name="Aniket Chhabra" userId="598e0514-bef3-4e71-b6aa-f2edd6441cff" providerId="ADAL" clId="{6B709646-9B8B-914B-83A9-D81F12AFDE5E}" dt="2022-06-19T04:55:09.572" v="1579"/>
          <ac:inkMkLst>
            <pc:docMk/>
            <pc:sldMk cId="1232166785" sldId="570"/>
            <ac:inkMk id="167" creationId="{431D4423-5ADE-D914-5177-3440F13E6412}"/>
          </ac:inkMkLst>
        </pc:inkChg>
        <pc:inkChg chg="add del mod">
          <ac:chgData name="Aniket Chhabra" userId="598e0514-bef3-4e71-b6aa-f2edd6441cff" providerId="ADAL" clId="{6B709646-9B8B-914B-83A9-D81F12AFDE5E}" dt="2022-06-19T04:55:09.572" v="1577"/>
          <ac:inkMkLst>
            <pc:docMk/>
            <pc:sldMk cId="1232166785" sldId="570"/>
            <ac:inkMk id="168" creationId="{53859115-1363-BA7F-0392-EAA5859F41B1}"/>
          </ac:inkMkLst>
        </pc:inkChg>
        <pc:inkChg chg="add del mod">
          <ac:chgData name="Aniket Chhabra" userId="598e0514-bef3-4e71-b6aa-f2edd6441cff" providerId="ADAL" clId="{6B709646-9B8B-914B-83A9-D81F12AFDE5E}" dt="2022-06-19T04:55:09.571" v="1572"/>
          <ac:inkMkLst>
            <pc:docMk/>
            <pc:sldMk cId="1232166785" sldId="570"/>
            <ac:inkMk id="169" creationId="{BCEFBA46-5513-C61B-291B-1F88A1177E4E}"/>
          </ac:inkMkLst>
        </pc:inkChg>
        <pc:inkChg chg="add del mod">
          <ac:chgData name="Aniket Chhabra" userId="598e0514-bef3-4e71-b6aa-f2edd6441cff" providerId="ADAL" clId="{6B709646-9B8B-914B-83A9-D81F12AFDE5E}" dt="2022-06-19T04:55:09.572" v="1575"/>
          <ac:inkMkLst>
            <pc:docMk/>
            <pc:sldMk cId="1232166785" sldId="570"/>
            <ac:inkMk id="170" creationId="{AB4F5391-4607-60F5-C9E1-5330CAEB597C}"/>
          </ac:inkMkLst>
        </pc:inkChg>
        <pc:inkChg chg="add del mod">
          <ac:chgData name="Aniket Chhabra" userId="598e0514-bef3-4e71-b6aa-f2edd6441cff" providerId="ADAL" clId="{6B709646-9B8B-914B-83A9-D81F12AFDE5E}" dt="2022-06-19T04:55:09.573" v="1580"/>
          <ac:inkMkLst>
            <pc:docMk/>
            <pc:sldMk cId="1232166785" sldId="570"/>
            <ac:inkMk id="171" creationId="{EA25A0AA-F1DC-A624-0AE8-873C3A679B2D}"/>
          </ac:inkMkLst>
        </pc:inkChg>
        <pc:inkChg chg="add del mod">
          <ac:chgData name="Aniket Chhabra" userId="598e0514-bef3-4e71-b6aa-f2edd6441cff" providerId="ADAL" clId="{6B709646-9B8B-914B-83A9-D81F12AFDE5E}" dt="2022-06-19T04:55:09.572" v="1576"/>
          <ac:inkMkLst>
            <pc:docMk/>
            <pc:sldMk cId="1232166785" sldId="570"/>
            <ac:inkMk id="172" creationId="{3823880A-2027-81F8-677B-A3B390EC2150}"/>
          </ac:inkMkLst>
        </pc:inkChg>
        <pc:inkChg chg="add del mod">
          <ac:chgData name="Aniket Chhabra" userId="598e0514-bef3-4e71-b6aa-f2edd6441cff" providerId="ADAL" clId="{6B709646-9B8B-914B-83A9-D81F12AFDE5E}" dt="2022-06-19T04:55:09.572" v="1578"/>
          <ac:inkMkLst>
            <pc:docMk/>
            <pc:sldMk cId="1232166785" sldId="570"/>
            <ac:inkMk id="173" creationId="{496D407D-022D-8558-2E44-14928839AE29}"/>
          </ac:inkMkLst>
        </pc:inkChg>
        <pc:inkChg chg="add del mod">
          <ac:chgData name="Aniket Chhabra" userId="598e0514-bef3-4e71-b6aa-f2edd6441cff" providerId="ADAL" clId="{6B709646-9B8B-914B-83A9-D81F12AFDE5E}" dt="2022-06-19T04:55:09.571" v="1573"/>
          <ac:inkMkLst>
            <pc:docMk/>
            <pc:sldMk cId="1232166785" sldId="570"/>
            <ac:inkMk id="174" creationId="{49F1513E-07DC-92DE-FD4F-DBFB3B56F6D6}"/>
          </ac:inkMkLst>
        </pc:inkChg>
        <pc:inkChg chg="add del mod">
          <ac:chgData name="Aniket Chhabra" userId="598e0514-bef3-4e71-b6aa-f2edd6441cff" providerId="ADAL" clId="{6B709646-9B8B-914B-83A9-D81F12AFDE5E}" dt="2022-06-19T04:55:09.571" v="1571"/>
          <ac:inkMkLst>
            <pc:docMk/>
            <pc:sldMk cId="1232166785" sldId="570"/>
            <ac:inkMk id="175" creationId="{11FD50D9-A4B4-077A-B75D-639BFAF6C9A6}"/>
          </ac:inkMkLst>
        </pc:inkChg>
        <pc:inkChg chg="add mod">
          <ac:chgData name="Aniket Chhabra" userId="598e0514-bef3-4e71-b6aa-f2edd6441cff" providerId="ADAL" clId="{6B709646-9B8B-914B-83A9-D81F12AFDE5E}" dt="2022-06-19T04:55:09.573" v="1580"/>
          <ac:inkMkLst>
            <pc:docMk/>
            <pc:sldMk cId="1232166785" sldId="570"/>
            <ac:inkMk id="177" creationId="{E0616CBB-9F36-5F3A-233C-B5A9EF0A6AD7}"/>
          </ac:inkMkLst>
        </pc:inkChg>
        <pc:inkChg chg="add mod">
          <ac:chgData name="Aniket Chhabra" userId="598e0514-bef3-4e71-b6aa-f2edd6441cff" providerId="ADAL" clId="{6B709646-9B8B-914B-83A9-D81F12AFDE5E}" dt="2022-06-19T04:55:09.573" v="1580"/>
          <ac:inkMkLst>
            <pc:docMk/>
            <pc:sldMk cId="1232166785" sldId="570"/>
            <ac:inkMk id="178" creationId="{25E75072-EC7F-AAE3-A06D-E98D918DEC82}"/>
          </ac:inkMkLst>
        </pc:inkChg>
        <pc:inkChg chg="add mod">
          <ac:chgData name="Aniket Chhabra" userId="598e0514-bef3-4e71-b6aa-f2edd6441cff" providerId="ADAL" clId="{6B709646-9B8B-914B-83A9-D81F12AFDE5E}" dt="2022-06-19T04:55:09.573" v="1580"/>
          <ac:inkMkLst>
            <pc:docMk/>
            <pc:sldMk cId="1232166785" sldId="570"/>
            <ac:inkMk id="179" creationId="{5B7FCC04-2DC3-C2A9-CFC8-E142559073C2}"/>
          </ac:inkMkLst>
        </pc:inkChg>
        <pc:inkChg chg="add mod">
          <ac:chgData name="Aniket Chhabra" userId="598e0514-bef3-4e71-b6aa-f2edd6441cff" providerId="ADAL" clId="{6B709646-9B8B-914B-83A9-D81F12AFDE5E}" dt="2022-06-19T04:55:09.573" v="1580"/>
          <ac:inkMkLst>
            <pc:docMk/>
            <pc:sldMk cId="1232166785" sldId="570"/>
            <ac:inkMk id="181" creationId="{267742DE-E367-0B2B-3A58-5822158B2958}"/>
          </ac:inkMkLst>
        </pc:inkChg>
        <pc:inkChg chg="add mod">
          <ac:chgData name="Aniket Chhabra" userId="598e0514-bef3-4e71-b6aa-f2edd6441cff" providerId="ADAL" clId="{6B709646-9B8B-914B-83A9-D81F12AFDE5E}" dt="2022-06-19T04:55:09.573" v="1580"/>
          <ac:inkMkLst>
            <pc:docMk/>
            <pc:sldMk cId="1232166785" sldId="570"/>
            <ac:inkMk id="182" creationId="{88B0058C-FD0C-1806-C3C6-B4B94C6A5849}"/>
          </ac:inkMkLst>
        </pc:inkChg>
        <pc:inkChg chg="add mod">
          <ac:chgData name="Aniket Chhabra" userId="598e0514-bef3-4e71-b6aa-f2edd6441cff" providerId="ADAL" clId="{6B709646-9B8B-914B-83A9-D81F12AFDE5E}" dt="2022-06-19T04:55:09.573" v="1580"/>
          <ac:inkMkLst>
            <pc:docMk/>
            <pc:sldMk cId="1232166785" sldId="570"/>
            <ac:inkMk id="183" creationId="{A2D7562B-58D6-B41B-A1DB-157D6B0CAF98}"/>
          </ac:inkMkLst>
        </pc:inkChg>
        <pc:inkChg chg="add mod">
          <ac:chgData name="Aniket Chhabra" userId="598e0514-bef3-4e71-b6aa-f2edd6441cff" providerId="ADAL" clId="{6B709646-9B8B-914B-83A9-D81F12AFDE5E}" dt="2022-06-19T04:55:17.320" v="1591"/>
          <ac:inkMkLst>
            <pc:docMk/>
            <pc:sldMk cId="1232166785" sldId="570"/>
            <ac:inkMk id="185" creationId="{EB7AF822-08D6-28C3-ED89-18BE42B3E710}"/>
          </ac:inkMkLst>
        </pc:inkChg>
        <pc:inkChg chg="add mod">
          <ac:chgData name="Aniket Chhabra" userId="598e0514-bef3-4e71-b6aa-f2edd6441cff" providerId="ADAL" clId="{6B709646-9B8B-914B-83A9-D81F12AFDE5E}" dt="2022-06-19T04:55:17.320" v="1591"/>
          <ac:inkMkLst>
            <pc:docMk/>
            <pc:sldMk cId="1232166785" sldId="570"/>
            <ac:inkMk id="186" creationId="{FBC9F644-70FA-A880-58F5-ECA0F51DC08C}"/>
          </ac:inkMkLst>
        </pc:inkChg>
        <pc:inkChg chg="add mod">
          <ac:chgData name="Aniket Chhabra" userId="598e0514-bef3-4e71-b6aa-f2edd6441cff" providerId="ADAL" clId="{6B709646-9B8B-914B-83A9-D81F12AFDE5E}" dt="2022-06-19T04:55:17.320" v="1591"/>
          <ac:inkMkLst>
            <pc:docMk/>
            <pc:sldMk cId="1232166785" sldId="570"/>
            <ac:inkMk id="187" creationId="{28B67532-8F04-200E-A337-124BA4247EB7}"/>
          </ac:inkMkLst>
        </pc:inkChg>
        <pc:inkChg chg="add mod">
          <ac:chgData name="Aniket Chhabra" userId="598e0514-bef3-4e71-b6aa-f2edd6441cff" providerId="ADAL" clId="{6B709646-9B8B-914B-83A9-D81F12AFDE5E}" dt="2022-06-19T04:55:17.320" v="1591"/>
          <ac:inkMkLst>
            <pc:docMk/>
            <pc:sldMk cId="1232166785" sldId="570"/>
            <ac:inkMk id="188" creationId="{DE87F231-51FA-1892-1C9D-20E6A6749383}"/>
          </ac:inkMkLst>
        </pc:inkChg>
        <pc:inkChg chg="add mod">
          <ac:chgData name="Aniket Chhabra" userId="598e0514-bef3-4e71-b6aa-f2edd6441cff" providerId="ADAL" clId="{6B709646-9B8B-914B-83A9-D81F12AFDE5E}" dt="2022-06-19T04:55:17.320" v="1591"/>
          <ac:inkMkLst>
            <pc:docMk/>
            <pc:sldMk cId="1232166785" sldId="570"/>
            <ac:inkMk id="189" creationId="{7DD3B39D-D6A0-BC8D-09F4-DCBA4FC4BC0D}"/>
          </ac:inkMkLst>
        </pc:inkChg>
        <pc:inkChg chg="add mod">
          <ac:chgData name="Aniket Chhabra" userId="598e0514-bef3-4e71-b6aa-f2edd6441cff" providerId="ADAL" clId="{6B709646-9B8B-914B-83A9-D81F12AFDE5E}" dt="2022-06-19T04:55:17.320" v="1591"/>
          <ac:inkMkLst>
            <pc:docMk/>
            <pc:sldMk cId="1232166785" sldId="570"/>
            <ac:inkMk id="190" creationId="{3ED37539-D397-E7E9-75C8-624B1067009F}"/>
          </ac:inkMkLst>
        </pc:inkChg>
        <pc:inkChg chg="add mod">
          <ac:chgData name="Aniket Chhabra" userId="598e0514-bef3-4e71-b6aa-f2edd6441cff" providerId="ADAL" clId="{6B709646-9B8B-914B-83A9-D81F12AFDE5E}" dt="2022-06-19T04:55:17.320" v="1591"/>
          <ac:inkMkLst>
            <pc:docMk/>
            <pc:sldMk cId="1232166785" sldId="570"/>
            <ac:inkMk id="191" creationId="{21720365-91F0-C59B-95EB-FE0578911EA0}"/>
          </ac:inkMkLst>
        </pc:inkChg>
        <pc:inkChg chg="add mod">
          <ac:chgData name="Aniket Chhabra" userId="598e0514-bef3-4e71-b6aa-f2edd6441cff" providerId="ADAL" clId="{6B709646-9B8B-914B-83A9-D81F12AFDE5E}" dt="2022-06-19T04:55:17.320" v="1591"/>
          <ac:inkMkLst>
            <pc:docMk/>
            <pc:sldMk cId="1232166785" sldId="570"/>
            <ac:inkMk id="192" creationId="{18949699-6BDA-01B7-7457-5DD2C6BB15C7}"/>
          </ac:inkMkLst>
        </pc:inkChg>
        <pc:inkChg chg="add mod">
          <ac:chgData name="Aniket Chhabra" userId="598e0514-bef3-4e71-b6aa-f2edd6441cff" providerId="ADAL" clId="{6B709646-9B8B-914B-83A9-D81F12AFDE5E}" dt="2022-06-19T04:55:17.320" v="1591"/>
          <ac:inkMkLst>
            <pc:docMk/>
            <pc:sldMk cId="1232166785" sldId="570"/>
            <ac:inkMk id="193" creationId="{08DC8CA3-6EBA-2C81-B6C5-B6AD0A7E6D8F}"/>
          </ac:inkMkLst>
        </pc:inkChg>
        <pc:inkChg chg="add mod">
          <ac:chgData name="Aniket Chhabra" userId="598e0514-bef3-4e71-b6aa-f2edd6441cff" providerId="ADAL" clId="{6B709646-9B8B-914B-83A9-D81F12AFDE5E}" dt="2022-06-19T04:55:17.320" v="1591"/>
          <ac:inkMkLst>
            <pc:docMk/>
            <pc:sldMk cId="1232166785" sldId="570"/>
            <ac:inkMk id="194" creationId="{E96BD11E-812A-9646-7AD0-3BB9776882C4}"/>
          </ac:inkMkLst>
        </pc:inkChg>
        <pc:inkChg chg="add mod">
          <ac:chgData name="Aniket Chhabra" userId="598e0514-bef3-4e71-b6aa-f2edd6441cff" providerId="ADAL" clId="{6B709646-9B8B-914B-83A9-D81F12AFDE5E}" dt="2022-06-19T04:59:31.017" v="1663"/>
          <ac:inkMkLst>
            <pc:docMk/>
            <pc:sldMk cId="1232166785" sldId="570"/>
            <ac:inkMk id="196" creationId="{747B9ACE-7E10-B6A3-C306-F1FCB8E9FE67}"/>
          </ac:inkMkLst>
        </pc:inkChg>
        <pc:inkChg chg="add mod">
          <ac:chgData name="Aniket Chhabra" userId="598e0514-bef3-4e71-b6aa-f2edd6441cff" providerId="ADAL" clId="{6B709646-9B8B-914B-83A9-D81F12AFDE5E}" dt="2022-06-19T04:59:31.017" v="1663"/>
          <ac:inkMkLst>
            <pc:docMk/>
            <pc:sldMk cId="1232166785" sldId="570"/>
            <ac:inkMk id="197" creationId="{150052EF-2467-7C19-D29D-963F8C662164}"/>
          </ac:inkMkLst>
        </pc:inkChg>
        <pc:inkChg chg="add mod">
          <ac:chgData name="Aniket Chhabra" userId="598e0514-bef3-4e71-b6aa-f2edd6441cff" providerId="ADAL" clId="{6B709646-9B8B-914B-83A9-D81F12AFDE5E}" dt="2022-06-19T04:59:31.017" v="1663"/>
          <ac:inkMkLst>
            <pc:docMk/>
            <pc:sldMk cId="1232166785" sldId="570"/>
            <ac:inkMk id="199" creationId="{8BA31429-CABA-9E5A-89DB-9CA177B39FA6}"/>
          </ac:inkMkLst>
        </pc:inkChg>
        <pc:inkChg chg="add mod">
          <ac:chgData name="Aniket Chhabra" userId="598e0514-bef3-4e71-b6aa-f2edd6441cff" providerId="ADAL" clId="{6B709646-9B8B-914B-83A9-D81F12AFDE5E}" dt="2022-06-19T04:59:31.017" v="1663"/>
          <ac:inkMkLst>
            <pc:docMk/>
            <pc:sldMk cId="1232166785" sldId="570"/>
            <ac:inkMk id="201" creationId="{D9233823-6DF2-9975-BD8D-F78F3516B83E}"/>
          </ac:inkMkLst>
        </pc:inkChg>
        <pc:inkChg chg="add mod">
          <ac:chgData name="Aniket Chhabra" userId="598e0514-bef3-4e71-b6aa-f2edd6441cff" providerId="ADAL" clId="{6B709646-9B8B-914B-83A9-D81F12AFDE5E}" dt="2022-06-19T04:59:31.017" v="1663"/>
          <ac:inkMkLst>
            <pc:docMk/>
            <pc:sldMk cId="1232166785" sldId="570"/>
            <ac:inkMk id="202" creationId="{D099B794-C8B4-676E-095A-9B8E72038648}"/>
          </ac:inkMkLst>
        </pc:inkChg>
        <pc:inkChg chg="add mod">
          <ac:chgData name="Aniket Chhabra" userId="598e0514-bef3-4e71-b6aa-f2edd6441cff" providerId="ADAL" clId="{6B709646-9B8B-914B-83A9-D81F12AFDE5E}" dt="2022-06-19T04:56:25.732" v="1609"/>
          <ac:inkMkLst>
            <pc:docMk/>
            <pc:sldMk cId="1232166785" sldId="570"/>
            <ac:inkMk id="204" creationId="{BC2B04E9-12DB-05EB-914F-A9E2EC6E4A0C}"/>
          </ac:inkMkLst>
        </pc:inkChg>
        <pc:inkChg chg="add mod">
          <ac:chgData name="Aniket Chhabra" userId="598e0514-bef3-4e71-b6aa-f2edd6441cff" providerId="ADAL" clId="{6B709646-9B8B-914B-83A9-D81F12AFDE5E}" dt="2022-06-19T04:56:25.732" v="1609"/>
          <ac:inkMkLst>
            <pc:docMk/>
            <pc:sldMk cId="1232166785" sldId="570"/>
            <ac:inkMk id="205" creationId="{49919270-D1EC-8017-930A-303E9ED240F4}"/>
          </ac:inkMkLst>
        </pc:inkChg>
        <pc:inkChg chg="add mod">
          <ac:chgData name="Aniket Chhabra" userId="598e0514-bef3-4e71-b6aa-f2edd6441cff" providerId="ADAL" clId="{6B709646-9B8B-914B-83A9-D81F12AFDE5E}" dt="2022-06-19T04:56:25.732" v="1609"/>
          <ac:inkMkLst>
            <pc:docMk/>
            <pc:sldMk cId="1232166785" sldId="570"/>
            <ac:inkMk id="206" creationId="{EEC2CB7D-7474-539C-619D-0F521E5BE24C}"/>
          </ac:inkMkLst>
        </pc:inkChg>
        <pc:inkChg chg="add mod">
          <ac:chgData name="Aniket Chhabra" userId="598e0514-bef3-4e71-b6aa-f2edd6441cff" providerId="ADAL" clId="{6B709646-9B8B-914B-83A9-D81F12AFDE5E}" dt="2022-06-19T04:56:25.732" v="1609"/>
          <ac:inkMkLst>
            <pc:docMk/>
            <pc:sldMk cId="1232166785" sldId="570"/>
            <ac:inkMk id="207" creationId="{78D096CE-5FEC-6C5A-51E0-90A1DA0BD698}"/>
          </ac:inkMkLst>
        </pc:inkChg>
        <pc:inkChg chg="add mod">
          <ac:chgData name="Aniket Chhabra" userId="598e0514-bef3-4e71-b6aa-f2edd6441cff" providerId="ADAL" clId="{6B709646-9B8B-914B-83A9-D81F12AFDE5E}" dt="2022-06-19T04:56:25.732" v="1609"/>
          <ac:inkMkLst>
            <pc:docMk/>
            <pc:sldMk cId="1232166785" sldId="570"/>
            <ac:inkMk id="208" creationId="{778EB064-CBC0-4ED9-15EC-E56123A8CBE5}"/>
          </ac:inkMkLst>
        </pc:inkChg>
        <pc:inkChg chg="add mod">
          <ac:chgData name="Aniket Chhabra" userId="598e0514-bef3-4e71-b6aa-f2edd6441cff" providerId="ADAL" clId="{6B709646-9B8B-914B-83A9-D81F12AFDE5E}" dt="2022-06-19T04:56:25.732" v="1609"/>
          <ac:inkMkLst>
            <pc:docMk/>
            <pc:sldMk cId="1232166785" sldId="570"/>
            <ac:inkMk id="209" creationId="{AAE95CD8-3966-BEFF-F728-0C58AC54A28E}"/>
          </ac:inkMkLst>
        </pc:inkChg>
        <pc:inkChg chg="add mod">
          <ac:chgData name="Aniket Chhabra" userId="598e0514-bef3-4e71-b6aa-f2edd6441cff" providerId="ADAL" clId="{6B709646-9B8B-914B-83A9-D81F12AFDE5E}" dt="2022-06-19T04:56:25.732" v="1609"/>
          <ac:inkMkLst>
            <pc:docMk/>
            <pc:sldMk cId="1232166785" sldId="570"/>
            <ac:inkMk id="210" creationId="{37ACA3E1-8405-28E1-C649-43B45FA8F7C8}"/>
          </ac:inkMkLst>
        </pc:inkChg>
        <pc:inkChg chg="add mod">
          <ac:chgData name="Aniket Chhabra" userId="598e0514-bef3-4e71-b6aa-f2edd6441cff" providerId="ADAL" clId="{6B709646-9B8B-914B-83A9-D81F12AFDE5E}" dt="2022-06-19T04:56:25.732" v="1609"/>
          <ac:inkMkLst>
            <pc:docMk/>
            <pc:sldMk cId="1232166785" sldId="570"/>
            <ac:inkMk id="211" creationId="{1DB0B342-394B-69DE-9DB1-A0039EF91E7A}"/>
          </ac:inkMkLst>
        </pc:inkChg>
        <pc:inkChg chg="add mod">
          <ac:chgData name="Aniket Chhabra" userId="598e0514-bef3-4e71-b6aa-f2edd6441cff" providerId="ADAL" clId="{6B709646-9B8B-914B-83A9-D81F12AFDE5E}" dt="2022-06-19T04:56:25.732" v="1609"/>
          <ac:inkMkLst>
            <pc:docMk/>
            <pc:sldMk cId="1232166785" sldId="570"/>
            <ac:inkMk id="212" creationId="{64A10FDC-E12C-6D53-BC30-4E1C56572A29}"/>
          </ac:inkMkLst>
        </pc:inkChg>
        <pc:inkChg chg="add mod">
          <ac:chgData name="Aniket Chhabra" userId="598e0514-bef3-4e71-b6aa-f2edd6441cff" providerId="ADAL" clId="{6B709646-9B8B-914B-83A9-D81F12AFDE5E}" dt="2022-06-19T04:59:31.017" v="1663"/>
          <ac:inkMkLst>
            <pc:docMk/>
            <pc:sldMk cId="1232166785" sldId="570"/>
            <ac:inkMk id="214" creationId="{E1E04C83-AE0C-329E-7696-8D224E350E10}"/>
          </ac:inkMkLst>
        </pc:inkChg>
        <pc:inkChg chg="add mod">
          <ac:chgData name="Aniket Chhabra" userId="598e0514-bef3-4e71-b6aa-f2edd6441cff" providerId="ADAL" clId="{6B709646-9B8B-914B-83A9-D81F12AFDE5E}" dt="2022-06-19T04:56:34.169" v="1617"/>
          <ac:inkMkLst>
            <pc:docMk/>
            <pc:sldMk cId="1232166785" sldId="570"/>
            <ac:inkMk id="216" creationId="{E545E5D8-EFDA-99D0-9C4A-57E2F300F0CF}"/>
          </ac:inkMkLst>
        </pc:inkChg>
        <pc:inkChg chg="add mod">
          <ac:chgData name="Aniket Chhabra" userId="598e0514-bef3-4e71-b6aa-f2edd6441cff" providerId="ADAL" clId="{6B709646-9B8B-914B-83A9-D81F12AFDE5E}" dt="2022-06-19T04:56:34.169" v="1617"/>
          <ac:inkMkLst>
            <pc:docMk/>
            <pc:sldMk cId="1232166785" sldId="570"/>
            <ac:inkMk id="217" creationId="{0BE1393E-AD87-03D3-CA32-E819F0BD9E93}"/>
          </ac:inkMkLst>
        </pc:inkChg>
        <pc:inkChg chg="add mod">
          <ac:chgData name="Aniket Chhabra" userId="598e0514-bef3-4e71-b6aa-f2edd6441cff" providerId="ADAL" clId="{6B709646-9B8B-914B-83A9-D81F12AFDE5E}" dt="2022-06-19T04:56:34.169" v="1617"/>
          <ac:inkMkLst>
            <pc:docMk/>
            <pc:sldMk cId="1232166785" sldId="570"/>
            <ac:inkMk id="218" creationId="{D2937304-AC61-A47D-F312-13CE155D06F9}"/>
          </ac:inkMkLst>
        </pc:inkChg>
        <pc:inkChg chg="add mod">
          <ac:chgData name="Aniket Chhabra" userId="598e0514-bef3-4e71-b6aa-f2edd6441cff" providerId="ADAL" clId="{6B709646-9B8B-914B-83A9-D81F12AFDE5E}" dt="2022-06-19T04:56:34.169" v="1617"/>
          <ac:inkMkLst>
            <pc:docMk/>
            <pc:sldMk cId="1232166785" sldId="570"/>
            <ac:inkMk id="219" creationId="{4B4A1A4E-A25A-BA0D-3DCE-05D83E0F4A05}"/>
          </ac:inkMkLst>
        </pc:inkChg>
        <pc:inkChg chg="add mod">
          <ac:chgData name="Aniket Chhabra" userId="598e0514-bef3-4e71-b6aa-f2edd6441cff" providerId="ADAL" clId="{6B709646-9B8B-914B-83A9-D81F12AFDE5E}" dt="2022-06-19T04:56:34.169" v="1617"/>
          <ac:inkMkLst>
            <pc:docMk/>
            <pc:sldMk cId="1232166785" sldId="570"/>
            <ac:inkMk id="220" creationId="{F811F925-BBC7-D985-B963-73B4D4763A70}"/>
          </ac:inkMkLst>
        </pc:inkChg>
        <pc:inkChg chg="add mod">
          <ac:chgData name="Aniket Chhabra" userId="598e0514-bef3-4e71-b6aa-f2edd6441cff" providerId="ADAL" clId="{6B709646-9B8B-914B-83A9-D81F12AFDE5E}" dt="2022-06-19T04:56:50.241" v="1620"/>
          <ac:inkMkLst>
            <pc:docMk/>
            <pc:sldMk cId="1232166785" sldId="570"/>
            <ac:inkMk id="222" creationId="{B6F4A061-7EED-C73C-D0BB-B78E4BAEEE6B}"/>
          </ac:inkMkLst>
        </pc:inkChg>
        <pc:inkChg chg="add mod">
          <ac:chgData name="Aniket Chhabra" userId="598e0514-bef3-4e71-b6aa-f2edd6441cff" providerId="ADAL" clId="{6B709646-9B8B-914B-83A9-D81F12AFDE5E}" dt="2022-06-19T04:56:50.241" v="1620"/>
          <ac:inkMkLst>
            <pc:docMk/>
            <pc:sldMk cId="1232166785" sldId="570"/>
            <ac:inkMk id="223" creationId="{B659A763-3808-D810-6B92-E048B250F330}"/>
          </ac:inkMkLst>
        </pc:inkChg>
        <pc:inkChg chg="add mod">
          <ac:chgData name="Aniket Chhabra" userId="598e0514-bef3-4e71-b6aa-f2edd6441cff" providerId="ADAL" clId="{6B709646-9B8B-914B-83A9-D81F12AFDE5E}" dt="2022-06-19T04:57:12.301" v="1623"/>
          <ac:inkMkLst>
            <pc:docMk/>
            <pc:sldMk cId="1232166785" sldId="570"/>
            <ac:inkMk id="225" creationId="{23B9D5CD-752D-6676-FED1-9903B3C163E5}"/>
          </ac:inkMkLst>
        </pc:inkChg>
        <pc:inkChg chg="add mod">
          <ac:chgData name="Aniket Chhabra" userId="598e0514-bef3-4e71-b6aa-f2edd6441cff" providerId="ADAL" clId="{6B709646-9B8B-914B-83A9-D81F12AFDE5E}" dt="2022-06-19T04:57:12.301" v="1623"/>
          <ac:inkMkLst>
            <pc:docMk/>
            <pc:sldMk cId="1232166785" sldId="570"/>
            <ac:inkMk id="226" creationId="{F40F611F-1350-EF1B-59DE-7171ECBA890C}"/>
          </ac:inkMkLst>
        </pc:inkChg>
        <pc:inkChg chg="add mod">
          <ac:chgData name="Aniket Chhabra" userId="598e0514-bef3-4e71-b6aa-f2edd6441cff" providerId="ADAL" clId="{6B709646-9B8B-914B-83A9-D81F12AFDE5E}" dt="2022-06-19T04:57:16.035" v="1628"/>
          <ac:inkMkLst>
            <pc:docMk/>
            <pc:sldMk cId="1232166785" sldId="570"/>
            <ac:inkMk id="228" creationId="{2AA657F8-F009-5019-1D26-A3ADEF101C7E}"/>
          </ac:inkMkLst>
        </pc:inkChg>
        <pc:inkChg chg="add mod">
          <ac:chgData name="Aniket Chhabra" userId="598e0514-bef3-4e71-b6aa-f2edd6441cff" providerId="ADAL" clId="{6B709646-9B8B-914B-83A9-D81F12AFDE5E}" dt="2022-06-19T04:57:16.035" v="1628"/>
          <ac:inkMkLst>
            <pc:docMk/>
            <pc:sldMk cId="1232166785" sldId="570"/>
            <ac:inkMk id="229" creationId="{CD30E336-F5C7-819A-E855-13225EEA059A}"/>
          </ac:inkMkLst>
        </pc:inkChg>
        <pc:inkChg chg="add mod">
          <ac:chgData name="Aniket Chhabra" userId="598e0514-bef3-4e71-b6aa-f2edd6441cff" providerId="ADAL" clId="{6B709646-9B8B-914B-83A9-D81F12AFDE5E}" dt="2022-06-19T04:57:16.035" v="1628"/>
          <ac:inkMkLst>
            <pc:docMk/>
            <pc:sldMk cId="1232166785" sldId="570"/>
            <ac:inkMk id="230" creationId="{C2C96AAE-7178-23A0-6EA7-725AAF9DBFCF}"/>
          </ac:inkMkLst>
        </pc:inkChg>
        <pc:inkChg chg="add mod">
          <ac:chgData name="Aniket Chhabra" userId="598e0514-bef3-4e71-b6aa-f2edd6441cff" providerId="ADAL" clId="{6B709646-9B8B-914B-83A9-D81F12AFDE5E}" dt="2022-06-19T04:57:16.035" v="1628"/>
          <ac:inkMkLst>
            <pc:docMk/>
            <pc:sldMk cId="1232166785" sldId="570"/>
            <ac:inkMk id="231" creationId="{7AD4A8CC-041F-9F4C-2AEA-4372CBED84CB}"/>
          </ac:inkMkLst>
        </pc:inkChg>
        <pc:inkChg chg="add mod">
          <ac:chgData name="Aniket Chhabra" userId="598e0514-bef3-4e71-b6aa-f2edd6441cff" providerId="ADAL" clId="{6B709646-9B8B-914B-83A9-D81F12AFDE5E}" dt="2022-06-19T04:57:21.988" v="1635"/>
          <ac:inkMkLst>
            <pc:docMk/>
            <pc:sldMk cId="1232166785" sldId="570"/>
            <ac:inkMk id="233" creationId="{9E7EBFFF-158B-8289-D57D-C7F616CE4E23}"/>
          </ac:inkMkLst>
        </pc:inkChg>
        <pc:inkChg chg="add mod">
          <ac:chgData name="Aniket Chhabra" userId="598e0514-bef3-4e71-b6aa-f2edd6441cff" providerId="ADAL" clId="{6B709646-9B8B-914B-83A9-D81F12AFDE5E}" dt="2022-06-19T04:57:21.988" v="1635"/>
          <ac:inkMkLst>
            <pc:docMk/>
            <pc:sldMk cId="1232166785" sldId="570"/>
            <ac:inkMk id="234" creationId="{481B464A-7525-E014-6403-D9652BB5EA0E}"/>
          </ac:inkMkLst>
        </pc:inkChg>
        <pc:inkChg chg="add mod">
          <ac:chgData name="Aniket Chhabra" userId="598e0514-bef3-4e71-b6aa-f2edd6441cff" providerId="ADAL" clId="{6B709646-9B8B-914B-83A9-D81F12AFDE5E}" dt="2022-06-19T04:57:21.988" v="1635"/>
          <ac:inkMkLst>
            <pc:docMk/>
            <pc:sldMk cId="1232166785" sldId="570"/>
            <ac:inkMk id="235" creationId="{A85B77FC-CACD-9610-FFA2-CBA7E7DAA4FF}"/>
          </ac:inkMkLst>
        </pc:inkChg>
        <pc:inkChg chg="add mod">
          <ac:chgData name="Aniket Chhabra" userId="598e0514-bef3-4e71-b6aa-f2edd6441cff" providerId="ADAL" clId="{6B709646-9B8B-914B-83A9-D81F12AFDE5E}" dt="2022-06-19T04:57:21.988" v="1635"/>
          <ac:inkMkLst>
            <pc:docMk/>
            <pc:sldMk cId="1232166785" sldId="570"/>
            <ac:inkMk id="236" creationId="{FF8CCA1C-B816-7A96-01EC-CB9B7591DB1B}"/>
          </ac:inkMkLst>
        </pc:inkChg>
        <pc:inkChg chg="add mod">
          <ac:chgData name="Aniket Chhabra" userId="598e0514-bef3-4e71-b6aa-f2edd6441cff" providerId="ADAL" clId="{6B709646-9B8B-914B-83A9-D81F12AFDE5E}" dt="2022-06-19T04:57:21.988" v="1635"/>
          <ac:inkMkLst>
            <pc:docMk/>
            <pc:sldMk cId="1232166785" sldId="570"/>
            <ac:inkMk id="237" creationId="{711372D0-C1FA-DD97-9FE0-21F464BB7B16}"/>
          </ac:inkMkLst>
        </pc:inkChg>
        <pc:inkChg chg="add mod">
          <ac:chgData name="Aniket Chhabra" userId="598e0514-bef3-4e71-b6aa-f2edd6441cff" providerId="ADAL" clId="{6B709646-9B8B-914B-83A9-D81F12AFDE5E}" dt="2022-06-19T04:57:21.988" v="1635"/>
          <ac:inkMkLst>
            <pc:docMk/>
            <pc:sldMk cId="1232166785" sldId="570"/>
            <ac:inkMk id="238" creationId="{68480DE9-5C66-26F9-C9F1-C6148DEC5C8D}"/>
          </ac:inkMkLst>
        </pc:inkChg>
        <pc:inkChg chg="add mod">
          <ac:chgData name="Aniket Chhabra" userId="598e0514-bef3-4e71-b6aa-f2edd6441cff" providerId="ADAL" clId="{6B709646-9B8B-914B-83A9-D81F12AFDE5E}" dt="2022-06-19T04:59:18.147" v="1644"/>
          <ac:inkMkLst>
            <pc:docMk/>
            <pc:sldMk cId="1232166785" sldId="570"/>
            <ac:inkMk id="240" creationId="{83E6FDB5-6C0A-4620-2C19-3538FFCBA656}"/>
          </ac:inkMkLst>
        </pc:inkChg>
        <pc:inkChg chg="add mod">
          <ac:chgData name="Aniket Chhabra" userId="598e0514-bef3-4e71-b6aa-f2edd6441cff" providerId="ADAL" clId="{6B709646-9B8B-914B-83A9-D81F12AFDE5E}" dt="2022-06-19T04:59:18.147" v="1644"/>
          <ac:inkMkLst>
            <pc:docMk/>
            <pc:sldMk cId="1232166785" sldId="570"/>
            <ac:inkMk id="241" creationId="{57BA445D-6B06-C2D5-5BBE-361FE56835B2}"/>
          </ac:inkMkLst>
        </pc:inkChg>
        <pc:inkChg chg="add mod">
          <ac:chgData name="Aniket Chhabra" userId="598e0514-bef3-4e71-b6aa-f2edd6441cff" providerId="ADAL" clId="{6B709646-9B8B-914B-83A9-D81F12AFDE5E}" dt="2022-06-19T04:59:18.147" v="1644"/>
          <ac:inkMkLst>
            <pc:docMk/>
            <pc:sldMk cId="1232166785" sldId="570"/>
            <ac:inkMk id="242" creationId="{A3B6505D-D252-969B-FF5B-79DD92FD6A0F}"/>
          </ac:inkMkLst>
        </pc:inkChg>
        <pc:inkChg chg="add mod">
          <ac:chgData name="Aniket Chhabra" userId="598e0514-bef3-4e71-b6aa-f2edd6441cff" providerId="ADAL" clId="{6B709646-9B8B-914B-83A9-D81F12AFDE5E}" dt="2022-06-19T04:59:18.147" v="1644"/>
          <ac:inkMkLst>
            <pc:docMk/>
            <pc:sldMk cId="1232166785" sldId="570"/>
            <ac:inkMk id="243" creationId="{3B1FFA18-3FDD-496B-6D63-BB81A9F38605}"/>
          </ac:inkMkLst>
        </pc:inkChg>
        <pc:inkChg chg="add mod">
          <ac:chgData name="Aniket Chhabra" userId="598e0514-bef3-4e71-b6aa-f2edd6441cff" providerId="ADAL" clId="{6B709646-9B8B-914B-83A9-D81F12AFDE5E}" dt="2022-06-19T04:59:18.147" v="1644"/>
          <ac:inkMkLst>
            <pc:docMk/>
            <pc:sldMk cId="1232166785" sldId="570"/>
            <ac:inkMk id="244" creationId="{36E4E049-744E-BC2E-0917-6598FDB3CAC4}"/>
          </ac:inkMkLst>
        </pc:inkChg>
        <pc:inkChg chg="add mod">
          <ac:chgData name="Aniket Chhabra" userId="598e0514-bef3-4e71-b6aa-f2edd6441cff" providerId="ADAL" clId="{6B709646-9B8B-914B-83A9-D81F12AFDE5E}" dt="2022-06-19T04:59:18.147" v="1644"/>
          <ac:inkMkLst>
            <pc:docMk/>
            <pc:sldMk cId="1232166785" sldId="570"/>
            <ac:inkMk id="245" creationId="{3E239A32-81D1-4D9C-131C-A61181B770EF}"/>
          </ac:inkMkLst>
        </pc:inkChg>
        <pc:inkChg chg="add mod">
          <ac:chgData name="Aniket Chhabra" userId="598e0514-bef3-4e71-b6aa-f2edd6441cff" providerId="ADAL" clId="{6B709646-9B8B-914B-83A9-D81F12AFDE5E}" dt="2022-06-19T04:59:18.147" v="1644"/>
          <ac:inkMkLst>
            <pc:docMk/>
            <pc:sldMk cId="1232166785" sldId="570"/>
            <ac:inkMk id="246" creationId="{F40BE8CF-923E-9E20-471D-215CB3F22E80}"/>
          </ac:inkMkLst>
        </pc:inkChg>
        <pc:inkChg chg="add mod">
          <ac:chgData name="Aniket Chhabra" userId="598e0514-bef3-4e71-b6aa-f2edd6441cff" providerId="ADAL" clId="{6B709646-9B8B-914B-83A9-D81F12AFDE5E}" dt="2022-06-19T04:59:18.147" v="1644"/>
          <ac:inkMkLst>
            <pc:docMk/>
            <pc:sldMk cId="1232166785" sldId="570"/>
            <ac:inkMk id="247" creationId="{9A70CE8A-66FF-36A5-C423-C6005C032B4E}"/>
          </ac:inkMkLst>
        </pc:inkChg>
        <pc:inkChg chg="add mod">
          <ac:chgData name="Aniket Chhabra" userId="598e0514-bef3-4e71-b6aa-f2edd6441cff" providerId="ADAL" clId="{6B709646-9B8B-914B-83A9-D81F12AFDE5E}" dt="2022-06-19T05:00:03.975" v="1689"/>
          <ac:inkMkLst>
            <pc:docMk/>
            <pc:sldMk cId="1232166785" sldId="570"/>
            <ac:inkMk id="249" creationId="{68A5C9AD-F89F-C9ED-9A2E-BEA2E160A375}"/>
          </ac:inkMkLst>
        </pc:inkChg>
        <pc:inkChg chg="add mod">
          <ac:chgData name="Aniket Chhabra" userId="598e0514-bef3-4e71-b6aa-f2edd6441cff" providerId="ADAL" clId="{6B709646-9B8B-914B-83A9-D81F12AFDE5E}" dt="2022-06-19T05:00:03.975" v="1689"/>
          <ac:inkMkLst>
            <pc:docMk/>
            <pc:sldMk cId="1232166785" sldId="570"/>
            <ac:inkMk id="250" creationId="{4AD0A7D7-9D7E-880E-3C5B-1C0FCDA17EFB}"/>
          </ac:inkMkLst>
        </pc:inkChg>
        <pc:inkChg chg="add mod">
          <ac:chgData name="Aniket Chhabra" userId="598e0514-bef3-4e71-b6aa-f2edd6441cff" providerId="ADAL" clId="{6B709646-9B8B-914B-83A9-D81F12AFDE5E}" dt="2022-06-19T05:00:03.975" v="1689"/>
          <ac:inkMkLst>
            <pc:docMk/>
            <pc:sldMk cId="1232166785" sldId="570"/>
            <ac:inkMk id="251" creationId="{2778A54B-441E-0A4E-8ADD-3587DD9C2BD0}"/>
          </ac:inkMkLst>
        </pc:inkChg>
        <pc:inkChg chg="add mod">
          <ac:chgData name="Aniket Chhabra" userId="598e0514-bef3-4e71-b6aa-f2edd6441cff" providerId="ADAL" clId="{6B709646-9B8B-914B-83A9-D81F12AFDE5E}" dt="2022-06-19T05:00:03.975" v="1689"/>
          <ac:inkMkLst>
            <pc:docMk/>
            <pc:sldMk cId="1232166785" sldId="570"/>
            <ac:inkMk id="252" creationId="{300F77AE-F609-5CCB-6604-97813BDFFC9C}"/>
          </ac:inkMkLst>
        </pc:inkChg>
        <pc:inkChg chg="add mod">
          <ac:chgData name="Aniket Chhabra" userId="598e0514-bef3-4e71-b6aa-f2edd6441cff" providerId="ADAL" clId="{6B709646-9B8B-914B-83A9-D81F12AFDE5E}" dt="2022-06-19T05:00:03.975" v="1689"/>
          <ac:inkMkLst>
            <pc:docMk/>
            <pc:sldMk cId="1232166785" sldId="570"/>
            <ac:inkMk id="253" creationId="{21F27AAC-E185-81D9-0AE0-1FDE28836345}"/>
          </ac:inkMkLst>
        </pc:inkChg>
        <pc:inkChg chg="add mod">
          <ac:chgData name="Aniket Chhabra" userId="598e0514-bef3-4e71-b6aa-f2edd6441cff" providerId="ADAL" clId="{6B709646-9B8B-914B-83A9-D81F12AFDE5E}" dt="2022-06-19T05:00:03.975" v="1689"/>
          <ac:inkMkLst>
            <pc:docMk/>
            <pc:sldMk cId="1232166785" sldId="570"/>
            <ac:inkMk id="254" creationId="{87253E8E-89EF-869B-B74F-BE4C432F0C22}"/>
          </ac:inkMkLst>
        </pc:inkChg>
        <pc:inkChg chg="add mod">
          <ac:chgData name="Aniket Chhabra" userId="598e0514-bef3-4e71-b6aa-f2edd6441cff" providerId="ADAL" clId="{6B709646-9B8B-914B-83A9-D81F12AFDE5E}" dt="2022-06-19T05:00:03.975" v="1689"/>
          <ac:inkMkLst>
            <pc:docMk/>
            <pc:sldMk cId="1232166785" sldId="570"/>
            <ac:inkMk id="255" creationId="{896198B0-39E6-B9D9-1009-664EBDD3A1BA}"/>
          </ac:inkMkLst>
        </pc:inkChg>
        <pc:inkChg chg="add mod">
          <ac:chgData name="Aniket Chhabra" userId="598e0514-bef3-4e71-b6aa-f2edd6441cff" providerId="ADAL" clId="{6B709646-9B8B-914B-83A9-D81F12AFDE5E}" dt="2022-06-19T05:00:03.975" v="1689"/>
          <ac:inkMkLst>
            <pc:docMk/>
            <pc:sldMk cId="1232166785" sldId="570"/>
            <ac:inkMk id="256" creationId="{20F9804D-3FA2-7BB7-658B-48F9422DBCDD}"/>
          </ac:inkMkLst>
        </pc:inkChg>
        <pc:inkChg chg="add mod">
          <ac:chgData name="Aniket Chhabra" userId="598e0514-bef3-4e71-b6aa-f2edd6441cff" providerId="ADAL" clId="{6B709646-9B8B-914B-83A9-D81F12AFDE5E}" dt="2022-06-19T05:00:03.975" v="1689"/>
          <ac:inkMkLst>
            <pc:docMk/>
            <pc:sldMk cId="1232166785" sldId="570"/>
            <ac:inkMk id="257" creationId="{B6A89593-E0D5-D5E1-EB3F-34B9A823A770}"/>
          </ac:inkMkLst>
        </pc:inkChg>
        <pc:inkChg chg="add mod">
          <ac:chgData name="Aniket Chhabra" userId="598e0514-bef3-4e71-b6aa-f2edd6441cff" providerId="ADAL" clId="{6B709646-9B8B-914B-83A9-D81F12AFDE5E}" dt="2022-06-19T05:00:03.975" v="1689"/>
          <ac:inkMkLst>
            <pc:docMk/>
            <pc:sldMk cId="1232166785" sldId="570"/>
            <ac:inkMk id="258" creationId="{F9AA7AB9-122E-EAAD-BB02-925A9FE018A3}"/>
          </ac:inkMkLst>
        </pc:inkChg>
        <pc:inkChg chg="add mod">
          <ac:chgData name="Aniket Chhabra" userId="598e0514-bef3-4e71-b6aa-f2edd6441cff" providerId="ADAL" clId="{6B709646-9B8B-914B-83A9-D81F12AFDE5E}" dt="2022-06-19T05:00:03.975" v="1689"/>
          <ac:inkMkLst>
            <pc:docMk/>
            <pc:sldMk cId="1232166785" sldId="570"/>
            <ac:inkMk id="259" creationId="{7BFBDB83-3B8D-84B3-2D3A-72895F55EC25}"/>
          </ac:inkMkLst>
        </pc:inkChg>
        <pc:inkChg chg="add mod">
          <ac:chgData name="Aniket Chhabra" userId="598e0514-bef3-4e71-b6aa-f2edd6441cff" providerId="ADAL" clId="{6B709646-9B8B-914B-83A9-D81F12AFDE5E}" dt="2022-06-19T05:00:03.975" v="1689"/>
          <ac:inkMkLst>
            <pc:docMk/>
            <pc:sldMk cId="1232166785" sldId="570"/>
            <ac:inkMk id="260" creationId="{F4FD0630-8B40-B7EB-A711-93F50D21AF92}"/>
          </ac:inkMkLst>
        </pc:inkChg>
        <pc:inkChg chg="add">
          <ac:chgData name="Aniket Chhabra" userId="598e0514-bef3-4e71-b6aa-f2edd6441cff" providerId="ADAL" clId="{6B709646-9B8B-914B-83A9-D81F12AFDE5E}" dt="2022-06-19T04:59:27.982" v="1658" actId="9405"/>
          <ac:inkMkLst>
            <pc:docMk/>
            <pc:sldMk cId="1232166785" sldId="570"/>
            <ac:inkMk id="262" creationId="{B6F1164A-830B-E698-C7A9-2B46F9FF1A52}"/>
          </ac:inkMkLst>
        </pc:inkChg>
        <pc:inkChg chg="add mod">
          <ac:chgData name="Aniket Chhabra" userId="598e0514-bef3-4e71-b6aa-f2edd6441cff" providerId="ADAL" clId="{6B709646-9B8B-914B-83A9-D81F12AFDE5E}" dt="2022-06-19T04:59:59.999" v="1686"/>
          <ac:inkMkLst>
            <pc:docMk/>
            <pc:sldMk cId="1232166785" sldId="570"/>
            <ac:inkMk id="263" creationId="{12CE4805-315F-C556-ACE8-6FC1002F7861}"/>
          </ac:inkMkLst>
        </pc:inkChg>
        <pc:inkChg chg="add">
          <ac:chgData name="Aniket Chhabra" userId="598e0514-bef3-4e71-b6aa-f2edd6441cff" providerId="ADAL" clId="{6B709646-9B8B-914B-83A9-D81F12AFDE5E}" dt="2022-06-19T04:59:29.508" v="1661" actId="9405"/>
          <ac:inkMkLst>
            <pc:docMk/>
            <pc:sldMk cId="1232166785" sldId="570"/>
            <ac:inkMk id="265" creationId="{4221B617-9F4A-0433-7511-D05FD7A6AAB3}"/>
          </ac:inkMkLst>
        </pc:inkChg>
        <pc:inkChg chg="add mod">
          <ac:chgData name="Aniket Chhabra" userId="598e0514-bef3-4e71-b6aa-f2edd6441cff" providerId="ADAL" clId="{6B709646-9B8B-914B-83A9-D81F12AFDE5E}" dt="2022-06-19T04:59:31.017" v="1663"/>
          <ac:inkMkLst>
            <pc:docMk/>
            <pc:sldMk cId="1232166785" sldId="570"/>
            <ac:inkMk id="266" creationId="{19792E95-31D9-2D36-5446-B939053410DD}"/>
          </ac:inkMkLst>
        </pc:inkChg>
        <pc:inkChg chg="add">
          <ac:chgData name="Aniket Chhabra" userId="598e0514-bef3-4e71-b6aa-f2edd6441cff" providerId="ADAL" clId="{6B709646-9B8B-914B-83A9-D81F12AFDE5E}" dt="2022-06-19T04:59:31.339" v="1664" actId="9405"/>
          <ac:inkMkLst>
            <pc:docMk/>
            <pc:sldMk cId="1232166785" sldId="570"/>
            <ac:inkMk id="268" creationId="{237A3F92-5633-B13D-2475-15F330E5EAD5}"/>
          </ac:inkMkLst>
        </pc:inkChg>
        <pc:inkChg chg="add">
          <ac:chgData name="Aniket Chhabra" userId="598e0514-bef3-4e71-b6aa-f2edd6441cff" providerId="ADAL" clId="{6B709646-9B8B-914B-83A9-D81F12AFDE5E}" dt="2022-06-19T04:59:33.317" v="1665" actId="9405"/>
          <ac:inkMkLst>
            <pc:docMk/>
            <pc:sldMk cId="1232166785" sldId="570"/>
            <ac:inkMk id="269" creationId="{1062D6E3-5013-1AC5-0E47-9608950871A4}"/>
          </ac:inkMkLst>
        </pc:inkChg>
        <pc:inkChg chg="add">
          <ac:chgData name="Aniket Chhabra" userId="598e0514-bef3-4e71-b6aa-f2edd6441cff" providerId="ADAL" clId="{6B709646-9B8B-914B-83A9-D81F12AFDE5E}" dt="2022-06-19T04:59:34.075" v="1666" actId="9405"/>
          <ac:inkMkLst>
            <pc:docMk/>
            <pc:sldMk cId="1232166785" sldId="570"/>
            <ac:inkMk id="270" creationId="{67AEEE62-7DC5-2D01-CD93-AA0FD8A91383}"/>
          </ac:inkMkLst>
        </pc:inkChg>
        <pc:inkChg chg="add">
          <ac:chgData name="Aniket Chhabra" userId="598e0514-bef3-4e71-b6aa-f2edd6441cff" providerId="ADAL" clId="{6B709646-9B8B-914B-83A9-D81F12AFDE5E}" dt="2022-06-19T04:59:39.262" v="1667" actId="9405"/>
          <ac:inkMkLst>
            <pc:docMk/>
            <pc:sldMk cId="1232166785" sldId="570"/>
            <ac:inkMk id="271" creationId="{CCEBA601-C248-9B49-14D0-66DE792FB2DC}"/>
          </ac:inkMkLst>
        </pc:inkChg>
        <pc:inkChg chg="add mod">
          <ac:chgData name="Aniket Chhabra" userId="598e0514-bef3-4e71-b6aa-f2edd6441cff" providerId="ADAL" clId="{6B709646-9B8B-914B-83A9-D81F12AFDE5E}" dt="2022-06-19T04:59:41.546" v="1672"/>
          <ac:inkMkLst>
            <pc:docMk/>
            <pc:sldMk cId="1232166785" sldId="570"/>
            <ac:inkMk id="272" creationId="{C163455E-8400-CCD2-4313-AE435ECBBDB5}"/>
          </ac:inkMkLst>
        </pc:inkChg>
        <pc:inkChg chg="add mod">
          <ac:chgData name="Aniket Chhabra" userId="598e0514-bef3-4e71-b6aa-f2edd6441cff" providerId="ADAL" clId="{6B709646-9B8B-914B-83A9-D81F12AFDE5E}" dt="2022-06-19T04:59:41.546" v="1672"/>
          <ac:inkMkLst>
            <pc:docMk/>
            <pc:sldMk cId="1232166785" sldId="570"/>
            <ac:inkMk id="273" creationId="{A93F030F-1975-BBC4-E864-5E5B64263886}"/>
          </ac:inkMkLst>
        </pc:inkChg>
        <pc:inkChg chg="add mod">
          <ac:chgData name="Aniket Chhabra" userId="598e0514-bef3-4e71-b6aa-f2edd6441cff" providerId="ADAL" clId="{6B709646-9B8B-914B-83A9-D81F12AFDE5E}" dt="2022-06-19T04:59:41.546" v="1672"/>
          <ac:inkMkLst>
            <pc:docMk/>
            <pc:sldMk cId="1232166785" sldId="570"/>
            <ac:inkMk id="274" creationId="{C5BA7E67-E371-91F8-5DA9-2B46AC4FFE0A}"/>
          </ac:inkMkLst>
        </pc:inkChg>
        <pc:inkChg chg="add mod">
          <ac:chgData name="Aniket Chhabra" userId="598e0514-bef3-4e71-b6aa-f2edd6441cff" providerId="ADAL" clId="{6B709646-9B8B-914B-83A9-D81F12AFDE5E}" dt="2022-06-19T04:59:41.546" v="1672"/>
          <ac:inkMkLst>
            <pc:docMk/>
            <pc:sldMk cId="1232166785" sldId="570"/>
            <ac:inkMk id="275" creationId="{146CF1B9-072D-A610-A04B-686C5B2F45B8}"/>
          </ac:inkMkLst>
        </pc:inkChg>
        <pc:inkChg chg="add mod">
          <ac:chgData name="Aniket Chhabra" userId="598e0514-bef3-4e71-b6aa-f2edd6441cff" providerId="ADAL" clId="{6B709646-9B8B-914B-83A9-D81F12AFDE5E}" dt="2022-06-19T05:00:05.469" v="1692"/>
          <ac:inkMkLst>
            <pc:docMk/>
            <pc:sldMk cId="1232166785" sldId="570"/>
            <ac:inkMk id="277" creationId="{0DC59966-F6FE-F4DD-9BFE-901CDECAF1CE}"/>
          </ac:inkMkLst>
        </pc:inkChg>
        <pc:inkChg chg="add mod">
          <ac:chgData name="Aniket Chhabra" userId="598e0514-bef3-4e71-b6aa-f2edd6441cff" providerId="ADAL" clId="{6B709646-9B8B-914B-83A9-D81F12AFDE5E}" dt="2022-06-19T05:00:05.469" v="1692"/>
          <ac:inkMkLst>
            <pc:docMk/>
            <pc:sldMk cId="1232166785" sldId="570"/>
            <ac:inkMk id="278" creationId="{547418B1-362B-86EA-147A-9E0F23A29E03}"/>
          </ac:inkMkLst>
        </pc:inkChg>
        <pc:inkChg chg="add mod">
          <ac:chgData name="Aniket Chhabra" userId="598e0514-bef3-4e71-b6aa-f2edd6441cff" providerId="ADAL" clId="{6B709646-9B8B-914B-83A9-D81F12AFDE5E}" dt="2022-06-19T05:00:05.469" v="1692"/>
          <ac:inkMkLst>
            <pc:docMk/>
            <pc:sldMk cId="1232166785" sldId="570"/>
            <ac:inkMk id="279" creationId="{4C49E2A1-23A5-29B4-6042-6614F6A5A0F4}"/>
          </ac:inkMkLst>
        </pc:inkChg>
        <pc:inkChg chg="add mod">
          <ac:chgData name="Aniket Chhabra" userId="598e0514-bef3-4e71-b6aa-f2edd6441cff" providerId="ADAL" clId="{6B709646-9B8B-914B-83A9-D81F12AFDE5E}" dt="2022-06-19T05:00:05.469" v="1692"/>
          <ac:inkMkLst>
            <pc:docMk/>
            <pc:sldMk cId="1232166785" sldId="570"/>
            <ac:inkMk id="280" creationId="{8A9346E9-3435-17E6-04D7-1C85B84B8184}"/>
          </ac:inkMkLst>
        </pc:inkChg>
        <pc:inkChg chg="add">
          <ac:chgData name="Aniket Chhabra" userId="598e0514-bef3-4e71-b6aa-f2edd6441cff" providerId="ADAL" clId="{6B709646-9B8B-914B-83A9-D81F12AFDE5E}" dt="2022-06-19T04:59:45.217" v="1678" actId="9405"/>
          <ac:inkMkLst>
            <pc:docMk/>
            <pc:sldMk cId="1232166785" sldId="570"/>
            <ac:inkMk id="282" creationId="{F7EEEA37-4580-462D-1AEF-1CC7012A8A0C}"/>
          </ac:inkMkLst>
        </pc:inkChg>
        <pc:inkChg chg="add mod">
          <ac:chgData name="Aniket Chhabra" userId="598e0514-bef3-4e71-b6aa-f2edd6441cff" providerId="ADAL" clId="{6B709646-9B8B-914B-83A9-D81F12AFDE5E}" dt="2022-06-19T04:59:47.735" v="1683"/>
          <ac:inkMkLst>
            <pc:docMk/>
            <pc:sldMk cId="1232166785" sldId="570"/>
            <ac:inkMk id="283" creationId="{FF662E1D-86CA-CD95-1FA8-F97647389CF5}"/>
          </ac:inkMkLst>
        </pc:inkChg>
        <pc:inkChg chg="add mod">
          <ac:chgData name="Aniket Chhabra" userId="598e0514-bef3-4e71-b6aa-f2edd6441cff" providerId="ADAL" clId="{6B709646-9B8B-914B-83A9-D81F12AFDE5E}" dt="2022-06-19T04:59:47.735" v="1683"/>
          <ac:inkMkLst>
            <pc:docMk/>
            <pc:sldMk cId="1232166785" sldId="570"/>
            <ac:inkMk id="284" creationId="{AB077A8D-21CB-3538-B2E5-EC86DB215F63}"/>
          </ac:inkMkLst>
        </pc:inkChg>
        <pc:inkChg chg="add mod">
          <ac:chgData name="Aniket Chhabra" userId="598e0514-bef3-4e71-b6aa-f2edd6441cff" providerId="ADAL" clId="{6B709646-9B8B-914B-83A9-D81F12AFDE5E}" dt="2022-06-19T04:59:47.735" v="1683"/>
          <ac:inkMkLst>
            <pc:docMk/>
            <pc:sldMk cId="1232166785" sldId="570"/>
            <ac:inkMk id="285" creationId="{C52EB6C9-EC11-F4F5-D917-3CB5157315C1}"/>
          </ac:inkMkLst>
        </pc:inkChg>
        <pc:inkChg chg="add mod">
          <ac:chgData name="Aniket Chhabra" userId="598e0514-bef3-4e71-b6aa-f2edd6441cff" providerId="ADAL" clId="{6B709646-9B8B-914B-83A9-D81F12AFDE5E}" dt="2022-06-19T04:59:47.735" v="1683"/>
          <ac:inkMkLst>
            <pc:docMk/>
            <pc:sldMk cId="1232166785" sldId="570"/>
            <ac:inkMk id="286" creationId="{E3FDBC6D-7D5A-B68E-EEC7-62C952DF7464}"/>
          </ac:inkMkLst>
        </pc:inkChg>
        <pc:inkChg chg="add">
          <ac:chgData name="Aniket Chhabra" userId="598e0514-bef3-4e71-b6aa-f2edd6441cff" providerId="ADAL" clId="{6B709646-9B8B-914B-83A9-D81F12AFDE5E}" dt="2022-06-19T04:59:55.372" v="1684" actId="9405"/>
          <ac:inkMkLst>
            <pc:docMk/>
            <pc:sldMk cId="1232166785" sldId="570"/>
            <ac:inkMk id="288" creationId="{11C2A948-67D0-A930-AA90-09949398EA4B}"/>
          </ac:inkMkLst>
        </pc:inkChg>
        <pc:inkChg chg="add mod">
          <ac:chgData name="Aniket Chhabra" userId="598e0514-bef3-4e71-b6aa-f2edd6441cff" providerId="ADAL" clId="{6B709646-9B8B-914B-83A9-D81F12AFDE5E}" dt="2022-06-19T04:59:59.999" v="1686"/>
          <ac:inkMkLst>
            <pc:docMk/>
            <pc:sldMk cId="1232166785" sldId="570"/>
            <ac:inkMk id="289" creationId="{2C00F5A4-D9D8-60E3-392B-934C9529A5D0}"/>
          </ac:inkMkLst>
        </pc:inkChg>
        <pc:inkChg chg="add">
          <ac:chgData name="Aniket Chhabra" userId="598e0514-bef3-4e71-b6aa-f2edd6441cff" providerId="ADAL" clId="{6B709646-9B8B-914B-83A9-D81F12AFDE5E}" dt="2022-06-19T05:00:02.967" v="1687" actId="9405"/>
          <ac:inkMkLst>
            <pc:docMk/>
            <pc:sldMk cId="1232166785" sldId="570"/>
            <ac:inkMk id="291" creationId="{F6F8EB8D-F7AE-7113-3D86-BA3B5D8358A9}"/>
          </ac:inkMkLst>
        </pc:inkChg>
        <pc:inkChg chg="add mod">
          <ac:chgData name="Aniket Chhabra" userId="598e0514-bef3-4e71-b6aa-f2edd6441cff" providerId="ADAL" clId="{6B709646-9B8B-914B-83A9-D81F12AFDE5E}" dt="2022-06-19T05:00:03.975" v="1689"/>
          <ac:inkMkLst>
            <pc:docMk/>
            <pc:sldMk cId="1232166785" sldId="570"/>
            <ac:inkMk id="292" creationId="{C6ACFE59-1F01-3ACB-BA71-34F79B526C10}"/>
          </ac:inkMkLst>
        </pc:inkChg>
        <pc:inkChg chg="add mod">
          <ac:chgData name="Aniket Chhabra" userId="598e0514-bef3-4e71-b6aa-f2edd6441cff" providerId="ADAL" clId="{6B709646-9B8B-914B-83A9-D81F12AFDE5E}" dt="2022-06-19T05:00:05.469" v="1692"/>
          <ac:inkMkLst>
            <pc:docMk/>
            <pc:sldMk cId="1232166785" sldId="570"/>
            <ac:inkMk id="294" creationId="{9D68F1C1-D349-1A91-1507-A040D37CFE19}"/>
          </ac:inkMkLst>
        </pc:inkChg>
        <pc:inkChg chg="add">
          <ac:chgData name="Aniket Chhabra" userId="598e0514-bef3-4e71-b6aa-f2edd6441cff" providerId="ADAL" clId="{6B709646-9B8B-914B-83A9-D81F12AFDE5E}" dt="2022-06-19T05:00:04.836" v="1691" actId="9405"/>
          <ac:inkMkLst>
            <pc:docMk/>
            <pc:sldMk cId="1232166785" sldId="570"/>
            <ac:inkMk id="295" creationId="{D8478894-2A51-B967-391C-16C55174EA90}"/>
          </ac:inkMkLst>
        </pc:inkChg>
        <pc:inkChg chg="add mod">
          <ac:chgData name="Aniket Chhabra" userId="598e0514-bef3-4e71-b6aa-f2edd6441cff" providerId="ADAL" clId="{6B709646-9B8B-914B-83A9-D81F12AFDE5E}" dt="2022-06-19T05:00:32.433" v="1715"/>
          <ac:inkMkLst>
            <pc:docMk/>
            <pc:sldMk cId="1232166785" sldId="570"/>
            <ac:inkMk id="297" creationId="{E9C91ADE-552C-B652-1CBA-B86ACB56AE89}"/>
          </ac:inkMkLst>
        </pc:inkChg>
        <pc:inkChg chg="add mod">
          <ac:chgData name="Aniket Chhabra" userId="598e0514-bef3-4e71-b6aa-f2edd6441cff" providerId="ADAL" clId="{6B709646-9B8B-914B-83A9-D81F12AFDE5E}" dt="2022-06-19T05:00:32.433" v="1715"/>
          <ac:inkMkLst>
            <pc:docMk/>
            <pc:sldMk cId="1232166785" sldId="570"/>
            <ac:inkMk id="298" creationId="{4920794C-209F-E6BF-2F04-C614EC3F1DAE}"/>
          </ac:inkMkLst>
        </pc:inkChg>
        <pc:inkChg chg="add mod">
          <ac:chgData name="Aniket Chhabra" userId="598e0514-bef3-4e71-b6aa-f2edd6441cff" providerId="ADAL" clId="{6B709646-9B8B-914B-83A9-D81F12AFDE5E}" dt="2022-06-19T05:00:32.433" v="1715"/>
          <ac:inkMkLst>
            <pc:docMk/>
            <pc:sldMk cId="1232166785" sldId="570"/>
            <ac:inkMk id="300" creationId="{CCB7D385-668E-59F0-6A05-5BDFFAC82B32}"/>
          </ac:inkMkLst>
        </pc:inkChg>
        <pc:inkChg chg="add mod">
          <ac:chgData name="Aniket Chhabra" userId="598e0514-bef3-4e71-b6aa-f2edd6441cff" providerId="ADAL" clId="{6B709646-9B8B-914B-83A9-D81F12AFDE5E}" dt="2022-06-19T05:00:32.433" v="1715"/>
          <ac:inkMkLst>
            <pc:docMk/>
            <pc:sldMk cId="1232166785" sldId="570"/>
            <ac:inkMk id="301" creationId="{2CFEC1B7-3070-C7EF-97CA-1A8CE63094AD}"/>
          </ac:inkMkLst>
        </pc:inkChg>
        <pc:inkChg chg="add mod">
          <ac:chgData name="Aniket Chhabra" userId="598e0514-bef3-4e71-b6aa-f2edd6441cff" providerId="ADAL" clId="{6B709646-9B8B-914B-83A9-D81F12AFDE5E}" dt="2022-06-19T05:00:32.433" v="1715"/>
          <ac:inkMkLst>
            <pc:docMk/>
            <pc:sldMk cId="1232166785" sldId="570"/>
            <ac:inkMk id="303" creationId="{4384F1A3-1C5D-3EAF-D057-0B0665F63FA8}"/>
          </ac:inkMkLst>
        </pc:inkChg>
        <pc:inkChg chg="add mod">
          <ac:chgData name="Aniket Chhabra" userId="598e0514-bef3-4e71-b6aa-f2edd6441cff" providerId="ADAL" clId="{6B709646-9B8B-914B-83A9-D81F12AFDE5E}" dt="2022-06-19T05:00:32.433" v="1715"/>
          <ac:inkMkLst>
            <pc:docMk/>
            <pc:sldMk cId="1232166785" sldId="570"/>
            <ac:inkMk id="304" creationId="{B7154E11-32A3-B06D-D91D-B9D5D1E25BD0}"/>
          </ac:inkMkLst>
        </pc:inkChg>
        <pc:inkChg chg="add mod">
          <ac:chgData name="Aniket Chhabra" userId="598e0514-bef3-4e71-b6aa-f2edd6441cff" providerId="ADAL" clId="{6B709646-9B8B-914B-83A9-D81F12AFDE5E}" dt="2022-06-19T05:00:32.433" v="1715"/>
          <ac:inkMkLst>
            <pc:docMk/>
            <pc:sldMk cId="1232166785" sldId="570"/>
            <ac:inkMk id="305" creationId="{F5E874BC-83F7-6C3A-C9D2-76FE0A53EC24}"/>
          </ac:inkMkLst>
        </pc:inkChg>
        <pc:inkChg chg="add mod">
          <ac:chgData name="Aniket Chhabra" userId="598e0514-bef3-4e71-b6aa-f2edd6441cff" providerId="ADAL" clId="{6B709646-9B8B-914B-83A9-D81F12AFDE5E}" dt="2022-06-19T05:00:32.433" v="1715"/>
          <ac:inkMkLst>
            <pc:docMk/>
            <pc:sldMk cId="1232166785" sldId="570"/>
            <ac:inkMk id="306" creationId="{DD3E726D-85F5-654E-99CD-790C441F2E95}"/>
          </ac:inkMkLst>
        </pc:inkChg>
        <pc:inkChg chg="add mod">
          <ac:chgData name="Aniket Chhabra" userId="598e0514-bef3-4e71-b6aa-f2edd6441cff" providerId="ADAL" clId="{6B709646-9B8B-914B-83A9-D81F12AFDE5E}" dt="2022-06-19T05:00:32.433" v="1715"/>
          <ac:inkMkLst>
            <pc:docMk/>
            <pc:sldMk cId="1232166785" sldId="570"/>
            <ac:inkMk id="308" creationId="{C3777163-9A9D-45ED-7869-70E50BCDCECE}"/>
          </ac:inkMkLst>
        </pc:inkChg>
        <pc:inkChg chg="add mod">
          <ac:chgData name="Aniket Chhabra" userId="598e0514-bef3-4e71-b6aa-f2edd6441cff" providerId="ADAL" clId="{6B709646-9B8B-914B-83A9-D81F12AFDE5E}" dt="2022-06-19T05:00:32.433" v="1715"/>
          <ac:inkMkLst>
            <pc:docMk/>
            <pc:sldMk cId="1232166785" sldId="570"/>
            <ac:inkMk id="309" creationId="{F58F7FE4-9078-DDC7-5DE1-9A7C546184B4}"/>
          </ac:inkMkLst>
        </pc:inkChg>
        <pc:inkChg chg="add mod">
          <ac:chgData name="Aniket Chhabra" userId="598e0514-bef3-4e71-b6aa-f2edd6441cff" providerId="ADAL" clId="{6B709646-9B8B-914B-83A9-D81F12AFDE5E}" dt="2022-06-19T05:00:32.433" v="1715"/>
          <ac:inkMkLst>
            <pc:docMk/>
            <pc:sldMk cId="1232166785" sldId="570"/>
            <ac:inkMk id="310" creationId="{EF6A0F98-F111-CA0E-8C72-0D300EFB6A67}"/>
          </ac:inkMkLst>
        </pc:inkChg>
        <pc:inkChg chg="add mod">
          <ac:chgData name="Aniket Chhabra" userId="598e0514-bef3-4e71-b6aa-f2edd6441cff" providerId="ADAL" clId="{6B709646-9B8B-914B-83A9-D81F12AFDE5E}" dt="2022-06-19T05:00:32.433" v="1715"/>
          <ac:inkMkLst>
            <pc:docMk/>
            <pc:sldMk cId="1232166785" sldId="570"/>
            <ac:inkMk id="311" creationId="{915312F3-3602-CD91-B5CB-131963563943}"/>
          </ac:inkMkLst>
        </pc:inkChg>
        <pc:inkChg chg="add mod">
          <ac:chgData name="Aniket Chhabra" userId="598e0514-bef3-4e71-b6aa-f2edd6441cff" providerId="ADAL" clId="{6B709646-9B8B-914B-83A9-D81F12AFDE5E}" dt="2022-06-19T05:00:32.433" v="1715"/>
          <ac:inkMkLst>
            <pc:docMk/>
            <pc:sldMk cId="1232166785" sldId="570"/>
            <ac:inkMk id="312" creationId="{A719A059-37A6-DEB1-386A-F350880FB820}"/>
          </ac:inkMkLst>
        </pc:inkChg>
        <pc:inkChg chg="add mod">
          <ac:chgData name="Aniket Chhabra" userId="598e0514-bef3-4e71-b6aa-f2edd6441cff" providerId="ADAL" clId="{6B709646-9B8B-914B-83A9-D81F12AFDE5E}" dt="2022-06-19T05:00:32.433" v="1715"/>
          <ac:inkMkLst>
            <pc:docMk/>
            <pc:sldMk cId="1232166785" sldId="570"/>
            <ac:inkMk id="313" creationId="{FB2D6E6D-15DE-3025-66E9-965B3D69A172}"/>
          </ac:inkMkLst>
        </pc:inkChg>
        <pc:inkChg chg="add mod">
          <ac:chgData name="Aniket Chhabra" userId="598e0514-bef3-4e71-b6aa-f2edd6441cff" providerId="ADAL" clId="{6B709646-9B8B-914B-83A9-D81F12AFDE5E}" dt="2022-06-19T05:00:32.433" v="1715"/>
          <ac:inkMkLst>
            <pc:docMk/>
            <pc:sldMk cId="1232166785" sldId="570"/>
            <ac:inkMk id="314" creationId="{8BC5CF3B-2854-824E-959C-7682587CAEE6}"/>
          </ac:inkMkLst>
        </pc:inkChg>
        <pc:inkChg chg="add mod">
          <ac:chgData name="Aniket Chhabra" userId="598e0514-bef3-4e71-b6aa-f2edd6441cff" providerId="ADAL" clId="{6B709646-9B8B-914B-83A9-D81F12AFDE5E}" dt="2022-06-19T05:00:32.433" v="1715"/>
          <ac:inkMkLst>
            <pc:docMk/>
            <pc:sldMk cId="1232166785" sldId="570"/>
            <ac:inkMk id="315" creationId="{06476673-C784-D801-D91F-825BB8AD54FC}"/>
          </ac:inkMkLst>
        </pc:inkChg>
        <pc:inkChg chg="add mod">
          <ac:chgData name="Aniket Chhabra" userId="598e0514-bef3-4e71-b6aa-f2edd6441cff" providerId="ADAL" clId="{6B709646-9B8B-914B-83A9-D81F12AFDE5E}" dt="2022-06-19T05:00:32.433" v="1715"/>
          <ac:inkMkLst>
            <pc:docMk/>
            <pc:sldMk cId="1232166785" sldId="570"/>
            <ac:inkMk id="316" creationId="{AA4E469C-4D48-CCBD-7096-0650C3F6663E}"/>
          </ac:inkMkLst>
        </pc:inkChg>
        <pc:inkChg chg="add mod">
          <ac:chgData name="Aniket Chhabra" userId="598e0514-bef3-4e71-b6aa-f2edd6441cff" providerId="ADAL" clId="{6B709646-9B8B-914B-83A9-D81F12AFDE5E}" dt="2022-06-19T05:00:32.433" v="1715"/>
          <ac:inkMkLst>
            <pc:docMk/>
            <pc:sldMk cId="1232166785" sldId="570"/>
            <ac:inkMk id="317" creationId="{3A827545-C2B8-388C-EB90-94AF905364E9}"/>
          </ac:inkMkLst>
        </pc:inkChg>
        <pc:inkChg chg="add mod">
          <ac:chgData name="Aniket Chhabra" userId="598e0514-bef3-4e71-b6aa-f2edd6441cff" providerId="ADAL" clId="{6B709646-9B8B-914B-83A9-D81F12AFDE5E}" dt="2022-06-19T05:00:32.433" v="1715"/>
          <ac:inkMkLst>
            <pc:docMk/>
            <pc:sldMk cId="1232166785" sldId="570"/>
            <ac:inkMk id="318" creationId="{35024359-3140-1A01-9A97-F344E52510B5}"/>
          </ac:inkMkLst>
        </pc:inkChg>
        <pc:inkChg chg="add mod">
          <ac:chgData name="Aniket Chhabra" userId="598e0514-bef3-4e71-b6aa-f2edd6441cff" providerId="ADAL" clId="{6B709646-9B8B-914B-83A9-D81F12AFDE5E}" dt="2022-06-19T05:01:48.661" v="1717"/>
          <ac:inkMkLst>
            <pc:docMk/>
            <pc:sldMk cId="1232166785" sldId="570"/>
            <ac:inkMk id="321" creationId="{1B598684-772D-DBDC-5843-2D32942CAAA7}"/>
          </ac:inkMkLst>
        </pc:inkChg>
      </pc:sldChg>
    </pc:docChg>
  </pc:docChgLst>
  <pc:docChgLst>
    <pc:chgData name="Aniket Chhabra" userId="598e0514-bef3-4e71-b6aa-f2edd6441cff" providerId="ADAL" clId="{BE5B4798-BE1E-4422-9D3C-1ACF860F87B4}"/>
    <pc:docChg chg="undo custSel addSld modSld sldOrd modMainMaster">
      <pc:chgData name="Aniket Chhabra" userId="598e0514-bef3-4e71-b6aa-f2edd6441cff" providerId="ADAL" clId="{BE5B4798-BE1E-4422-9D3C-1ACF860F87B4}" dt="2021-07-24T02:50:16.406" v="889"/>
      <pc:docMkLst>
        <pc:docMk/>
      </pc:docMkLst>
      <pc:sldChg chg="modNotes">
        <pc:chgData name="Aniket Chhabra" userId="598e0514-bef3-4e71-b6aa-f2edd6441cff" providerId="ADAL" clId="{BE5B4798-BE1E-4422-9D3C-1ACF860F87B4}" dt="2021-07-23T10:50:33.161" v="51"/>
        <pc:sldMkLst>
          <pc:docMk/>
          <pc:sldMk cId="0" sldId="257"/>
        </pc:sldMkLst>
      </pc:sldChg>
      <pc:sldChg chg="modNotes">
        <pc:chgData name="Aniket Chhabra" userId="598e0514-bef3-4e71-b6aa-f2edd6441cff" providerId="ADAL" clId="{BE5B4798-BE1E-4422-9D3C-1ACF860F87B4}" dt="2021-07-23T10:50:33.161" v="51"/>
        <pc:sldMkLst>
          <pc:docMk/>
          <pc:sldMk cId="0" sldId="258"/>
        </pc:sldMkLst>
      </pc:sldChg>
      <pc:sldChg chg="addSp delSp modSp mod">
        <pc:chgData name="Aniket Chhabra" userId="598e0514-bef3-4e71-b6aa-f2edd6441cff" providerId="ADAL" clId="{BE5B4798-BE1E-4422-9D3C-1ACF860F87B4}" dt="2021-07-24T02:25:39.113" v="322"/>
        <pc:sldMkLst>
          <pc:docMk/>
          <pc:sldMk cId="0" sldId="270"/>
        </pc:sldMkLst>
        <pc:grpChg chg="del mod">
          <ac:chgData name="Aniket Chhabra" userId="598e0514-bef3-4e71-b6aa-f2edd6441cff" providerId="ADAL" clId="{BE5B4798-BE1E-4422-9D3C-1ACF860F87B4}" dt="2021-07-24T02:23:45.178" v="217"/>
          <ac:grpSpMkLst>
            <pc:docMk/>
            <pc:sldMk cId="0" sldId="270"/>
            <ac:grpSpMk id="5" creationId="{FEAC97F3-B2D4-4663-81B5-C153489F0D70}"/>
          </ac:grpSpMkLst>
        </pc:grpChg>
        <pc:grpChg chg="del mod">
          <ac:chgData name="Aniket Chhabra" userId="598e0514-bef3-4e71-b6aa-f2edd6441cff" providerId="ADAL" clId="{BE5B4798-BE1E-4422-9D3C-1ACF860F87B4}" dt="2021-07-23T14:32:54.143" v="158"/>
          <ac:grpSpMkLst>
            <pc:docMk/>
            <pc:sldMk cId="0" sldId="270"/>
            <ac:grpSpMk id="9" creationId="{429FA037-DFB7-43A8-B97A-909DB4BDFCE7}"/>
          </ac:grpSpMkLst>
        </pc:grpChg>
        <pc:grpChg chg="mod">
          <ac:chgData name="Aniket Chhabra" userId="598e0514-bef3-4e71-b6aa-f2edd6441cff" providerId="ADAL" clId="{BE5B4798-BE1E-4422-9D3C-1ACF860F87B4}" dt="2021-07-24T02:23:46.619" v="220"/>
          <ac:grpSpMkLst>
            <pc:docMk/>
            <pc:sldMk cId="0" sldId="270"/>
            <ac:grpSpMk id="11" creationId="{93E3F61E-AAE5-4811-A10E-43F064205456}"/>
          </ac:grpSpMkLst>
        </pc:grpChg>
        <pc:grpChg chg="del mod">
          <ac:chgData name="Aniket Chhabra" userId="598e0514-bef3-4e71-b6aa-f2edd6441cff" providerId="ADAL" clId="{BE5B4798-BE1E-4422-9D3C-1ACF860F87B4}" dt="2021-07-23T14:32:54.143" v="158"/>
          <ac:grpSpMkLst>
            <pc:docMk/>
            <pc:sldMk cId="0" sldId="270"/>
            <ac:grpSpMk id="12" creationId="{66DF841F-F2D7-4E3C-A85D-5ECA20018C68}"/>
          </ac:grpSpMkLst>
        </pc:grpChg>
        <pc:grpChg chg="del mod">
          <ac:chgData name="Aniket Chhabra" userId="598e0514-bef3-4e71-b6aa-f2edd6441cff" providerId="ADAL" clId="{BE5B4798-BE1E-4422-9D3C-1ACF860F87B4}" dt="2021-07-23T14:33:20.667" v="182"/>
          <ac:grpSpMkLst>
            <pc:docMk/>
            <pc:sldMk cId="0" sldId="270"/>
            <ac:grpSpMk id="16" creationId="{57134D88-DFD7-4F2C-801F-9C1015CEACA0}"/>
          </ac:grpSpMkLst>
        </pc:grpChg>
        <pc:grpChg chg="mod">
          <ac:chgData name="Aniket Chhabra" userId="598e0514-bef3-4e71-b6aa-f2edd6441cff" providerId="ADAL" clId="{BE5B4798-BE1E-4422-9D3C-1ACF860F87B4}" dt="2021-07-24T02:23:51.047" v="228"/>
          <ac:grpSpMkLst>
            <pc:docMk/>
            <pc:sldMk cId="0" sldId="270"/>
            <ac:grpSpMk id="20" creationId="{637B4242-0C71-449A-9543-30E112D0B720}"/>
          </ac:grpSpMkLst>
        </pc:grpChg>
        <pc:grpChg chg="del mod">
          <ac:chgData name="Aniket Chhabra" userId="598e0514-bef3-4e71-b6aa-f2edd6441cff" providerId="ADAL" clId="{BE5B4798-BE1E-4422-9D3C-1ACF860F87B4}" dt="2021-07-23T14:33:21.685" v="185"/>
          <ac:grpSpMkLst>
            <pc:docMk/>
            <pc:sldMk cId="0" sldId="270"/>
            <ac:grpSpMk id="24" creationId="{D3CD15B6-B7C4-49CE-8E45-B7E9AF19FDF4}"/>
          </ac:grpSpMkLst>
        </pc:grpChg>
        <pc:grpChg chg="mod">
          <ac:chgData name="Aniket Chhabra" userId="598e0514-bef3-4e71-b6aa-f2edd6441cff" providerId="ADAL" clId="{BE5B4798-BE1E-4422-9D3C-1ACF860F87B4}" dt="2021-07-23T14:33:32.310" v="201"/>
          <ac:grpSpMkLst>
            <pc:docMk/>
            <pc:sldMk cId="0" sldId="270"/>
            <ac:grpSpMk id="167" creationId="{3B43B7F5-B181-4DE6-90B5-F532599479FB}"/>
          </ac:grpSpMkLst>
        </pc:grpChg>
        <pc:grpChg chg="mod">
          <ac:chgData name="Aniket Chhabra" userId="598e0514-bef3-4e71-b6aa-f2edd6441cff" providerId="ADAL" clId="{BE5B4798-BE1E-4422-9D3C-1ACF860F87B4}" dt="2021-07-23T14:33:34.487" v="207"/>
          <ac:grpSpMkLst>
            <pc:docMk/>
            <pc:sldMk cId="0" sldId="270"/>
            <ac:grpSpMk id="175" creationId="{E34F7F2A-70D0-49D8-A8E4-B215616D15D3}"/>
          </ac:grpSpMkLst>
        </pc:grpChg>
        <pc:grpChg chg="del mod">
          <ac:chgData name="Aniket Chhabra" userId="598e0514-bef3-4e71-b6aa-f2edd6441cff" providerId="ADAL" clId="{BE5B4798-BE1E-4422-9D3C-1ACF860F87B4}" dt="2021-07-24T02:24:54.800" v="239"/>
          <ac:grpSpMkLst>
            <pc:docMk/>
            <pc:sldMk cId="0" sldId="270"/>
            <ac:grpSpMk id="182" creationId="{58C7583E-EDF3-44E4-ABD6-78D8B5C7AE4F}"/>
          </ac:grpSpMkLst>
        </pc:grpChg>
        <pc:grpChg chg="del mod">
          <ac:chgData name="Aniket Chhabra" userId="598e0514-bef3-4e71-b6aa-f2edd6441cff" providerId="ADAL" clId="{BE5B4798-BE1E-4422-9D3C-1ACF860F87B4}" dt="2021-07-24T02:25:01.659" v="252"/>
          <ac:grpSpMkLst>
            <pc:docMk/>
            <pc:sldMk cId="0" sldId="270"/>
            <ac:grpSpMk id="183" creationId="{2E4B83BF-78A6-40BA-9BCD-09BC3DDF7B28}"/>
          </ac:grpSpMkLst>
        </pc:grpChg>
        <pc:grpChg chg="mod">
          <ac:chgData name="Aniket Chhabra" userId="598e0514-bef3-4e71-b6aa-f2edd6441cff" providerId="ADAL" clId="{BE5B4798-BE1E-4422-9D3C-1ACF860F87B4}" dt="2021-07-24T02:25:01.659" v="252"/>
          <ac:grpSpMkLst>
            <pc:docMk/>
            <pc:sldMk cId="0" sldId="270"/>
            <ac:grpSpMk id="195" creationId="{2843E7DE-CE98-4AD7-9A64-D379157F8F91}"/>
          </ac:grpSpMkLst>
        </pc:grpChg>
        <pc:grpChg chg="del mod">
          <ac:chgData name="Aniket Chhabra" userId="598e0514-bef3-4e71-b6aa-f2edd6441cff" providerId="ADAL" clId="{BE5B4798-BE1E-4422-9D3C-1ACF860F87B4}" dt="2021-07-24T02:25:12.554" v="271"/>
          <ac:grpSpMkLst>
            <pc:docMk/>
            <pc:sldMk cId="0" sldId="270"/>
            <ac:grpSpMk id="214" creationId="{7C90735A-6F89-4E0A-9F01-4AD3487F5066}"/>
          </ac:grpSpMkLst>
        </pc:grpChg>
        <pc:grpChg chg="del mod">
          <ac:chgData name="Aniket Chhabra" userId="598e0514-bef3-4e71-b6aa-f2edd6441cff" providerId="ADAL" clId="{BE5B4798-BE1E-4422-9D3C-1ACF860F87B4}" dt="2021-07-24T02:25:18.442" v="285"/>
          <ac:grpSpMkLst>
            <pc:docMk/>
            <pc:sldMk cId="0" sldId="270"/>
            <ac:grpSpMk id="215" creationId="{1F428636-4030-45D1-90DD-5F4B6FC321E5}"/>
          </ac:grpSpMkLst>
        </pc:grpChg>
        <pc:grpChg chg="del mod">
          <ac:chgData name="Aniket Chhabra" userId="598e0514-bef3-4e71-b6aa-f2edd6441cff" providerId="ADAL" clId="{BE5B4798-BE1E-4422-9D3C-1ACF860F87B4}" dt="2021-07-24T02:25:12.554" v="271"/>
          <ac:grpSpMkLst>
            <pc:docMk/>
            <pc:sldMk cId="0" sldId="270"/>
            <ac:grpSpMk id="216" creationId="{6A29D909-E70A-4468-AF53-33BF2C152AB2}"/>
          </ac:grpSpMkLst>
        </pc:grpChg>
        <pc:grpChg chg="mod">
          <ac:chgData name="Aniket Chhabra" userId="598e0514-bef3-4e71-b6aa-f2edd6441cff" providerId="ADAL" clId="{BE5B4798-BE1E-4422-9D3C-1ACF860F87B4}" dt="2021-07-24T02:25:12.554" v="271"/>
          <ac:grpSpMkLst>
            <pc:docMk/>
            <pc:sldMk cId="0" sldId="270"/>
            <ac:grpSpMk id="217" creationId="{855E4BD2-D9FF-457F-98CB-D75735B031FA}"/>
          </ac:grpSpMkLst>
        </pc:grpChg>
        <pc:grpChg chg="del mod">
          <ac:chgData name="Aniket Chhabra" userId="598e0514-bef3-4e71-b6aa-f2edd6441cff" providerId="ADAL" clId="{BE5B4798-BE1E-4422-9D3C-1ACF860F87B4}" dt="2021-07-24T02:25:18.442" v="285"/>
          <ac:grpSpMkLst>
            <pc:docMk/>
            <pc:sldMk cId="0" sldId="270"/>
            <ac:grpSpMk id="231" creationId="{BCDA7317-1CCC-4E52-B666-9DE91CE3BEEA}"/>
          </ac:grpSpMkLst>
        </pc:grpChg>
        <pc:grpChg chg="del mod">
          <ac:chgData name="Aniket Chhabra" userId="598e0514-bef3-4e71-b6aa-f2edd6441cff" providerId="ADAL" clId="{BE5B4798-BE1E-4422-9D3C-1ACF860F87B4}" dt="2021-07-24T02:25:18.442" v="285"/>
          <ac:grpSpMkLst>
            <pc:docMk/>
            <pc:sldMk cId="0" sldId="270"/>
            <ac:grpSpMk id="232" creationId="{3B28C01A-A7D5-4298-AB54-E9A913B964FC}"/>
          </ac:grpSpMkLst>
        </pc:grpChg>
        <pc:grpChg chg="del mod">
          <ac:chgData name="Aniket Chhabra" userId="598e0514-bef3-4e71-b6aa-f2edd6441cff" providerId="ADAL" clId="{BE5B4798-BE1E-4422-9D3C-1ACF860F87B4}" dt="2021-07-24T02:25:39.113" v="322"/>
          <ac:grpSpMkLst>
            <pc:docMk/>
            <pc:sldMk cId="0" sldId="270"/>
            <ac:grpSpMk id="233" creationId="{6639B70A-CB60-45D5-8E72-F41C32905B6E}"/>
          </ac:grpSpMkLst>
        </pc:grpChg>
        <pc:grpChg chg="del mod">
          <ac:chgData name="Aniket Chhabra" userId="598e0514-bef3-4e71-b6aa-f2edd6441cff" providerId="ADAL" clId="{BE5B4798-BE1E-4422-9D3C-1ACF860F87B4}" dt="2021-07-24T02:25:39.113" v="322"/>
          <ac:grpSpMkLst>
            <pc:docMk/>
            <pc:sldMk cId="0" sldId="270"/>
            <ac:grpSpMk id="262" creationId="{F69888FA-E31F-4195-9752-2DBB60ED5647}"/>
          </ac:grpSpMkLst>
        </pc:grpChg>
        <pc:grpChg chg="del mod">
          <ac:chgData name="Aniket Chhabra" userId="598e0514-bef3-4e71-b6aa-f2edd6441cff" providerId="ADAL" clId="{BE5B4798-BE1E-4422-9D3C-1ACF860F87B4}" dt="2021-07-24T02:25:39.113" v="322"/>
          <ac:grpSpMkLst>
            <pc:docMk/>
            <pc:sldMk cId="0" sldId="270"/>
            <ac:grpSpMk id="263" creationId="{3E325D36-1728-4DFF-9202-6DB5484A4796}"/>
          </ac:grpSpMkLst>
        </pc:grpChg>
        <pc:grpChg chg="mod">
          <ac:chgData name="Aniket Chhabra" userId="598e0514-bef3-4e71-b6aa-f2edd6441cff" providerId="ADAL" clId="{BE5B4798-BE1E-4422-9D3C-1ACF860F87B4}" dt="2021-07-24T02:25:39.113" v="322"/>
          <ac:grpSpMkLst>
            <pc:docMk/>
            <pc:sldMk cId="0" sldId="270"/>
            <ac:grpSpMk id="264" creationId="{276AB749-361A-4F4A-93A9-3EC950A13EC3}"/>
          </ac:grpSpMkLst>
        </pc:grpChg>
        <pc:inkChg chg="add del mod">
          <ac:chgData name="Aniket Chhabra" userId="598e0514-bef3-4e71-b6aa-f2edd6441cff" providerId="ADAL" clId="{BE5B4798-BE1E-4422-9D3C-1ACF860F87B4}" dt="2021-07-23T14:33:20.651" v="171"/>
          <ac:inkMkLst>
            <pc:docMk/>
            <pc:sldMk cId="0" sldId="270"/>
            <ac:inkMk id="2" creationId="{3228DF68-97C3-49EC-9B38-E86A591D3975}"/>
          </ac:inkMkLst>
        </pc:inkChg>
        <pc:inkChg chg="add mod">
          <ac:chgData name="Aniket Chhabra" userId="598e0514-bef3-4e71-b6aa-f2edd6441cff" providerId="ADAL" clId="{BE5B4798-BE1E-4422-9D3C-1ACF860F87B4}" dt="2021-07-24T02:23:46.619" v="220"/>
          <ac:inkMkLst>
            <pc:docMk/>
            <pc:sldMk cId="0" sldId="270"/>
            <ac:inkMk id="2" creationId="{FE5AE1A4-AB75-4A02-91D2-C5026703709E}"/>
          </ac:inkMkLst>
        </pc:inkChg>
        <pc:inkChg chg="add mod">
          <ac:chgData name="Aniket Chhabra" userId="598e0514-bef3-4e71-b6aa-f2edd6441cff" providerId="ADAL" clId="{BE5B4798-BE1E-4422-9D3C-1ACF860F87B4}" dt="2021-07-24T02:23:46.619" v="220"/>
          <ac:inkMkLst>
            <pc:docMk/>
            <pc:sldMk cId="0" sldId="270"/>
            <ac:inkMk id="3" creationId="{495C32E7-40AC-4A3C-B096-81228DA54F61}"/>
          </ac:inkMkLst>
        </pc:inkChg>
        <pc:inkChg chg="add del mod">
          <ac:chgData name="Aniket Chhabra" userId="598e0514-bef3-4e71-b6aa-f2edd6441cff" providerId="ADAL" clId="{BE5B4798-BE1E-4422-9D3C-1ACF860F87B4}" dt="2021-07-23T14:33:20.651" v="176"/>
          <ac:inkMkLst>
            <pc:docMk/>
            <pc:sldMk cId="0" sldId="270"/>
            <ac:inkMk id="3" creationId="{EDAFD272-77AE-4433-80E7-A7E8AE42A52C}"/>
          </ac:inkMkLst>
        </pc:inkChg>
        <pc:inkChg chg="add del mod">
          <ac:chgData name="Aniket Chhabra" userId="598e0514-bef3-4e71-b6aa-f2edd6441cff" providerId="ADAL" clId="{BE5B4798-BE1E-4422-9D3C-1ACF860F87B4}" dt="2021-07-23T14:33:20.667" v="177"/>
          <ac:inkMkLst>
            <pc:docMk/>
            <pc:sldMk cId="0" sldId="270"/>
            <ac:inkMk id="4" creationId="{4AF8BB1D-3074-4236-BA36-FD85F5E740BF}"/>
          </ac:inkMkLst>
        </pc:inkChg>
        <pc:inkChg chg="add mod">
          <ac:chgData name="Aniket Chhabra" userId="598e0514-bef3-4e71-b6aa-f2edd6441cff" providerId="ADAL" clId="{BE5B4798-BE1E-4422-9D3C-1ACF860F87B4}" dt="2021-07-24T02:23:46.619" v="220"/>
          <ac:inkMkLst>
            <pc:docMk/>
            <pc:sldMk cId="0" sldId="270"/>
            <ac:inkMk id="4" creationId="{FECA83EB-1BB5-40C0-A6B6-7E13FE88F7C9}"/>
          </ac:inkMkLst>
        </pc:inkChg>
        <pc:inkChg chg="add del mod">
          <ac:chgData name="Aniket Chhabra" userId="598e0514-bef3-4e71-b6aa-f2edd6441cff" providerId="ADAL" clId="{BE5B4798-BE1E-4422-9D3C-1ACF860F87B4}" dt="2021-07-23T14:33:20.651" v="167"/>
          <ac:inkMkLst>
            <pc:docMk/>
            <pc:sldMk cId="0" sldId="270"/>
            <ac:inkMk id="5" creationId="{F8680214-D9EC-44D6-A1F3-42812328A88D}"/>
          </ac:inkMkLst>
        </pc:inkChg>
        <pc:inkChg chg="add mod">
          <ac:chgData name="Aniket Chhabra" userId="598e0514-bef3-4e71-b6aa-f2edd6441cff" providerId="ADAL" clId="{BE5B4798-BE1E-4422-9D3C-1ACF860F87B4}" dt="2021-07-24T02:23:46.619" v="220"/>
          <ac:inkMkLst>
            <pc:docMk/>
            <pc:sldMk cId="0" sldId="270"/>
            <ac:inkMk id="6" creationId="{BB63FEF2-1DDB-4953-A6C6-1B8CECD1F5F7}"/>
          </ac:inkMkLst>
        </pc:inkChg>
        <pc:inkChg chg="add del mod">
          <ac:chgData name="Aniket Chhabra" userId="598e0514-bef3-4e71-b6aa-f2edd6441cff" providerId="ADAL" clId="{BE5B4798-BE1E-4422-9D3C-1ACF860F87B4}" dt="2021-07-23T14:33:20.651" v="175"/>
          <ac:inkMkLst>
            <pc:docMk/>
            <pc:sldMk cId="0" sldId="270"/>
            <ac:inkMk id="6" creationId="{C1683139-C2F5-4F21-83BF-8432671210CE}"/>
          </ac:inkMkLst>
        </pc:inkChg>
        <pc:inkChg chg="add mod">
          <ac:chgData name="Aniket Chhabra" userId="598e0514-bef3-4e71-b6aa-f2edd6441cff" providerId="ADAL" clId="{BE5B4798-BE1E-4422-9D3C-1ACF860F87B4}" dt="2021-07-24T02:23:46.619" v="220"/>
          <ac:inkMkLst>
            <pc:docMk/>
            <pc:sldMk cId="0" sldId="270"/>
            <ac:inkMk id="7" creationId="{9A7C6BE1-8F5E-488A-A99E-9122C052D428}"/>
          </ac:inkMkLst>
        </pc:inkChg>
        <pc:inkChg chg="add del mod">
          <ac:chgData name="Aniket Chhabra" userId="598e0514-bef3-4e71-b6aa-f2edd6441cff" providerId="ADAL" clId="{BE5B4798-BE1E-4422-9D3C-1ACF860F87B4}" dt="2021-07-23T14:33:20.667" v="181"/>
          <ac:inkMkLst>
            <pc:docMk/>
            <pc:sldMk cId="0" sldId="270"/>
            <ac:inkMk id="7" creationId="{F4CE159A-ED7F-4D68-966F-419D5D4490AF}"/>
          </ac:inkMkLst>
        </pc:inkChg>
        <pc:inkChg chg="add mod">
          <ac:chgData name="Aniket Chhabra" userId="598e0514-bef3-4e71-b6aa-f2edd6441cff" providerId="ADAL" clId="{BE5B4798-BE1E-4422-9D3C-1ACF860F87B4}" dt="2021-07-24T02:23:46.619" v="220"/>
          <ac:inkMkLst>
            <pc:docMk/>
            <pc:sldMk cId="0" sldId="270"/>
            <ac:inkMk id="8" creationId="{201F17C5-37D3-4582-92D3-73245A0B17D6}"/>
          </ac:inkMkLst>
        </pc:inkChg>
        <pc:inkChg chg="add del mod">
          <ac:chgData name="Aniket Chhabra" userId="598e0514-bef3-4e71-b6aa-f2edd6441cff" providerId="ADAL" clId="{BE5B4798-BE1E-4422-9D3C-1ACF860F87B4}" dt="2021-07-23T14:33:20.651" v="170"/>
          <ac:inkMkLst>
            <pc:docMk/>
            <pc:sldMk cId="0" sldId="270"/>
            <ac:inkMk id="8" creationId="{9FBB569D-C1DA-47C7-A59A-BD467977EF2A}"/>
          </ac:inkMkLst>
        </pc:inkChg>
        <pc:inkChg chg="add del mod">
          <ac:chgData name="Aniket Chhabra" userId="598e0514-bef3-4e71-b6aa-f2edd6441cff" providerId="ADAL" clId="{BE5B4798-BE1E-4422-9D3C-1ACF860F87B4}" dt="2021-07-24T02:23:46.618" v="219"/>
          <ac:inkMkLst>
            <pc:docMk/>
            <pc:sldMk cId="0" sldId="270"/>
            <ac:inkMk id="9" creationId="{6F5DF93B-490D-47EF-AB0E-9C04300E1781}"/>
          </ac:inkMkLst>
        </pc:inkChg>
        <pc:inkChg chg="add del mod">
          <ac:chgData name="Aniket Chhabra" userId="598e0514-bef3-4e71-b6aa-f2edd6441cff" providerId="ADAL" clId="{BE5B4798-BE1E-4422-9D3C-1ACF860F87B4}" dt="2021-07-23T14:33:20.667" v="184"/>
          <ac:inkMkLst>
            <pc:docMk/>
            <pc:sldMk cId="0" sldId="270"/>
            <ac:inkMk id="10" creationId="{5278DC6F-0997-4C1E-8A38-362C74C82A41}"/>
          </ac:inkMkLst>
        </pc:inkChg>
        <pc:inkChg chg="add del mod">
          <ac:chgData name="Aniket Chhabra" userId="598e0514-bef3-4e71-b6aa-f2edd6441cff" providerId="ADAL" clId="{BE5B4798-BE1E-4422-9D3C-1ACF860F87B4}" dt="2021-07-24T02:23:46.619" v="220"/>
          <ac:inkMkLst>
            <pc:docMk/>
            <pc:sldMk cId="0" sldId="270"/>
            <ac:inkMk id="10" creationId="{C5DAE1E2-107C-40EF-B02E-66186491CFF3}"/>
          </ac:inkMkLst>
        </pc:inkChg>
        <pc:inkChg chg="add del mod">
          <ac:chgData name="Aniket Chhabra" userId="598e0514-bef3-4e71-b6aa-f2edd6441cff" providerId="ADAL" clId="{BE5B4798-BE1E-4422-9D3C-1ACF860F87B4}" dt="2021-07-23T14:33:20.651" v="173"/>
          <ac:inkMkLst>
            <pc:docMk/>
            <pc:sldMk cId="0" sldId="270"/>
            <ac:inkMk id="11" creationId="{C2A1AC9D-5032-4BEE-A953-FA87ECA99248}"/>
          </ac:inkMkLst>
        </pc:inkChg>
        <pc:inkChg chg="add mod">
          <ac:chgData name="Aniket Chhabra" userId="598e0514-bef3-4e71-b6aa-f2edd6441cff" providerId="ADAL" clId="{BE5B4798-BE1E-4422-9D3C-1ACF860F87B4}" dt="2021-07-24T02:23:51.047" v="228"/>
          <ac:inkMkLst>
            <pc:docMk/>
            <pc:sldMk cId="0" sldId="270"/>
            <ac:inkMk id="12" creationId="{8D6BBD35-5560-4DF9-86FB-9D1EF249A116}"/>
          </ac:inkMkLst>
        </pc:inkChg>
        <pc:inkChg chg="add del mod">
          <ac:chgData name="Aniket Chhabra" userId="598e0514-bef3-4e71-b6aa-f2edd6441cff" providerId="ADAL" clId="{BE5B4798-BE1E-4422-9D3C-1ACF860F87B4}" dt="2021-07-23T14:33:20.651" v="169"/>
          <ac:inkMkLst>
            <pc:docMk/>
            <pc:sldMk cId="0" sldId="270"/>
            <ac:inkMk id="13" creationId="{84574597-A26E-4213-A1E3-BDD52E383330}"/>
          </ac:inkMkLst>
        </pc:inkChg>
        <pc:inkChg chg="add mod">
          <ac:chgData name="Aniket Chhabra" userId="598e0514-bef3-4e71-b6aa-f2edd6441cff" providerId="ADAL" clId="{BE5B4798-BE1E-4422-9D3C-1ACF860F87B4}" dt="2021-07-24T02:23:51.047" v="228"/>
          <ac:inkMkLst>
            <pc:docMk/>
            <pc:sldMk cId="0" sldId="270"/>
            <ac:inkMk id="13" creationId="{A6EAA293-96B7-41FF-A7B3-EF6D6B4324A5}"/>
          </ac:inkMkLst>
        </pc:inkChg>
        <pc:inkChg chg="add del mod">
          <ac:chgData name="Aniket Chhabra" userId="598e0514-bef3-4e71-b6aa-f2edd6441cff" providerId="ADAL" clId="{BE5B4798-BE1E-4422-9D3C-1ACF860F87B4}" dt="2021-07-23T14:33:20.667" v="182"/>
          <ac:inkMkLst>
            <pc:docMk/>
            <pc:sldMk cId="0" sldId="270"/>
            <ac:inkMk id="14" creationId="{1851C492-0164-4C2C-B517-F577D4C734D3}"/>
          </ac:inkMkLst>
        </pc:inkChg>
        <pc:inkChg chg="add mod">
          <ac:chgData name="Aniket Chhabra" userId="598e0514-bef3-4e71-b6aa-f2edd6441cff" providerId="ADAL" clId="{BE5B4798-BE1E-4422-9D3C-1ACF860F87B4}" dt="2021-07-24T02:23:51.047" v="228"/>
          <ac:inkMkLst>
            <pc:docMk/>
            <pc:sldMk cId="0" sldId="270"/>
            <ac:inkMk id="14" creationId="{5E219B62-5C3E-468F-A92B-1C95F7F82DE9}"/>
          </ac:inkMkLst>
        </pc:inkChg>
        <pc:inkChg chg="add del mod">
          <ac:chgData name="Aniket Chhabra" userId="598e0514-bef3-4e71-b6aa-f2edd6441cff" providerId="ADAL" clId="{BE5B4798-BE1E-4422-9D3C-1ACF860F87B4}" dt="2021-07-23T14:33:20.651" v="174"/>
          <ac:inkMkLst>
            <pc:docMk/>
            <pc:sldMk cId="0" sldId="270"/>
            <ac:inkMk id="15" creationId="{4A4FCA5C-2801-449A-98CB-AE1D0655431A}"/>
          </ac:inkMkLst>
        </pc:inkChg>
        <pc:inkChg chg="add mod">
          <ac:chgData name="Aniket Chhabra" userId="598e0514-bef3-4e71-b6aa-f2edd6441cff" providerId="ADAL" clId="{BE5B4798-BE1E-4422-9D3C-1ACF860F87B4}" dt="2021-07-24T02:23:51.047" v="228"/>
          <ac:inkMkLst>
            <pc:docMk/>
            <pc:sldMk cId="0" sldId="270"/>
            <ac:inkMk id="15" creationId="{ECAD2845-6BB5-499F-9D89-8F5007EE588A}"/>
          </ac:inkMkLst>
        </pc:inkChg>
        <pc:inkChg chg="add mod">
          <ac:chgData name="Aniket Chhabra" userId="598e0514-bef3-4e71-b6aa-f2edd6441cff" providerId="ADAL" clId="{BE5B4798-BE1E-4422-9D3C-1ACF860F87B4}" dt="2021-07-24T02:23:51.047" v="228"/>
          <ac:inkMkLst>
            <pc:docMk/>
            <pc:sldMk cId="0" sldId="270"/>
            <ac:inkMk id="16" creationId="{5EBA18A8-CC1D-45B1-B3B3-6A824849C37F}"/>
          </ac:inkMkLst>
        </pc:inkChg>
        <pc:inkChg chg="add del mod">
          <ac:chgData name="Aniket Chhabra" userId="598e0514-bef3-4e71-b6aa-f2edd6441cff" providerId="ADAL" clId="{BE5B4798-BE1E-4422-9D3C-1ACF860F87B4}" dt="2021-07-23T14:33:20.667" v="179"/>
          <ac:inkMkLst>
            <pc:docMk/>
            <pc:sldMk cId="0" sldId="270"/>
            <ac:inkMk id="17" creationId="{8EF19064-0858-4091-91ED-E33DD4C89A41}"/>
          </ac:inkMkLst>
        </pc:inkChg>
        <pc:inkChg chg="add mod">
          <ac:chgData name="Aniket Chhabra" userId="598e0514-bef3-4e71-b6aa-f2edd6441cff" providerId="ADAL" clId="{BE5B4798-BE1E-4422-9D3C-1ACF860F87B4}" dt="2021-07-24T02:23:51.047" v="228"/>
          <ac:inkMkLst>
            <pc:docMk/>
            <pc:sldMk cId="0" sldId="270"/>
            <ac:inkMk id="17" creationId="{C8752D28-03A0-4C34-BD91-D1CA046AA94C}"/>
          </ac:inkMkLst>
        </pc:inkChg>
        <pc:inkChg chg="add mod">
          <ac:chgData name="Aniket Chhabra" userId="598e0514-bef3-4e71-b6aa-f2edd6441cff" providerId="ADAL" clId="{BE5B4798-BE1E-4422-9D3C-1ACF860F87B4}" dt="2021-07-24T02:23:51.047" v="228"/>
          <ac:inkMkLst>
            <pc:docMk/>
            <pc:sldMk cId="0" sldId="270"/>
            <ac:inkMk id="18" creationId="{333408C1-523F-4089-A1CF-CA8EE49F2281}"/>
          </ac:inkMkLst>
        </pc:inkChg>
        <pc:inkChg chg="add del mod">
          <ac:chgData name="Aniket Chhabra" userId="598e0514-bef3-4e71-b6aa-f2edd6441cff" providerId="ADAL" clId="{BE5B4798-BE1E-4422-9D3C-1ACF860F87B4}" dt="2021-07-23T14:33:20.651" v="172"/>
          <ac:inkMkLst>
            <pc:docMk/>
            <pc:sldMk cId="0" sldId="270"/>
            <ac:inkMk id="18" creationId="{BAC227C2-FA28-44A5-9366-A495664B49CB}"/>
          </ac:inkMkLst>
        </pc:inkChg>
        <pc:inkChg chg="add mod">
          <ac:chgData name="Aniket Chhabra" userId="598e0514-bef3-4e71-b6aa-f2edd6441cff" providerId="ADAL" clId="{BE5B4798-BE1E-4422-9D3C-1ACF860F87B4}" dt="2021-07-24T02:23:51.047" v="228"/>
          <ac:inkMkLst>
            <pc:docMk/>
            <pc:sldMk cId="0" sldId="270"/>
            <ac:inkMk id="19" creationId="{00853CE2-4DB4-4F56-A9A5-230CC7B770B9}"/>
          </ac:inkMkLst>
        </pc:inkChg>
        <pc:inkChg chg="add del mod">
          <ac:chgData name="Aniket Chhabra" userId="598e0514-bef3-4e71-b6aa-f2edd6441cff" providerId="ADAL" clId="{BE5B4798-BE1E-4422-9D3C-1ACF860F87B4}" dt="2021-07-23T14:33:20.667" v="180"/>
          <ac:inkMkLst>
            <pc:docMk/>
            <pc:sldMk cId="0" sldId="270"/>
            <ac:inkMk id="19" creationId="{31480C0D-3DE7-4320-BFDF-3F2080AD2663}"/>
          </ac:inkMkLst>
        </pc:inkChg>
        <pc:inkChg chg="add del mod">
          <ac:chgData name="Aniket Chhabra" userId="598e0514-bef3-4e71-b6aa-f2edd6441cff" providerId="ADAL" clId="{BE5B4798-BE1E-4422-9D3C-1ACF860F87B4}" dt="2021-07-23T14:33:20.667" v="183"/>
          <ac:inkMkLst>
            <pc:docMk/>
            <pc:sldMk cId="0" sldId="270"/>
            <ac:inkMk id="20" creationId="{1D4B70CE-238A-4A8A-9A5D-9B01CABD7253}"/>
          </ac:inkMkLst>
        </pc:inkChg>
        <pc:inkChg chg="add">
          <ac:chgData name="Aniket Chhabra" userId="598e0514-bef3-4e71-b6aa-f2edd6441cff" providerId="ADAL" clId="{BE5B4798-BE1E-4422-9D3C-1ACF860F87B4}" dt="2021-07-24T02:24:50.274" v="229" actId="9405"/>
          <ac:inkMkLst>
            <pc:docMk/>
            <pc:sldMk cId="0" sldId="270"/>
            <ac:inkMk id="21" creationId="{0F7C2964-E4B6-442A-90DE-C3895ABF38FE}"/>
          </ac:inkMkLst>
        </pc:inkChg>
        <pc:inkChg chg="add del mod">
          <ac:chgData name="Aniket Chhabra" userId="598e0514-bef3-4e71-b6aa-f2edd6441cff" providerId="ADAL" clId="{BE5B4798-BE1E-4422-9D3C-1ACF860F87B4}" dt="2021-07-23T14:33:20.667" v="178"/>
          <ac:inkMkLst>
            <pc:docMk/>
            <pc:sldMk cId="0" sldId="270"/>
            <ac:inkMk id="21" creationId="{5DE1C413-B9A5-4F8B-A54F-E10CF92E5D01}"/>
          </ac:inkMkLst>
        </pc:inkChg>
        <pc:inkChg chg="add del mod">
          <ac:chgData name="Aniket Chhabra" userId="598e0514-bef3-4e71-b6aa-f2edd6441cff" providerId="ADAL" clId="{BE5B4798-BE1E-4422-9D3C-1ACF860F87B4}" dt="2021-07-23T14:33:21.685" v="186"/>
          <ac:inkMkLst>
            <pc:docMk/>
            <pc:sldMk cId="0" sldId="270"/>
            <ac:inkMk id="22" creationId="{B4BE8397-53A2-47D7-9232-1ABCA2A2ADD6}"/>
          </ac:inkMkLst>
        </pc:inkChg>
        <pc:inkChg chg="add">
          <ac:chgData name="Aniket Chhabra" userId="598e0514-bef3-4e71-b6aa-f2edd6441cff" providerId="ADAL" clId="{BE5B4798-BE1E-4422-9D3C-1ACF860F87B4}" dt="2021-07-24T02:24:50.628" v="230" actId="9405"/>
          <ac:inkMkLst>
            <pc:docMk/>
            <pc:sldMk cId="0" sldId="270"/>
            <ac:inkMk id="22" creationId="{DB022793-F472-46C8-8A4D-964D6A2E2C05}"/>
          </ac:inkMkLst>
        </pc:inkChg>
        <pc:inkChg chg="add">
          <ac:chgData name="Aniket Chhabra" userId="598e0514-bef3-4e71-b6aa-f2edd6441cff" providerId="ADAL" clId="{BE5B4798-BE1E-4422-9D3C-1ACF860F87B4}" dt="2021-07-24T02:24:50.958" v="231" actId="9405"/>
          <ac:inkMkLst>
            <pc:docMk/>
            <pc:sldMk cId="0" sldId="270"/>
            <ac:inkMk id="23" creationId="{29D1DDFA-1132-4E79-8E11-D137F2A45230}"/>
          </ac:inkMkLst>
        </pc:inkChg>
        <pc:inkChg chg="add del mod">
          <ac:chgData name="Aniket Chhabra" userId="598e0514-bef3-4e71-b6aa-f2edd6441cff" providerId="ADAL" clId="{BE5B4798-BE1E-4422-9D3C-1ACF860F87B4}" dt="2021-07-23T14:33:21.685" v="185"/>
          <ac:inkMkLst>
            <pc:docMk/>
            <pc:sldMk cId="0" sldId="270"/>
            <ac:inkMk id="23" creationId="{6D80B615-FC67-4E9A-AB9F-2986C3FFA008}"/>
          </ac:inkMkLst>
        </pc:inkChg>
        <pc:inkChg chg="add">
          <ac:chgData name="Aniket Chhabra" userId="598e0514-bef3-4e71-b6aa-f2edd6441cff" providerId="ADAL" clId="{BE5B4798-BE1E-4422-9D3C-1ACF860F87B4}" dt="2021-07-24T02:24:51.295" v="232" actId="9405"/>
          <ac:inkMkLst>
            <pc:docMk/>
            <pc:sldMk cId="0" sldId="270"/>
            <ac:inkMk id="24" creationId="{EADEE9AA-31F5-4A2A-B0AA-AA0671C6FCF3}"/>
          </ac:inkMkLst>
        </pc:inkChg>
        <pc:inkChg chg="add mod">
          <ac:chgData name="Aniket Chhabra" userId="598e0514-bef3-4e71-b6aa-f2edd6441cff" providerId="ADAL" clId="{BE5B4798-BE1E-4422-9D3C-1ACF860F87B4}" dt="2021-07-23T14:33:32.310" v="201"/>
          <ac:inkMkLst>
            <pc:docMk/>
            <pc:sldMk cId="0" sldId="270"/>
            <ac:inkMk id="25" creationId="{C48AD8FA-B9DA-4557-A559-86CF61C1445A}"/>
          </ac:inkMkLst>
        </pc:inkChg>
        <pc:inkChg chg="add mod">
          <ac:chgData name="Aniket Chhabra" userId="598e0514-bef3-4e71-b6aa-f2edd6441cff" providerId="ADAL" clId="{BE5B4798-BE1E-4422-9D3C-1ACF860F87B4}" dt="2021-07-23T14:33:32.310" v="201"/>
          <ac:inkMkLst>
            <pc:docMk/>
            <pc:sldMk cId="0" sldId="270"/>
            <ac:inkMk id="26" creationId="{1B972313-24EA-4FDE-AA28-DC01D7560E7D}"/>
          </ac:inkMkLst>
        </pc:inkChg>
        <pc:inkChg chg="add mod">
          <ac:chgData name="Aniket Chhabra" userId="598e0514-bef3-4e71-b6aa-f2edd6441cff" providerId="ADAL" clId="{BE5B4798-BE1E-4422-9D3C-1ACF860F87B4}" dt="2021-07-23T14:33:32.310" v="201"/>
          <ac:inkMkLst>
            <pc:docMk/>
            <pc:sldMk cId="0" sldId="270"/>
            <ac:inkMk id="27" creationId="{DB41C388-F17E-4837-B448-1D5CDC3565A9}"/>
          </ac:inkMkLst>
        </pc:inkChg>
        <pc:inkChg chg="add mod">
          <ac:chgData name="Aniket Chhabra" userId="598e0514-bef3-4e71-b6aa-f2edd6441cff" providerId="ADAL" clId="{BE5B4798-BE1E-4422-9D3C-1ACF860F87B4}" dt="2021-07-23T14:33:32.310" v="201"/>
          <ac:inkMkLst>
            <pc:docMk/>
            <pc:sldMk cId="0" sldId="270"/>
            <ac:inkMk id="28" creationId="{64996E55-709E-463B-97F2-436D00C36892}"/>
          </ac:inkMkLst>
        </pc:inkChg>
        <pc:inkChg chg="add mod">
          <ac:chgData name="Aniket Chhabra" userId="598e0514-bef3-4e71-b6aa-f2edd6441cff" providerId="ADAL" clId="{BE5B4798-BE1E-4422-9D3C-1ACF860F87B4}" dt="2021-07-23T14:33:32.310" v="201"/>
          <ac:inkMkLst>
            <pc:docMk/>
            <pc:sldMk cId="0" sldId="270"/>
            <ac:inkMk id="29" creationId="{D0E887B4-EB50-4465-906D-1C8D107DF03C}"/>
          </ac:inkMkLst>
        </pc:inkChg>
        <pc:inkChg chg="add mod">
          <ac:chgData name="Aniket Chhabra" userId="598e0514-bef3-4e71-b6aa-f2edd6441cff" providerId="ADAL" clId="{BE5B4798-BE1E-4422-9D3C-1ACF860F87B4}" dt="2021-07-23T14:33:32.310" v="201"/>
          <ac:inkMkLst>
            <pc:docMk/>
            <pc:sldMk cId="0" sldId="270"/>
            <ac:inkMk id="30" creationId="{9B07AAE5-88A4-456D-A490-F8800672213E}"/>
          </ac:inkMkLst>
        </pc:inkChg>
        <pc:inkChg chg="add mod">
          <ac:chgData name="Aniket Chhabra" userId="598e0514-bef3-4e71-b6aa-f2edd6441cff" providerId="ADAL" clId="{BE5B4798-BE1E-4422-9D3C-1ACF860F87B4}" dt="2021-07-23T14:33:32.310" v="201"/>
          <ac:inkMkLst>
            <pc:docMk/>
            <pc:sldMk cId="0" sldId="270"/>
            <ac:inkMk id="31" creationId="{2C58EA83-6281-4F07-BB53-62D073AAE92E}"/>
          </ac:inkMkLst>
        </pc:inkChg>
        <pc:inkChg chg="add mod">
          <ac:chgData name="Aniket Chhabra" userId="598e0514-bef3-4e71-b6aa-f2edd6441cff" providerId="ADAL" clId="{BE5B4798-BE1E-4422-9D3C-1ACF860F87B4}" dt="2021-07-23T14:33:32.310" v="201"/>
          <ac:inkMkLst>
            <pc:docMk/>
            <pc:sldMk cId="0" sldId="270"/>
            <ac:inkMk id="160" creationId="{67E33896-CB74-4851-8AE3-4F9F99594D83}"/>
          </ac:inkMkLst>
        </pc:inkChg>
        <pc:inkChg chg="add mod">
          <ac:chgData name="Aniket Chhabra" userId="598e0514-bef3-4e71-b6aa-f2edd6441cff" providerId="ADAL" clId="{BE5B4798-BE1E-4422-9D3C-1ACF860F87B4}" dt="2021-07-23T14:33:32.310" v="201"/>
          <ac:inkMkLst>
            <pc:docMk/>
            <pc:sldMk cId="0" sldId="270"/>
            <ac:inkMk id="161" creationId="{71F78638-56CB-4F22-8782-4E44A766A7CC}"/>
          </ac:inkMkLst>
        </pc:inkChg>
        <pc:inkChg chg="add mod">
          <ac:chgData name="Aniket Chhabra" userId="598e0514-bef3-4e71-b6aa-f2edd6441cff" providerId="ADAL" clId="{BE5B4798-BE1E-4422-9D3C-1ACF860F87B4}" dt="2021-07-23T14:33:32.310" v="201"/>
          <ac:inkMkLst>
            <pc:docMk/>
            <pc:sldMk cId="0" sldId="270"/>
            <ac:inkMk id="162" creationId="{01FD81D0-26B6-4FD7-BF2E-36BFA65F22C7}"/>
          </ac:inkMkLst>
        </pc:inkChg>
        <pc:inkChg chg="add mod">
          <ac:chgData name="Aniket Chhabra" userId="598e0514-bef3-4e71-b6aa-f2edd6441cff" providerId="ADAL" clId="{BE5B4798-BE1E-4422-9D3C-1ACF860F87B4}" dt="2021-07-23T14:33:32.310" v="201"/>
          <ac:inkMkLst>
            <pc:docMk/>
            <pc:sldMk cId="0" sldId="270"/>
            <ac:inkMk id="163" creationId="{98589039-40F4-4954-9CD6-E0F03414F851}"/>
          </ac:inkMkLst>
        </pc:inkChg>
        <pc:inkChg chg="add mod">
          <ac:chgData name="Aniket Chhabra" userId="598e0514-bef3-4e71-b6aa-f2edd6441cff" providerId="ADAL" clId="{BE5B4798-BE1E-4422-9D3C-1ACF860F87B4}" dt="2021-07-23T14:33:32.310" v="201"/>
          <ac:inkMkLst>
            <pc:docMk/>
            <pc:sldMk cId="0" sldId="270"/>
            <ac:inkMk id="164" creationId="{8485DA08-3953-40F4-8C89-F81102C8F9D9}"/>
          </ac:inkMkLst>
        </pc:inkChg>
        <pc:inkChg chg="add mod">
          <ac:chgData name="Aniket Chhabra" userId="598e0514-bef3-4e71-b6aa-f2edd6441cff" providerId="ADAL" clId="{BE5B4798-BE1E-4422-9D3C-1ACF860F87B4}" dt="2021-07-23T14:33:32.310" v="201"/>
          <ac:inkMkLst>
            <pc:docMk/>
            <pc:sldMk cId="0" sldId="270"/>
            <ac:inkMk id="165" creationId="{E731189B-60D4-4014-8584-B6FB08075743}"/>
          </ac:inkMkLst>
        </pc:inkChg>
        <pc:inkChg chg="add mod">
          <ac:chgData name="Aniket Chhabra" userId="598e0514-bef3-4e71-b6aa-f2edd6441cff" providerId="ADAL" clId="{BE5B4798-BE1E-4422-9D3C-1ACF860F87B4}" dt="2021-07-23T14:33:32.310" v="201"/>
          <ac:inkMkLst>
            <pc:docMk/>
            <pc:sldMk cId="0" sldId="270"/>
            <ac:inkMk id="166" creationId="{72F80B11-1B7D-4915-A0FA-B94F1CF34303}"/>
          </ac:inkMkLst>
        </pc:inkChg>
        <pc:inkChg chg="add mod">
          <ac:chgData name="Aniket Chhabra" userId="598e0514-bef3-4e71-b6aa-f2edd6441cff" providerId="ADAL" clId="{BE5B4798-BE1E-4422-9D3C-1ACF860F87B4}" dt="2021-07-23T14:33:34.487" v="207"/>
          <ac:inkMkLst>
            <pc:docMk/>
            <pc:sldMk cId="0" sldId="270"/>
            <ac:inkMk id="168" creationId="{017428C8-56A3-4872-9B0B-B6225479E424}"/>
          </ac:inkMkLst>
        </pc:inkChg>
        <pc:inkChg chg="add mod">
          <ac:chgData name="Aniket Chhabra" userId="598e0514-bef3-4e71-b6aa-f2edd6441cff" providerId="ADAL" clId="{BE5B4798-BE1E-4422-9D3C-1ACF860F87B4}" dt="2021-07-23T14:33:34.487" v="207"/>
          <ac:inkMkLst>
            <pc:docMk/>
            <pc:sldMk cId="0" sldId="270"/>
            <ac:inkMk id="171" creationId="{70ECCD6F-182F-417A-A4B0-04A64A129385}"/>
          </ac:inkMkLst>
        </pc:inkChg>
        <pc:inkChg chg="add mod">
          <ac:chgData name="Aniket Chhabra" userId="598e0514-bef3-4e71-b6aa-f2edd6441cff" providerId="ADAL" clId="{BE5B4798-BE1E-4422-9D3C-1ACF860F87B4}" dt="2021-07-23T14:33:34.487" v="207"/>
          <ac:inkMkLst>
            <pc:docMk/>
            <pc:sldMk cId="0" sldId="270"/>
            <ac:inkMk id="172" creationId="{CDCF5102-A81F-478B-BDC9-A443FD323E4E}"/>
          </ac:inkMkLst>
        </pc:inkChg>
        <pc:inkChg chg="add mod">
          <ac:chgData name="Aniket Chhabra" userId="598e0514-bef3-4e71-b6aa-f2edd6441cff" providerId="ADAL" clId="{BE5B4798-BE1E-4422-9D3C-1ACF860F87B4}" dt="2021-07-23T14:33:34.487" v="207"/>
          <ac:inkMkLst>
            <pc:docMk/>
            <pc:sldMk cId="0" sldId="270"/>
            <ac:inkMk id="173" creationId="{0BBCBF2E-F73A-4B7F-B858-222BD43772D5}"/>
          </ac:inkMkLst>
        </pc:inkChg>
        <pc:inkChg chg="add mod">
          <ac:chgData name="Aniket Chhabra" userId="598e0514-bef3-4e71-b6aa-f2edd6441cff" providerId="ADAL" clId="{BE5B4798-BE1E-4422-9D3C-1ACF860F87B4}" dt="2021-07-23T14:33:34.487" v="207"/>
          <ac:inkMkLst>
            <pc:docMk/>
            <pc:sldMk cId="0" sldId="270"/>
            <ac:inkMk id="174" creationId="{979DECAC-B0C0-48FF-A030-FB842D853E6E}"/>
          </ac:inkMkLst>
        </pc:inkChg>
        <pc:inkChg chg="add">
          <ac:chgData name="Aniket Chhabra" userId="598e0514-bef3-4e71-b6aa-f2edd6441cff" providerId="ADAL" clId="{BE5B4798-BE1E-4422-9D3C-1ACF860F87B4}" dt="2021-07-24T02:24:51.674" v="233" actId="9405"/>
          <ac:inkMkLst>
            <pc:docMk/>
            <pc:sldMk cId="0" sldId="270"/>
            <ac:inkMk id="176" creationId="{9258EEE0-120B-494C-A5E5-CCC7BA066F09}"/>
          </ac:inkMkLst>
        </pc:inkChg>
        <pc:inkChg chg="add mod">
          <ac:chgData name="Aniket Chhabra" userId="598e0514-bef3-4e71-b6aa-f2edd6441cff" providerId="ADAL" clId="{BE5B4798-BE1E-4422-9D3C-1ACF860F87B4}" dt="2021-07-24T02:25:01.659" v="252"/>
          <ac:inkMkLst>
            <pc:docMk/>
            <pc:sldMk cId="0" sldId="270"/>
            <ac:inkMk id="177" creationId="{4F81ECC0-0CDD-4450-9E9D-0B37E23EC2A1}"/>
          </ac:inkMkLst>
        </pc:inkChg>
        <pc:inkChg chg="add mod">
          <ac:chgData name="Aniket Chhabra" userId="598e0514-bef3-4e71-b6aa-f2edd6441cff" providerId="ADAL" clId="{BE5B4798-BE1E-4422-9D3C-1ACF860F87B4}" dt="2021-07-24T02:25:01.659" v="252"/>
          <ac:inkMkLst>
            <pc:docMk/>
            <pc:sldMk cId="0" sldId="270"/>
            <ac:inkMk id="178" creationId="{31792B62-C591-4E34-968B-A100A2D756B9}"/>
          </ac:inkMkLst>
        </pc:inkChg>
        <pc:inkChg chg="add mod">
          <ac:chgData name="Aniket Chhabra" userId="598e0514-bef3-4e71-b6aa-f2edd6441cff" providerId="ADAL" clId="{BE5B4798-BE1E-4422-9D3C-1ACF860F87B4}" dt="2021-07-24T02:25:01.659" v="252"/>
          <ac:inkMkLst>
            <pc:docMk/>
            <pc:sldMk cId="0" sldId="270"/>
            <ac:inkMk id="179" creationId="{AA69AE6F-D2CA-4730-9E1A-898D29EF2E4F}"/>
          </ac:inkMkLst>
        </pc:inkChg>
        <pc:inkChg chg="add mod">
          <ac:chgData name="Aniket Chhabra" userId="598e0514-bef3-4e71-b6aa-f2edd6441cff" providerId="ADAL" clId="{BE5B4798-BE1E-4422-9D3C-1ACF860F87B4}" dt="2021-07-24T02:25:01.659" v="252"/>
          <ac:inkMkLst>
            <pc:docMk/>
            <pc:sldMk cId="0" sldId="270"/>
            <ac:inkMk id="180" creationId="{1A7F308D-EB18-4843-972C-58B91DAEE1CA}"/>
          </ac:inkMkLst>
        </pc:inkChg>
        <pc:inkChg chg="add mod">
          <ac:chgData name="Aniket Chhabra" userId="598e0514-bef3-4e71-b6aa-f2edd6441cff" providerId="ADAL" clId="{BE5B4798-BE1E-4422-9D3C-1ACF860F87B4}" dt="2021-07-24T02:25:01.659" v="252"/>
          <ac:inkMkLst>
            <pc:docMk/>
            <pc:sldMk cId="0" sldId="270"/>
            <ac:inkMk id="181" creationId="{5CEADB96-C3B2-4AF5-87F6-6BAAD2AAAEB1}"/>
          </ac:inkMkLst>
        </pc:inkChg>
        <pc:inkChg chg="add">
          <ac:chgData name="Aniket Chhabra" userId="598e0514-bef3-4e71-b6aa-f2edd6441cff" providerId="ADAL" clId="{BE5B4798-BE1E-4422-9D3C-1ACF860F87B4}" dt="2021-07-24T02:24:55.656" v="240" actId="9405"/>
          <ac:inkMkLst>
            <pc:docMk/>
            <pc:sldMk cId="0" sldId="270"/>
            <ac:inkMk id="184" creationId="{73689CCE-5B1D-4B77-9493-151FA0FFAD20}"/>
          </ac:inkMkLst>
        </pc:inkChg>
        <pc:inkChg chg="add">
          <ac:chgData name="Aniket Chhabra" userId="598e0514-bef3-4e71-b6aa-f2edd6441cff" providerId="ADAL" clId="{BE5B4798-BE1E-4422-9D3C-1ACF860F87B4}" dt="2021-07-24T02:24:56.026" v="241" actId="9405"/>
          <ac:inkMkLst>
            <pc:docMk/>
            <pc:sldMk cId="0" sldId="270"/>
            <ac:inkMk id="185" creationId="{FF18C70C-964E-4C28-A114-C6A25474AA2A}"/>
          </ac:inkMkLst>
        </pc:inkChg>
        <pc:inkChg chg="add">
          <ac:chgData name="Aniket Chhabra" userId="598e0514-bef3-4e71-b6aa-f2edd6441cff" providerId="ADAL" clId="{BE5B4798-BE1E-4422-9D3C-1ACF860F87B4}" dt="2021-07-24T02:24:56.441" v="242" actId="9405"/>
          <ac:inkMkLst>
            <pc:docMk/>
            <pc:sldMk cId="0" sldId="270"/>
            <ac:inkMk id="186" creationId="{BDECA12E-4835-49C9-B3D1-E043B4DD1A9B}"/>
          </ac:inkMkLst>
        </pc:inkChg>
        <pc:inkChg chg="add">
          <ac:chgData name="Aniket Chhabra" userId="598e0514-bef3-4e71-b6aa-f2edd6441cff" providerId="ADAL" clId="{BE5B4798-BE1E-4422-9D3C-1ACF860F87B4}" dt="2021-07-24T02:24:56.830" v="243" actId="9405"/>
          <ac:inkMkLst>
            <pc:docMk/>
            <pc:sldMk cId="0" sldId="270"/>
            <ac:inkMk id="187" creationId="{9F2FF9E7-3079-471D-9AAF-A43A0F2C25F5}"/>
          </ac:inkMkLst>
        </pc:inkChg>
        <pc:inkChg chg="add">
          <ac:chgData name="Aniket Chhabra" userId="598e0514-bef3-4e71-b6aa-f2edd6441cff" providerId="ADAL" clId="{BE5B4798-BE1E-4422-9D3C-1ACF860F87B4}" dt="2021-07-24T02:24:57.173" v="244" actId="9405"/>
          <ac:inkMkLst>
            <pc:docMk/>
            <pc:sldMk cId="0" sldId="270"/>
            <ac:inkMk id="188" creationId="{62CDDDAA-2446-4F41-9ED8-AFF620DC10B1}"/>
          </ac:inkMkLst>
        </pc:inkChg>
        <pc:inkChg chg="add">
          <ac:chgData name="Aniket Chhabra" userId="598e0514-bef3-4e71-b6aa-f2edd6441cff" providerId="ADAL" clId="{BE5B4798-BE1E-4422-9D3C-1ACF860F87B4}" dt="2021-07-24T02:24:57.926" v="245" actId="9405"/>
          <ac:inkMkLst>
            <pc:docMk/>
            <pc:sldMk cId="0" sldId="270"/>
            <ac:inkMk id="189" creationId="{06DA1D92-7A4A-41E0-92FA-05F23019181A}"/>
          </ac:inkMkLst>
        </pc:inkChg>
        <pc:inkChg chg="add mod">
          <ac:chgData name="Aniket Chhabra" userId="598e0514-bef3-4e71-b6aa-f2edd6441cff" providerId="ADAL" clId="{BE5B4798-BE1E-4422-9D3C-1ACF860F87B4}" dt="2021-07-24T02:25:01.659" v="252"/>
          <ac:inkMkLst>
            <pc:docMk/>
            <pc:sldMk cId="0" sldId="270"/>
            <ac:inkMk id="190" creationId="{A2A459F1-DFD4-40EC-9718-F1FA4CBD3FC8}"/>
          </ac:inkMkLst>
        </pc:inkChg>
        <pc:inkChg chg="add mod">
          <ac:chgData name="Aniket Chhabra" userId="598e0514-bef3-4e71-b6aa-f2edd6441cff" providerId="ADAL" clId="{BE5B4798-BE1E-4422-9D3C-1ACF860F87B4}" dt="2021-07-24T02:25:01.659" v="252"/>
          <ac:inkMkLst>
            <pc:docMk/>
            <pc:sldMk cId="0" sldId="270"/>
            <ac:inkMk id="191" creationId="{9F746A0B-F447-4DB1-8728-F5102CF07C12}"/>
          </ac:inkMkLst>
        </pc:inkChg>
        <pc:inkChg chg="add mod">
          <ac:chgData name="Aniket Chhabra" userId="598e0514-bef3-4e71-b6aa-f2edd6441cff" providerId="ADAL" clId="{BE5B4798-BE1E-4422-9D3C-1ACF860F87B4}" dt="2021-07-24T02:25:01.659" v="252"/>
          <ac:inkMkLst>
            <pc:docMk/>
            <pc:sldMk cId="0" sldId="270"/>
            <ac:inkMk id="192" creationId="{708E1606-D2F2-4C8D-9589-CE7E373C0C71}"/>
          </ac:inkMkLst>
        </pc:inkChg>
        <pc:inkChg chg="add mod">
          <ac:chgData name="Aniket Chhabra" userId="598e0514-bef3-4e71-b6aa-f2edd6441cff" providerId="ADAL" clId="{BE5B4798-BE1E-4422-9D3C-1ACF860F87B4}" dt="2021-07-24T02:25:01.659" v="252"/>
          <ac:inkMkLst>
            <pc:docMk/>
            <pc:sldMk cId="0" sldId="270"/>
            <ac:inkMk id="193" creationId="{C5FABBF2-0B2E-42E7-9B82-A7CD748BF490}"/>
          </ac:inkMkLst>
        </pc:inkChg>
        <pc:inkChg chg="add del">
          <ac:chgData name="Aniket Chhabra" userId="598e0514-bef3-4e71-b6aa-f2edd6441cff" providerId="ADAL" clId="{BE5B4798-BE1E-4422-9D3C-1ACF860F87B4}" dt="2021-07-24T02:25:01.258" v="251"/>
          <ac:inkMkLst>
            <pc:docMk/>
            <pc:sldMk cId="0" sldId="270"/>
            <ac:inkMk id="194" creationId="{EBEF9E8F-23D5-49F2-A7FE-D74B5091D5C1}"/>
          </ac:inkMkLst>
        </pc:inkChg>
        <pc:inkChg chg="add">
          <ac:chgData name="Aniket Chhabra" userId="598e0514-bef3-4e71-b6aa-f2edd6441cff" providerId="ADAL" clId="{BE5B4798-BE1E-4422-9D3C-1ACF860F87B4}" dt="2021-07-24T02:25:02.624" v="253" actId="9405"/>
          <ac:inkMkLst>
            <pc:docMk/>
            <pc:sldMk cId="0" sldId="270"/>
            <ac:inkMk id="196" creationId="{5DE03DF3-3B6A-446B-BF26-10BC8BF674F7}"/>
          </ac:inkMkLst>
        </pc:inkChg>
        <pc:inkChg chg="add">
          <ac:chgData name="Aniket Chhabra" userId="598e0514-bef3-4e71-b6aa-f2edd6441cff" providerId="ADAL" clId="{BE5B4798-BE1E-4422-9D3C-1ACF860F87B4}" dt="2021-07-24T02:25:02.972" v="254" actId="9405"/>
          <ac:inkMkLst>
            <pc:docMk/>
            <pc:sldMk cId="0" sldId="270"/>
            <ac:inkMk id="197" creationId="{8AD66AB3-6524-4445-A932-58CC46BF3B4A}"/>
          </ac:inkMkLst>
        </pc:inkChg>
        <pc:inkChg chg="add">
          <ac:chgData name="Aniket Chhabra" userId="598e0514-bef3-4e71-b6aa-f2edd6441cff" providerId="ADAL" clId="{BE5B4798-BE1E-4422-9D3C-1ACF860F87B4}" dt="2021-07-24T02:25:03.422" v="255" actId="9405"/>
          <ac:inkMkLst>
            <pc:docMk/>
            <pc:sldMk cId="0" sldId="270"/>
            <ac:inkMk id="198" creationId="{4062DD93-9556-44EE-BED3-AD4C19EBE09F}"/>
          </ac:inkMkLst>
        </pc:inkChg>
        <pc:inkChg chg="add">
          <ac:chgData name="Aniket Chhabra" userId="598e0514-bef3-4e71-b6aa-f2edd6441cff" providerId="ADAL" clId="{BE5B4798-BE1E-4422-9D3C-1ACF860F87B4}" dt="2021-07-24T02:25:03.792" v="256" actId="9405"/>
          <ac:inkMkLst>
            <pc:docMk/>
            <pc:sldMk cId="0" sldId="270"/>
            <ac:inkMk id="199" creationId="{775D3D5B-75C4-41AB-9D68-66639B4390CC}"/>
          </ac:inkMkLst>
        </pc:inkChg>
        <pc:inkChg chg="add">
          <ac:chgData name="Aniket Chhabra" userId="598e0514-bef3-4e71-b6aa-f2edd6441cff" providerId="ADAL" clId="{BE5B4798-BE1E-4422-9D3C-1ACF860F87B4}" dt="2021-07-24T02:25:04.123" v="257" actId="9405"/>
          <ac:inkMkLst>
            <pc:docMk/>
            <pc:sldMk cId="0" sldId="270"/>
            <ac:inkMk id="200" creationId="{13B417D3-8289-476F-86D2-E82F03219BE0}"/>
          </ac:inkMkLst>
        </pc:inkChg>
        <pc:inkChg chg="add">
          <ac:chgData name="Aniket Chhabra" userId="598e0514-bef3-4e71-b6aa-f2edd6441cff" providerId="ADAL" clId="{BE5B4798-BE1E-4422-9D3C-1ACF860F87B4}" dt="2021-07-24T02:25:05.623" v="258" actId="9405"/>
          <ac:inkMkLst>
            <pc:docMk/>
            <pc:sldMk cId="0" sldId="270"/>
            <ac:inkMk id="201" creationId="{6DD7D4B5-3FD6-4F44-ADF0-0BBF455AA47E}"/>
          </ac:inkMkLst>
        </pc:inkChg>
        <pc:inkChg chg="add mod">
          <ac:chgData name="Aniket Chhabra" userId="598e0514-bef3-4e71-b6aa-f2edd6441cff" providerId="ADAL" clId="{BE5B4798-BE1E-4422-9D3C-1ACF860F87B4}" dt="2021-07-24T02:25:12.554" v="271"/>
          <ac:inkMkLst>
            <pc:docMk/>
            <pc:sldMk cId="0" sldId="270"/>
            <ac:inkMk id="202" creationId="{2E6AE854-309E-4CA0-8A36-FCD531641671}"/>
          </ac:inkMkLst>
        </pc:inkChg>
        <pc:inkChg chg="add mod">
          <ac:chgData name="Aniket Chhabra" userId="598e0514-bef3-4e71-b6aa-f2edd6441cff" providerId="ADAL" clId="{BE5B4798-BE1E-4422-9D3C-1ACF860F87B4}" dt="2021-07-24T02:25:12.554" v="271"/>
          <ac:inkMkLst>
            <pc:docMk/>
            <pc:sldMk cId="0" sldId="270"/>
            <ac:inkMk id="203" creationId="{B897BE02-A4C6-4F23-821F-E757143E4F22}"/>
          </ac:inkMkLst>
        </pc:inkChg>
        <pc:inkChg chg="add mod">
          <ac:chgData name="Aniket Chhabra" userId="598e0514-bef3-4e71-b6aa-f2edd6441cff" providerId="ADAL" clId="{BE5B4798-BE1E-4422-9D3C-1ACF860F87B4}" dt="2021-07-24T02:25:12.554" v="271"/>
          <ac:inkMkLst>
            <pc:docMk/>
            <pc:sldMk cId="0" sldId="270"/>
            <ac:inkMk id="204" creationId="{2623040C-758F-4A32-910F-7EAA52ABE3B1}"/>
          </ac:inkMkLst>
        </pc:inkChg>
        <pc:inkChg chg="add">
          <ac:chgData name="Aniket Chhabra" userId="598e0514-bef3-4e71-b6aa-f2edd6441cff" providerId="ADAL" clId="{BE5B4798-BE1E-4422-9D3C-1ACF860F87B4}" dt="2021-07-24T02:25:07.608" v="262" actId="9405"/>
          <ac:inkMkLst>
            <pc:docMk/>
            <pc:sldMk cId="0" sldId="270"/>
            <ac:inkMk id="205" creationId="{2A71BE0C-84A8-4874-9D71-62B71DAFBB4F}"/>
          </ac:inkMkLst>
        </pc:inkChg>
        <pc:inkChg chg="add">
          <ac:chgData name="Aniket Chhabra" userId="598e0514-bef3-4e71-b6aa-f2edd6441cff" providerId="ADAL" clId="{BE5B4798-BE1E-4422-9D3C-1ACF860F87B4}" dt="2021-07-24T02:25:07.942" v="263" actId="9405"/>
          <ac:inkMkLst>
            <pc:docMk/>
            <pc:sldMk cId="0" sldId="270"/>
            <ac:inkMk id="206" creationId="{8D78BAC1-CB5F-4C4D-8691-A12089F1DB33}"/>
          </ac:inkMkLst>
        </pc:inkChg>
        <pc:inkChg chg="add">
          <ac:chgData name="Aniket Chhabra" userId="598e0514-bef3-4e71-b6aa-f2edd6441cff" providerId="ADAL" clId="{BE5B4798-BE1E-4422-9D3C-1ACF860F87B4}" dt="2021-07-24T02:25:08.889" v="264" actId="9405"/>
          <ac:inkMkLst>
            <pc:docMk/>
            <pc:sldMk cId="0" sldId="270"/>
            <ac:inkMk id="207" creationId="{BE3A320C-4D94-4BD6-9207-ED2CD64B9BBA}"/>
          </ac:inkMkLst>
        </pc:inkChg>
        <pc:inkChg chg="add">
          <ac:chgData name="Aniket Chhabra" userId="598e0514-bef3-4e71-b6aa-f2edd6441cff" providerId="ADAL" clId="{BE5B4798-BE1E-4422-9D3C-1ACF860F87B4}" dt="2021-07-24T02:25:09.672" v="265" actId="9405"/>
          <ac:inkMkLst>
            <pc:docMk/>
            <pc:sldMk cId="0" sldId="270"/>
            <ac:inkMk id="208" creationId="{CC5D1505-FC92-4EEA-BE2C-FF435A61A24A}"/>
          </ac:inkMkLst>
        </pc:inkChg>
        <pc:inkChg chg="add">
          <ac:chgData name="Aniket Chhabra" userId="598e0514-bef3-4e71-b6aa-f2edd6441cff" providerId="ADAL" clId="{BE5B4798-BE1E-4422-9D3C-1ACF860F87B4}" dt="2021-07-24T02:25:10.042" v="266" actId="9405"/>
          <ac:inkMkLst>
            <pc:docMk/>
            <pc:sldMk cId="0" sldId="270"/>
            <ac:inkMk id="209" creationId="{EA3B0A5D-0531-4A6E-B839-F544F13142F3}"/>
          </ac:inkMkLst>
        </pc:inkChg>
        <pc:inkChg chg="add mod">
          <ac:chgData name="Aniket Chhabra" userId="598e0514-bef3-4e71-b6aa-f2edd6441cff" providerId="ADAL" clId="{BE5B4798-BE1E-4422-9D3C-1ACF860F87B4}" dt="2021-07-24T02:25:18.442" v="285"/>
          <ac:inkMkLst>
            <pc:docMk/>
            <pc:sldMk cId="0" sldId="270"/>
            <ac:inkMk id="210" creationId="{9FEA8D6E-5BF4-4AD6-842D-1203DB1D25A5}"/>
          </ac:inkMkLst>
        </pc:inkChg>
        <pc:inkChg chg="add mod">
          <ac:chgData name="Aniket Chhabra" userId="598e0514-bef3-4e71-b6aa-f2edd6441cff" providerId="ADAL" clId="{BE5B4798-BE1E-4422-9D3C-1ACF860F87B4}" dt="2021-07-24T02:25:39.113" v="322"/>
          <ac:inkMkLst>
            <pc:docMk/>
            <pc:sldMk cId="0" sldId="270"/>
            <ac:inkMk id="211" creationId="{3DE1C8AC-D2C2-4694-B6D7-50A00DF10B54}"/>
          </ac:inkMkLst>
        </pc:inkChg>
        <pc:inkChg chg="add mod">
          <ac:chgData name="Aniket Chhabra" userId="598e0514-bef3-4e71-b6aa-f2edd6441cff" providerId="ADAL" clId="{BE5B4798-BE1E-4422-9D3C-1ACF860F87B4}" dt="2021-07-24T02:25:39.113" v="322"/>
          <ac:inkMkLst>
            <pc:docMk/>
            <pc:sldMk cId="0" sldId="270"/>
            <ac:inkMk id="212" creationId="{55F6AEE2-191F-4A5C-957F-2A4608771D4A}"/>
          </ac:inkMkLst>
        </pc:inkChg>
        <pc:inkChg chg="add">
          <ac:chgData name="Aniket Chhabra" userId="598e0514-bef3-4e71-b6aa-f2edd6441cff" providerId="ADAL" clId="{BE5B4798-BE1E-4422-9D3C-1ACF860F87B4}" dt="2021-07-24T02:25:11.994" v="270" actId="9405"/>
          <ac:inkMkLst>
            <pc:docMk/>
            <pc:sldMk cId="0" sldId="270"/>
            <ac:inkMk id="213" creationId="{402E25FF-D0FD-4AA9-875B-DE78905D0861}"/>
          </ac:inkMkLst>
        </pc:inkChg>
        <pc:inkChg chg="add">
          <ac:chgData name="Aniket Chhabra" userId="598e0514-bef3-4e71-b6aa-f2edd6441cff" providerId="ADAL" clId="{BE5B4798-BE1E-4422-9D3C-1ACF860F87B4}" dt="2021-07-24T02:25:12.905" v="272" actId="9405"/>
          <ac:inkMkLst>
            <pc:docMk/>
            <pc:sldMk cId="0" sldId="270"/>
            <ac:inkMk id="218" creationId="{9B4BAEF1-1EE4-4DE9-9556-E268225EE84E}"/>
          </ac:inkMkLst>
        </pc:inkChg>
        <pc:inkChg chg="add">
          <ac:chgData name="Aniket Chhabra" userId="598e0514-bef3-4e71-b6aa-f2edd6441cff" providerId="ADAL" clId="{BE5B4798-BE1E-4422-9D3C-1ACF860F87B4}" dt="2021-07-24T02:25:13.297" v="273" actId="9405"/>
          <ac:inkMkLst>
            <pc:docMk/>
            <pc:sldMk cId="0" sldId="270"/>
            <ac:inkMk id="219" creationId="{617895F4-159E-45A9-98B9-676B91354F66}"/>
          </ac:inkMkLst>
        </pc:inkChg>
        <pc:inkChg chg="add">
          <ac:chgData name="Aniket Chhabra" userId="598e0514-bef3-4e71-b6aa-f2edd6441cff" providerId="ADAL" clId="{BE5B4798-BE1E-4422-9D3C-1ACF860F87B4}" dt="2021-07-24T02:25:13.623" v="274" actId="9405"/>
          <ac:inkMkLst>
            <pc:docMk/>
            <pc:sldMk cId="0" sldId="270"/>
            <ac:inkMk id="220" creationId="{5A7DAA8E-A560-49D2-B92B-CA20BAC8CB10}"/>
          </ac:inkMkLst>
        </pc:inkChg>
        <pc:inkChg chg="add">
          <ac:chgData name="Aniket Chhabra" userId="598e0514-bef3-4e71-b6aa-f2edd6441cff" providerId="ADAL" clId="{BE5B4798-BE1E-4422-9D3C-1ACF860F87B4}" dt="2021-07-24T02:25:13.975" v="275" actId="9405"/>
          <ac:inkMkLst>
            <pc:docMk/>
            <pc:sldMk cId="0" sldId="270"/>
            <ac:inkMk id="221" creationId="{D8557022-C41B-45F9-BD44-8699FFAD0607}"/>
          </ac:inkMkLst>
        </pc:inkChg>
        <pc:inkChg chg="add">
          <ac:chgData name="Aniket Chhabra" userId="598e0514-bef3-4e71-b6aa-f2edd6441cff" providerId="ADAL" clId="{BE5B4798-BE1E-4422-9D3C-1ACF860F87B4}" dt="2021-07-24T02:25:14.363" v="276" actId="9405"/>
          <ac:inkMkLst>
            <pc:docMk/>
            <pc:sldMk cId="0" sldId="270"/>
            <ac:inkMk id="222" creationId="{7B0B5BE1-B748-4AB5-BD04-095F12A99D59}"/>
          </ac:inkMkLst>
        </pc:inkChg>
        <pc:inkChg chg="add mod">
          <ac:chgData name="Aniket Chhabra" userId="598e0514-bef3-4e71-b6aa-f2edd6441cff" providerId="ADAL" clId="{BE5B4798-BE1E-4422-9D3C-1ACF860F87B4}" dt="2021-07-24T02:25:39.113" v="322"/>
          <ac:inkMkLst>
            <pc:docMk/>
            <pc:sldMk cId="0" sldId="270"/>
            <ac:inkMk id="223" creationId="{D61AC8D2-C8B6-494D-99F0-BC70A1F116A8}"/>
          </ac:inkMkLst>
        </pc:inkChg>
        <pc:inkChg chg="add mod">
          <ac:chgData name="Aniket Chhabra" userId="598e0514-bef3-4e71-b6aa-f2edd6441cff" providerId="ADAL" clId="{BE5B4798-BE1E-4422-9D3C-1ACF860F87B4}" dt="2021-07-24T02:25:18.442" v="285"/>
          <ac:inkMkLst>
            <pc:docMk/>
            <pc:sldMk cId="0" sldId="270"/>
            <ac:inkMk id="224" creationId="{46EECC26-FB37-47BE-8FA5-2DDD7F29D966}"/>
          </ac:inkMkLst>
        </pc:inkChg>
        <pc:inkChg chg="add mod">
          <ac:chgData name="Aniket Chhabra" userId="598e0514-bef3-4e71-b6aa-f2edd6441cff" providerId="ADAL" clId="{BE5B4798-BE1E-4422-9D3C-1ACF860F87B4}" dt="2021-07-24T02:25:39.113" v="322"/>
          <ac:inkMkLst>
            <pc:docMk/>
            <pc:sldMk cId="0" sldId="270"/>
            <ac:inkMk id="225" creationId="{97E2249E-1786-4E67-AF86-9CE9C41145D2}"/>
          </ac:inkMkLst>
        </pc:inkChg>
        <pc:inkChg chg="add mod">
          <ac:chgData name="Aniket Chhabra" userId="598e0514-bef3-4e71-b6aa-f2edd6441cff" providerId="ADAL" clId="{BE5B4798-BE1E-4422-9D3C-1ACF860F87B4}" dt="2021-07-24T02:25:39.113" v="322"/>
          <ac:inkMkLst>
            <pc:docMk/>
            <pc:sldMk cId="0" sldId="270"/>
            <ac:inkMk id="226" creationId="{8B1566F0-31C3-45E5-AEB3-957586A86921}"/>
          </ac:inkMkLst>
        </pc:inkChg>
        <pc:inkChg chg="add mod">
          <ac:chgData name="Aniket Chhabra" userId="598e0514-bef3-4e71-b6aa-f2edd6441cff" providerId="ADAL" clId="{BE5B4798-BE1E-4422-9D3C-1ACF860F87B4}" dt="2021-07-24T02:25:39.113" v="322"/>
          <ac:inkMkLst>
            <pc:docMk/>
            <pc:sldMk cId="0" sldId="270"/>
            <ac:inkMk id="227" creationId="{21CC59BD-899F-4CED-BE25-9834FC59231E}"/>
          </ac:inkMkLst>
        </pc:inkChg>
        <pc:inkChg chg="add mod">
          <ac:chgData name="Aniket Chhabra" userId="598e0514-bef3-4e71-b6aa-f2edd6441cff" providerId="ADAL" clId="{BE5B4798-BE1E-4422-9D3C-1ACF860F87B4}" dt="2021-07-24T02:25:39.113" v="322"/>
          <ac:inkMkLst>
            <pc:docMk/>
            <pc:sldMk cId="0" sldId="270"/>
            <ac:inkMk id="228" creationId="{BEAABA64-283F-479C-8F9C-0798DE1ACFB1}"/>
          </ac:inkMkLst>
        </pc:inkChg>
        <pc:inkChg chg="add mod">
          <ac:chgData name="Aniket Chhabra" userId="598e0514-bef3-4e71-b6aa-f2edd6441cff" providerId="ADAL" clId="{BE5B4798-BE1E-4422-9D3C-1ACF860F87B4}" dt="2021-07-24T02:25:39.113" v="322"/>
          <ac:inkMkLst>
            <pc:docMk/>
            <pc:sldMk cId="0" sldId="270"/>
            <ac:inkMk id="229" creationId="{E0715434-C859-4D5F-84FA-15AB76124797}"/>
          </ac:inkMkLst>
        </pc:inkChg>
        <pc:inkChg chg="add mod">
          <ac:chgData name="Aniket Chhabra" userId="598e0514-bef3-4e71-b6aa-f2edd6441cff" providerId="ADAL" clId="{BE5B4798-BE1E-4422-9D3C-1ACF860F87B4}" dt="2021-07-24T02:25:39.113" v="322"/>
          <ac:inkMkLst>
            <pc:docMk/>
            <pc:sldMk cId="0" sldId="270"/>
            <ac:inkMk id="230" creationId="{8E1995A0-BC5D-4264-B432-C49AFEDBD923}"/>
          </ac:inkMkLst>
        </pc:inkChg>
        <pc:inkChg chg="add">
          <ac:chgData name="Aniket Chhabra" userId="598e0514-bef3-4e71-b6aa-f2edd6441cff" providerId="ADAL" clId="{BE5B4798-BE1E-4422-9D3C-1ACF860F87B4}" dt="2021-07-24T02:25:19.988" v="286" actId="9405"/>
          <ac:inkMkLst>
            <pc:docMk/>
            <pc:sldMk cId="0" sldId="270"/>
            <ac:inkMk id="234" creationId="{90B6F1C9-A77C-4A4F-8050-85AB99007DFF}"/>
          </ac:inkMkLst>
        </pc:inkChg>
        <pc:inkChg chg="add">
          <ac:chgData name="Aniket Chhabra" userId="598e0514-bef3-4e71-b6aa-f2edd6441cff" providerId="ADAL" clId="{BE5B4798-BE1E-4422-9D3C-1ACF860F87B4}" dt="2021-07-24T02:25:20.323" v="287" actId="9405"/>
          <ac:inkMkLst>
            <pc:docMk/>
            <pc:sldMk cId="0" sldId="270"/>
            <ac:inkMk id="235" creationId="{04325DEC-7E0E-43BC-BB1C-EA2EFCA3432A}"/>
          </ac:inkMkLst>
        </pc:inkChg>
        <pc:inkChg chg="add del">
          <ac:chgData name="Aniket Chhabra" userId="598e0514-bef3-4e71-b6aa-f2edd6441cff" providerId="ADAL" clId="{BE5B4798-BE1E-4422-9D3C-1ACF860F87B4}" dt="2021-07-24T02:25:24.371" v="291"/>
          <ac:inkMkLst>
            <pc:docMk/>
            <pc:sldMk cId="0" sldId="270"/>
            <ac:inkMk id="236" creationId="{A1083C90-342A-4F28-8E97-6FAB96632DD6}"/>
          </ac:inkMkLst>
        </pc:inkChg>
        <pc:inkChg chg="add del">
          <ac:chgData name="Aniket Chhabra" userId="598e0514-bef3-4e71-b6aa-f2edd6441cff" providerId="ADAL" clId="{BE5B4798-BE1E-4422-9D3C-1ACF860F87B4}" dt="2021-07-24T02:25:24.370" v="290"/>
          <ac:inkMkLst>
            <pc:docMk/>
            <pc:sldMk cId="0" sldId="270"/>
            <ac:inkMk id="237" creationId="{FD3ADF38-C172-40AD-AF94-4F81BC975098}"/>
          </ac:inkMkLst>
        </pc:inkChg>
        <pc:inkChg chg="add del">
          <ac:chgData name="Aniket Chhabra" userId="598e0514-bef3-4e71-b6aa-f2edd6441cff" providerId="ADAL" clId="{BE5B4798-BE1E-4422-9D3C-1ACF860F87B4}" dt="2021-07-24T02:25:27.478" v="299"/>
          <ac:inkMkLst>
            <pc:docMk/>
            <pc:sldMk cId="0" sldId="270"/>
            <ac:inkMk id="238" creationId="{F13D2951-16B8-4A63-BC93-1D0851C89EB7}"/>
          </ac:inkMkLst>
        </pc:inkChg>
        <pc:inkChg chg="add del">
          <ac:chgData name="Aniket Chhabra" userId="598e0514-bef3-4e71-b6aa-f2edd6441cff" providerId="ADAL" clId="{BE5B4798-BE1E-4422-9D3C-1ACF860F87B4}" dt="2021-07-24T02:25:27.477" v="296"/>
          <ac:inkMkLst>
            <pc:docMk/>
            <pc:sldMk cId="0" sldId="270"/>
            <ac:inkMk id="239" creationId="{FBC5D7E2-E6D8-45FF-9968-D1F6F73F00DF}"/>
          </ac:inkMkLst>
        </pc:inkChg>
        <pc:inkChg chg="add del">
          <ac:chgData name="Aniket Chhabra" userId="598e0514-bef3-4e71-b6aa-f2edd6441cff" providerId="ADAL" clId="{BE5B4798-BE1E-4422-9D3C-1ACF860F87B4}" dt="2021-07-24T02:25:27.478" v="298"/>
          <ac:inkMkLst>
            <pc:docMk/>
            <pc:sldMk cId="0" sldId="270"/>
            <ac:inkMk id="240" creationId="{5A6526BD-2B11-47A2-86C2-B4F83E857D55}"/>
          </ac:inkMkLst>
        </pc:inkChg>
        <pc:inkChg chg="add del">
          <ac:chgData name="Aniket Chhabra" userId="598e0514-bef3-4e71-b6aa-f2edd6441cff" providerId="ADAL" clId="{BE5B4798-BE1E-4422-9D3C-1ACF860F87B4}" dt="2021-07-24T02:25:27.477" v="297"/>
          <ac:inkMkLst>
            <pc:docMk/>
            <pc:sldMk cId="0" sldId="270"/>
            <ac:inkMk id="241" creationId="{36A0AFF1-6DAE-42D7-B2A4-3D02B0687728}"/>
          </ac:inkMkLst>
        </pc:inkChg>
        <pc:inkChg chg="add del">
          <ac:chgData name="Aniket Chhabra" userId="598e0514-bef3-4e71-b6aa-f2edd6441cff" providerId="ADAL" clId="{BE5B4798-BE1E-4422-9D3C-1ACF860F87B4}" dt="2021-07-24T02:25:30.970" v="302"/>
          <ac:inkMkLst>
            <pc:docMk/>
            <pc:sldMk cId="0" sldId="270"/>
            <ac:inkMk id="242" creationId="{DE3F0637-740F-46B7-B222-907E0C0028C4}"/>
          </ac:inkMkLst>
        </pc:inkChg>
        <pc:inkChg chg="add del">
          <ac:chgData name="Aniket Chhabra" userId="598e0514-bef3-4e71-b6aa-f2edd6441cff" providerId="ADAL" clId="{BE5B4798-BE1E-4422-9D3C-1ACF860F87B4}" dt="2021-07-24T02:25:30.970" v="303"/>
          <ac:inkMkLst>
            <pc:docMk/>
            <pc:sldMk cId="0" sldId="270"/>
            <ac:inkMk id="243" creationId="{E29F5E11-75A4-414B-AF2E-5E3C3E264581}"/>
          </ac:inkMkLst>
        </pc:inkChg>
        <pc:inkChg chg="add">
          <ac:chgData name="Aniket Chhabra" userId="598e0514-bef3-4e71-b6aa-f2edd6441cff" providerId="ADAL" clId="{BE5B4798-BE1E-4422-9D3C-1ACF860F87B4}" dt="2021-07-24T02:25:32.140" v="304" actId="9405"/>
          <ac:inkMkLst>
            <pc:docMk/>
            <pc:sldMk cId="0" sldId="270"/>
            <ac:inkMk id="244" creationId="{3E411E90-E35E-4453-B3A6-5C9ABD18719A}"/>
          </ac:inkMkLst>
        </pc:inkChg>
        <pc:inkChg chg="add">
          <ac:chgData name="Aniket Chhabra" userId="598e0514-bef3-4e71-b6aa-f2edd6441cff" providerId="ADAL" clId="{BE5B4798-BE1E-4422-9D3C-1ACF860F87B4}" dt="2021-07-24T02:25:32.524" v="305" actId="9405"/>
          <ac:inkMkLst>
            <pc:docMk/>
            <pc:sldMk cId="0" sldId="270"/>
            <ac:inkMk id="245" creationId="{9C76C850-67A5-4ACC-96E7-7D2EE54A5374}"/>
          </ac:inkMkLst>
        </pc:inkChg>
        <pc:inkChg chg="add">
          <ac:chgData name="Aniket Chhabra" userId="598e0514-bef3-4e71-b6aa-f2edd6441cff" providerId="ADAL" clId="{BE5B4798-BE1E-4422-9D3C-1ACF860F87B4}" dt="2021-07-24T02:25:32.856" v="306" actId="9405"/>
          <ac:inkMkLst>
            <pc:docMk/>
            <pc:sldMk cId="0" sldId="270"/>
            <ac:inkMk id="246" creationId="{2B234082-D499-4C58-85D3-772B51D3A37F}"/>
          </ac:inkMkLst>
        </pc:inkChg>
        <pc:inkChg chg="add">
          <ac:chgData name="Aniket Chhabra" userId="598e0514-bef3-4e71-b6aa-f2edd6441cff" providerId="ADAL" clId="{BE5B4798-BE1E-4422-9D3C-1ACF860F87B4}" dt="2021-07-24T02:25:33.243" v="307" actId="9405"/>
          <ac:inkMkLst>
            <pc:docMk/>
            <pc:sldMk cId="0" sldId="270"/>
            <ac:inkMk id="247" creationId="{4FBA0EEB-63BB-48D3-9E71-9B88C4FEB6A7}"/>
          </ac:inkMkLst>
        </pc:inkChg>
        <pc:inkChg chg="add mod">
          <ac:chgData name="Aniket Chhabra" userId="598e0514-bef3-4e71-b6aa-f2edd6441cff" providerId="ADAL" clId="{BE5B4798-BE1E-4422-9D3C-1ACF860F87B4}" dt="2021-07-24T02:25:39.113" v="322"/>
          <ac:inkMkLst>
            <pc:docMk/>
            <pc:sldMk cId="0" sldId="270"/>
            <ac:inkMk id="248" creationId="{280EB8F9-5609-44A8-BBC0-E22169BB3887}"/>
          </ac:inkMkLst>
        </pc:inkChg>
        <pc:inkChg chg="add mod">
          <ac:chgData name="Aniket Chhabra" userId="598e0514-bef3-4e71-b6aa-f2edd6441cff" providerId="ADAL" clId="{BE5B4798-BE1E-4422-9D3C-1ACF860F87B4}" dt="2021-07-24T02:25:39.113" v="322"/>
          <ac:inkMkLst>
            <pc:docMk/>
            <pc:sldMk cId="0" sldId="270"/>
            <ac:inkMk id="249" creationId="{ECD905C7-DBCE-4EF3-AB42-63982C067261}"/>
          </ac:inkMkLst>
        </pc:inkChg>
        <pc:inkChg chg="add mod">
          <ac:chgData name="Aniket Chhabra" userId="598e0514-bef3-4e71-b6aa-f2edd6441cff" providerId="ADAL" clId="{BE5B4798-BE1E-4422-9D3C-1ACF860F87B4}" dt="2021-07-24T02:25:39.113" v="322"/>
          <ac:inkMkLst>
            <pc:docMk/>
            <pc:sldMk cId="0" sldId="270"/>
            <ac:inkMk id="250" creationId="{ACC7D6C7-0693-4968-9E58-EA4125F3A570}"/>
          </ac:inkMkLst>
        </pc:inkChg>
        <pc:inkChg chg="add mod">
          <ac:chgData name="Aniket Chhabra" userId="598e0514-bef3-4e71-b6aa-f2edd6441cff" providerId="ADAL" clId="{BE5B4798-BE1E-4422-9D3C-1ACF860F87B4}" dt="2021-07-24T02:25:39.113" v="322"/>
          <ac:inkMkLst>
            <pc:docMk/>
            <pc:sldMk cId="0" sldId="270"/>
            <ac:inkMk id="251" creationId="{10E164FA-8E31-41F8-AF72-61BD772BBF9F}"/>
          </ac:inkMkLst>
        </pc:inkChg>
        <pc:inkChg chg="add mod">
          <ac:chgData name="Aniket Chhabra" userId="598e0514-bef3-4e71-b6aa-f2edd6441cff" providerId="ADAL" clId="{BE5B4798-BE1E-4422-9D3C-1ACF860F87B4}" dt="2021-07-24T02:25:39.113" v="322"/>
          <ac:inkMkLst>
            <pc:docMk/>
            <pc:sldMk cId="0" sldId="270"/>
            <ac:inkMk id="252" creationId="{15236D87-8710-4681-8C83-100E46B0D71F}"/>
          </ac:inkMkLst>
        </pc:inkChg>
        <pc:inkChg chg="add mod">
          <ac:chgData name="Aniket Chhabra" userId="598e0514-bef3-4e71-b6aa-f2edd6441cff" providerId="ADAL" clId="{BE5B4798-BE1E-4422-9D3C-1ACF860F87B4}" dt="2021-07-24T02:25:39.113" v="322"/>
          <ac:inkMkLst>
            <pc:docMk/>
            <pc:sldMk cId="0" sldId="270"/>
            <ac:inkMk id="253" creationId="{AF81CCF2-285A-49BA-A30A-69B205980547}"/>
          </ac:inkMkLst>
        </pc:inkChg>
        <pc:inkChg chg="add mod">
          <ac:chgData name="Aniket Chhabra" userId="598e0514-bef3-4e71-b6aa-f2edd6441cff" providerId="ADAL" clId="{BE5B4798-BE1E-4422-9D3C-1ACF860F87B4}" dt="2021-07-24T02:25:39.113" v="322"/>
          <ac:inkMkLst>
            <pc:docMk/>
            <pc:sldMk cId="0" sldId="270"/>
            <ac:inkMk id="254" creationId="{C4F9D1C2-172F-4AD9-9D38-808E6232218C}"/>
          </ac:inkMkLst>
        </pc:inkChg>
        <pc:inkChg chg="add mod">
          <ac:chgData name="Aniket Chhabra" userId="598e0514-bef3-4e71-b6aa-f2edd6441cff" providerId="ADAL" clId="{BE5B4798-BE1E-4422-9D3C-1ACF860F87B4}" dt="2021-07-24T02:25:39.113" v="322"/>
          <ac:inkMkLst>
            <pc:docMk/>
            <pc:sldMk cId="0" sldId="270"/>
            <ac:inkMk id="255" creationId="{25457CE7-1935-48B3-A326-97082923D98D}"/>
          </ac:inkMkLst>
        </pc:inkChg>
        <pc:inkChg chg="add mod">
          <ac:chgData name="Aniket Chhabra" userId="598e0514-bef3-4e71-b6aa-f2edd6441cff" providerId="ADAL" clId="{BE5B4798-BE1E-4422-9D3C-1ACF860F87B4}" dt="2021-07-24T02:25:39.113" v="322"/>
          <ac:inkMkLst>
            <pc:docMk/>
            <pc:sldMk cId="0" sldId="270"/>
            <ac:inkMk id="256" creationId="{D663656E-AFF7-4B53-B37A-9F2851034218}"/>
          </ac:inkMkLst>
        </pc:inkChg>
        <pc:inkChg chg="add mod">
          <ac:chgData name="Aniket Chhabra" userId="598e0514-bef3-4e71-b6aa-f2edd6441cff" providerId="ADAL" clId="{BE5B4798-BE1E-4422-9D3C-1ACF860F87B4}" dt="2021-07-24T02:25:39.113" v="322"/>
          <ac:inkMkLst>
            <pc:docMk/>
            <pc:sldMk cId="0" sldId="270"/>
            <ac:inkMk id="257" creationId="{DB7E86A3-C7D5-417D-BA22-CB20893AB8DC}"/>
          </ac:inkMkLst>
        </pc:inkChg>
        <pc:inkChg chg="add mod">
          <ac:chgData name="Aniket Chhabra" userId="598e0514-bef3-4e71-b6aa-f2edd6441cff" providerId="ADAL" clId="{BE5B4798-BE1E-4422-9D3C-1ACF860F87B4}" dt="2021-07-24T02:25:39.113" v="322"/>
          <ac:inkMkLst>
            <pc:docMk/>
            <pc:sldMk cId="0" sldId="270"/>
            <ac:inkMk id="258" creationId="{EE09DBE3-85F7-4C94-A9E8-F3B666210C1E}"/>
          </ac:inkMkLst>
        </pc:inkChg>
        <pc:inkChg chg="add mod">
          <ac:chgData name="Aniket Chhabra" userId="598e0514-bef3-4e71-b6aa-f2edd6441cff" providerId="ADAL" clId="{BE5B4798-BE1E-4422-9D3C-1ACF860F87B4}" dt="2021-07-24T02:25:39.113" v="322"/>
          <ac:inkMkLst>
            <pc:docMk/>
            <pc:sldMk cId="0" sldId="270"/>
            <ac:inkMk id="259" creationId="{B0AF2033-5450-4D24-8249-F929E0E98C24}"/>
          </ac:inkMkLst>
        </pc:inkChg>
        <pc:inkChg chg="add mod">
          <ac:chgData name="Aniket Chhabra" userId="598e0514-bef3-4e71-b6aa-f2edd6441cff" providerId="ADAL" clId="{BE5B4798-BE1E-4422-9D3C-1ACF860F87B4}" dt="2021-07-24T02:25:39.113" v="322"/>
          <ac:inkMkLst>
            <pc:docMk/>
            <pc:sldMk cId="0" sldId="270"/>
            <ac:inkMk id="260" creationId="{458A9CB7-A85F-4E7C-A0D3-351BAF8C79A9}"/>
          </ac:inkMkLst>
        </pc:inkChg>
        <pc:inkChg chg="add mod">
          <ac:chgData name="Aniket Chhabra" userId="598e0514-bef3-4e71-b6aa-f2edd6441cff" providerId="ADAL" clId="{BE5B4798-BE1E-4422-9D3C-1ACF860F87B4}" dt="2021-07-24T02:25:39.113" v="322"/>
          <ac:inkMkLst>
            <pc:docMk/>
            <pc:sldMk cId="0" sldId="270"/>
            <ac:inkMk id="261" creationId="{84C980B4-989C-4D13-AB0F-EC7A8EC44C46}"/>
          </ac:inkMkLst>
        </pc:inkChg>
      </pc:sldChg>
      <pc:sldChg chg="modNotes">
        <pc:chgData name="Aniket Chhabra" userId="598e0514-bef3-4e71-b6aa-f2edd6441cff" providerId="ADAL" clId="{BE5B4798-BE1E-4422-9D3C-1ACF860F87B4}" dt="2021-07-23T10:50:33.161" v="51"/>
        <pc:sldMkLst>
          <pc:docMk/>
          <pc:sldMk cId="0" sldId="273"/>
        </pc:sldMkLst>
      </pc:sldChg>
      <pc:sldChg chg="addSp delSp modSp mod">
        <pc:chgData name="Aniket Chhabra" userId="598e0514-bef3-4e71-b6aa-f2edd6441cff" providerId="ADAL" clId="{BE5B4798-BE1E-4422-9D3C-1ACF860F87B4}" dt="2021-07-24T02:31:32.538" v="406"/>
        <pc:sldMkLst>
          <pc:docMk/>
          <pc:sldMk cId="0" sldId="277"/>
        </pc:sldMkLst>
        <pc:grpChg chg="mod">
          <ac:chgData name="Aniket Chhabra" userId="598e0514-bef3-4e71-b6aa-f2edd6441cff" providerId="ADAL" clId="{BE5B4798-BE1E-4422-9D3C-1ACF860F87B4}" dt="2021-07-24T02:30:09.423" v="337"/>
          <ac:grpSpMkLst>
            <pc:docMk/>
            <pc:sldMk cId="0" sldId="277"/>
            <ac:grpSpMk id="16" creationId="{FC6F023C-342F-46B4-9EF4-29EE885E6D46}"/>
          </ac:grpSpMkLst>
        </pc:grpChg>
        <pc:grpChg chg="mod">
          <ac:chgData name="Aniket Chhabra" userId="598e0514-bef3-4e71-b6aa-f2edd6441cff" providerId="ADAL" clId="{BE5B4798-BE1E-4422-9D3C-1ACF860F87B4}" dt="2021-07-24T02:30:09.423" v="337"/>
          <ac:grpSpMkLst>
            <pc:docMk/>
            <pc:sldMk cId="0" sldId="277"/>
            <ac:grpSpMk id="17" creationId="{F34AA4FA-735E-480A-A1C3-7774CFAF3BE6}"/>
          </ac:grpSpMkLst>
        </pc:grpChg>
        <pc:grpChg chg="mod">
          <ac:chgData name="Aniket Chhabra" userId="598e0514-bef3-4e71-b6aa-f2edd6441cff" providerId="ADAL" clId="{BE5B4798-BE1E-4422-9D3C-1ACF860F87B4}" dt="2021-07-24T02:30:13.587" v="344"/>
          <ac:grpSpMkLst>
            <pc:docMk/>
            <pc:sldMk cId="0" sldId="277"/>
            <ac:grpSpMk id="24" creationId="{D8899736-D37A-4C1B-A34F-24DC350B82C8}"/>
          </ac:grpSpMkLst>
        </pc:grpChg>
        <pc:grpChg chg="mod">
          <ac:chgData name="Aniket Chhabra" userId="598e0514-bef3-4e71-b6aa-f2edd6441cff" providerId="ADAL" clId="{BE5B4798-BE1E-4422-9D3C-1ACF860F87B4}" dt="2021-07-24T02:30:18.506" v="356"/>
          <ac:grpSpMkLst>
            <pc:docMk/>
            <pc:sldMk cId="0" sldId="277"/>
            <ac:grpSpMk id="193" creationId="{C3D88B3F-3D8B-4DE7-A0E6-12137959B97F}"/>
          </ac:grpSpMkLst>
        </pc:grpChg>
        <pc:grpChg chg="del mod">
          <ac:chgData name="Aniket Chhabra" userId="598e0514-bef3-4e71-b6aa-f2edd6441cff" providerId="ADAL" clId="{BE5B4798-BE1E-4422-9D3C-1ACF860F87B4}" dt="2021-07-24T02:31:24.896" v="387"/>
          <ac:grpSpMkLst>
            <pc:docMk/>
            <pc:sldMk cId="0" sldId="277"/>
            <ac:grpSpMk id="200" creationId="{0E2B7B4A-BF89-4D2F-864B-4FF5295735DF}"/>
          </ac:grpSpMkLst>
        </pc:grpChg>
        <pc:grpChg chg="del mod">
          <ac:chgData name="Aniket Chhabra" userId="598e0514-bef3-4e71-b6aa-f2edd6441cff" providerId="ADAL" clId="{BE5B4798-BE1E-4422-9D3C-1ACF860F87B4}" dt="2021-07-24T02:31:24.897" v="389"/>
          <ac:grpSpMkLst>
            <pc:docMk/>
            <pc:sldMk cId="0" sldId="277"/>
            <ac:grpSpMk id="201" creationId="{EADCAEF3-80EC-4B76-9C25-93378216666B}"/>
          </ac:grpSpMkLst>
        </pc:grpChg>
        <pc:grpChg chg="mod">
          <ac:chgData name="Aniket Chhabra" userId="598e0514-bef3-4e71-b6aa-f2edd6441cff" providerId="ADAL" clId="{BE5B4798-BE1E-4422-9D3C-1ACF860F87B4}" dt="2021-07-24T02:30:33.056" v="380"/>
          <ac:grpSpMkLst>
            <pc:docMk/>
            <pc:sldMk cId="0" sldId="277"/>
            <ac:grpSpMk id="218" creationId="{A3FB0AD3-FFC9-4E79-8BCD-E068CE6753AD}"/>
          </ac:grpSpMkLst>
        </pc:grpChg>
        <pc:grpChg chg="mod">
          <ac:chgData name="Aniket Chhabra" userId="598e0514-bef3-4e71-b6aa-f2edd6441cff" providerId="ADAL" clId="{BE5B4798-BE1E-4422-9D3C-1ACF860F87B4}" dt="2021-07-24T02:30:29.520" v="378"/>
          <ac:grpSpMkLst>
            <pc:docMk/>
            <pc:sldMk cId="0" sldId="277"/>
            <ac:grpSpMk id="219" creationId="{BB858B9D-F92A-4B5E-9C1A-404965A29D8F}"/>
          </ac:grpSpMkLst>
        </pc:grpChg>
        <pc:grpChg chg="mod">
          <ac:chgData name="Aniket Chhabra" userId="598e0514-bef3-4e71-b6aa-f2edd6441cff" providerId="ADAL" clId="{BE5B4798-BE1E-4422-9D3C-1ACF860F87B4}" dt="2021-07-24T02:30:35.672" v="384"/>
          <ac:grpSpMkLst>
            <pc:docMk/>
            <pc:sldMk cId="0" sldId="277"/>
            <ac:grpSpMk id="223" creationId="{17839448-0A55-4F9A-8E0B-653B673A045F}"/>
          </ac:grpSpMkLst>
        </pc:grpChg>
        <pc:grpChg chg="mod">
          <ac:chgData name="Aniket Chhabra" userId="598e0514-bef3-4e71-b6aa-f2edd6441cff" providerId="ADAL" clId="{BE5B4798-BE1E-4422-9D3C-1ACF860F87B4}" dt="2021-07-24T02:31:32.538" v="406"/>
          <ac:grpSpMkLst>
            <pc:docMk/>
            <pc:sldMk cId="0" sldId="277"/>
            <ac:grpSpMk id="235" creationId="{38FA495A-A3D7-4271-8B60-8CFC4B2E92A7}"/>
          </ac:grpSpMkLst>
        </pc:grpChg>
        <pc:inkChg chg="add mod">
          <ac:chgData name="Aniket Chhabra" userId="598e0514-bef3-4e71-b6aa-f2edd6441cff" providerId="ADAL" clId="{BE5B4798-BE1E-4422-9D3C-1ACF860F87B4}" dt="2021-07-24T02:30:09.423" v="337"/>
          <ac:inkMkLst>
            <pc:docMk/>
            <pc:sldMk cId="0" sldId="277"/>
            <ac:inkMk id="2" creationId="{51689EF5-79E1-422D-9F4F-15BAECF246A6}"/>
          </ac:inkMkLst>
        </pc:inkChg>
        <pc:inkChg chg="add mod">
          <ac:chgData name="Aniket Chhabra" userId="598e0514-bef3-4e71-b6aa-f2edd6441cff" providerId="ADAL" clId="{BE5B4798-BE1E-4422-9D3C-1ACF860F87B4}" dt="2021-07-24T02:30:09.423" v="337"/>
          <ac:inkMkLst>
            <pc:docMk/>
            <pc:sldMk cId="0" sldId="277"/>
            <ac:inkMk id="3" creationId="{449A4E35-F211-4432-B9CE-61BA7C170853}"/>
          </ac:inkMkLst>
        </pc:inkChg>
        <pc:inkChg chg="add mod">
          <ac:chgData name="Aniket Chhabra" userId="598e0514-bef3-4e71-b6aa-f2edd6441cff" providerId="ADAL" clId="{BE5B4798-BE1E-4422-9D3C-1ACF860F87B4}" dt="2021-07-24T02:30:09.423" v="337"/>
          <ac:inkMkLst>
            <pc:docMk/>
            <pc:sldMk cId="0" sldId="277"/>
            <ac:inkMk id="4" creationId="{BF835C75-026E-422E-A311-474560EDAC60}"/>
          </ac:inkMkLst>
        </pc:inkChg>
        <pc:inkChg chg="add mod">
          <ac:chgData name="Aniket Chhabra" userId="598e0514-bef3-4e71-b6aa-f2edd6441cff" providerId="ADAL" clId="{BE5B4798-BE1E-4422-9D3C-1ACF860F87B4}" dt="2021-07-24T02:30:09.423" v="337"/>
          <ac:inkMkLst>
            <pc:docMk/>
            <pc:sldMk cId="0" sldId="277"/>
            <ac:inkMk id="5" creationId="{670B2AD7-CB3D-46D4-BF60-D12BD7BB5948}"/>
          </ac:inkMkLst>
        </pc:inkChg>
        <pc:inkChg chg="add mod">
          <ac:chgData name="Aniket Chhabra" userId="598e0514-bef3-4e71-b6aa-f2edd6441cff" providerId="ADAL" clId="{BE5B4798-BE1E-4422-9D3C-1ACF860F87B4}" dt="2021-07-24T02:30:09.423" v="337"/>
          <ac:inkMkLst>
            <pc:docMk/>
            <pc:sldMk cId="0" sldId="277"/>
            <ac:inkMk id="6" creationId="{AC8C4C64-0D2E-46F7-A4CC-D83117464B35}"/>
          </ac:inkMkLst>
        </pc:inkChg>
        <pc:inkChg chg="add mod">
          <ac:chgData name="Aniket Chhabra" userId="598e0514-bef3-4e71-b6aa-f2edd6441cff" providerId="ADAL" clId="{BE5B4798-BE1E-4422-9D3C-1ACF860F87B4}" dt="2021-07-24T02:30:09.423" v="337"/>
          <ac:inkMkLst>
            <pc:docMk/>
            <pc:sldMk cId="0" sldId="277"/>
            <ac:inkMk id="7" creationId="{73AEF4B8-3667-4A99-864C-A67FBF663CCD}"/>
          </ac:inkMkLst>
        </pc:inkChg>
        <pc:inkChg chg="add mod">
          <ac:chgData name="Aniket Chhabra" userId="598e0514-bef3-4e71-b6aa-f2edd6441cff" providerId="ADAL" clId="{BE5B4798-BE1E-4422-9D3C-1ACF860F87B4}" dt="2021-07-24T02:30:09.423" v="337"/>
          <ac:inkMkLst>
            <pc:docMk/>
            <pc:sldMk cId="0" sldId="277"/>
            <ac:inkMk id="8" creationId="{931385FB-1F43-47B1-9755-EC0D5434BF23}"/>
          </ac:inkMkLst>
        </pc:inkChg>
        <pc:inkChg chg="add mod">
          <ac:chgData name="Aniket Chhabra" userId="598e0514-bef3-4e71-b6aa-f2edd6441cff" providerId="ADAL" clId="{BE5B4798-BE1E-4422-9D3C-1ACF860F87B4}" dt="2021-07-24T02:30:09.423" v="337"/>
          <ac:inkMkLst>
            <pc:docMk/>
            <pc:sldMk cId="0" sldId="277"/>
            <ac:inkMk id="9" creationId="{215024A7-45A0-4A3A-B2A0-A83ECF13BF4E}"/>
          </ac:inkMkLst>
        </pc:inkChg>
        <pc:inkChg chg="add mod">
          <ac:chgData name="Aniket Chhabra" userId="598e0514-bef3-4e71-b6aa-f2edd6441cff" providerId="ADAL" clId="{BE5B4798-BE1E-4422-9D3C-1ACF860F87B4}" dt="2021-07-24T02:30:09.423" v="337"/>
          <ac:inkMkLst>
            <pc:docMk/>
            <pc:sldMk cId="0" sldId="277"/>
            <ac:inkMk id="10" creationId="{82251283-D3F1-496F-8FE9-E545B8D2FB88}"/>
          </ac:inkMkLst>
        </pc:inkChg>
        <pc:inkChg chg="add mod">
          <ac:chgData name="Aniket Chhabra" userId="598e0514-bef3-4e71-b6aa-f2edd6441cff" providerId="ADAL" clId="{BE5B4798-BE1E-4422-9D3C-1ACF860F87B4}" dt="2021-07-24T02:30:09.423" v="337"/>
          <ac:inkMkLst>
            <pc:docMk/>
            <pc:sldMk cId="0" sldId="277"/>
            <ac:inkMk id="11" creationId="{8A59F9FA-8E7D-4954-A555-87C9BC34A680}"/>
          </ac:inkMkLst>
        </pc:inkChg>
        <pc:inkChg chg="add mod">
          <ac:chgData name="Aniket Chhabra" userId="598e0514-bef3-4e71-b6aa-f2edd6441cff" providerId="ADAL" clId="{BE5B4798-BE1E-4422-9D3C-1ACF860F87B4}" dt="2021-07-24T02:30:09.423" v="337"/>
          <ac:inkMkLst>
            <pc:docMk/>
            <pc:sldMk cId="0" sldId="277"/>
            <ac:inkMk id="12" creationId="{7E429875-B99F-44C1-8DD7-F2148B27AE93}"/>
          </ac:inkMkLst>
        </pc:inkChg>
        <pc:inkChg chg="add mod">
          <ac:chgData name="Aniket Chhabra" userId="598e0514-bef3-4e71-b6aa-f2edd6441cff" providerId="ADAL" clId="{BE5B4798-BE1E-4422-9D3C-1ACF860F87B4}" dt="2021-07-24T02:30:09.423" v="337"/>
          <ac:inkMkLst>
            <pc:docMk/>
            <pc:sldMk cId="0" sldId="277"/>
            <ac:inkMk id="13" creationId="{C9931141-5936-4228-8A38-0AA50096C42C}"/>
          </ac:inkMkLst>
        </pc:inkChg>
        <pc:inkChg chg="add mod">
          <ac:chgData name="Aniket Chhabra" userId="598e0514-bef3-4e71-b6aa-f2edd6441cff" providerId="ADAL" clId="{BE5B4798-BE1E-4422-9D3C-1ACF860F87B4}" dt="2021-07-24T02:30:09.423" v="337"/>
          <ac:inkMkLst>
            <pc:docMk/>
            <pc:sldMk cId="0" sldId="277"/>
            <ac:inkMk id="14" creationId="{1B1AC5A0-709A-483D-8011-00731462E99D}"/>
          </ac:inkMkLst>
        </pc:inkChg>
        <pc:inkChg chg="add mod">
          <ac:chgData name="Aniket Chhabra" userId="598e0514-bef3-4e71-b6aa-f2edd6441cff" providerId="ADAL" clId="{BE5B4798-BE1E-4422-9D3C-1ACF860F87B4}" dt="2021-07-24T02:30:09.423" v="337"/>
          <ac:inkMkLst>
            <pc:docMk/>
            <pc:sldMk cId="0" sldId="277"/>
            <ac:inkMk id="15" creationId="{1A401057-D9E9-4A3E-94E3-99ED444F9F57}"/>
          </ac:inkMkLst>
        </pc:inkChg>
        <pc:inkChg chg="add">
          <ac:chgData name="Aniket Chhabra" userId="598e0514-bef3-4e71-b6aa-f2edd6441cff" providerId="ADAL" clId="{BE5B4798-BE1E-4422-9D3C-1ACF860F87B4}" dt="2021-07-24T02:30:10.466" v="338" actId="9405"/>
          <ac:inkMkLst>
            <pc:docMk/>
            <pc:sldMk cId="0" sldId="277"/>
            <ac:inkMk id="18" creationId="{FBF0D505-CEB3-4F5C-A4F9-D93525C260A0}"/>
          </ac:inkMkLst>
        </pc:inkChg>
        <pc:inkChg chg="add">
          <ac:chgData name="Aniket Chhabra" userId="598e0514-bef3-4e71-b6aa-f2edd6441cff" providerId="ADAL" clId="{BE5B4798-BE1E-4422-9D3C-1ACF860F87B4}" dt="2021-07-24T02:30:11.139" v="339" actId="9405"/>
          <ac:inkMkLst>
            <pc:docMk/>
            <pc:sldMk cId="0" sldId="277"/>
            <ac:inkMk id="19" creationId="{332BC718-2F4D-4C22-B437-C0822C231E8F}"/>
          </ac:inkMkLst>
        </pc:inkChg>
        <pc:inkChg chg="add mod">
          <ac:chgData name="Aniket Chhabra" userId="598e0514-bef3-4e71-b6aa-f2edd6441cff" providerId="ADAL" clId="{BE5B4798-BE1E-4422-9D3C-1ACF860F87B4}" dt="2021-07-24T02:30:13.587" v="344"/>
          <ac:inkMkLst>
            <pc:docMk/>
            <pc:sldMk cId="0" sldId="277"/>
            <ac:inkMk id="20" creationId="{516BC0F5-2547-48FD-B174-4622A1E421E0}"/>
          </ac:inkMkLst>
        </pc:inkChg>
        <pc:inkChg chg="add mod">
          <ac:chgData name="Aniket Chhabra" userId="598e0514-bef3-4e71-b6aa-f2edd6441cff" providerId="ADAL" clId="{BE5B4798-BE1E-4422-9D3C-1ACF860F87B4}" dt="2021-07-24T02:30:13.587" v="344"/>
          <ac:inkMkLst>
            <pc:docMk/>
            <pc:sldMk cId="0" sldId="277"/>
            <ac:inkMk id="21" creationId="{9D818C3D-4952-4357-ACAD-27986B11305A}"/>
          </ac:inkMkLst>
        </pc:inkChg>
        <pc:inkChg chg="add mod">
          <ac:chgData name="Aniket Chhabra" userId="598e0514-bef3-4e71-b6aa-f2edd6441cff" providerId="ADAL" clId="{BE5B4798-BE1E-4422-9D3C-1ACF860F87B4}" dt="2021-07-24T02:30:13.587" v="344"/>
          <ac:inkMkLst>
            <pc:docMk/>
            <pc:sldMk cId="0" sldId="277"/>
            <ac:inkMk id="22" creationId="{C9E44A87-092D-4DFE-8A8A-C38E4A8CDCAA}"/>
          </ac:inkMkLst>
        </pc:inkChg>
        <pc:inkChg chg="add mod">
          <ac:chgData name="Aniket Chhabra" userId="598e0514-bef3-4e71-b6aa-f2edd6441cff" providerId="ADAL" clId="{BE5B4798-BE1E-4422-9D3C-1ACF860F87B4}" dt="2021-07-24T02:30:13.587" v="344"/>
          <ac:inkMkLst>
            <pc:docMk/>
            <pc:sldMk cId="0" sldId="277"/>
            <ac:inkMk id="23" creationId="{3210FA9E-FA89-4A3A-90A0-C42A3D055DFC}"/>
          </ac:inkMkLst>
        </pc:inkChg>
        <pc:inkChg chg="add">
          <ac:chgData name="Aniket Chhabra" userId="598e0514-bef3-4e71-b6aa-f2edd6441cff" providerId="ADAL" clId="{BE5B4798-BE1E-4422-9D3C-1ACF860F87B4}" dt="2021-07-24T02:30:14.065" v="345" actId="9405"/>
          <ac:inkMkLst>
            <pc:docMk/>
            <pc:sldMk cId="0" sldId="277"/>
            <ac:inkMk id="25" creationId="{DC1B8C58-8E52-41DB-B635-6BE69EDB7AE6}"/>
          </ac:inkMkLst>
        </pc:inkChg>
        <pc:inkChg chg="add mod">
          <ac:chgData name="Aniket Chhabra" userId="598e0514-bef3-4e71-b6aa-f2edd6441cff" providerId="ADAL" clId="{BE5B4798-BE1E-4422-9D3C-1ACF860F87B4}" dt="2021-07-24T02:30:18.506" v="356"/>
          <ac:inkMkLst>
            <pc:docMk/>
            <pc:sldMk cId="0" sldId="277"/>
            <ac:inkMk id="26" creationId="{AFED066B-C3B4-4867-B0B8-66A203414971}"/>
          </ac:inkMkLst>
        </pc:inkChg>
        <pc:inkChg chg="add mod">
          <ac:chgData name="Aniket Chhabra" userId="598e0514-bef3-4e71-b6aa-f2edd6441cff" providerId="ADAL" clId="{BE5B4798-BE1E-4422-9D3C-1ACF860F87B4}" dt="2021-07-24T02:30:18.506" v="356"/>
          <ac:inkMkLst>
            <pc:docMk/>
            <pc:sldMk cId="0" sldId="277"/>
            <ac:inkMk id="27" creationId="{3F5819ED-57CC-4746-BFA2-13506EC784E8}"/>
          </ac:inkMkLst>
        </pc:inkChg>
        <pc:inkChg chg="add mod">
          <ac:chgData name="Aniket Chhabra" userId="598e0514-bef3-4e71-b6aa-f2edd6441cff" providerId="ADAL" clId="{BE5B4798-BE1E-4422-9D3C-1ACF860F87B4}" dt="2021-07-24T02:30:18.506" v="356"/>
          <ac:inkMkLst>
            <pc:docMk/>
            <pc:sldMk cId="0" sldId="277"/>
            <ac:inkMk id="28" creationId="{DA3247C4-B37E-457D-AFA6-D30DD2FB2275}"/>
          </ac:inkMkLst>
        </pc:inkChg>
        <pc:inkChg chg="add mod">
          <ac:chgData name="Aniket Chhabra" userId="598e0514-bef3-4e71-b6aa-f2edd6441cff" providerId="ADAL" clId="{BE5B4798-BE1E-4422-9D3C-1ACF860F87B4}" dt="2021-07-24T02:30:18.506" v="356"/>
          <ac:inkMkLst>
            <pc:docMk/>
            <pc:sldMk cId="0" sldId="277"/>
            <ac:inkMk id="29" creationId="{5AE07810-84B7-4C0A-8244-A156A8B806AF}"/>
          </ac:inkMkLst>
        </pc:inkChg>
        <pc:inkChg chg="add del">
          <ac:chgData name="Aniket Chhabra" userId="598e0514-bef3-4e71-b6aa-f2edd6441cff" providerId="ADAL" clId="{BE5B4798-BE1E-4422-9D3C-1ACF860F87B4}" dt="2021-07-24T02:30:18.163" v="355"/>
          <ac:inkMkLst>
            <pc:docMk/>
            <pc:sldMk cId="0" sldId="277"/>
            <ac:inkMk id="30" creationId="{1A7830F0-1AF5-45F7-85A4-CE5D414FA84E}"/>
          </ac:inkMkLst>
        </pc:inkChg>
        <pc:inkChg chg="add del">
          <ac:chgData name="Aniket Chhabra" userId="598e0514-bef3-4e71-b6aa-f2edd6441cff" providerId="ADAL" clId="{BE5B4798-BE1E-4422-9D3C-1ACF860F87B4}" dt="2021-07-24T02:30:18.163" v="354"/>
          <ac:inkMkLst>
            <pc:docMk/>
            <pc:sldMk cId="0" sldId="277"/>
            <ac:inkMk id="31" creationId="{DF144201-42C3-4323-AAF0-9C4E3D302091}"/>
          </ac:inkMkLst>
        </pc:inkChg>
        <pc:inkChg chg="add del">
          <ac:chgData name="Aniket Chhabra" userId="598e0514-bef3-4e71-b6aa-f2edd6441cff" providerId="ADAL" clId="{BE5B4798-BE1E-4422-9D3C-1ACF860F87B4}" dt="2021-07-24T02:30:18.162" v="353"/>
          <ac:inkMkLst>
            <pc:docMk/>
            <pc:sldMk cId="0" sldId="277"/>
            <ac:inkMk id="192" creationId="{B737BA43-4F99-4495-89FB-AAC221F7612C}"/>
          </ac:inkMkLst>
        </pc:inkChg>
        <pc:inkChg chg="add mod">
          <ac:chgData name="Aniket Chhabra" userId="598e0514-bef3-4e71-b6aa-f2edd6441cff" providerId="ADAL" clId="{BE5B4798-BE1E-4422-9D3C-1ACF860F87B4}" dt="2021-07-24T02:31:24.897" v="389"/>
          <ac:inkMkLst>
            <pc:docMk/>
            <pc:sldMk cId="0" sldId="277"/>
            <ac:inkMk id="194" creationId="{37363F7F-4FE2-4705-94D1-22A8D7B98391}"/>
          </ac:inkMkLst>
        </pc:inkChg>
        <pc:inkChg chg="add del mod">
          <ac:chgData name="Aniket Chhabra" userId="598e0514-bef3-4e71-b6aa-f2edd6441cff" providerId="ADAL" clId="{BE5B4798-BE1E-4422-9D3C-1ACF860F87B4}" dt="2021-07-24T02:31:24.896" v="388"/>
          <ac:inkMkLst>
            <pc:docMk/>
            <pc:sldMk cId="0" sldId="277"/>
            <ac:inkMk id="195" creationId="{F121F48F-EDFC-4F78-9BBA-DFAC45E03E14}"/>
          </ac:inkMkLst>
        </pc:inkChg>
        <pc:inkChg chg="add del mod">
          <ac:chgData name="Aniket Chhabra" userId="598e0514-bef3-4e71-b6aa-f2edd6441cff" providerId="ADAL" clId="{BE5B4798-BE1E-4422-9D3C-1ACF860F87B4}" dt="2021-07-24T02:31:24.897" v="389"/>
          <ac:inkMkLst>
            <pc:docMk/>
            <pc:sldMk cId="0" sldId="277"/>
            <ac:inkMk id="196" creationId="{4B96EF70-F32D-4B29-B940-E123B6FEFF7D}"/>
          </ac:inkMkLst>
        </pc:inkChg>
        <pc:inkChg chg="add del mod">
          <ac:chgData name="Aniket Chhabra" userId="598e0514-bef3-4e71-b6aa-f2edd6441cff" providerId="ADAL" clId="{BE5B4798-BE1E-4422-9D3C-1ACF860F87B4}" dt="2021-07-24T02:31:24.897" v="390"/>
          <ac:inkMkLst>
            <pc:docMk/>
            <pc:sldMk cId="0" sldId="277"/>
            <ac:inkMk id="197" creationId="{6BAB2C62-AFB6-49BE-AC6D-93FC4F5D1C50}"/>
          </ac:inkMkLst>
        </pc:inkChg>
        <pc:inkChg chg="add del mod">
          <ac:chgData name="Aniket Chhabra" userId="598e0514-bef3-4e71-b6aa-f2edd6441cff" providerId="ADAL" clId="{BE5B4798-BE1E-4422-9D3C-1ACF860F87B4}" dt="2021-07-24T02:31:24.895" v="386"/>
          <ac:inkMkLst>
            <pc:docMk/>
            <pc:sldMk cId="0" sldId="277"/>
            <ac:inkMk id="198" creationId="{ED3910D0-5141-4551-A1C1-F671E6F395B1}"/>
          </ac:inkMkLst>
        </pc:inkChg>
        <pc:inkChg chg="add del mod">
          <ac:chgData name="Aniket Chhabra" userId="598e0514-bef3-4e71-b6aa-f2edd6441cff" providerId="ADAL" clId="{BE5B4798-BE1E-4422-9D3C-1ACF860F87B4}" dt="2021-07-24T02:31:24.896" v="387"/>
          <ac:inkMkLst>
            <pc:docMk/>
            <pc:sldMk cId="0" sldId="277"/>
            <ac:inkMk id="199" creationId="{956637A2-E3EF-4D46-BA16-9421E265651B}"/>
          </ac:inkMkLst>
        </pc:inkChg>
        <pc:inkChg chg="add mod">
          <ac:chgData name="Aniket Chhabra" userId="598e0514-bef3-4e71-b6aa-f2edd6441cff" providerId="ADAL" clId="{BE5B4798-BE1E-4422-9D3C-1ACF860F87B4}" dt="2021-07-24T02:30:29.520" v="378"/>
          <ac:inkMkLst>
            <pc:docMk/>
            <pc:sldMk cId="0" sldId="277"/>
            <ac:inkMk id="202" creationId="{B5DE8296-09ED-46C7-A5BC-F33A877ED14D}"/>
          </ac:inkMkLst>
        </pc:inkChg>
        <pc:inkChg chg="add mod">
          <ac:chgData name="Aniket Chhabra" userId="598e0514-bef3-4e71-b6aa-f2edd6441cff" providerId="ADAL" clId="{BE5B4798-BE1E-4422-9D3C-1ACF860F87B4}" dt="2021-07-24T02:30:29.520" v="378"/>
          <ac:inkMkLst>
            <pc:docMk/>
            <pc:sldMk cId="0" sldId="277"/>
            <ac:inkMk id="203" creationId="{1C81BBB7-BDDB-4C7C-AEAF-AD2178DA0445}"/>
          </ac:inkMkLst>
        </pc:inkChg>
        <pc:inkChg chg="add mod">
          <ac:chgData name="Aniket Chhabra" userId="598e0514-bef3-4e71-b6aa-f2edd6441cff" providerId="ADAL" clId="{BE5B4798-BE1E-4422-9D3C-1ACF860F87B4}" dt="2021-07-24T02:30:29.520" v="378"/>
          <ac:inkMkLst>
            <pc:docMk/>
            <pc:sldMk cId="0" sldId="277"/>
            <ac:inkMk id="204" creationId="{F478861A-E8AC-48E7-A447-80E4581A9130}"/>
          </ac:inkMkLst>
        </pc:inkChg>
        <pc:inkChg chg="add mod">
          <ac:chgData name="Aniket Chhabra" userId="598e0514-bef3-4e71-b6aa-f2edd6441cff" providerId="ADAL" clId="{BE5B4798-BE1E-4422-9D3C-1ACF860F87B4}" dt="2021-07-24T02:30:29.520" v="378"/>
          <ac:inkMkLst>
            <pc:docMk/>
            <pc:sldMk cId="0" sldId="277"/>
            <ac:inkMk id="205" creationId="{49D04C47-8C9C-4D46-8DE8-298F008027EF}"/>
          </ac:inkMkLst>
        </pc:inkChg>
        <pc:inkChg chg="add mod">
          <ac:chgData name="Aniket Chhabra" userId="598e0514-bef3-4e71-b6aa-f2edd6441cff" providerId="ADAL" clId="{BE5B4798-BE1E-4422-9D3C-1ACF860F87B4}" dt="2021-07-24T02:30:29.520" v="378"/>
          <ac:inkMkLst>
            <pc:docMk/>
            <pc:sldMk cId="0" sldId="277"/>
            <ac:inkMk id="206" creationId="{30C6BFD7-B78F-4C10-B4C9-CFE93DC6E1BD}"/>
          </ac:inkMkLst>
        </pc:inkChg>
        <pc:inkChg chg="add mod">
          <ac:chgData name="Aniket Chhabra" userId="598e0514-bef3-4e71-b6aa-f2edd6441cff" providerId="ADAL" clId="{BE5B4798-BE1E-4422-9D3C-1ACF860F87B4}" dt="2021-07-24T02:30:33.056" v="380"/>
          <ac:inkMkLst>
            <pc:docMk/>
            <pc:sldMk cId="0" sldId="277"/>
            <ac:inkMk id="207" creationId="{60EC2E99-868E-4B76-BF76-179681163876}"/>
          </ac:inkMkLst>
        </pc:inkChg>
        <pc:inkChg chg="add mod">
          <ac:chgData name="Aniket Chhabra" userId="598e0514-bef3-4e71-b6aa-f2edd6441cff" providerId="ADAL" clId="{BE5B4798-BE1E-4422-9D3C-1ACF860F87B4}" dt="2021-07-24T02:30:33.056" v="380"/>
          <ac:inkMkLst>
            <pc:docMk/>
            <pc:sldMk cId="0" sldId="277"/>
            <ac:inkMk id="208" creationId="{B65513EB-ED4C-4057-B48C-BDB9B4E7826A}"/>
          </ac:inkMkLst>
        </pc:inkChg>
        <pc:inkChg chg="add mod">
          <ac:chgData name="Aniket Chhabra" userId="598e0514-bef3-4e71-b6aa-f2edd6441cff" providerId="ADAL" clId="{BE5B4798-BE1E-4422-9D3C-1ACF860F87B4}" dt="2021-07-24T02:30:33.056" v="380"/>
          <ac:inkMkLst>
            <pc:docMk/>
            <pc:sldMk cId="0" sldId="277"/>
            <ac:inkMk id="209" creationId="{FB40D989-BCE6-4E2B-B784-51D7E0C2F136}"/>
          </ac:inkMkLst>
        </pc:inkChg>
        <pc:inkChg chg="add mod">
          <ac:chgData name="Aniket Chhabra" userId="598e0514-bef3-4e71-b6aa-f2edd6441cff" providerId="ADAL" clId="{BE5B4798-BE1E-4422-9D3C-1ACF860F87B4}" dt="2021-07-24T02:30:33.056" v="380"/>
          <ac:inkMkLst>
            <pc:docMk/>
            <pc:sldMk cId="0" sldId="277"/>
            <ac:inkMk id="210" creationId="{70CFE74C-FC39-45C4-BE6E-441CEB5B2471}"/>
          </ac:inkMkLst>
        </pc:inkChg>
        <pc:inkChg chg="add mod">
          <ac:chgData name="Aniket Chhabra" userId="598e0514-bef3-4e71-b6aa-f2edd6441cff" providerId="ADAL" clId="{BE5B4798-BE1E-4422-9D3C-1ACF860F87B4}" dt="2021-07-24T02:30:33.056" v="380"/>
          <ac:inkMkLst>
            <pc:docMk/>
            <pc:sldMk cId="0" sldId="277"/>
            <ac:inkMk id="211" creationId="{2D4EC4C5-34BB-4238-A223-17FEB096839D}"/>
          </ac:inkMkLst>
        </pc:inkChg>
        <pc:inkChg chg="add mod">
          <ac:chgData name="Aniket Chhabra" userId="598e0514-bef3-4e71-b6aa-f2edd6441cff" providerId="ADAL" clId="{BE5B4798-BE1E-4422-9D3C-1ACF860F87B4}" dt="2021-07-24T02:30:33.056" v="380"/>
          <ac:inkMkLst>
            <pc:docMk/>
            <pc:sldMk cId="0" sldId="277"/>
            <ac:inkMk id="214" creationId="{D309CFC3-1F21-454D-9D20-16E277C7D3D5}"/>
          </ac:inkMkLst>
        </pc:inkChg>
        <pc:inkChg chg="add mod">
          <ac:chgData name="Aniket Chhabra" userId="598e0514-bef3-4e71-b6aa-f2edd6441cff" providerId="ADAL" clId="{BE5B4798-BE1E-4422-9D3C-1ACF860F87B4}" dt="2021-07-24T02:30:33.056" v="380"/>
          <ac:inkMkLst>
            <pc:docMk/>
            <pc:sldMk cId="0" sldId="277"/>
            <ac:inkMk id="215" creationId="{BBE62AB6-B5C1-49A3-AC97-03BD26420D9C}"/>
          </ac:inkMkLst>
        </pc:inkChg>
        <pc:inkChg chg="add del mod">
          <ac:chgData name="Aniket Chhabra" userId="598e0514-bef3-4e71-b6aa-f2edd6441cff" providerId="ADAL" clId="{BE5B4798-BE1E-4422-9D3C-1ACF860F87B4}" dt="2021-07-24T02:30:33.055" v="379"/>
          <ac:inkMkLst>
            <pc:docMk/>
            <pc:sldMk cId="0" sldId="277"/>
            <ac:inkMk id="216" creationId="{ED3F6993-DC27-476B-86A5-6E0F71CD1ABA}"/>
          </ac:inkMkLst>
        </pc:inkChg>
        <pc:inkChg chg="add del mod">
          <ac:chgData name="Aniket Chhabra" userId="598e0514-bef3-4e71-b6aa-f2edd6441cff" providerId="ADAL" clId="{BE5B4798-BE1E-4422-9D3C-1ACF860F87B4}" dt="2021-07-24T02:30:33.056" v="380"/>
          <ac:inkMkLst>
            <pc:docMk/>
            <pc:sldMk cId="0" sldId="277"/>
            <ac:inkMk id="217" creationId="{1ECAE95E-C133-404C-8105-9CE0C61D0D90}"/>
          </ac:inkMkLst>
        </pc:inkChg>
        <pc:inkChg chg="add mod">
          <ac:chgData name="Aniket Chhabra" userId="598e0514-bef3-4e71-b6aa-f2edd6441cff" providerId="ADAL" clId="{BE5B4798-BE1E-4422-9D3C-1ACF860F87B4}" dt="2021-07-24T02:30:35.672" v="384"/>
          <ac:inkMkLst>
            <pc:docMk/>
            <pc:sldMk cId="0" sldId="277"/>
            <ac:inkMk id="220" creationId="{23BEF32C-B6AD-46C3-AFA5-762220B30E0C}"/>
          </ac:inkMkLst>
        </pc:inkChg>
        <pc:inkChg chg="add mod">
          <ac:chgData name="Aniket Chhabra" userId="598e0514-bef3-4e71-b6aa-f2edd6441cff" providerId="ADAL" clId="{BE5B4798-BE1E-4422-9D3C-1ACF860F87B4}" dt="2021-07-24T02:30:35.672" v="384"/>
          <ac:inkMkLst>
            <pc:docMk/>
            <pc:sldMk cId="0" sldId="277"/>
            <ac:inkMk id="221" creationId="{ED9477C2-CCBA-483C-8C2A-38563EBE1D22}"/>
          </ac:inkMkLst>
        </pc:inkChg>
        <pc:inkChg chg="add mod">
          <ac:chgData name="Aniket Chhabra" userId="598e0514-bef3-4e71-b6aa-f2edd6441cff" providerId="ADAL" clId="{BE5B4798-BE1E-4422-9D3C-1ACF860F87B4}" dt="2021-07-24T02:30:35.672" v="384"/>
          <ac:inkMkLst>
            <pc:docMk/>
            <pc:sldMk cId="0" sldId="277"/>
            <ac:inkMk id="222" creationId="{3A370431-D556-49FA-849F-45CD7BF1A1A7}"/>
          </ac:inkMkLst>
        </pc:inkChg>
        <pc:inkChg chg="add">
          <ac:chgData name="Aniket Chhabra" userId="598e0514-bef3-4e71-b6aa-f2edd6441cff" providerId="ADAL" clId="{BE5B4798-BE1E-4422-9D3C-1ACF860F87B4}" dt="2021-07-24T02:31:21.295" v="385" actId="9405"/>
          <ac:inkMkLst>
            <pc:docMk/>
            <pc:sldMk cId="0" sldId="277"/>
            <ac:inkMk id="224" creationId="{21C6AE7D-FBE2-4BBE-8BA8-D5B2F8D4E4B5}"/>
          </ac:inkMkLst>
        </pc:inkChg>
        <pc:inkChg chg="add del">
          <ac:chgData name="Aniket Chhabra" userId="598e0514-bef3-4e71-b6aa-f2edd6441cff" providerId="ADAL" clId="{BE5B4798-BE1E-4422-9D3C-1ACF860F87B4}" dt="2021-07-24T02:31:28.878" v="399"/>
          <ac:inkMkLst>
            <pc:docMk/>
            <pc:sldMk cId="0" sldId="277"/>
            <ac:inkMk id="225" creationId="{B74836E4-A511-42FB-A3EB-B28BFE6CB3EF}"/>
          </ac:inkMkLst>
        </pc:inkChg>
        <pc:inkChg chg="add del">
          <ac:chgData name="Aniket Chhabra" userId="598e0514-bef3-4e71-b6aa-f2edd6441cff" providerId="ADAL" clId="{BE5B4798-BE1E-4422-9D3C-1ACF860F87B4}" dt="2021-07-24T02:31:28.878" v="400"/>
          <ac:inkMkLst>
            <pc:docMk/>
            <pc:sldMk cId="0" sldId="277"/>
            <ac:inkMk id="226" creationId="{442F758B-43F8-4B1D-91E2-19FB95B1DE5E}"/>
          </ac:inkMkLst>
        </pc:inkChg>
        <pc:inkChg chg="add del">
          <ac:chgData name="Aniket Chhabra" userId="598e0514-bef3-4e71-b6aa-f2edd6441cff" providerId="ADAL" clId="{BE5B4798-BE1E-4422-9D3C-1ACF860F87B4}" dt="2021-07-24T02:31:28.876" v="396"/>
          <ac:inkMkLst>
            <pc:docMk/>
            <pc:sldMk cId="0" sldId="277"/>
            <ac:inkMk id="227" creationId="{3BDE2780-9413-4C53-85B7-98F77C789250}"/>
          </ac:inkMkLst>
        </pc:inkChg>
        <pc:inkChg chg="add del">
          <ac:chgData name="Aniket Chhabra" userId="598e0514-bef3-4e71-b6aa-f2edd6441cff" providerId="ADAL" clId="{BE5B4798-BE1E-4422-9D3C-1ACF860F87B4}" dt="2021-07-24T02:31:28.877" v="397"/>
          <ac:inkMkLst>
            <pc:docMk/>
            <pc:sldMk cId="0" sldId="277"/>
            <ac:inkMk id="228" creationId="{AD622BA3-22E7-4823-9996-9CAFA7BF7061}"/>
          </ac:inkMkLst>
        </pc:inkChg>
        <pc:inkChg chg="add del">
          <ac:chgData name="Aniket Chhabra" userId="598e0514-bef3-4e71-b6aa-f2edd6441cff" providerId="ADAL" clId="{BE5B4798-BE1E-4422-9D3C-1ACF860F87B4}" dt="2021-07-24T02:31:28.877" v="398"/>
          <ac:inkMkLst>
            <pc:docMk/>
            <pc:sldMk cId="0" sldId="277"/>
            <ac:inkMk id="229" creationId="{16AAA40E-B3C7-4C2F-B292-65B56B3E6476}"/>
          </ac:inkMkLst>
        </pc:inkChg>
        <pc:inkChg chg="add mod">
          <ac:chgData name="Aniket Chhabra" userId="598e0514-bef3-4e71-b6aa-f2edd6441cff" providerId="ADAL" clId="{BE5B4798-BE1E-4422-9D3C-1ACF860F87B4}" dt="2021-07-24T02:31:32.538" v="406"/>
          <ac:inkMkLst>
            <pc:docMk/>
            <pc:sldMk cId="0" sldId="277"/>
            <ac:inkMk id="230" creationId="{2358DA89-D989-4E47-843A-887790309220}"/>
          </ac:inkMkLst>
        </pc:inkChg>
        <pc:inkChg chg="add mod">
          <ac:chgData name="Aniket Chhabra" userId="598e0514-bef3-4e71-b6aa-f2edd6441cff" providerId="ADAL" clId="{BE5B4798-BE1E-4422-9D3C-1ACF860F87B4}" dt="2021-07-24T02:31:32.538" v="406"/>
          <ac:inkMkLst>
            <pc:docMk/>
            <pc:sldMk cId="0" sldId="277"/>
            <ac:inkMk id="231" creationId="{065683D5-7781-4148-B981-997BBC30F848}"/>
          </ac:inkMkLst>
        </pc:inkChg>
        <pc:inkChg chg="add mod">
          <ac:chgData name="Aniket Chhabra" userId="598e0514-bef3-4e71-b6aa-f2edd6441cff" providerId="ADAL" clId="{BE5B4798-BE1E-4422-9D3C-1ACF860F87B4}" dt="2021-07-24T02:31:32.538" v="406"/>
          <ac:inkMkLst>
            <pc:docMk/>
            <pc:sldMk cId="0" sldId="277"/>
            <ac:inkMk id="232" creationId="{B7E813F9-6BF9-45FD-B5E2-742BF55E9856}"/>
          </ac:inkMkLst>
        </pc:inkChg>
        <pc:inkChg chg="add mod">
          <ac:chgData name="Aniket Chhabra" userId="598e0514-bef3-4e71-b6aa-f2edd6441cff" providerId="ADAL" clId="{BE5B4798-BE1E-4422-9D3C-1ACF860F87B4}" dt="2021-07-24T02:31:32.538" v="406"/>
          <ac:inkMkLst>
            <pc:docMk/>
            <pc:sldMk cId="0" sldId="277"/>
            <ac:inkMk id="233" creationId="{D9B19D67-4F96-4938-8E14-78E90F53F0BD}"/>
          </ac:inkMkLst>
        </pc:inkChg>
        <pc:inkChg chg="add mod">
          <ac:chgData name="Aniket Chhabra" userId="598e0514-bef3-4e71-b6aa-f2edd6441cff" providerId="ADAL" clId="{BE5B4798-BE1E-4422-9D3C-1ACF860F87B4}" dt="2021-07-24T02:31:32.538" v="406"/>
          <ac:inkMkLst>
            <pc:docMk/>
            <pc:sldMk cId="0" sldId="277"/>
            <ac:inkMk id="234" creationId="{FFC0E418-742C-4123-8AB4-68BA86349562}"/>
          </ac:inkMkLst>
        </pc:inkChg>
      </pc:sldChg>
      <pc:sldChg chg="addSp modSp mod">
        <pc:chgData name="Aniket Chhabra" userId="598e0514-bef3-4e71-b6aa-f2edd6441cff" providerId="ADAL" clId="{BE5B4798-BE1E-4422-9D3C-1ACF860F87B4}" dt="2021-07-23T10:52:09.406" v="100" actId="33524"/>
        <pc:sldMkLst>
          <pc:docMk/>
          <pc:sldMk cId="0" sldId="279"/>
        </pc:sldMkLst>
        <pc:spChg chg="mod">
          <ac:chgData name="Aniket Chhabra" userId="598e0514-bef3-4e71-b6aa-f2edd6441cff" providerId="ADAL" clId="{BE5B4798-BE1E-4422-9D3C-1ACF860F87B4}" dt="2021-07-23T10:50:34.748" v="66" actId="14100"/>
          <ac:spMkLst>
            <pc:docMk/>
            <pc:sldMk cId="0" sldId="279"/>
            <ac:spMk id="224" creationId="{00000000-0000-0000-0000-000000000000}"/>
          </ac:spMkLst>
        </pc:spChg>
        <pc:spChg chg="mod">
          <ac:chgData name="Aniket Chhabra" userId="598e0514-bef3-4e71-b6aa-f2edd6441cff" providerId="ADAL" clId="{BE5B4798-BE1E-4422-9D3C-1ACF860F87B4}" dt="2021-07-23T10:52:09.406" v="100" actId="33524"/>
          <ac:spMkLst>
            <pc:docMk/>
            <pc:sldMk cId="0" sldId="279"/>
            <ac:spMk id="225" creationId="{00000000-0000-0000-0000-000000000000}"/>
          </ac:spMkLst>
        </pc:spChg>
        <pc:graphicFrameChg chg="add mod ord modVis">
          <ac:chgData name="Aniket Chhabra" userId="598e0514-bef3-4e71-b6aa-f2edd6441cff" providerId="ADAL" clId="{BE5B4798-BE1E-4422-9D3C-1ACF860F87B4}" dt="2021-07-23T10:50:35.244" v="68"/>
          <ac:graphicFrameMkLst>
            <pc:docMk/>
            <pc:sldMk cId="0" sldId="279"/>
            <ac:graphicFrameMk id="2" creationId="{6D61757C-633A-43AC-8531-C3ADF44C1D0E}"/>
          </ac:graphicFrameMkLst>
        </pc:graphicFrameChg>
      </pc:sldChg>
      <pc:sldChg chg="addSp delSp modSp mod">
        <pc:chgData name="Aniket Chhabra" userId="598e0514-bef3-4e71-b6aa-f2edd6441cff" providerId="ADAL" clId="{BE5B4798-BE1E-4422-9D3C-1ACF860F87B4}" dt="2021-07-24T02:39:07.981" v="489"/>
        <pc:sldMkLst>
          <pc:docMk/>
          <pc:sldMk cId="0" sldId="281"/>
        </pc:sldMkLst>
        <pc:spChg chg="mod">
          <ac:chgData name="Aniket Chhabra" userId="598e0514-bef3-4e71-b6aa-f2edd6441cff" providerId="ADAL" clId="{BE5B4798-BE1E-4422-9D3C-1ACF860F87B4}" dt="2021-07-24T02:38:11.816" v="450" actId="20577"/>
          <ac:spMkLst>
            <pc:docMk/>
            <pc:sldMk cId="0" sldId="281"/>
            <ac:spMk id="237" creationId="{00000000-0000-0000-0000-000000000000}"/>
          </ac:spMkLst>
        </pc:spChg>
        <pc:grpChg chg="mod">
          <ac:chgData name="Aniket Chhabra" userId="598e0514-bef3-4e71-b6aa-f2edd6441cff" providerId="ADAL" clId="{BE5B4798-BE1E-4422-9D3C-1ACF860F87B4}" dt="2021-07-24T02:36:58.569" v="411"/>
          <ac:grpSpMkLst>
            <pc:docMk/>
            <pc:sldMk cId="0" sldId="281"/>
            <ac:grpSpMk id="6" creationId="{5A023789-20D4-46DC-AAB0-89FFEC46AB5F}"/>
          </ac:grpSpMkLst>
        </pc:grpChg>
        <pc:grpChg chg="mod">
          <ac:chgData name="Aniket Chhabra" userId="598e0514-bef3-4e71-b6aa-f2edd6441cff" providerId="ADAL" clId="{BE5B4798-BE1E-4422-9D3C-1ACF860F87B4}" dt="2021-07-24T02:37:06.137" v="428"/>
          <ac:grpSpMkLst>
            <pc:docMk/>
            <pc:sldMk cId="0" sldId="281"/>
            <ac:grpSpMk id="18" creationId="{8A1CA263-5814-402E-B88F-18A857267A4F}"/>
          </ac:grpSpMkLst>
        </pc:grpChg>
        <pc:grpChg chg="mod">
          <ac:chgData name="Aniket Chhabra" userId="598e0514-bef3-4e71-b6aa-f2edd6441cff" providerId="ADAL" clId="{BE5B4798-BE1E-4422-9D3C-1ACF860F87B4}" dt="2021-07-24T02:37:12.179" v="437"/>
          <ac:grpSpMkLst>
            <pc:docMk/>
            <pc:sldMk cId="0" sldId="281"/>
            <ac:grpSpMk id="26" creationId="{9609903F-6C08-493A-A286-52638C157B34}"/>
          </ac:grpSpMkLst>
        </pc:grpChg>
        <pc:grpChg chg="mod">
          <ac:chgData name="Aniket Chhabra" userId="598e0514-bef3-4e71-b6aa-f2edd6441cff" providerId="ADAL" clId="{BE5B4798-BE1E-4422-9D3C-1ACF860F87B4}" dt="2021-07-24T02:37:15.187" v="442"/>
          <ac:grpSpMkLst>
            <pc:docMk/>
            <pc:sldMk cId="0" sldId="281"/>
            <ac:grpSpMk id="31" creationId="{392491B2-611B-489D-B908-92E5D486A030}"/>
          </ac:grpSpMkLst>
        </pc:grpChg>
        <pc:grpChg chg="mod">
          <ac:chgData name="Aniket Chhabra" userId="598e0514-bef3-4e71-b6aa-f2edd6441cff" providerId="ADAL" clId="{BE5B4798-BE1E-4422-9D3C-1ACF860F87B4}" dt="2021-07-24T02:38:39.302" v="453"/>
          <ac:grpSpMkLst>
            <pc:docMk/>
            <pc:sldMk cId="0" sldId="281"/>
            <ac:grpSpMk id="226" creationId="{3D778FF9-A62F-4ECC-80D0-F1960A871B69}"/>
          </ac:grpSpMkLst>
        </pc:grpChg>
        <pc:grpChg chg="del mod">
          <ac:chgData name="Aniket Chhabra" userId="598e0514-bef3-4e71-b6aa-f2edd6441cff" providerId="ADAL" clId="{BE5B4798-BE1E-4422-9D3C-1ACF860F87B4}" dt="2021-07-24T02:38:51.521" v="474"/>
          <ac:grpSpMkLst>
            <pc:docMk/>
            <pc:sldMk cId="0" sldId="281"/>
            <ac:grpSpMk id="229" creationId="{251F6E7F-4DCB-4527-9728-C20BE951F21A}"/>
          </ac:grpSpMkLst>
        </pc:grpChg>
        <pc:grpChg chg="mod">
          <ac:chgData name="Aniket Chhabra" userId="598e0514-bef3-4e71-b6aa-f2edd6441cff" providerId="ADAL" clId="{BE5B4798-BE1E-4422-9D3C-1ACF860F87B4}" dt="2021-07-24T02:38:51.521" v="474"/>
          <ac:grpSpMkLst>
            <pc:docMk/>
            <pc:sldMk cId="0" sldId="281"/>
            <ac:grpSpMk id="249" creationId="{FB676926-0965-4876-9279-1784EC413AEF}"/>
          </ac:grpSpMkLst>
        </pc:grpChg>
        <pc:grpChg chg="mod">
          <ac:chgData name="Aniket Chhabra" userId="598e0514-bef3-4e71-b6aa-f2edd6441cff" providerId="ADAL" clId="{BE5B4798-BE1E-4422-9D3C-1ACF860F87B4}" dt="2021-07-24T02:38:51.521" v="474"/>
          <ac:grpSpMkLst>
            <pc:docMk/>
            <pc:sldMk cId="0" sldId="281"/>
            <ac:grpSpMk id="250" creationId="{BFC8453B-C103-43C1-A23E-E3022F5A5524}"/>
          </ac:grpSpMkLst>
        </pc:grpChg>
        <pc:grpChg chg="mod">
          <ac:chgData name="Aniket Chhabra" userId="598e0514-bef3-4e71-b6aa-f2edd6441cff" providerId="ADAL" clId="{BE5B4798-BE1E-4422-9D3C-1ACF860F87B4}" dt="2021-07-24T02:38:51.521" v="474"/>
          <ac:grpSpMkLst>
            <pc:docMk/>
            <pc:sldMk cId="0" sldId="281"/>
            <ac:grpSpMk id="251" creationId="{900FAACB-D2F0-48AB-9D64-7788E3D535EB}"/>
          </ac:grpSpMkLst>
        </pc:grpChg>
        <pc:grpChg chg="del mod">
          <ac:chgData name="Aniket Chhabra" userId="598e0514-bef3-4e71-b6aa-f2edd6441cff" providerId="ADAL" clId="{BE5B4798-BE1E-4422-9D3C-1ACF860F87B4}" dt="2021-07-24T02:39:07.088" v="487"/>
          <ac:grpSpMkLst>
            <pc:docMk/>
            <pc:sldMk cId="0" sldId="281"/>
            <ac:grpSpMk id="255" creationId="{68048208-0508-44FC-80AA-0A4F9D49D3F5}"/>
          </ac:grpSpMkLst>
        </pc:grpChg>
        <pc:grpChg chg="mod">
          <ac:chgData name="Aniket Chhabra" userId="598e0514-bef3-4e71-b6aa-f2edd6441cff" providerId="ADAL" clId="{BE5B4798-BE1E-4422-9D3C-1ACF860F87B4}" dt="2021-07-24T02:39:07.981" v="489"/>
          <ac:grpSpMkLst>
            <pc:docMk/>
            <pc:sldMk cId="0" sldId="281"/>
            <ac:grpSpMk id="264" creationId="{10B1F178-0C1A-4A62-924F-D6F3E87EBA78}"/>
          </ac:grpSpMkLst>
        </pc:grpChg>
        <pc:grpChg chg="mod">
          <ac:chgData name="Aniket Chhabra" userId="598e0514-bef3-4e71-b6aa-f2edd6441cff" providerId="ADAL" clId="{BE5B4798-BE1E-4422-9D3C-1ACF860F87B4}" dt="2021-07-24T02:39:07.088" v="487"/>
          <ac:grpSpMkLst>
            <pc:docMk/>
            <pc:sldMk cId="0" sldId="281"/>
            <ac:grpSpMk id="265" creationId="{9DB3CF35-1F25-4207-BBE2-F0C7C5595B0E}"/>
          </ac:grpSpMkLst>
        </pc:grpChg>
        <pc:inkChg chg="add mod">
          <ac:chgData name="Aniket Chhabra" userId="598e0514-bef3-4e71-b6aa-f2edd6441cff" providerId="ADAL" clId="{BE5B4798-BE1E-4422-9D3C-1ACF860F87B4}" dt="2021-07-24T02:36:58.569" v="411"/>
          <ac:inkMkLst>
            <pc:docMk/>
            <pc:sldMk cId="0" sldId="281"/>
            <ac:inkMk id="2" creationId="{9833104C-5162-4E47-AFE0-9E3AAAC5461B}"/>
          </ac:inkMkLst>
        </pc:inkChg>
        <pc:inkChg chg="add mod">
          <ac:chgData name="Aniket Chhabra" userId="598e0514-bef3-4e71-b6aa-f2edd6441cff" providerId="ADAL" clId="{BE5B4798-BE1E-4422-9D3C-1ACF860F87B4}" dt="2021-07-24T02:36:58.569" v="411"/>
          <ac:inkMkLst>
            <pc:docMk/>
            <pc:sldMk cId="0" sldId="281"/>
            <ac:inkMk id="3" creationId="{EB91FD98-C34F-4E12-8369-252215945F6F}"/>
          </ac:inkMkLst>
        </pc:inkChg>
        <pc:inkChg chg="add mod">
          <ac:chgData name="Aniket Chhabra" userId="598e0514-bef3-4e71-b6aa-f2edd6441cff" providerId="ADAL" clId="{BE5B4798-BE1E-4422-9D3C-1ACF860F87B4}" dt="2021-07-24T02:36:58.569" v="411"/>
          <ac:inkMkLst>
            <pc:docMk/>
            <pc:sldMk cId="0" sldId="281"/>
            <ac:inkMk id="4" creationId="{565FED4B-F632-4D97-B6FF-435A9465A5D5}"/>
          </ac:inkMkLst>
        </pc:inkChg>
        <pc:inkChg chg="add mod">
          <ac:chgData name="Aniket Chhabra" userId="598e0514-bef3-4e71-b6aa-f2edd6441cff" providerId="ADAL" clId="{BE5B4798-BE1E-4422-9D3C-1ACF860F87B4}" dt="2021-07-24T02:36:58.569" v="411"/>
          <ac:inkMkLst>
            <pc:docMk/>
            <pc:sldMk cId="0" sldId="281"/>
            <ac:inkMk id="5" creationId="{2D6D9682-6114-4175-97EA-5FE5C184837A}"/>
          </ac:inkMkLst>
        </pc:inkChg>
        <pc:inkChg chg="add mod">
          <ac:chgData name="Aniket Chhabra" userId="598e0514-bef3-4e71-b6aa-f2edd6441cff" providerId="ADAL" clId="{BE5B4798-BE1E-4422-9D3C-1ACF860F87B4}" dt="2021-07-24T02:37:06.137" v="428"/>
          <ac:inkMkLst>
            <pc:docMk/>
            <pc:sldMk cId="0" sldId="281"/>
            <ac:inkMk id="7" creationId="{0036E637-26EF-41E8-A4E2-360A5EEBA04F}"/>
          </ac:inkMkLst>
        </pc:inkChg>
        <pc:inkChg chg="add mod">
          <ac:chgData name="Aniket Chhabra" userId="598e0514-bef3-4e71-b6aa-f2edd6441cff" providerId="ADAL" clId="{BE5B4798-BE1E-4422-9D3C-1ACF860F87B4}" dt="2021-07-24T02:37:06.137" v="428"/>
          <ac:inkMkLst>
            <pc:docMk/>
            <pc:sldMk cId="0" sldId="281"/>
            <ac:inkMk id="8" creationId="{E2C6E626-8CD3-45E4-AE87-08C7A69F8103}"/>
          </ac:inkMkLst>
        </pc:inkChg>
        <pc:inkChg chg="add mod">
          <ac:chgData name="Aniket Chhabra" userId="598e0514-bef3-4e71-b6aa-f2edd6441cff" providerId="ADAL" clId="{BE5B4798-BE1E-4422-9D3C-1ACF860F87B4}" dt="2021-07-24T02:37:06.137" v="428"/>
          <ac:inkMkLst>
            <pc:docMk/>
            <pc:sldMk cId="0" sldId="281"/>
            <ac:inkMk id="9" creationId="{00467F62-51DC-4C8F-9284-E71C2267B443}"/>
          </ac:inkMkLst>
        </pc:inkChg>
        <pc:inkChg chg="add mod">
          <ac:chgData name="Aniket Chhabra" userId="598e0514-bef3-4e71-b6aa-f2edd6441cff" providerId="ADAL" clId="{BE5B4798-BE1E-4422-9D3C-1ACF860F87B4}" dt="2021-07-24T02:37:06.137" v="428"/>
          <ac:inkMkLst>
            <pc:docMk/>
            <pc:sldMk cId="0" sldId="281"/>
            <ac:inkMk id="10" creationId="{1171510F-F1D2-401E-870B-BD60EBFA5CFB}"/>
          </ac:inkMkLst>
        </pc:inkChg>
        <pc:inkChg chg="add mod">
          <ac:chgData name="Aniket Chhabra" userId="598e0514-bef3-4e71-b6aa-f2edd6441cff" providerId="ADAL" clId="{BE5B4798-BE1E-4422-9D3C-1ACF860F87B4}" dt="2021-07-24T02:37:06.137" v="428"/>
          <ac:inkMkLst>
            <pc:docMk/>
            <pc:sldMk cId="0" sldId="281"/>
            <ac:inkMk id="11" creationId="{E129CBBD-874C-4F18-AB88-F2CBD17B639B}"/>
          </ac:inkMkLst>
        </pc:inkChg>
        <pc:inkChg chg="add del mod">
          <ac:chgData name="Aniket Chhabra" userId="598e0514-bef3-4e71-b6aa-f2edd6441cff" providerId="ADAL" clId="{BE5B4798-BE1E-4422-9D3C-1ACF860F87B4}" dt="2021-07-24T02:37:06.137" v="428"/>
          <ac:inkMkLst>
            <pc:docMk/>
            <pc:sldMk cId="0" sldId="281"/>
            <ac:inkMk id="12" creationId="{A7304494-324A-4427-9B94-F620EE8C9A5A}"/>
          </ac:inkMkLst>
        </pc:inkChg>
        <pc:inkChg chg="add mod">
          <ac:chgData name="Aniket Chhabra" userId="598e0514-bef3-4e71-b6aa-f2edd6441cff" providerId="ADAL" clId="{BE5B4798-BE1E-4422-9D3C-1ACF860F87B4}" dt="2021-07-24T02:37:06.137" v="428"/>
          <ac:inkMkLst>
            <pc:docMk/>
            <pc:sldMk cId="0" sldId="281"/>
            <ac:inkMk id="13" creationId="{B47CE812-0ED0-4961-A5A4-9FBCC79BACE8}"/>
          </ac:inkMkLst>
        </pc:inkChg>
        <pc:inkChg chg="add del mod">
          <ac:chgData name="Aniket Chhabra" userId="598e0514-bef3-4e71-b6aa-f2edd6441cff" providerId="ADAL" clId="{BE5B4798-BE1E-4422-9D3C-1ACF860F87B4}" dt="2021-07-24T02:37:06.136" v="427"/>
          <ac:inkMkLst>
            <pc:docMk/>
            <pc:sldMk cId="0" sldId="281"/>
            <ac:inkMk id="14" creationId="{90236D14-9DCC-4E9E-BE62-B6DAB2F29069}"/>
          </ac:inkMkLst>
        </pc:inkChg>
        <pc:inkChg chg="add del">
          <ac:chgData name="Aniket Chhabra" userId="598e0514-bef3-4e71-b6aa-f2edd6441cff" providerId="ADAL" clId="{BE5B4798-BE1E-4422-9D3C-1ACF860F87B4}" dt="2021-07-24T02:37:04.117" v="423"/>
          <ac:inkMkLst>
            <pc:docMk/>
            <pc:sldMk cId="0" sldId="281"/>
            <ac:inkMk id="15" creationId="{895A2D56-3A57-45F1-91E1-214751DA1D1B}"/>
          </ac:inkMkLst>
        </pc:inkChg>
        <pc:inkChg chg="add del">
          <ac:chgData name="Aniket Chhabra" userId="598e0514-bef3-4e71-b6aa-f2edd6441cff" providerId="ADAL" clId="{BE5B4798-BE1E-4422-9D3C-1ACF860F87B4}" dt="2021-07-24T02:37:04.118" v="424"/>
          <ac:inkMkLst>
            <pc:docMk/>
            <pc:sldMk cId="0" sldId="281"/>
            <ac:inkMk id="16" creationId="{5B3784DB-3718-4FF5-9868-BD8BBA876216}"/>
          </ac:inkMkLst>
        </pc:inkChg>
        <pc:inkChg chg="add del">
          <ac:chgData name="Aniket Chhabra" userId="598e0514-bef3-4e71-b6aa-f2edd6441cff" providerId="ADAL" clId="{BE5B4798-BE1E-4422-9D3C-1ACF860F87B4}" dt="2021-07-24T02:37:04.118" v="425"/>
          <ac:inkMkLst>
            <pc:docMk/>
            <pc:sldMk cId="0" sldId="281"/>
            <ac:inkMk id="17" creationId="{8960896A-680C-44F9-8429-83DAA22C7AD6}"/>
          </ac:inkMkLst>
        </pc:inkChg>
        <pc:inkChg chg="add">
          <ac:chgData name="Aniket Chhabra" userId="598e0514-bef3-4e71-b6aa-f2edd6441cff" providerId="ADAL" clId="{BE5B4798-BE1E-4422-9D3C-1ACF860F87B4}" dt="2021-07-24T02:37:07.312" v="429" actId="9405"/>
          <ac:inkMkLst>
            <pc:docMk/>
            <pc:sldMk cId="0" sldId="281"/>
            <ac:inkMk id="19" creationId="{69D58721-F1DF-4D36-AE68-8B67376618D7}"/>
          </ac:inkMkLst>
        </pc:inkChg>
        <pc:inkChg chg="add mod">
          <ac:chgData name="Aniket Chhabra" userId="598e0514-bef3-4e71-b6aa-f2edd6441cff" providerId="ADAL" clId="{BE5B4798-BE1E-4422-9D3C-1ACF860F87B4}" dt="2021-07-24T02:37:12.179" v="437"/>
          <ac:inkMkLst>
            <pc:docMk/>
            <pc:sldMk cId="0" sldId="281"/>
            <ac:inkMk id="20" creationId="{9CEB8D34-B0D4-4EE3-9EB8-37EB8E1C26D7}"/>
          </ac:inkMkLst>
        </pc:inkChg>
        <pc:inkChg chg="add mod">
          <ac:chgData name="Aniket Chhabra" userId="598e0514-bef3-4e71-b6aa-f2edd6441cff" providerId="ADAL" clId="{BE5B4798-BE1E-4422-9D3C-1ACF860F87B4}" dt="2021-07-24T02:37:12.179" v="437"/>
          <ac:inkMkLst>
            <pc:docMk/>
            <pc:sldMk cId="0" sldId="281"/>
            <ac:inkMk id="21" creationId="{5C8E3D16-4DA5-4AE3-ADBC-267539E2053B}"/>
          </ac:inkMkLst>
        </pc:inkChg>
        <pc:inkChg chg="add mod">
          <ac:chgData name="Aniket Chhabra" userId="598e0514-bef3-4e71-b6aa-f2edd6441cff" providerId="ADAL" clId="{BE5B4798-BE1E-4422-9D3C-1ACF860F87B4}" dt="2021-07-24T02:37:12.179" v="437"/>
          <ac:inkMkLst>
            <pc:docMk/>
            <pc:sldMk cId="0" sldId="281"/>
            <ac:inkMk id="22" creationId="{9A5C241F-0898-4136-AC91-2F35CEA30534}"/>
          </ac:inkMkLst>
        </pc:inkChg>
        <pc:inkChg chg="add mod">
          <ac:chgData name="Aniket Chhabra" userId="598e0514-bef3-4e71-b6aa-f2edd6441cff" providerId="ADAL" clId="{BE5B4798-BE1E-4422-9D3C-1ACF860F87B4}" dt="2021-07-24T02:37:12.179" v="437"/>
          <ac:inkMkLst>
            <pc:docMk/>
            <pc:sldMk cId="0" sldId="281"/>
            <ac:inkMk id="23" creationId="{416C453C-B85D-4107-9D69-7C53811D5995}"/>
          </ac:inkMkLst>
        </pc:inkChg>
        <pc:inkChg chg="add mod">
          <ac:chgData name="Aniket Chhabra" userId="598e0514-bef3-4e71-b6aa-f2edd6441cff" providerId="ADAL" clId="{BE5B4798-BE1E-4422-9D3C-1ACF860F87B4}" dt="2021-07-24T02:37:12.179" v="437"/>
          <ac:inkMkLst>
            <pc:docMk/>
            <pc:sldMk cId="0" sldId="281"/>
            <ac:inkMk id="24" creationId="{9D9A53C2-B56E-4CA9-8CB9-E2A0D558E15A}"/>
          </ac:inkMkLst>
        </pc:inkChg>
        <pc:inkChg chg="add del">
          <ac:chgData name="Aniket Chhabra" userId="598e0514-bef3-4e71-b6aa-f2edd6441cff" providerId="ADAL" clId="{BE5B4798-BE1E-4422-9D3C-1ACF860F87B4}" dt="2021-07-24T02:37:11.864" v="436"/>
          <ac:inkMkLst>
            <pc:docMk/>
            <pc:sldMk cId="0" sldId="281"/>
            <ac:inkMk id="25" creationId="{DF7E9B91-85E4-4493-AEE2-FC1400D977BD}"/>
          </ac:inkMkLst>
        </pc:inkChg>
        <pc:inkChg chg="add mod">
          <ac:chgData name="Aniket Chhabra" userId="598e0514-bef3-4e71-b6aa-f2edd6441cff" providerId="ADAL" clId="{BE5B4798-BE1E-4422-9D3C-1ACF860F87B4}" dt="2021-07-24T02:37:15.187" v="442"/>
          <ac:inkMkLst>
            <pc:docMk/>
            <pc:sldMk cId="0" sldId="281"/>
            <ac:inkMk id="27" creationId="{AD850B40-376F-42E7-90F3-CF87B8D261A2}"/>
          </ac:inkMkLst>
        </pc:inkChg>
        <pc:inkChg chg="add mod">
          <ac:chgData name="Aniket Chhabra" userId="598e0514-bef3-4e71-b6aa-f2edd6441cff" providerId="ADAL" clId="{BE5B4798-BE1E-4422-9D3C-1ACF860F87B4}" dt="2021-07-24T02:37:15.187" v="442"/>
          <ac:inkMkLst>
            <pc:docMk/>
            <pc:sldMk cId="0" sldId="281"/>
            <ac:inkMk id="28" creationId="{553EFC81-9FBD-4BF5-9A0F-279BD9E63AF5}"/>
          </ac:inkMkLst>
        </pc:inkChg>
        <pc:inkChg chg="add mod">
          <ac:chgData name="Aniket Chhabra" userId="598e0514-bef3-4e71-b6aa-f2edd6441cff" providerId="ADAL" clId="{BE5B4798-BE1E-4422-9D3C-1ACF860F87B4}" dt="2021-07-24T02:37:15.187" v="442"/>
          <ac:inkMkLst>
            <pc:docMk/>
            <pc:sldMk cId="0" sldId="281"/>
            <ac:inkMk id="29" creationId="{F7D50D8F-DB7F-4F29-BF54-5BD36045A541}"/>
          </ac:inkMkLst>
        </pc:inkChg>
        <pc:inkChg chg="add mod">
          <ac:chgData name="Aniket Chhabra" userId="598e0514-bef3-4e71-b6aa-f2edd6441cff" providerId="ADAL" clId="{BE5B4798-BE1E-4422-9D3C-1ACF860F87B4}" dt="2021-07-24T02:37:15.187" v="442"/>
          <ac:inkMkLst>
            <pc:docMk/>
            <pc:sldMk cId="0" sldId="281"/>
            <ac:inkMk id="30" creationId="{6DD27844-07DA-43D4-9E83-6D26CD9795EF}"/>
          </ac:inkMkLst>
        </pc:inkChg>
        <pc:inkChg chg="add mod">
          <ac:chgData name="Aniket Chhabra" userId="598e0514-bef3-4e71-b6aa-f2edd6441cff" providerId="ADAL" clId="{BE5B4798-BE1E-4422-9D3C-1ACF860F87B4}" dt="2021-07-24T02:38:39.302" v="453"/>
          <ac:inkMkLst>
            <pc:docMk/>
            <pc:sldMk cId="0" sldId="281"/>
            <ac:inkMk id="224" creationId="{EB4B60F5-0901-451B-A5CB-8FF99CBF7078}"/>
          </ac:inkMkLst>
        </pc:inkChg>
        <pc:inkChg chg="add mod">
          <ac:chgData name="Aniket Chhabra" userId="598e0514-bef3-4e71-b6aa-f2edd6441cff" providerId="ADAL" clId="{BE5B4798-BE1E-4422-9D3C-1ACF860F87B4}" dt="2021-07-24T02:38:39.302" v="453"/>
          <ac:inkMkLst>
            <pc:docMk/>
            <pc:sldMk cId="0" sldId="281"/>
            <ac:inkMk id="225" creationId="{0BEB8F84-4C05-4C26-82FC-531A15573E88}"/>
          </ac:inkMkLst>
        </pc:inkChg>
        <pc:inkChg chg="add mod">
          <ac:chgData name="Aniket Chhabra" userId="598e0514-bef3-4e71-b6aa-f2edd6441cff" providerId="ADAL" clId="{BE5B4798-BE1E-4422-9D3C-1ACF860F87B4}" dt="2021-07-24T02:38:51.521" v="474"/>
          <ac:inkMkLst>
            <pc:docMk/>
            <pc:sldMk cId="0" sldId="281"/>
            <ac:inkMk id="227" creationId="{68E7D26F-B122-4F00-A5D2-A2F4A9BCED34}"/>
          </ac:inkMkLst>
        </pc:inkChg>
        <pc:inkChg chg="add mod">
          <ac:chgData name="Aniket Chhabra" userId="598e0514-bef3-4e71-b6aa-f2edd6441cff" providerId="ADAL" clId="{BE5B4798-BE1E-4422-9D3C-1ACF860F87B4}" dt="2021-07-24T02:38:51.521" v="474"/>
          <ac:inkMkLst>
            <pc:docMk/>
            <pc:sldMk cId="0" sldId="281"/>
            <ac:inkMk id="228" creationId="{CE605798-4476-4F2B-B8AA-D172E01746F5}"/>
          </ac:inkMkLst>
        </pc:inkChg>
        <pc:inkChg chg="add mod">
          <ac:chgData name="Aniket Chhabra" userId="598e0514-bef3-4e71-b6aa-f2edd6441cff" providerId="ADAL" clId="{BE5B4798-BE1E-4422-9D3C-1ACF860F87B4}" dt="2021-07-24T02:38:51.521" v="474"/>
          <ac:inkMkLst>
            <pc:docMk/>
            <pc:sldMk cId="0" sldId="281"/>
            <ac:inkMk id="230" creationId="{CE5437FE-1EFE-46D5-AC9F-2A4B7B8059A0}"/>
          </ac:inkMkLst>
        </pc:inkChg>
        <pc:inkChg chg="add mod">
          <ac:chgData name="Aniket Chhabra" userId="598e0514-bef3-4e71-b6aa-f2edd6441cff" providerId="ADAL" clId="{BE5B4798-BE1E-4422-9D3C-1ACF860F87B4}" dt="2021-07-24T02:38:51.521" v="474"/>
          <ac:inkMkLst>
            <pc:docMk/>
            <pc:sldMk cId="0" sldId="281"/>
            <ac:inkMk id="231" creationId="{E8AFB0E8-CF1F-405E-92B7-541EECE1F8CB}"/>
          </ac:inkMkLst>
        </pc:inkChg>
        <pc:inkChg chg="add mod">
          <ac:chgData name="Aniket Chhabra" userId="598e0514-bef3-4e71-b6aa-f2edd6441cff" providerId="ADAL" clId="{BE5B4798-BE1E-4422-9D3C-1ACF860F87B4}" dt="2021-07-24T02:38:51.521" v="474"/>
          <ac:inkMkLst>
            <pc:docMk/>
            <pc:sldMk cId="0" sldId="281"/>
            <ac:inkMk id="232" creationId="{7C76B717-2AB5-4A0B-B699-DACA6F579DA4}"/>
          </ac:inkMkLst>
        </pc:inkChg>
        <pc:inkChg chg="add mod">
          <ac:chgData name="Aniket Chhabra" userId="598e0514-bef3-4e71-b6aa-f2edd6441cff" providerId="ADAL" clId="{BE5B4798-BE1E-4422-9D3C-1ACF860F87B4}" dt="2021-07-24T02:38:51.521" v="474"/>
          <ac:inkMkLst>
            <pc:docMk/>
            <pc:sldMk cId="0" sldId="281"/>
            <ac:inkMk id="233" creationId="{F7F62163-3A5B-4582-B5AC-5EB254B845FE}"/>
          </ac:inkMkLst>
        </pc:inkChg>
        <pc:inkChg chg="add mod">
          <ac:chgData name="Aniket Chhabra" userId="598e0514-bef3-4e71-b6aa-f2edd6441cff" providerId="ADAL" clId="{BE5B4798-BE1E-4422-9D3C-1ACF860F87B4}" dt="2021-07-24T02:38:51.521" v="474"/>
          <ac:inkMkLst>
            <pc:docMk/>
            <pc:sldMk cId="0" sldId="281"/>
            <ac:inkMk id="234" creationId="{32D43B96-5D6A-4DFF-9625-95D25453F320}"/>
          </ac:inkMkLst>
        </pc:inkChg>
        <pc:inkChg chg="add mod">
          <ac:chgData name="Aniket Chhabra" userId="598e0514-bef3-4e71-b6aa-f2edd6441cff" providerId="ADAL" clId="{BE5B4798-BE1E-4422-9D3C-1ACF860F87B4}" dt="2021-07-24T02:38:51.521" v="474"/>
          <ac:inkMkLst>
            <pc:docMk/>
            <pc:sldMk cId="0" sldId="281"/>
            <ac:inkMk id="235" creationId="{DA8B39D7-CACD-40A7-87BB-D9BF35AA16AE}"/>
          </ac:inkMkLst>
        </pc:inkChg>
        <pc:inkChg chg="add mod">
          <ac:chgData name="Aniket Chhabra" userId="598e0514-bef3-4e71-b6aa-f2edd6441cff" providerId="ADAL" clId="{BE5B4798-BE1E-4422-9D3C-1ACF860F87B4}" dt="2021-07-24T02:38:51.521" v="474"/>
          <ac:inkMkLst>
            <pc:docMk/>
            <pc:sldMk cId="0" sldId="281"/>
            <ac:inkMk id="238" creationId="{09E2F387-4F35-46DE-B9F1-E6F6DB4EBEB9}"/>
          </ac:inkMkLst>
        </pc:inkChg>
        <pc:inkChg chg="add mod">
          <ac:chgData name="Aniket Chhabra" userId="598e0514-bef3-4e71-b6aa-f2edd6441cff" providerId="ADAL" clId="{BE5B4798-BE1E-4422-9D3C-1ACF860F87B4}" dt="2021-07-24T02:38:51.521" v="474"/>
          <ac:inkMkLst>
            <pc:docMk/>
            <pc:sldMk cId="0" sldId="281"/>
            <ac:inkMk id="239" creationId="{A3DF1225-D369-4559-8E79-C7DD84A4E027}"/>
          </ac:inkMkLst>
        </pc:inkChg>
        <pc:inkChg chg="add mod">
          <ac:chgData name="Aniket Chhabra" userId="598e0514-bef3-4e71-b6aa-f2edd6441cff" providerId="ADAL" clId="{BE5B4798-BE1E-4422-9D3C-1ACF860F87B4}" dt="2021-07-24T02:38:51.521" v="474"/>
          <ac:inkMkLst>
            <pc:docMk/>
            <pc:sldMk cId="0" sldId="281"/>
            <ac:inkMk id="240" creationId="{36293B3A-AD34-4B5F-BF5A-0545DE82F44C}"/>
          </ac:inkMkLst>
        </pc:inkChg>
        <pc:inkChg chg="add mod">
          <ac:chgData name="Aniket Chhabra" userId="598e0514-bef3-4e71-b6aa-f2edd6441cff" providerId="ADAL" clId="{BE5B4798-BE1E-4422-9D3C-1ACF860F87B4}" dt="2021-07-24T02:38:51.521" v="474"/>
          <ac:inkMkLst>
            <pc:docMk/>
            <pc:sldMk cId="0" sldId="281"/>
            <ac:inkMk id="241" creationId="{35DFF941-84BD-4FE6-8067-78A930A753C9}"/>
          </ac:inkMkLst>
        </pc:inkChg>
        <pc:inkChg chg="add mod">
          <ac:chgData name="Aniket Chhabra" userId="598e0514-bef3-4e71-b6aa-f2edd6441cff" providerId="ADAL" clId="{BE5B4798-BE1E-4422-9D3C-1ACF860F87B4}" dt="2021-07-24T02:38:51.521" v="474"/>
          <ac:inkMkLst>
            <pc:docMk/>
            <pc:sldMk cId="0" sldId="281"/>
            <ac:inkMk id="242" creationId="{5ABC2FEE-1C49-46E6-84AE-32EE6AFE1641}"/>
          </ac:inkMkLst>
        </pc:inkChg>
        <pc:inkChg chg="add mod">
          <ac:chgData name="Aniket Chhabra" userId="598e0514-bef3-4e71-b6aa-f2edd6441cff" providerId="ADAL" clId="{BE5B4798-BE1E-4422-9D3C-1ACF860F87B4}" dt="2021-07-24T02:38:51.521" v="474"/>
          <ac:inkMkLst>
            <pc:docMk/>
            <pc:sldMk cId="0" sldId="281"/>
            <ac:inkMk id="243" creationId="{C56F0501-7A08-453A-A888-4380C54A478B}"/>
          </ac:inkMkLst>
        </pc:inkChg>
        <pc:inkChg chg="add mod">
          <ac:chgData name="Aniket Chhabra" userId="598e0514-bef3-4e71-b6aa-f2edd6441cff" providerId="ADAL" clId="{BE5B4798-BE1E-4422-9D3C-1ACF860F87B4}" dt="2021-07-24T02:38:51.521" v="474"/>
          <ac:inkMkLst>
            <pc:docMk/>
            <pc:sldMk cId="0" sldId="281"/>
            <ac:inkMk id="244" creationId="{DA296F48-5518-4932-A8E8-6276B7ECFA03}"/>
          </ac:inkMkLst>
        </pc:inkChg>
        <pc:inkChg chg="add mod">
          <ac:chgData name="Aniket Chhabra" userId="598e0514-bef3-4e71-b6aa-f2edd6441cff" providerId="ADAL" clId="{BE5B4798-BE1E-4422-9D3C-1ACF860F87B4}" dt="2021-07-24T02:38:51.521" v="474"/>
          <ac:inkMkLst>
            <pc:docMk/>
            <pc:sldMk cId="0" sldId="281"/>
            <ac:inkMk id="245" creationId="{1746E9E9-4CE6-4A09-A112-C5F1D3145D2F}"/>
          </ac:inkMkLst>
        </pc:inkChg>
        <pc:inkChg chg="add mod">
          <ac:chgData name="Aniket Chhabra" userId="598e0514-bef3-4e71-b6aa-f2edd6441cff" providerId="ADAL" clId="{BE5B4798-BE1E-4422-9D3C-1ACF860F87B4}" dt="2021-07-24T02:38:51.521" v="474"/>
          <ac:inkMkLst>
            <pc:docMk/>
            <pc:sldMk cId="0" sldId="281"/>
            <ac:inkMk id="246" creationId="{ED0CD3A2-DCA7-4CA4-AB4F-F8E9673C5BAF}"/>
          </ac:inkMkLst>
        </pc:inkChg>
        <pc:inkChg chg="add mod">
          <ac:chgData name="Aniket Chhabra" userId="598e0514-bef3-4e71-b6aa-f2edd6441cff" providerId="ADAL" clId="{BE5B4798-BE1E-4422-9D3C-1ACF860F87B4}" dt="2021-07-24T02:38:51.521" v="474"/>
          <ac:inkMkLst>
            <pc:docMk/>
            <pc:sldMk cId="0" sldId="281"/>
            <ac:inkMk id="247" creationId="{6E0F5533-BB43-4741-BFDA-7C103C330F52}"/>
          </ac:inkMkLst>
        </pc:inkChg>
        <pc:inkChg chg="add mod">
          <ac:chgData name="Aniket Chhabra" userId="598e0514-bef3-4e71-b6aa-f2edd6441cff" providerId="ADAL" clId="{BE5B4798-BE1E-4422-9D3C-1ACF860F87B4}" dt="2021-07-24T02:38:51.521" v="474"/>
          <ac:inkMkLst>
            <pc:docMk/>
            <pc:sldMk cId="0" sldId="281"/>
            <ac:inkMk id="248" creationId="{71E3737D-142A-4899-AA48-163D01E5AEAE}"/>
          </ac:inkMkLst>
        </pc:inkChg>
        <pc:inkChg chg="add">
          <ac:chgData name="Aniket Chhabra" userId="598e0514-bef3-4e71-b6aa-f2edd6441cff" providerId="ADAL" clId="{BE5B4798-BE1E-4422-9D3C-1ACF860F87B4}" dt="2021-07-24T02:38:52.332" v="475" actId="9405"/>
          <ac:inkMkLst>
            <pc:docMk/>
            <pc:sldMk cId="0" sldId="281"/>
            <ac:inkMk id="252" creationId="{C6BF6854-8C5A-48BB-8817-88A292CAD39A}"/>
          </ac:inkMkLst>
        </pc:inkChg>
        <pc:inkChg chg="add mod">
          <ac:chgData name="Aniket Chhabra" userId="598e0514-bef3-4e71-b6aa-f2edd6441cff" providerId="ADAL" clId="{BE5B4798-BE1E-4422-9D3C-1ACF860F87B4}" dt="2021-07-24T02:39:07.088" v="487"/>
          <ac:inkMkLst>
            <pc:docMk/>
            <pc:sldMk cId="0" sldId="281"/>
            <ac:inkMk id="253" creationId="{36FE26D7-D845-4052-B431-9537651C580F}"/>
          </ac:inkMkLst>
        </pc:inkChg>
        <pc:inkChg chg="add mod">
          <ac:chgData name="Aniket Chhabra" userId="598e0514-bef3-4e71-b6aa-f2edd6441cff" providerId="ADAL" clId="{BE5B4798-BE1E-4422-9D3C-1ACF860F87B4}" dt="2021-07-24T02:39:07.088" v="487"/>
          <ac:inkMkLst>
            <pc:docMk/>
            <pc:sldMk cId="0" sldId="281"/>
            <ac:inkMk id="254" creationId="{3C50F21D-D86E-45CF-A1A5-0E80CC222D46}"/>
          </ac:inkMkLst>
        </pc:inkChg>
        <pc:inkChg chg="add mod">
          <ac:chgData name="Aniket Chhabra" userId="598e0514-bef3-4e71-b6aa-f2edd6441cff" providerId="ADAL" clId="{BE5B4798-BE1E-4422-9D3C-1ACF860F87B4}" dt="2021-07-24T02:39:07.088" v="487"/>
          <ac:inkMkLst>
            <pc:docMk/>
            <pc:sldMk cId="0" sldId="281"/>
            <ac:inkMk id="256" creationId="{2FA5196C-7590-4FB9-B094-02DEF168F95D}"/>
          </ac:inkMkLst>
        </pc:inkChg>
        <pc:inkChg chg="add mod">
          <ac:chgData name="Aniket Chhabra" userId="598e0514-bef3-4e71-b6aa-f2edd6441cff" providerId="ADAL" clId="{BE5B4798-BE1E-4422-9D3C-1ACF860F87B4}" dt="2021-07-24T02:39:07.088" v="487"/>
          <ac:inkMkLst>
            <pc:docMk/>
            <pc:sldMk cId="0" sldId="281"/>
            <ac:inkMk id="257" creationId="{64862B0E-3304-4D55-AE0A-046DBF781389}"/>
          </ac:inkMkLst>
        </pc:inkChg>
        <pc:inkChg chg="add mod">
          <ac:chgData name="Aniket Chhabra" userId="598e0514-bef3-4e71-b6aa-f2edd6441cff" providerId="ADAL" clId="{BE5B4798-BE1E-4422-9D3C-1ACF860F87B4}" dt="2021-07-24T02:39:07.981" v="489"/>
          <ac:inkMkLst>
            <pc:docMk/>
            <pc:sldMk cId="0" sldId="281"/>
            <ac:inkMk id="258" creationId="{80AB32B8-C9F2-4109-86F2-0F574C42F36F}"/>
          </ac:inkMkLst>
        </pc:inkChg>
        <pc:inkChg chg="add mod">
          <ac:chgData name="Aniket Chhabra" userId="598e0514-bef3-4e71-b6aa-f2edd6441cff" providerId="ADAL" clId="{BE5B4798-BE1E-4422-9D3C-1ACF860F87B4}" dt="2021-07-24T02:39:07.981" v="489"/>
          <ac:inkMkLst>
            <pc:docMk/>
            <pc:sldMk cId="0" sldId="281"/>
            <ac:inkMk id="259" creationId="{32CA4AB2-EC99-4F5B-A08F-CB6C8B3E23AF}"/>
          </ac:inkMkLst>
        </pc:inkChg>
        <pc:inkChg chg="add mod">
          <ac:chgData name="Aniket Chhabra" userId="598e0514-bef3-4e71-b6aa-f2edd6441cff" providerId="ADAL" clId="{BE5B4798-BE1E-4422-9D3C-1ACF860F87B4}" dt="2021-07-24T02:39:07.981" v="489"/>
          <ac:inkMkLst>
            <pc:docMk/>
            <pc:sldMk cId="0" sldId="281"/>
            <ac:inkMk id="260" creationId="{0B0A144C-9CA8-4F6E-92F9-7FA9AE3E3332}"/>
          </ac:inkMkLst>
        </pc:inkChg>
        <pc:inkChg chg="add mod">
          <ac:chgData name="Aniket Chhabra" userId="598e0514-bef3-4e71-b6aa-f2edd6441cff" providerId="ADAL" clId="{BE5B4798-BE1E-4422-9D3C-1ACF860F87B4}" dt="2021-07-24T02:39:07.981" v="489"/>
          <ac:inkMkLst>
            <pc:docMk/>
            <pc:sldMk cId="0" sldId="281"/>
            <ac:inkMk id="261" creationId="{2BCB8E4A-279D-4855-B31A-5C71B6F4A452}"/>
          </ac:inkMkLst>
        </pc:inkChg>
        <pc:inkChg chg="add del mod">
          <ac:chgData name="Aniket Chhabra" userId="598e0514-bef3-4e71-b6aa-f2edd6441cff" providerId="ADAL" clId="{BE5B4798-BE1E-4422-9D3C-1ACF860F87B4}" dt="2021-07-24T02:39:07.981" v="489"/>
          <ac:inkMkLst>
            <pc:docMk/>
            <pc:sldMk cId="0" sldId="281"/>
            <ac:inkMk id="262" creationId="{0C7B464D-6A39-42FC-8101-48882A3F94AB}"/>
          </ac:inkMkLst>
        </pc:inkChg>
        <pc:inkChg chg="add del mod">
          <ac:chgData name="Aniket Chhabra" userId="598e0514-bef3-4e71-b6aa-f2edd6441cff" providerId="ADAL" clId="{BE5B4798-BE1E-4422-9D3C-1ACF860F87B4}" dt="2021-07-24T02:39:07.980" v="488"/>
          <ac:inkMkLst>
            <pc:docMk/>
            <pc:sldMk cId="0" sldId="281"/>
            <ac:inkMk id="263" creationId="{12570294-D4A3-4560-8379-2B1BD3356008}"/>
          </ac:inkMkLst>
        </pc:inkChg>
      </pc:sldChg>
      <pc:sldChg chg="addSp delSp modSp mod">
        <pc:chgData name="Aniket Chhabra" userId="598e0514-bef3-4e71-b6aa-f2edd6441cff" providerId="ADAL" clId="{BE5B4798-BE1E-4422-9D3C-1ACF860F87B4}" dt="2021-07-24T02:50:16.406" v="889"/>
        <pc:sldMkLst>
          <pc:docMk/>
          <pc:sldMk cId="0" sldId="287"/>
        </pc:sldMkLst>
        <pc:grpChg chg="del mod">
          <ac:chgData name="Aniket Chhabra" userId="598e0514-bef3-4e71-b6aa-f2edd6441cff" providerId="ADAL" clId="{BE5B4798-BE1E-4422-9D3C-1ACF860F87B4}" dt="2021-07-24T02:42:34.238" v="672"/>
          <ac:grpSpMkLst>
            <pc:docMk/>
            <pc:sldMk cId="0" sldId="287"/>
            <ac:grpSpMk id="4" creationId="{D8D933E3-556A-42C3-A305-98173513471F}"/>
          </ac:grpSpMkLst>
        </pc:grpChg>
        <pc:grpChg chg="mod">
          <ac:chgData name="Aniket Chhabra" userId="598e0514-bef3-4e71-b6aa-f2edd6441cff" providerId="ADAL" clId="{BE5B4798-BE1E-4422-9D3C-1ACF860F87B4}" dt="2021-07-24T02:42:38.658" v="679"/>
          <ac:grpSpMkLst>
            <pc:docMk/>
            <pc:sldMk cId="0" sldId="287"/>
            <ac:grpSpMk id="10" creationId="{44FD568C-5977-4CE8-83CB-1B5E67AAC3D5}"/>
          </ac:grpSpMkLst>
        </pc:grpChg>
        <pc:grpChg chg="mod">
          <ac:chgData name="Aniket Chhabra" userId="598e0514-bef3-4e71-b6aa-f2edd6441cff" providerId="ADAL" clId="{BE5B4798-BE1E-4422-9D3C-1ACF860F87B4}" dt="2021-07-24T02:42:38.658" v="679"/>
          <ac:grpSpMkLst>
            <pc:docMk/>
            <pc:sldMk cId="0" sldId="287"/>
            <ac:grpSpMk id="11" creationId="{842D65CC-36C0-43D7-A3A0-37187149587A}"/>
          </ac:grpSpMkLst>
        </pc:grpChg>
        <pc:grpChg chg="del mod">
          <ac:chgData name="Aniket Chhabra" userId="598e0514-bef3-4e71-b6aa-f2edd6441cff" providerId="ADAL" clId="{BE5B4798-BE1E-4422-9D3C-1ACF860F87B4}" dt="2021-07-23T14:03:23.467" v="114"/>
          <ac:grpSpMkLst>
            <pc:docMk/>
            <pc:sldMk cId="0" sldId="287"/>
            <ac:grpSpMk id="11" creationId="{D63C649A-D822-4BEC-BF0A-61239B645A98}"/>
          </ac:grpSpMkLst>
        </pc:grpChg>
        <pc:grpChg chg="del mod">
          <ac:chgData name="Aniket Chhabra" userId="598e0514-bef3-4e71-b6aa-f2edd6441cff" providerId="ADAL" clId="{BE5B4798-BE1E-4422-9D3C-1ACF860F87B4}" dt="2021-07-23T14:03:27.508" v="116"/>
          <ac:grpSpMkLst>
            <pc:docMk/>
            <pc:sldMk cId="0" sldId="287"/>
            <ac:grpSpMk id="13" creationId="{4EBCED7B-ADD4-4FC4-A1A1-AC7AA20F398B}"/>
          </ac:grpSpMkLst>
        </pc:grpChg>
        <pc:grpChg chg="del mod">
          <ac:chgData name="Aniket Chhabra" userId="598e0514-bef3-4e71-b6aa-f2edd6441cff" providerId="ADAL" clId="{BE5B4798-BE1E-4422-9D3C-1ACF860F87B4}" dt="2021-07-23T14:03:31.323" v="118"/>
          <ac:grpSpMkLst>
            <pc:docMk/>
            <pc:sldMk cId="0" sldId="287"/>
            <ac:grpSpMk id="15" creationId="{324AD4F9-A527-4588-AC82-5B5D4811A417}"/>
          </ac:grpSpMkLst>
        </pc:grpChg>
        <pc:grpChg chg="del mod">
          <ac:chgData name="Aniket Chhabra" userId="598e0514-bef3-4e71-b6aa-f2edd6441cff" providerId="ADAL" clId="{BE5B4798-BE1E-4422-9D3C-1ACF860F87B4}" dt="2021-07-23T14:03:35.103" v="126"/>
          <ac:grpSpMkLst>
            <pc:docMk/>
            <pc:sldMk cId="0" sldId="287"/>
            <ac:grpSpMk id="17" creationId="{A2DC89A2-D262-4CB1-BEF6-9CE844B3CB03}"/>
          </ac:grpSpMkLst>
        </pc:grpChg>
        <pc:grpChg chg="del mod">
          <ac:chgData name="Aniket Chhabra" userId="598e0514-bef3-4e71-b6aa-f2edd6441cff" providerId="ADAL" clId="{BE5B4798-BE1E-4422-9D3C-1ACF860F87B4}" dt="2021-07-23T14:18:53.327" v="141"/>
          <ac:grpSpMkLst>
            <pc:docMk/>
            <pc:sldMk cId="0" sldId="287"/>
            <ac:grpSpMk id="20" creationId="{2DFDD8D4-29EC-473A-BE18-3D8974F0E814}"/>
          </ac:grpSpMkLst>
        </pc:grpChg>
        <pc:grpChg chg="del mod">
          <ac:chgData name="Aniket Chhabra" userId="598e0514-bef3-4e71-b6aa-f2edd6441cff" providerId="ADAL" clId="{BE5B4798-BE1E-4422-9D3C-1ACF860F87B4}" dt="2021-07-23T14:19:05.934" v="143" actId="478"/>
          <ac:grpSpMkLst>
            <pc:docMk/>
            <pc:sldMk cId="0" sldId="287"/>
            <ac:grpSpMk id="30" creationId="{8981C292-31C9-4A12-A6AE-C6E83D924F95}"/>
          </ac:grpSpMkLst>
        </pc:grpChg>
        <pc:grpChg chg="del mod">
          <ac:chgData name="Aniket Chhabra" userId="598e0514-bef3-4e71-b6aa-f2edd6441cff" providerId="ADAL" clId="{BE5B4798-BE1E-4422-9D3C-1ACF860F87B4}" dt="2021-07-24T02:47:19.523" v="803"/>
          <ac:grpSpMkLst>
            <pc:docMk/>
            <pc:sldMk cId="0" sldId="287"/>
            <ac:grpSpMk id="264" creationId="{8B716715-A5B5-4D12-B996-291F7CD9E477}"/>
          </ac:grpSpMkLst>
        </pc:grpChg>
        <pc:grpChg chg="del mod">
          <ac:chgData name="Aniket Chhabra" userId="598e0514-bef3-4e71-b6aa-f2edd6441cff" providerId="ADAL" clId="{BE5B4798-BE1E-4422-9D3C-1ACF860F87B4}" dt="2021-07-24T02:47:19.523" v="803"/>
          <ac:grpSpMkLst>
            <pc:docMk/>
            <pc:sldMk cId="0" sldId="287"/>
            <ac:grpSpMk id="265" creationId="{1A8D0D0B-5ACD-401A-A176-520A9C8CAD3C}"/>
          </ac:grpSpMkLst>
        </pc:grpChg>
        <pc:grpChg chg="del mod">
          <ac:chgData name="Aniket Chhabra" userId="598e0514-bef3-4e71-b6aa-f2edd6441cff" providerId="ADAL" clId="{BE5B4798-BE1E-4422-9D3C-1ACF860F87B4}" dt="2021-07-24T02:44:08.552" v="765"/>
          <ac:grpSpMkLst>
            <pc:docMk/>
            <pc:sldMk cId="0" sldId="287"/>
            <ac:grpSpMk id="271" creationId="{F4AC9226-A296-4A8B-A9BD-03EBA061E146}"/>
          </ac:grpSpMkLst>
        </pc:grpChg>
        <pc:grpChg chg="del mod">
          <ac:chgData name="Aniket Chhabra" userId="598e0514-bef3-4e71-b6aa-f2edd6441cff" providerId="ADAL" clId="{BE5B4798-BE1E-4422-9D3C-1ACF860F87B4}" dt="2021-07-24T02:43:50.869" v="743"/>
          <ac:grpSpMkLst>
            <pc:docMk/>
            <pc:sldMk cId="0" sldId="287"/>
            <ac:grpSpMk id="279" creationId="{AE2C2853-71AA-4D36-A363-173CE51CF80E}"/>
          </ac:grpSpMkLst>
        </pc:grpChg>
        <pc:grpChg chg="del mod">
          <ac:chgData name="Aniket Chhabra" userId="598e0514-bef3-4e71-b6aa-f2edd6441cff" providerId="ADAL" clId="{BE5B4798-BE1E-4422-9D3C-1ACF860F87B4}" dt="2021-07-24T02:43:48.442" v="736"/>
          <ac:grpSpMkLst>
            <pc:docMk/>
            <pc:sldMk cId="0" sldId="287"/>
            <ac:grpSpMk id="286" creationId="{20180497-681F-49C0-AFDD-AB2163BEDF62}"/>
          </ac:grpSpMkLst>
        </pc:grpChg>
        <pc:grpChg chg="del mod">
          <ac:chgData name="Aniket Chhabra" userId="598e0514-bef3-4e71-b6aa-f2edd6441cff" providerId="ADAL" clId="{BE5B4798-BE1E-4422-9D3C-1ACF860F87B4}" dt="2021-07-24T02:43:57.021" v="754"/>
          <ac:grpSpMkLst>
            <pc:docMk/>
            <pc:sldMk cId="0" sldId="287"/>
            <ac:grpSpMk id="295" creationId="{665B65E7-E0A5-464B-A86D-55096F535769}"/>
          </ac:grpSpMkLst>
        </pc:grpChg>
        <pc:grpChg chg="del mod">
          <ac:chgData name="Aniket Chhabra" userId="598e0514-bef3-4e71-b6aa-f2edd6441cff" providerId="ADAL" clId="{BE5B4798-BE1E-4422-9D3C-1ACF860F87B4}" dt="2021-07-24T02:49:57.848" v="866"/>
          <ac:grpSpMkLst>
            <pc:docMk/>
            <pc:sldMk cId="0" sldId="287"/>
            <ac:grpSpMk id="297" creationId="{85AA5249-8A39-455A-A94F-08E1A5F9CB1E}"/>
          </ac:grpSpMkLst>
        </pc:grpChg>
        <pc:grpChg chg="del mod">
          <ac:chgData name="Aniket Chhabra" userId="598e0514-bef3-4e71-b6aa-f2edd6441cff" providerId="ADAL" clId="{BE5B4798-BE1E-4422-9D3C-1ACF860F87B4}" dt="2021-07-24T02:44:10.222" v="767"/>
          <ac:grpSpMkLst>
            <pc:docMk/>
            <pc:sldMk cId="0" sldId="287"/>
            <ac:grpSpMk id="308" creationId="{7493C7FB-A886-4477-B6FD-245732C37658}"/>
          </ac:grpSpMkLst>
        </pc:grpChg>
        <pc:grpChg chg="del mod">
          <ac:chgData name="Aniket Chhabra" userId="598e0514-bef3-4e71-b6aa-f2edd6441cff" providerId="ADAL" clId="{BE5B4798-BE1E-4422-9D3C-1ACF860F87B4}" dt="2021-07-24T02:44:12.607" v="769"/>
          <ac:grpSpMkLst>
            <pc:docMk/>
            <pc:sldMk cId="0" sldId="287"/>
            <ac:grpSpMk id="310" creationId="{F0EDBE76-F921-402A-8AF2-0EAF30B1A3A0}"/>
          </ac:grpSpMkLst>
        </pc:grpChg>
        <pc:grpChg chg="mod">
          <ac:chgData name="Aniket Chhabra" userId="598e0514-bef3-4e71-b6aa-f2edd6441cff" providerId="ADAL" clId="{BE5B4798-BE1E-4422-9D3C-1ACF860F87B4}" dt="2021-07-24T02:44:12.607" v="769"/>
          <ac:grpSpMkLst>
            <pc:docMk/>
            <pc:sldMk cId="0" sldId="287"/>
            <ac:grpSpMk id="312" creationId="{9919DAB7-4646-4CA4-9D00-52BD5F6F3E5B}"/>
          </ac:grpSpMkLst>
        </pc:grpChg>
        <pc:grpChg chg="mod">
          <ac:chgData name="Aniket Chhabra" userId="598e0514-bef3-4e71-b6aa-f2edd6441cff" providerId="ADAL" clId="{BE5B4798-BE1E-4422-9D3C-1ACF860F87B4}" dt="2021-07-24T02:44:27.646" v="775"/>
          <ac:grpSpMkLst>
            <pc:docMk/>
            <pc:sldMk cId="0" sldId="287"/>
            <ac:grpSpMk id="317" creationId="{86986D00-5349-4BF5-8579-5E7032AA8AB0}"/>
          </ac:grpSpMkLst>
        </pc:grpChg>
        <pc:grpChg chg="del mod">
          <ac:chgData name="Aniket Chhabra" userId="598e0514-bef3-4e71-b6aa-f2edd6441cff" providerId="ADAL" clId="{BE5B4798-BE1E-4422-9D3C-1ACF860F87B4}" dt="2021-07-24T02:49:01.816" v="824"/>
          <ac:grpSpMkLst>
            <pc:docMk/>
            <pc:sldMk cId="0" sldId="287"/>
            <ac:grpSpMk id="324" creationId="{2661D055-F1AC-4BDB-BDA0-959FBD01B5BE}"/>
          </ac:grpSpMkLst>
        </pc:grpChg>
        <pc:grpChg chg="mod">
          <ac:chgData name="Aniket Chhabra" userId="598e0514-bef3-4e71-b6aa-f2edd6441cff" providerId="ADAL" clId="{BE5B4798-BE1E-4422-9D3C-1ACF860F87B4}" dt="2021-07-24T02:47:09.329" v="785"/>
          <ac:grpSpMkLst>
            <pc:docMk/>
            <pc:sldMk cId="0" sldId="287"/>
            <ac:grpSpMk id="327" creationId="{5352CFF7-A854-4398-9919-1AE36B026AA0}"/>
          </ac:grpSpMkLst>
        </pc:grpChg>
        <pc:grpChg chg="mod">
          <ac:chgData name="Aniket Chhabra" userId="598e0514-bef3-4e71-b6aa-f2edd6441cff" providerId="ADAL" clId="{BE5B4798-BE1E-4422-9D3C-1ACF860F87B4}" dt="2021-07-24T02:47:13.221" v="789"/>
          <ac:grpSpMkLst>
            <pc:docMk/>
            <pc:sldMk cId="0" sldId="287"/>
            <ac:grpSpMk id="331" creationId="{75995F9E-DC78-431E-B288-8C1EA11C815F}"/>
          </ac:grpSpMkLst>
        </pc:grpChg>
        <pc:grpChg chg="mod">
          <ac:chgData name="Aniket Chhabra" userId="598e0514-bef3-4e71-b6aa-f2edd6441cff" providerId="ADAL" clId="{BE5B4798-BE1E-4422-9D3C-1ACF860F87B4}" dt="2021-07-24T02:47:23.118" v="805"/>
          <ac:grpSpMkLst>
            <pc:docMk/>
            <pc:sldMk cId="0" sldId="287"/>
            <ac:grpSpMk id="345" creationId="{0D96D777-0CBF-4464-B633-738D719BD1D8}"/>
          </ac:grpSpMkLst>
        </pc:grpChg>
        <pc:grpChg chg="mod">
          <ac:chgData name="Aniket Chhabra" userId="598e0514-bef3-4e71-b6aa-f2edd6441cff" providerId="ADAL" clId="{BE5B4798-BE1E-4422-9D3C-1ACF860F87B4}" dt="2021-07-24T02:47:26.378" v="812"/>
          <ac:grpSpMkLst>
            <pc:docMk/>
            <pc:sldMk cId="0" sldId="287"/>
            <ac:grpSpMk id="352" creationId="{7918593C-86C0-42B7-BE17-19D4FED1EA9D}"/>
          </ac:grpSpMkLst>
        </pc:grpChg>
        <pc:grpChg chg="mod">
          <ac:chgData name="Aniket Chhabra" userId="598e0514-bef3-4e71-b6aa-f2edd6441cff" providerId="ADAL" clId="{BE5B4798-BE1E-4422-9D3C-1ACF860F87B4}" dt="2021-07-24T02:47:42.812" v="817"/>
          <ac:grpSpMkLst>
            <pc:docMk/>
            <pc:sldMk cId="0" sldId="287"/>
            <ac:grpSpMk id="357" creationId="{0424EAFA-723E-4355-92A5-D31B11B3E33E}"/>
          </ac:grpSpMkLst>
        </pc:grpChg>
        <pc:grpChg chg="mod">
          <ac:chgData name="Aniket Chhabra" userId="598e0514-bef3-4e71-b6aa-f2edd6441cff" providerId="ADAL" clId="{BE5B4798-BE1E-4422-9D3C-1ACF860F87B4}" dt="2021-07-24T02:48:04.017" v="821"/>
          <ac:grpSpMkLst>
            <pc:docMk/>
            <pc:sldMk cId="0" sldId="287"/>
            <ac:grpSpMk id="361" creationId="{6977B498-92AC-4F20-A743-62C69CDDEBBC}"/>
          </ac:grpSpMkLst>
        </pc:grpChg>
        <pc:grpChg chg="mod">
          <ac:chgData name="Aniket Chhabra" userId="598e0514-bef3-4e71-b6aa-f2edd6441cff" providerId="ADAL" clId="{BE5B4798-BE1E-4422-9D3C-1ACF860F87B4}" dt="2021-07-24T02:49:01.816" v="824"/>
          <ac:grpSpMkLst>
            <pc:docMk/>
            <pc:sldMk cId="0" sldId="287"/>
            <ac:grpSpMk id="364" creationId="{54A7B759-6D0D-4521-AEE4-05B7179D2D17}"/>
          </ac:grpSpMkLst>
        </pc:grpChg>
        <pc:grpChg chg="del mod">
          <ac:chgData name="Aniket Chhabra" userId="598e0514-bef3-4e71-b6aa-f2edd6441cff" providerId="ADAL" clId="{BE5B4798-BE1E-4422-9D3C-1ACF860F87B4}" dt="2021-07-24T02:49:25.441" v="842"/>
          <ac:grpSpMkLst>
            <pc:docMk/>
            <pc:sldMk cId="0" sldId="287"/>
            <ac:grpSpMk id="372" creationId="{EB985E5A-D345-490C-827A-09D83C1C0457}"/>
          </ac:grpSpMkLst>
        </pc:grpChg>
        <pc:grpChg chg="del mod">
          <ac:chgData name="Aniket Chhabra" userId="598e0514-bef3-4e71-b6aa-f2edd6441cff" providerId="ADAL" clId="{BE5B4798-BE1E-4422-9D3C-1ACF860F87B4}" dt="2021-07-24T02:49:31.025" v="850"/>
          <ac:grpSpMkLst>
            <pc:docMk/>
            <pc:sldMk cId="0" sldId="287"/>
            <ac:grpSpMk id="378" creationId="{4C9A2C0E-B2B8-4F76-9A1E-E584009D1DD7}"/>
          </ac:grpSpMkLst>
        </pc:grpChg>
        <pc:grpChg chg="del mod">
          <ac:chgData name="Aniket Chhabra" userId="598e0514-bef3-4e71-b6aa-f2edd6441cff" providerId="ADAL" clId="{BE5B4798-BE1E-4422-9D3C-1ACF860F87B4}" dt="2021-07-24T02:49:31.025" v="850"/>
          <ac:grpSpMkLst>
            <pc:docMk/>
            <pc:sldMk cId="0" sldId="287"/>
            <ac:grpSpMk id="384" creationId="{E51C667F-217E-4E73-AA55-D682A4F3DB1E}"/>
          </ac:grpSpMkLst>
        </pc:grpChg>
        <pc:grpChg chg="del mod">
          <ac:chgData name="Aniket Chhabra" userId="598e0514-bef3-4e71-b6aa-f2edd6441cff" providerId="ADAL" clId="{BE5B4798-BE1E-4422-9D3C-1ACF860F87B4}" dt="2021-07-24T02:49:33.349" v="852"/>
          <ac:grpSpMkLst>
            <pc:docMk/>
            <pc:sldMk cId="0" sldId="287"/>
            <ac:grpSpMk id="386" creationId="{A0F069F4-3210-41BC-ACD4-3A7F0BA82A21}"/>
          </ac:grpSpMkLst>
        </pc:grpChg>
        <pc:grpChg chg="del mod">
          <ac:chgData name="Aniket Chhabra" userId="598e0514-bef3-4e71-b6aa-f2edd6441cff" providerId="ADAL" clId="{BE5B4798-BE1E-4422-9D3C-1ACF860F87B4}" dt="2021-07-24T02:49:53.819" v="859"/>
          <ac:grpSpMkLst>
            <pc:docMk/>
            <pc:sldMk cId="0" sldId="287"/>
            <ac:grpSpMk id="388" creationId="{F6314F0A-B381-42CE-840D-69E45ED90933}"/>
          </ac:grpSpMkLst>
        </pc:grpChg>
        <pc:grpChg chg="mod">
          <ac:chgData name="Aniket Chhabra" userId="598e0514-bef3-4e71-b6aa-f2edd6441cff" providerId="ADAL" clId="{BE5B4798-BE1E-4422-9D3C-1ACF860F87B4}" dt="2021-07-24T02:49:54.769" v="863"/>
          <ac:grpSpMkLst>
            <pc:docMk/>
            <pc:sldMk cId="0" sldId="287"/>
            <ac:grpSpMk id="390" creationId="{F0621CFE-DF20-4FEB-837D-2B5CA8B974EA}"/>
          </ac:grpSpMkLst>
        </pc:grpChg>
        <pc:grpChg chg="mod">
          <ac:chgData name="Aniket Chhabra" userId="598e0514-bef3-4e71-b6aa-f2edd6441cff" providerId="ADAL" clId="{BE5B4798-BE1E-4422-9D3C-1ACF860F87B4}" dt="2021-07-24T02:49:57.848" v="866"/>
          <ac:grpSpMkLst>
            <pc:docMk/>
            <pc:sldMk cId="0" sldId="287"/>
            <ac:grpSpMk id="393" creationId="{AE8AF19A-FDD7-4A2A-8DE1-9F46340AF5F0}"/>
          </ac:grpSpMkLst>
        </pc:grpChg>
        <pc:grpChg chg="mod">
          <ac:chgData name="Aniket Chhabra" userId="598e0514-bef3-4e71-b6aa-f2edd6441cff" providerId="ADAL" clId="{BE5B4798-BE1E-4422-9D3C-1ACF860F87B4}" dt="2021-07-24T02:50:01.447" v="873"/>
          <ac:grpSpMkLst>
            <pc:docMk/>
            <pc:sldMk cId="0" sldId="287"/>
            <ac:grpSpMk id="400" creationId="{EB5EF966-044A-49F4-86E1-A75B16966DB2}"/>
          </ac:grpSpMkLst>
        </pc:grpChg>
        <pc:grpChg chg="del mod">
          <ac:chgData name="Aniket Chhabra" userId="598e0514-bef3-4e71-b6aa-f2edd6441cff" providerId="ADAL" clId="{BE5B4798-BE1E-4422-9D3C-1ACF860F87B4}" dt="2021-07-24T02:50:16.406" v="889"/>
          <ac:grpSpMkLst>
            <pc:docMk/>
            <pc:sldMk cId="0" sldId="287"/>
            <ac:grpSpMk id="408" creationId="{9FE91135-1E60-406A-9341-2F399C1152A8}"/>
          </ac:grpSpMkLst>
        </pc:grpChg>
        <pc:grpChg chg="mod">
          <ac:chgData name="Aniket Chhabra" userId="598e0514-bef3-4e71-b6aa-f2edd6441cff" providerId="ADAL" clId="{BE5B4798-BE1E-4422-9D3C-1ACF860F87B4}" dt="2021-07-24T02:50:16.406" v="889"/>
          <ac:grpSpMkLst>
            <pc:docMk/>
            <pc:sldMk cId="0" sldId="287"/>
            <ac:grpSpMk id="416" creationId="{57C3B5DC-FACC-4993-A0B1-D3C85297F213}"/>
          </ac:grpSpMkLst>
        </pc:grpChg>
        <pc:inkChg chg="add del">
          <ac:chgData name="Aniket Chhabra" userId="598e0514-bef3-4e71-b6aa-f2edd6441cff" providerId="ADAL" clId="{BE5B4798-BE1E-4422-9D3C-1ACF860F87B4}" dt="2021-07-23T14:03:13.259" v="103"/>
          <ac:inkMkLst>
            <pc:docMk/>
            <pc:sldMk cId="0" sldId="287"/>
            <ac:inkMk id="2" creationId="{724403B3-5352-4376-BCCF-176980179A1A}"/>
          </ac:inkMkLst>
        </pc:inkChg>
        <pc:inkChg chg="add del mod">
          <ac:chgData name="Aniket Chhabra" userId="598e0514-bef3-4e71-b6aa-f2edd6441cff" providerId="ADAL" clId="{BE5B4798-BE1E-4422-9D3C-1ACF860F87B4}" dt="2021-07-24T02:42:34.238" v="672"/>
          <ac:inkMkLst>
            <pc:docMk/>
            <pc:sldMk cId="0" sldId="287"/>
            <ac:inkMk id="2" creationId="{A4661A46-0359-4DFE-B359-48BD25EBD4B2}"/>
          </ac:inkMkLst>
        </pc:inkChg>
        <pc:inkChg chg="add del">
          <ac:chgData name="Aniket Chhabra" userId="598e0514-bef3-4e71-b6aa-f2edd6441cff" providerId="ADAL" clId="{BE5B4798-BE1E-4422-9D3C-1ACF860F87B4}" dt="2021-07-23T14:03:13.259" v="104"/>
          <ac:inkMkLst>
            <pc:docMk/>
            <pc:sldMk cId="0" sldId="287"/>
            <ac:inkMk id="3" creationId="{5EC017A2-EEF0-477F-8A4D-7B45B6C03B1B}"/>
          </ac:inkMkLst>
        </pc:inkChg>
        <pc:inkChg chg="add del mod">
          <ac:chgData name="Aniket Chhabra" userId="598e0514-bef3-4e71-b6aa-f2edd6441cff" providerId="ADAL" clId="{BE5B4798-BE1E-4422-9D3C-1ACF860F87B4}" dt="2021-07-24T02:42:34.239" v="673"/>
          <ac:inkMkLst>
            <pc:docMk/>
            <pc:sldMk cId="0" sldId="287"/>
            <ac:inkMk id="3" creationId="{9E3BF12D-A1AE-46F8-886D-3BF365F6A71F}"/>
          </ac:inkMkLst>
        </pc:inkChg>
        <pc:inkChg chg="add del mod">
          <ac:chgData name="Aniket Chhabra" userId="598e0514-bef3-4e71-b6aa-f2edd6441cff" providerId="ADAL" clId="{BE5B4798-BE1E-4422-9D3C-1ACF860F87B4}" dt="2021-07-23T14:03:35.103" v="124"/>
          <ac:inkMkLst>
            <pc:docMk/>
            <pc:sldMk cId="0" sldId="287"/>
            <ac:inkMk id="4" creationId="{B3A7C296-2313-4BB6-80FD-0394E6DBCF15}"/>
          </ac:inkMkLst>
        </pc:inkChg>
        <pc:inkChg chg="add del mod">
          <ac:chgData name="Aniket Chhabra" userId="598e0514-bef3-4e71-b6aa-f2edd6441cff" providerId="ADAL" clId="{BE5B4798-BE1E-4422-9D3C-1ACF860F87B4}" dt="2021-07-23T14:03:35.102" v="122"/>
          <ac:inkMkLst>
            <pc:docMk/>
            <pc:sldMk cId="0" sldId="287"/>
            <ac:inkMk id="5" creationId="{07D06B08-A330-4B8B-8929-3D6911F4DA97}"/>
          </ac:inkMkLst>
        </pc:inkChg>
        <pc:inkChg chg="add mod">
          <ac:chgData name="Aniket Chhabra" userId="598e0514-bef3-4e71-b6aa-f2edd6441cff" providerId="ADAL" clId="{BE5B4798-BE1E-4422-9D3C-1ACF860F87B4}" dt="2021-07-24T02:42:38.658" v="679"/>
          <ac:inkMkLst>
            <pc:docMk/>
            <pc:sldMk cId="0" sldId="287"/>
            <ac:inkMk id="5" creationId="{8C4227E7-AE94-42B2-88E4-DB33B2D64BC5}"/>
          </ac:inkMkLst>
        </pc:inkChg>
        <pc:inkChg chg="add mod">
          <ac:chgData name="Aniket Chhabra" userId="598e0514-bef3-4e71-b6aa-f2edd6441cff" providerId="ADAL" clId="{BE5B4798-BE1E-4422-9D3C-1ACF860F87B4}" dt="2021-07-24T02:42:38.658" v="679"/>
          <ac:inkMkLst>
            <pc:docMk/>
            <pc:sldMk cId="0" sldId="287"/>
            <ac:inkMk id="6" creationId="{AD4946EF-4280-49C3-B3C6-995AB64C3E31}"/>
          </ac:inkMkLst>
        </pc:inkChg>
        <pc:inkChg chg="add del mod">
          <ac:chgData name="Aniket Chhabra" userId="598e0514-bef3-4e71-b6aa-f2edd6441cff" providerId="ADAL" clId="{BE5B4798-BE1E-4422-9D3C-1ACF860F87B4}" dt="2021-07-23T14:03:35.102" v="121"/>
          <ac:inkMkLst>
            <pc:docMk/>
            <pc:sldMk cId="0" sldId="287"/>
            <ac:inkMk id="6" creationId="{E54CDC05-241F-4F0E-BC94-68F96DA79F73}"/>
          </ac:inkMkLst>
        </pc:inkChg>
        <pc:inkChg chg="add mod">
          <ac:chgData name="Aniket Chhabra" userId="598e0514-bef3-4e71-b6aa-f2edd6441cff" providerId="ADAL" clId="{BE5B4798-BE1E-4422-9D3C-1ACF860F87B4}" dt="2021-07-24T02:42:38.658" v="679"/>
          <ac:inkMkLst>
            <pc:docMk/>
            <pc:sldMk cId="0" sldId="287"/>
            <ac:inkMk id="7" creationId="{AB9E1250-231B-4FCF-A526-9B1FD6A56956}"/>
          </ac:inkMkLst>
        </pc:inkChg>
        <pc:inkChg chg="add del mod">
          <ac:chgData name="Aniket Chhabra" userId="598e0514-bef3-4e71-b6aa-f2edd6441cff" providerId="ADAL" clId="{BE5B4798-BE1E-4422-9D3C-1ACF860F87B4}" dt="2021-07-23T14:03:35.101" v="120"/>
          <ac:inkMkLst>
            <pc:docMk/>
            <pc:sldMk cId="0" sldId="287"/>
            <ac:inkMk id="7" creationId="{E5227C4C-6979-4756-BFA6-DDAB7D733508}"/>
          </ac:inkMkLst>
        </pc:inkChg>
        <pc:inkChg chg="add del mod">
          <ac:chgData name="Aniket Chhabra" userId="598e0514-bef3-4e71-b6aa-f2edd6441cff" providerId="ADAL" clId="{BE5B4798-BE1E-4422-9D3C-1ACF860F87B4}" dt="2021-07-23T14:03:35.101" v="119"/>
          <ac:inkMkLst>
            <pc:docMk/>
            <pc:sldMk cId="0" sldId="287"/>
            <ac:inkMk id="8" creationId="{0C47691C-41F1-4875-BA2B-08705AD844DB}"/>
          </ac:inkMkLst>
        </pc:inkChg>
        <pc:inkChg chg="add mod">
          <ac:chgData name="Aniket Chhabra" userId="598e0514-bef3-4e71-b6aa-f2edd6441cff" providerId="ADAL" clId="{BE5B4798-BE1E-4422-9D3C-1ACF860F87B4}" dt="2021-07-24T02:42:38.658" v="679"/>
          <ac:inkMkLst>
            <pc:docMk/>
            <pc:sldMk cId="0" sldId="287"/>
            <ac:inkMk id="8" creationId="{9A6B4B65-8D58-452A-994A-3E7E9CB6F406}"/>
          </ac:inkMkLst>
        </pc:inkChg>
        <pc:inkChg chg="add mod">
          <ac:chgData name="Aniket Chhabra" userId="598e0514-bef3-4e71-b6aa-f2edd6441cff" providerId="ADAL" clId="{BE5B4798-BE1E-4422-9D3C-1ACF860F87B4}" dt="2021-07-24T02:42:38.658" v="679"/>
          <ac:inkMkLst>
            <pc:docMk/>
            <pc:sldMk cId="0" sldId="287"/>
            <ac:inkMk id="9" creationId="{10329F69-691D-47CA-946C-47840128C34C}"/>
          </ac:inkMkLst>
        </pc:inkChg>
        <pc:inkChg chg="add del mod">
          <ac:chgData name="Aniket Chhabra" userId="598e0514-bef3-4e71-b6aa-f2edd6441cff" providerId="ADAL" clId="{BE5B4798-BE1E-4422-9D3C-1ACF860F87B4}" dt="2021-07-23T14:03:35.103" v="126"/>
          <ac:inkMkLst>
            <pc:docMk/>
            <pc:sldMk cId="0" sldId="287"/>
            <ac:inkMk id="9" creationId="{4FE97D67-AB0A-4D91-A331-D6577A0A4A92}"/>
          </ac:inkMkLst>
        </pc:inkChg>
        <pc:inkChg chg="add del mod">
          <ac:chgData name="Aniket Chhabra" userId="598e0514-bef3-4e71-b6aa-f2edd6441cff" providerId="ADAL" clId="{BE5B4798-BE1E-4422-9D3C-1ACF860F87B4}" dt="2021-07-23T14:03:35.103" v="127"/>
          <ac:inkMkLst>
            <pc:docMk/>
            <pc:sldMk cId="0" sldId="287"/>
            <ac:inkMk id="10" creationId="{BB7EE48B-DD58-4E85-B0F1-4BEE926BE4DB}"/>
          </ac:inkMkLst>
        </pc:inkChg>
        <pc:inkChg chg="add del">
          <ac:chgData name="Aniket Chhabra" userId="598e0514-bef3-4e71-b6aa-f2edd6441cff" providerId="ADAL" clId="{BE5B4798-BE1E-4422-9D3C-1ACF860F87B4}" dt="2021-07-24T02:42:41.116" v="687"/>
          <ac:inkMkLst>
            <pc:docMk/>
            <pc:sldMk cId="0" sldId="287"/>
            <ac:inkMk id="12" creationId="{2C362B1C-1EA0-4849-AED6-746965086663}"/>
          </ac:inkMkLst>
        </pc:inkChg>
        <pc:inkChg chg="add del mod">
          <ac:chgData name="Aniket Chhabra" userId="598e0514-bef3-4e71-b6aa-f2edd6441cff" providerId="ADAL" clId="{BE5B4798-BE1E-4422-9D3C-1ACF860F87B4}" dt="2021-07-23T14:03:35.103" v="125"/>
          <ac:inkMkLst>
            <pc:docMk/>
            <pc:sldMk cId="0" sldId="287"/>
            <ac:inkMk id="12" creationId="{5D96B320-B4FE-4447-AE41-466002FF3AB5}"/>
          </ac:inkMkLst>
        </pc:inkChg>
        <pc:inkChg chg="add del">
          <ac:chgData name="Aniket Chhabra" userId="598e0514-bef3-4e71-b6aa-f2edd6441cff" providerId="ADAL" clId="{BE5B4798-BE1E-4422-9D3C-1ACF860F87B4}" dt="2021-07-24T02:42:41.116" v="686"/>
          <ac:inkMkLst>
            <pc:docMk/>
            <pc:sldMk cId="0" sldId="287"/>
            <ac:inkMk id="13" creationId="{0A503BB5-C591-4D04-96F0-2CC7465262BE}"/>
          </ac:inkMkLst>
        </pc:inkChg>
        <pc:inkChg chg="add del mod">
          <ac:chgData name="Aniket Chhabra" userId="598e0514-bef3-4e71-b6aa-f2edd6441cff" providerId="ADAL" clId="{BE5B4798-BE1E-4422-9D3C-1ACF860F87B4}" dt="2021-07-23T14:03:35.104" v="128"/>
          <ac:inkMkLst>
            <pc:docMk/>
            <pc:sldMk cId="0" sldId="287"/>
            <ac:inkMk id="14" creationId="{8C59A12A-3FA0-4D30-A460-5045805EF330}"/>
          </ac:inkMkLst>
        </pc:inkChg>
        <pc:inkChg chg="add del">
          <ac:chgData name="Aniket Chhabra" userId="598e0514-bef3-4e71-b6aa-f2edd6441cff" providerId="ADAL" clId="{BE5B4798-BE1E-4422-9D3C-1ACF860F87B4}" dt="2021-07-24T02:42:41.114" v="684"/>
          <ac:inkMkLst>
            <pc:docMk/>
            <pc:sldMk cId="0" sldId="287"/>
            <ac:inkMk id="14" creationId="{D2B1A4BF-2E68-4F53-9364-4FC04C89A0C4}"/>
          </ac:inkMkLst>
        </pc:inkChg>
        <pc:inkChg chg="add del">
          <ac:chgData name="Aniket Chhabra" userId="598e0514-bef3-4e71-b6aa-f2edd6441cff" providerId="ADAL" clId="{BE5B4798-BE1E-4422-9D3C-1ACF860F87B4}" dt="2021-07-24T02:42:41.115" v="685"/>
          <ac:inkMkLst>
            <pc:docMk/>
            <pc:sldMk cId="0" sldId="287"/>
            <ac:inkMk id="15" creationId="{9B62BF6C-0028-42D9-BD67-1CF42BDFCB5A}"/>
          </ac:inkMkLst>
        </pc:inkChg>
        <pc:inkChg chg="add mod">
          <ac:chgData name="Aniket Chhabra" userId="598e0514-bef3-4e71-b6aa-f2edd6441cff" providerId="ADAL" clId="{BE5B4798-BE1E-4422-9D3C-1ACF860F87B4}" dt="2021-07-24T02:47:23.118" v="805"/>
          <ac:inkMkLst>
            <pc:docMk/>
            <pc:sldMk cId="0" sldId="287"/>
            <ac:inkMk id="16" creationId="{238802ED-D389-482B-A7ED-2DA57BEBC0F7}"/>
          </ac:inkMkLst>
        </pc:inkChg>
        <pc:inkChg chg="add del mod">
          <ac:chgData name="Aniket Chhabra" userId="598e0514-bef3-4e71-b6aa-f2edd6441cff" providerId="ADAL" clId="{BE5B4798-BE1E-4422-9D3C-1ACF860F87B4}" dt="2021-07-23T14:03:35.102" v="123"/>
          <ac:inkMkLst>
            <pc:docMk/>
            <pc:sldMk cId="0" sldId="287"/>
            <ac:inkMk id="16" creationId="{7E34DECB-00D4-4402-9854-CC52B7BAE4F4}"/>
          </ac:inkMkLst>
        </pc:inkChg>
        <pc:inkChg chg="add mod">
          <ac:chgData name="Aniket Chhabra" userId="598e0514-bef3-4e71-b6aa-f2edd6441cff" providerId="ADAL" clId="{BE5B4798-BE1E-4422-9D3C-1ACF860F87B4}" dt="2021-07-24T02:47:23.118" v="805"/>
          <ac:inkMkLst>
            <pc:docMk/>
            <pc:sldMk cId="0" sldId="287"/>
            <ac:inkMk id="17" creationId="{B9A1720E-A1E6-4882-8F2C-4B95DF24A61E}"/>
          </ac:inkMkLst>
        </pc:inkChg>
        <pc:inkChg chg="add mod">
          <ac:chgData name="Aniket Chhabra" userId="598e0514-bef3-4e71-b6aa-f2edd6441cff" providerId="ADAL" clId="{BE5B4798-BE1E-4422-9D3C-1ACF860F87B4}" dt="2021-07-24T02:47:23.118" v="805"/>
          <ac:inkMkLst>
            <pc:docMk/>
            <pc:sldMk cId="0" sldId="287"/>
            <ac:inkMk id="18" creationId="{4BF21DEC-048D-485A-9F08-46013C30A1DD}"/>
          </ac:inkMkLst>
        </pc:inkChg>
        <pc:inkChg chg="add mod">
          <ac:chgData name="Aniket Chhabra" userId="598e0514-bef3-4e71-b6aa-f2edd6441cff" providerId="ADAL" clId="{BE5B4798-BE1E-4422-9D3C-1ACF860F87B4}" dt="2021-07-23T14:18:53.327" v="141"/>
          <ac:inkMkLst>
            <pc:docMk/>
            <pc:sldMk cId="0" sldId="287"/>
            <ac:inkMk id="18" creationId="{A6D5A093-FB6F-423B-B65C-14B1422B5F38}"/>
          </ac:inkMkLst>
        </pc:inkChg>
        <pc:inkChg chg="add mod">
          <ac:chgData name="Aniket Chhabra" userId="598e0514-bef3-4e71-b6aa-f2edd6441cff" providerId="ADAL" clId="{BE5B4798-BE1E-4422-9D3C-1ACF860F87B4}" dt="2021-07-23T14:18:53.327" v="141"/>
          <ac:inkMkLst>
            <pc:docMk/>
            <pc:sldMk cId="0" sldId="287"/>
            <ac:inkMk id="19" creationId="{43D8B59A-8B7D-4856-934B-C09F17417C04}"/>
          </ac:inkMkLst>
        </pc:inkChg>
        <pc:inkChg chg="add mod">
          <ac:chgData name="Aniket Chhabra" userId="598e0514-bef3-4e71-b6aa-f2edd6441cff" providerId="ADAL" clId="{BE5B4798-BE1E-4422-9D3C-1ACF860F87B4}" dt="2021-07-24T02:47:23.118" v="805"/>
          <ac:inkMkLst>
            <pc:docMk/>
            <pc:sldMk cId="0" sldId="287"/>
            <ac:inkMk id="19" creationId="{D6C18821-9181-4733-B0ED-889ABA87589B}"/>
          </ac:inkMkLst>
        </pc:inkChg>
        <pc:inkChg chg="add mod">
          <ac:chgData name="Aniket Chhabra" userId="598e0514-bef3-4e71-b6aa-f2edd6441cff" providerId="ADAL" clId="{BE5B4798-BE1E-4422-9D3C-1ACF860F87B4}" dt="2021-07-24T02:47:23.118" v="805"/>
          <ac:inkMkLst>
            <pc:docMk/>
            <pc:sldMk cId="0" sldId="287"/>
            <ac:inkMk id="20" creationId="{3DEB2551-02CC-4AC6-BDF7-4AA672FFD3C0}"/>
          </ac:inkMkLst>
        </pc:inkChg>
        <pc:inkChg chg="add mod">
          <ac:chgData name="Aniket Chhabra" userId="598e0514-bef3-4e71-b6aa-f2edd6441cff" providerId="ADAL" clId="{BE5B4798-BE1E-4422-9D3C-1ACF860F87B4}" dt="2021-07-24T02:47:23.118" v="805"/>
          <ac:inkMkLst>
            <pc:docMk/>
            <pc:sldMk cId="0" sldId="287"/>
            <ac:inkMk id="21" creationId="{70C217F5-6E11-4DCB-9F9D-AA6CB5D8A817}"/>
          </ac:inkMkLst>
        </pc:inkChg>
        <pc:inkChg chg="add mod">
          <ac:chgData name="Aniket Chhabra" userId="598e0514-bef3-4e71-b6aa-f2edd6441cff" providerId="ADAL" clId="{BE5B4798-BE1E-4422-9D3C-1ACF860F87B4}" dt="2021-07-23T14:18:53.327" v="141"/>
          <ac:inkMkLst>
            <pc:docMk/>
            <pc:sldMk cId="0" sldId="287"/>
            <ac:inkMk id="21" creationId="{B3E4BAA3-A2AD-4B5B-B544-A73CAEDA34F8}"/>
          </ac:inkMkLst>
        </pc:inkChg>
        <pc:inkChg chg="add mod">
          <ac:chgData name="Aniket Chhabra" userId="598e0514-bef3-4e71-b6aa-f2edd6441cff" providerId="ADAL" clId="{BE5B4798-BE1E-4422-9D3C-1ACF860F87B4}" dt="2021-07-23T14:18:53.327" v="141"/>
          <ac:inkMkLst>
            <pc:docMk/>
            <pc:sldMk cId="0" sldId="287"/>
            <ac:inkMk id="22" creationId="{14650073-D66F-48E1-9B22-521D2FAEBFBE}"/>
          </ac:inkMkLst>
        </pc:inkChg>
        <pc:inkChg chg="add mod">
          <ac:chgData name="Aniket Chhabra" userId="598e0514-bef3-4e71-b6aa-f2edd6441cff" providerId="ADAL" clId="{BE5B4798-BE1E-4422-9D3C-1ACF860F87B4}" dt="2021-07-24T02:47:23.118" v="805"/>
          <ac:inkMkLst>
            <pc:docMk/>
            <pc:sldMk cId="0" sldId="287"/>
            <ac:inkMk id="22" creationId="{75850A17-B0AE-4476-992E-F98C29167B2F}"/>
          </ac:inkMkLst>
        </pc:inkChg>
        <pc:inkChg chg="add mod">
          <ac:chgData name="Aniket Chhabra" userId="598e0514-bef3-4e71-b6aa-f2edd6441cff" providerId="ADAL" clId="{BE5B4798-BE1E-4422-9D3C-1ACF860F87B4}" dt="2021-07-24T02:47:23.118" v="805"/>
          <ac:inkMkLst>
            <pc:docMk/>
            <pc:sldMk cId="0" sldId="287"/>
            <ac:inkMk id="23" creationId="{139FA090-67BC-4291-A627-6A877B04E77B}"/>
          </ac:inkMkLst>
        </pc:inkChg>
        <pc:inkChg chg="add mod">
          <ac:chgData name="Aniket Chhabra" userId="598e0514-bef3-4e71-b6aa-f2edd6441cff" providerId="ADAL" clId="{BE5B4798-BE1E-4422-9D3C-1ACF860F87B4}" dt="2021-07-23T14:18:53.327" v="141"/>
          <ac:inkMkLst>
            <pc:docMk/>
            <pc:sldMk cId="0" sldId="287"/>
            <ac:inkMk id="23" creationId="{6FF4414F-A71C-4AA4-A9FA-603EA827FF64}"/>
          </ac:inkMkLst>
        </pc:inkChg>
        <pc:inkChg chg="add mod">
          <ac:chgData name="Aniket Chhabra" userId="598e0514-bef3-4e71-b6aa-f2edd6441cff" providerId="ADAL" clId="{BE5B4798-BE1E-4422-9D3C-1ACF860F87B4}" dt="2021-07-24T02:47:23.118" v="805"/>
          <ac:inkMkLst>
            <pc:docMk/>
            <pc:sldMk cId="0" sldId="287"/>
            <ac:inkMk id="24" creationId="{41851C92-97B5-4BB7-B58F-17AE67FEB4C0}"/>
          </ac:inkMkLst>
        </pc:inkChg>
        <pc:inkChg chg="add mod">
          <ac:chgData name="Aniket Chhabra" userId="598e0514-bef3-4e71-b6aa-f2edd6441cff" providerId="ADAL" clId="{BE5B4798-BE1E-4422-9D3C-1ACF860F87B4}" dt="2021-07-23T14:18:53.327" v="141"/>
          <ac:inkMkLst>
            <pc:docMk/>
            <pc:sldMk cId="0" sldId="287"/>
            <ac:inkMk id="24" creationId="{67918C9F-B964-40DA-8D7F-FFDC9E59CEE4}"/>
          </ac:inkMkLst>
        </pc:inkChg>
        <pc:inkChg chg="add mod">
          <ac:chgData name="Aniket Chhabra" userId="598e0514-bef3-4e71-b6aa-f2edd6441cff" providerId="ADAL" clId="{BE5B4798-BE1E-4422-9D3C-1ACF860F87B4}" dt="2021-07-24T02:47:23.118" v="805"/>
          <ac:inkMkLst>
            <pc:docMk/>
            <pc:sldMk cId="0" sldId="287"/>
            <ac:inkMk id="25" creationId="{2BDB123B-8086-4B87-87F9-B489ACFE7248}"/>
          </ac:inkMkLst>
        </pc:inkChg>
        <pc:inkChg chg="add mod">
          <ac:chgData name="Aniket Chhabra" userId="598e0514-bef3-4e71-b6aa-f2edd6441cff" providerId="ADAL" clId="{BE5B4798-BE1E-4422-9D3C-1ACF860F87B4}" dt="2021-07-23T14:18:53.327" v="141"/>
          <ac:inkMkLst>
            <pc:docMk/>
            <pc:sldMk cId="0" sldId="287"/>
            <ac:inkMk id="25" creationId="{58127FC0-CFCA-4A94-96F6-6B1453A2CFEA}"/>
          </ac:inkMkLst>
        </pc:inkChg>
        <pc:inkChg chg="add mod">
          <ac:chgData name="Aniket Chhabra" userId="598e0514-bef3-4e71-b6aa-f2edd6441cff" providerId="ADAL" clId="{BE5B4798-BE1E-4422-9D3C-1ACF860F87B4}" dt="2021-07-24T02:47:23.118" v="805"/>
          <ac:inkMkLst>
            <pc:docMk/>
            <pc:sldMk cId="0" sldId="287"/>
            <ac:inkMk id="26" creationId="{1742148D-E7D6-4558-B24F-DA0F848D890E}"/>
          </ac:inkMkLst>
        </pc:inkChg>
        <pc:inkChg chg="add mod">
          <ac:chgData name="Aniket Chhabra" userId="598e0514-bef3-4e71-b6aa-f2edd6441cff" providerId="ADAL" clId="{BE5B4798-BE1E-4422-9D3C-1ACF860F87B4}" dt="2021-07-23T14:18:53.327" v="141"/>
          <ac:inkMkLst>
            <pc:docMk/>
            <pc:sldMk cId="0" sldId="287"/>
            <ac:inkMk id="26" creationId="{C3EA21E1-A2BB-4FEE-BB53-DEB7FE82B49D}"/>
          </ac:inkMkLst>
        </pc:inkChg>
        <pc:inkChg chg="add mod">
          <ac:chgData name="Aniket Chhabra" userId="598e0514-bef3-4e71-b6aa-f2edd6441cff" providerId="ADAL" clId="{BE5B4798-BE1E-4422-9D3C-1ACF860F87B4}" dt="2021-07-23T14:18:53.327" v="141"/>
          <ac:inkMkLst>
            <pc:docMk/>
            <pc:sldMk cId="0" sldId="287"/>
            <ac:inkMk id="27" creationId="{08137D8A-A34B-428C-963C-AFF695564A1E}"/>
          </ac:inkMkLst>
        </pc:inkChg>
        <pc:inkChg chg="add mod">
          <ac:chgData name="Aniket Chhabra" userId="598e0514-bef3-4e71-b6aa-f2edd6441cff" providerId="ADAL" clId="{BE5B4798-BE1E-4422-9D3C-1ACF860F87B4}" dt="2021-07-24T02:47:23.118" v="805"/>
          <ac:inkMkLst>
            <pc:docMk/>
            <pc:sldMk cId="0" sldId="287"/>
            <ac:inkMk id="27" creationId="{571B4A79-A06C-494E-A5DD-9800CF8A9D87}"/>
          </ac:inkMkLst>
        </pc:inkChg>
        <pc:inkChg chg="add mod">
          <ac:chgData name="Aniket Chhabra" userId="598e0514-bef3-4e71-b6aa-f2edd6441cff" providerId="ADAL" clId="{BE5B4798-BE1E-4422-9D3C-1ACF860F87B4}" dt="2021-07-24T02:47:23.118" v="805"/>
          <ac:inkMkLst>
            <pc:docMk/>
            <pc:sldMk cId="0" sldId="287"/>
            <ac:inkMk id="28" creationId="{2F7BABBC-6F1C-4B30-86AF-BE9A84A25AE9}"/>
          </ac:inkMkLst>
        </pc:inkChg>
        <pc:inkChg chg="add mod">
          <ac:chgData name="Aniket Chhabra" userId="598e0514-bef3-4e71-b6aa-f2edd6441cff" providerId="ADAL" clId="{BE5B4798-BE1E-4422-9D3C-1ACF860F87B4}" dt="2021-07-23T14:18:53.327" v="141"/>
          <ac:inkMkLst>
            <pc:docMk/>
            <pc:sldMk cId="0" sldId="287"/>
            <ac:inkMk id="28" creationId="{312C7C50-D8E8-46AB-BEB4-32DC92E4966F}"/>
          </ac:inkMkLst>
        </pc:inkChg>
        <pc:inkChg chg="add mod">
          <ac:chgData name="Aniket Chhabra" userId="598e0514-bef3-4e71-b6aa-f2edd6441cff" providerId="ADAL" clId="{BE5B4798-BE1E-4422-9D3C-1ACF860F87B4}" dt="2021-07-24T02:47:23.118" v="805"/>
          <ac:inkMkLst>
            <pc:docMk/>
            <pc:sldMk cId="0" sldId="287"/>
            <ac:inkMk id="29" creationId="{AE4A2713-95EF-40AF-AA0E-513CE2C393D9}"/>
          </ac:inkMkLst>
        </pc:inkChg>
        <pc:inkChg chg="add mod">
          <ac:chgData name="Aniket Chhabra" userId="598e0514-bef3-4e71-b6aa-f2edd6441cff" providerId="ADAL" clId="{BE5B4798-BE1E-4422-9D3C-1ACF860F87B4}" dt="2021-07-23T14:18:53.327" v="141"/>
          <ac:inkMkLst>
            <pc:docMk/>
            <pc:sldMk cId="0" sldId="287"/>
            <ac:inkMk id="29" creationId="{DF3C869A-72C7-4D4E-9C76-B25B0A5A51CD}"/>
          </ac:inkMkLst>
        </pc:inkChg>
        <pc:inkChg chg="add mod">
          <ac:chgData name="Aniket Chhabra" userId="598e0514-bef3-4e71-b6aa-f2edd6441cff" providerId="ADAL" clId="{BE5B4798-BE1E-4422-9D3C-1ACF860F87B4}" dt="2021-07-24T02:47:23.118" v="805"/>
          <ac:inkMkLst>
            <pc:docMk/>
            <pc:sldMk cId="0" sldId="287"/>
            <ac:inkMk id="30" creationId="{0AF2F6AA-84D4-4B01-9B22-8CA56633EE93}"/>
          </ac:inkMkLst>
        </pc:inkChg>
        <pc:inkChg chg="add mod">
          <ac:chgData name="Aniket Chhabra" userId="598e0514-bef3-4e71-b6aa-f2edd6441cff" providerId="ADAL" clId="{BE5B4798-BE1E-4422-9D3C-1ACF860F87B4}" dt="2021-07-24T02:47:23.118" v="805"/>
          <ac:inkMkLst>
            <pc:docMk/>
            <pc:sldMk cId="0" sldId="287"/>
            <ac:inkMk id="31" creationId="{A27C806B-18ED-4318-856C-E96C00A82D51}"/>
          </ac:inkMkLst>
        </pc:inkChg>
        <pc:inkChg chg="add mod">
          <ac:chgData name="Aniket Chhabra" userId="598e0514-bef3-4e71-b6aa-f2edd6441cff" providerId="ADAL" clId="{BE5B4798-BE1E-4422-9D3C-1ACF860F87B4}" dt="2021-07-24T02:47:23.118" v="805"/>
          <ac:inkMkLst>
            <pc:docMk/>
            <pc:sldMk cId="0" sldId="287"/>
            <ac:inkMk id="256" creationId="{3F26FF7D-02C2-437F-B3FD-02FD686E3FD2}"/>
          </ac:inkMkLst>
        </pc:inkChg>
        <pc:inkChg chg="add mod">
          <ac:chgData name="Aniket Chhabra" userId="598e0514-bef3-4e71-b6aa-f2edd6441cff" providerId="ADAL" clId="{BE5B4798-BE1E-4422-9D3C-1ACF860F87B4}" dt="2021-07-24T02:47:23.118" v="805"/>
          <ac:inkMkLst>
            <pc:docMk/>
            <pc:sldMk cId="0" sldId="287"/>
            <ac:inkMk id="257" creationId="{86F24277-97CC-46DE-A5FC-99605DD20B55}"/>
          </ac:inkMkLst>
        </pc:inkChg>
        <pc:inkChg chg="add mod">
          <ac:chgData name="Aniket Chhabra" userId="598e0514-bef3-4e71-b6aa-f2edd6441cff" providerId="ADAL" clId="{BE5B4798-BE1E-4422-9D3C-1ACF860F87B4}" dt="2021-07-24T02:47:23.118" v="805"/>
          <ac:inkMkLst>
            <pc:docMk/>
            <pc:sldMk cId="0" sldId="287"/>
            <ac:inkMk id="258" creationId="{AC5D3C75-D492-4338-8E4E-DB7E5593829B}"/>
          </ac:inkMkLst>
        </pc:inkChg>
        <pc:inkChg chg="add mod">
          <ac:chgData name="Aniket Chhabra" userId="598e0514-bef3-4e71-b6aa-f2edd6441cff" providerId="ADAL" clId="{BE5B4798-BE1E-4422-9D3C-1ACF860F87B4}" dt="2021-07-24T02:47:23.118" v="805"/>
          <ac:inkMkLst>
            <pc:docMk/>
            <pc:sldMk cId="0" sldId="287"/>
            <ac:inkMk id="259" creationId="{E6527163-D6D7-478F-9CA2-3C705333E799}"/>
          </ac:inkMkLst>
        </pc:inkChg>
        <pc:inkChg chg="add mod">
          <ac:chgData name="Aniket Chhabra" userId="598e0514-bef3-4e71-b6aa-f2edd6441cff" providerId="ADAL" clId="{BE5B4798-BE1E-4422-9D3C-1ACF860F87B4}" dt="2021-07-24T02:47:23.118" v="805"/>
          <ac:inkMkLst>
            <pc:docMk/>
            <pc:sldMk cId="0" sldId="287"/>
            <ac:inkMk id="260" creationId="{983E4BF0-1E37-4542-BB6A-C98D232738E7}"/>
          </ac:inkMkLst>
        </pc:inkChg>
        <pc:inkChg chg="add mod">
          <ac:chgData name="Aniket Chhabra" userId="598e0514-bef3-4e71-b6aa-f2edd6441cff" providerId="ADAL" clId="{BE5B4798-BE1E-4422-9D3C-1ACF860F87B4}" dt="2021-07-24T02:47:23.118" v="805"/>
          <ac:inkMkLst>
            <pc:docMk/>
            <pc:sldMk cId="0" sldId="287"/>
            <ac:inkMk id="261" creationId="{209EB2F7-4024-4B3C-8101-240CA382D496}"/>
          </ac:inkMkLst>
        </pc:inkChg>
        <pc:inkChg chg="add mod">
          <ac:chgData name="Aniket Chhabra" userId="598e0514-bef3-4e71-b6aa-f2edd6441cff" providerId="ADAL" clId="{BE5B4798-BE1E-4422-9D3C-1ACF860F87B4}" dt="2021-07-24T02:47:23.118" v="805"/>
          <ac:inkMkLst>
            <pc:docMk/>
            <pc:sldMk cId="0" sldId="287"/>
            <ac:inkMk id="262" creationId="{A568D0C5-2D60-4271-B4EF-098C5191DFE5}"/>
          </ac:inkMkLst>
        </pc:inkChg>
        <pc:inkChg chg="add mod">
          <ac:chgData name="Aniket Chhabra" userId="598e0514-bef3-4e71-b6aa-f2edd6441cff" providerId="ADAL" clId="{BE5B4798-BE1E-4422-9D3C-1ACF860F87B4}" dt="2021-07-24T02:47:23.118" v="805"/>
          <ac:inkMkLst>
            <pc:docMk/>
            <pc:sldMk cId="0" sldId="287"/>
            <ac:inkMk id="263" creationId="{E1F2940B-69CD-4F29-A3CC-8B424F3C29A2}"/>
          </ac:inkMkLst>
        </pc:inkChg>
        <pc:inkChg chg="add mod">
          <ac:chgData name="Aniket Chhabra" userId="598e0514-bef3-4e71-b6aa-f2edd6441cff" providerId="ADAL" clId="{BE5B4798-BE1E-4422-9D3C-1ACF860F87B4}" dt="2021-07-24T02:47:23.118" v="805"/>
          <ac:inkMkLst>
            <pc:docMk/>
            <pc:sldMk cId="0" sldId="287"/>
            <ac:inkMk id="266" creationId="{41A1BE0D-E509-484A-86BB-666D9D62735A}"/>
          </ac:inkMkLst>
        </pc:inkChg>
        <pc:inkChg chg="add mod">
          <ac:chgData name="Aniket Chhabra" userId="598e0514-bef3-4e71-b6aa-f2edd6441cff" providerId="ADAL" clId="{BE5B4798-BE1E-4422-9D3C-1ACF860F87B4}" dt="2021-07-24T02:47:23.118" v="805"/>
          <ac:inkMkLst>
            <pc:docMk/>
            <pc:sldMk cId="0" sldId="287"/>
            <ac:inkMk id="267" creationId="{2CCF9D33-5B9A-4168-94D0-8AB3AB64C7FD}"/>
          </ac:inkMkLst>
        </pc:inkChg>
        <pc:inkChg chg="add mod">
          <ac:chgData name="Aniket Chhabra" userId="598e0514-bef3-4e71-b6aa-f2edd6441cff" providerId="ADAL" clId="{BE5B4798-BE1E-4422-9D3C-1ACF860F87B4}" dt="2021-07-24T02:44:12.607" v="769"/>
          <ac:inkMkLst>
            <pc:docMk/>
            <pc:sldMk cId="0" sldId="287"/>
            <ac:inkMk id="268" creationId="{644388DD-AEDE-47FA-8812-596B044959CD}"/>
          </ac:inkMkLst>
        </pc:inkChg>
        <pc:inkChg chg="add mod">
          <ac:chgData name="Aniket Chhabra" userId="598e0514-bef3-4e71-b6aa-f2edd6441cff" providerId="ADAL" clId="{BE5B4798-BE1E-4422-9D3C-1ACF860F87B4}" dt="2021-07-24T02:44:12.607" v="769"/>
          <ac:inkMkLst>
            <pc:docMk/>
            <pc:sldMk cId="0" sldId="287"/>
            <ac:inkMk id="269" creationId="{FF010F56-872D-41AC-9C3C-24C57E605E26}"/>
          </ac:inkMkLst>
        </pc:inkChg>
        <pc:inkChg chg="add mod">
          <ac:chgData name="Aniket Chhabra" userId="598e0514-bef3-4e71-b6aa-f2edd6441cff" providerId="ADAL" clId="{BE5B4798-BE1E-4422-9D3C-1ACF860F87B4}" dt="2021-07-24T02:44:12.607" v="769"/>
          <ac:inkMkLst>
            <pc:docMk/>
            <pc:sldMk cId="0" sldId="287"/>
            <ac:inkMk id="270" creationId="{04E90E79-884F-43C9-B570-43136EE0F214}"/>
          </ac:inkMkLst>
        </pc:inkChg>
        <pc:inkChg chg="add del mod">
          <ac:chgData name="Aniket Chhabra" userId="598e0514-bef3-4e71-b6aa-f2edd6441cff" providerId="ADAL" clId="{BE5B4798-BE1E-4422-9D3C-1ACF860F87B4}" dt="2021-07-24T02:43:50.867" v="741"/>
          <ac:inkMkLst>
            <pc:docMk/>
            <pc:sldMk cId="0" sldId="287"/>
            <ac:inkMk id="272" creationId="{3007B3CB-CA38-484E-A549-0B90A07AEEB9}"/>
          </ac:inkMkLst>
        </pc:inkChg>
        <pc:inkChg chg="add del mod">
          <ac:chgData name="Aniket Chhabra" userId="598e0514-bef3-4e71-b6aa-f2edd6441cff" providerId="ADAL" clId="{BE5B4798-BE1E-4422-9D3C-1ACF860F87B4}" dt="2021-07-24T02:43:50.866" v="739"/>
          <ac:inkMkLst>
            <pc:docMk/>
            <pc:sldMk cId="0" sldId="287"/>
            <ac:inkMk id="273" creationId="{41B8FCBA-C511-4744-94DD-3707E6E578BC}"/>
          </ac:inkMkLst>
        </pc:inkChg>
        <pc:inkChg chg="add del mod">
          <ac:chgData name="Aniket Chhabra" userId="598e0514-bef3-4e71-b6aa-f2edd6441cff" providerId="ADAL" clId="{BE5B4798-BE1E-4422-9D3C-1ACF860F87B4}" dt="2021-07-24T02:43:50.867" v="740"/>
          <ac:inkMkLst>
            <pc:docMk/>
            <pc:sldMk cId="0" sldId="287"/>
            <ac:inkMk id="276" creationId="{ED752BFA-1ABE-46E6-8CA2-5FD2335531B0}"/>
          </ac:inkMkLst>
        </pc:inkChg>
        <pc:inkChg chg="add del mod">
          <ac:chgData name="Aniket Chhabra" userId="598e0514-bef3-4e71-b6aa-f2edd6441cff" providerId="ADAL" clId="{BE5B4798-BE1E-4422-9D3C-1ACF860F87B4}" dt="2021-07-24T02:43:50.869" v="744"/>
          <ac:inkMkLst>
            <pc:docMk/>
            <pc:sldMk cId="0" sldId="287"/>
            <ac:inkMk id="277" creationId="{4198D005-7666-49B1-B8DA-98403844AEC9}"/>
          </ac:inkMkLst>
        </pc:inkChg>
        <pc:inkChg chg="add del mod">
          <ac:chgData name="Aniket Chhabra" userId="598e0514-bef3-4e71-b6aa-f2edd6441cff" providerId="ADAL" clId="{BE5B4798-BE1E-4422-9D3C-1ACF860F87B4}" dt="2021-07-24T02:43:50.869" v="743"/>
          <ac:inkMkLst>
            <pc:docMk/>
            <pc:sldMk cId="0" sldId="287"/>
            <ac:inkMk id="278" creationId="{E843F5F6-278E-4F33-87DA-B070467EC146}"/>
          </ac:inkMkLst>
        </pc:inkChg>
        <pc:inkChg chg="add del mod">
          <ac:chgData name="Aniket Chhabra" userId="598e0514-bef3-4e71-b6aa-f2edd6441cff" providerId="ADAL" clId="{BE5B4798-BE1E-4422-9D3C-1ACF860F87B4}" dt="2021-07-24T02:43:48.440" v="732"/>
          <ac:inkMkLst>
            <pc:docMk/>
            <pc:sldMk cId="0" sldId="287"/>
            <ac:inkMk id="280" creationId="{B7B91582-8D43-43FE-8A39-1BAECDE0E296}"/>
          </ac:inkMkLst>
        </pc:inkChg>
        <pc:inkChg chg="add del mod">
          <ac:chgData name="Aniket Chhabra" userId="598e0514-bef3-4e71-b6aa-f2edd6441cff" providerId="ADAL" clId="{BE5B4798-BE1E-4422-9D3C-1ACF860F87B4}" dt="2021-07-24T02:43:48.441" v="734"/>
          <ac:inkMkLst>
            <pc:docMk/>
            <pc:sldMk cId="0" sldId="287"/>
            <ac:inkMk id="281" creationId="{0177ABF1-6218-40B6-A197-BC526CAA9D21}"/>
          </ac:inkMkLst>
        </pc:inkChg>
        <pc:inkChg chg="add del mod">
          <ac:chgData name="Aniket Chhabra" userId="598e0514-bef3-4e71-b6aa-f2edd6441cff" providerId="ADAL" clId="{BE5B4798-BE1E-4422-9D3C-1ACF860F87B4}" dt="2021-07-24T02:43:48.442" v="736"/>
          <ac:inkMkLst>
            <pc:docMk/>
            <pc:sldMk cId="0" sldId="287"/>
            <ac:inkMk id="282" creationId="{18632284-9D4D-47DD-8822-B58A6A9C7FDC}"/>
          </ac:inkMkLst>
        </pc:inkChg>
        <pc:inkChg chg="add del mod">
          <ac:chgData name="Aniket Chhabra" userId="598e0514-bef3-4e71-b6aa-f2edd6441cff" providerId="ADAL" clId="{BE5B4798-BE1E-4422-9D3C-1ACF860F87B4}" dt="2021-07-24T02:43:48.442" v="737"/>
          <ac:inkMkLst>
            <pc:docMk/>
            <pc:sldMk cId="0" sldId="287"/>
            <ac:inkMk id="283" creationId="{7A87D276-750A-493C-B626-D10ECD2FBE4B}"/>
          </ac:inkMkLst>
        </pc:inkChg>
        <pc:inkChg chg="add del mod">
          <ac:chgData name="Aniket Chhabra" userId="598e0514-bef3-4e71-b6aa-f2edd6441cff" providerId="ADAL" clId="{BE5B4798-BE1E-4422-9D3C-1ACF860F87B4}" dt="2021-07-24T02:43:48.442" v="735"/>
          <ac:inkMkLst>
            <pc:docMk/>
            <pc:sldMk cId="0" sldId="287"/>
            <ac:inkMk id="284" creationId="{3A719D59-34D2-46ED-B932-9734A4578022}"/>
          </ac:inkMkLst>
        </pc:inkChg>
        <pc:inkChg chg="add del mod">
          <ac:chgData name="Aniket Chhabra" userId="598e0514-bef3-4e71-b6aa-f2edd6441cff" providerId="ADAL" clId="{BE5B4798-BE1E-4422-9D3C-1ACF860F87B4}" dt="2021-07-24T02:43:48.441" v="733"/>
          <ac:inkMkLst>
            <pc:docMk/>
            <pc:sldMk cId="0" sldId="287"/>
            <ac:inkMk id="285" creationId="{3D984B97-B8FB-4C30-B3FD-49972132A008}"/>
          </ac:inkMkLst>
        </pc:inkChg>
        <pc:inkChg chg="add del">
          <ac:chgData name="Aniket Chhabra" userId="598e0514-bef3-4e71-b6aa-f2edd6441cff" providerId="ADAL" clId="{BE5B4798-BE1E-4422-9D3C-1ACF860F87B4}" dt="2021-07-24T02:43:50.868" v="742"/>
          <ac:inkMkLst>
            <pc:docMk/>
            <pc:sldMk cId="0" sldId="287"/>
            <ac:inkMk id="287" creationId="{711EC7B0-94DC-48A8-82EE-77E805088F36}"/>
          </ac:inkMkLst>
        </pc:inkChg>
        <pc:inkChg chg="add mod">
          <ac:chgData name="Aniket Chhabra" userId="598e0514-bef3-4e71-b6aa-f2edd6441cff" providerId="ADAL" clId="{BE5B4798-BE1E-4422-9D3C-1ACF860F87B4}" dt="2021-07-24T02:49:57.848" v="866"/>
          <ac:inkMkLst>
            <pc:docMk/>
            <pc:sldMk cId="0" sldId="287"/>
            <ac:inkMk id="288" creationId="{9B78DE9C-B061-461D-B270-B17AA81565CE}"/>
          </ac:inkMkLst>
        </pc:inkChg>
        <pc:inkChg chg="add mod">
          <ac:chgData name="Aniket Chhabra" userId="598e0514-bef3-4e71-b6aa-f2edd6441cff" providerId="ADAL" clId="{BE5B4798-BE1E-4422-9D3C-1ACF860F87B4}" dt="2021-07-24T02:49:57.848" v="866"/>
          <ac:inkMkLst>
            <pc:docMk/>
            <pc:sldMk cId="0" sldId="287"/>
            <ac:inkMk id="289" creationId="{813A3987-A5B7-4117-B32D-331344181C03}"/>
          </ac:inkMkLst>
        </pc:inkChg>
        <pc:inkChg chg="add mod">
          <ac:chgData name="Aniket Chhabra" userId="598e0514-bef3-4e71-b6aa-f2edd6441cff" providerId="ADAL" clId="{BE5B4798-BE1E-4422-9D3C-1ACF860F87B4}" dt="2021-07-24T02:49:57.848" v="866"/>
          <ac:inkMkLst>
            <pc:docMk/>
            <pc:sldMk cId="0" sldId="287"/>
            <ac:inkMk id="290" creationId="{16787D11-9BE8-4C5E-A0DB-A1B7AA75D393}"/>
          </ac:inkMkLst>
        </pc:inkChg>
        <pc:inkChg chg="add mod">
          <ac:chgData name="Aniket Chhabra" userId="598e0514-bef3-4e71-b6aa-f2edd6441cff" providerId="ADAL" clId="{BE5B4798-BE1E-4422-9D3C-1ACF860F87B4}" dt="2021-07-24T02:49:57.848" v="866"/>
          <ac:inkMkLst>
            <pc:docMk/>
            <pc:sldMk cId="0" sldId="287"/>
            <ac:inkMk id="291" creationId="{8F144BC6-C4C5-4127-938F-F57679C32982}"/>
          </ac:inkMkLst>
        </pc:inkChg>
        <pc:inkChg chg="add mod">
          <ac:chgData name="Aniket Chhabra" userId="598e0514-bef3-4e71-b6aa-f2edd6441cff" providerId="ADAL" clId="{BE5B4798-BE1E-4422-9D3C-1ACF860F87B4}" dt="2021-07-24T02:49:57.848" v="866"/>
          <ac:inkMkLst>
            <pc:docMk/>
            <pc:sldMk cId="0" sldId="287"/>
            <ac:inkMk id="292" creationId="{ED617C27-B64D-473C-9FE0-FDFB95DBA128}"/>
          </ac:inkMkLst>
        </pc:inkChg>
        <pc:inkChg chg="add mod">
          <ac:chgData name="Aniket Chhabra" userId="598e0514-bef3-4e71-b6aa-f2edd6441cff" providerId="ADAL" clId="{BE5B4798-BE1E-4422-9D3C-1ACF860F87B4}" dt="2021-07-24T02:49:57.848" v="866"/>
          <ac:inkMkLst>
            <pc:docMk/>
            <pc:sldMk cId="0" sldId="287"/>
            <ac:inkMk id="293" creationId="{E651D36C-3D16-47DB-A6AA-CE1E218A6597}"/>
          </ac:inkMkLst>
        </pc:inkChg>
        <pc:inkChg chg="add mod">
          <ac:chgData name="Aniket Chhabra" userId="598e0514-bef3-4e71-b6aa-f2edd6441cff" providerId="ADAL" clId="{BE5B4798-BE1E-4422-9D3C-1ACF860F87B4}" dt="2021-07-24T02:49:57.848" v="866"/>
          <ac:inkMkLst>
            <pc:docMk/>
            <pc:sldMk cId="0" sldId="287"/>
            <ac:inkMk id="294" creationId="{AA4C1EE5-4D3B-4B99-8894-751467495A02}"/>
          </ac:inkMkLst>
        </pc:inkChg>
        <pc:inkChg chg="add mod">
          <ac:chgData name="Aniket Chhabra" userId="598e0514-bef3-4e71-b6aa-f2edd6441cff" providerId="ADAL" clId="{BE5B4798-BE1E-4422-9D3C-1ACF860F87B4}" dt="2021-07-24T02:49:57.848" v="866"/>
          <ac:inkMkLst>
            <pc:docMk/>
            <pc:sldMk cId="0" sldId="287"/>
            <ac:inkMk id="296" creationId="{A326DCB7-3F4D-4FD8-86D5-97980DE4B9B3}"/>
          </ac:inkMkLst>
        </pc:inkChg>
        <pc:inkChg chg="add mod">
          <ac:chgData name="Aniket Chhabra" userId="598e0514-bef3-4e71-b6aa-f2edd6441cff" providerId="ADAL" clId="{BE5B4798-BE1E-4422-9D3C-1ACF860F87B4}" dt="2021-07-24T02:44:12.607" v="769"/>
          <ac:inkMkLst>
            <pc:docMk/>
            <pc:sldMk cId="0" sldId="287"/>
            <ac:inkMk id="298" creationId="{21709175-FF87-4841-ADF2-C29B405240A2}"/>
          </ac:inkMkLst>
        </pc:inkChg>
        <pc:inkChg chg="add mod">
          <ac:chgData name="Aniket Chhabra" userId="598e0514-bef3-4e71-b6aa-f2edd6441cff" providerId="ADAL" clId="{BE5B4798-BE1E-4422-9D3C-1ACF860F87B4}" dt="2021-07-24T02:44:12.607" v="769"/>
          <ac:inkMkLst>
            <pc:docMk/>
            <pc:sldMk cId="0" sldId="287"/>
            <ac:inkMk id="299" creationId="{D60BCA36-46A4-4ACA-9258-12D543098E12}"/>
          </ac:inkMkLst>
        </pc:inkChg>
        <pc:inkChg chg="add mod">
          <ac:chgData name="Aniket Chhabra" userId="598e0514-bef3-4e71-b6aa-f2edd6441cff" providerId="ADAL" clId="{BE5B4798-BE1E-4422-9D3C-1ACF860F87B4}" dt="2021-07-24T02:44:12.607" v="769"/>
          <ac:inkMkLst>
            <pc:docMk/>
            <pc:sldMk cId="0" sldId="287"/>
            <ac:inkMk id="300" creationId="{90E57785-7C69-4C9B-96E8-C63F2F0B7709}"/>
          </ac:inkMkLst>
        </pc:inkChg>
        <pc:inkChg chg="add mod">
          <ac:chgData name="Aniket Chhabra" userId="598e0514-bef3-4e71-b6aa-f2edd6441cff" providerId="ADAL" clId="{BE5B4798-BE1E-4422-9D3C-1ACF860F87B4}" dt="2021-07-24T02:44:12.607" v="769"/>
          <ac:inkMkLst>
            <pc:docMk/>
            <pc:sldMk cId="0" sldId="287"/>
            <ac:inkMk id="301" creationId="{A1D0DCC5-04CC-4AD8-9AB6-A053A1D4AB1B}"/>
          </ac:inkMkLst>
        </pc:inkChg>
        <pc:inkChg chg="add mod">
          <ac:chgData name="Aniket Chhabra" userId="598e0514-bef3-4e71-b6aa-f2edd6441cff" providerId="ADAL" clId="{BE5B4798-BE1E-4422-9D3C-1ACF860F87B4}" dt="2021-07-24T02:44:12.607" v="769"/>
          <ac:inkMkLst>
            <pc:docMk/>
            <pc:sldMk cId="0" sldId="287"/>
            <ac:inkMk id="302" creationId="{505DBBA0-7717-439E-96DA-3551BB7C6DC4}"/>
          </ac:inkMkLst>
        </pc:inkChg>
        <pc:inkChg chg="add mod">
          <ac:chgData name="Aniket Chhabra" userId="598e0514-bef3-4e71-b6aa-f2edd6441cff" providerId="ADAL" clId="{BE5B4798-BE1E-4422-9D3C-1ACF860F87B4}" dt="2021-07-24T02:44:12.607" v="769"/>
          <ac:inkMkLst>
            <pc:docMk/>
            <pc:sldMk cId="0" sldId="287"/>
            <ac:inkMk id="303" creationId="{6C61E52A-3643-4727-B4A7-94836E053697}"/>
          </ac:inkMkLst>
        </pc:inkChg>
        <pc:inkChg chg="add mod">
          <ac:chgData name="Aniket Chhabra" userId="598e0514-bef3-4e71-b6aa-f2edd6441cff" providerId="ADAL" clId="{BE5B4798-BE1E-4422-9D3C-1ACF860F87B4}" dt="2021-07-24T02:44:12.607" v="769"/>
          <ac:inkMkLst>
            <pc:docMk/>
            <pc:sldMk cId="0" sldId="287"/>
            <ac:inkMk id="304" creationId="{5409564D-8B61-4176-BFDF-5D3C716C8602}"/>
          </ac:inkMkLst>
        </pc:inkChg>
        <pc:inkChg chg="add mod">
          <ac:chgData name="Aniket Chhabra" userId="598e0514-bef3-4e71-b6aa-f2edd6441cff" providerId="ADAL" clId="{BE5B4798-BE1E-4422-9D3C-1ACF860F87B4}" dt="2021-07-24T02:44:12.607" v="769"/>
          <ac:inkMkLst>
            <pc:docMk/>
            <pc:sldMk cId="0" sldId="287"/>
            <ac:inkMk id="305" creationId="{8CD9FCC8-589E-4545-A156-3A161F0D9BCD}"/>
          </ac:inkMkLst>
        </pc:inkChg>
        <pc:inkChg chg="add mod">
          <ac:chgData name="Aniket Chhabra" userId="598e0514-bef3-4e71-b6aa-f2edd6441cff" providerId="ADAL" clId="{BE5B4798-BE1E-4422-9D3C-1ACF860F87B4}" dt="2021-07-24T02:44:12.607" v="769"/>
          <ac:inkMkLst>
            <pc:docMk/>
            <pc:sldMk cId="0" sldId="287"/>
            <ac:inkMk id="306" creationId="{8FE0EA2F-4154-4442-B5D5-E18F27254E02}"/>
          </ac:inkMkLst>
        </pc:inkChg>
        <pc:inkChg chg="add mod">
          <ac:chgData name="Aniket Chhabra" userId="598e0514-bef3-4e71-b6aa-f2edd6441cff" providerId="ADAL" clId="{BE5B4798-BE1E-4422-9D3C-1ACF860F87B4}" dt="2021-07-24T02:44:12.607" v="769"/>
          <ac:inkMkLst>
            <pc:docMk/>
            <pc:sldMk cId="0" sldId="287"/>
            <ac:inkMk id="307" creationId="{6F54175E-D275-4794-B806-46101838412F}"/>
          </ac:inkMkLst>
        </pc:inkChg>
        <pc:inkChg chg="add mod">
          <ac:chgData name="Aniket Chhabra" userId="598e0514-bef3-4e71-b6aa-f2edd6441cff" providerId="ADAL" clId="{BE5B4798-BE1E-4422-9D3C-1ACF860F87B4}" dt="2021-07-24T02:44:12.607" v="769"/>
          <ac:inkMkLst>
            <pc:docMk/>
            <pc:sldMk cId="0" sldId="287"/>
            <ac:inkMk id="309" creationId="{4E417D75-DFFA-48EF-BF8F-9F2F083F6312}"/>
          </ac:inkMkLst>
        </pc:inkChg>
        <pc:inkChg chg="add del mod">
          <ac:chgData name="Aniket Chhabra" userId="598e0514-bef3-4e71-b6aa-f2edd6441cff" providerId="ADAL" clId="{BE5B4798-BE1E-4422-9D3C-1ACF860F87B4}" dt="2021-07-24T02:44:12.675" v="770" actId="9405"/>
          <ac:inkMkLst>
            <pc:docMk/>
            <pc:sldMk cId="0" sldId="287"/>
            <ac:inkMk id="311" creationId="{0DA03AE9-EA2C-42E7-86E0-CB68A0D5D057}"/>
          </ac:inkMkLst>
        </pc:inkChg>
        <pc:inkChg chg="add mod">
          <ac:chgData name="Aniket Chhabra" userId="598e0514-bef3-4e71-b6aa-f2edd6441cff" providerId="ADAL" clId="{BE5B4798-BE1E-4422-9D3C-1ACF860F87B4}" dt="2021-07-24T02:44:27.646" v="775"/>
          <ac:inkMkLst>
            <pc:docMk/>
            <pc:sldMk cId="0" sldId="287"/>
            <ac:inkMk id="313" creationId="{93166604-277D-4D5D-AE89-4C9F8EC69D07}"/>
          </ac:inkMkLst>
        </pc:inkChg>
        <pc:inkChg chg="add mod">
          <ac:chgData name="Aniket Chhabra" userId="598e0514-bef3-4e71-b6aa-f2edd6441cff" providerId="ADAL" clId="{BE5B4798-BE1E-4422-9D3C-1ACF860F87B4}" dt="2021-07-24T02:44:27.646" v="775"/>
          <ac:inkMkLst>
            <pc:docMk/>
            <pc:sldMk cId="0" sldId="287"/>
            <ac:inkMk id="314" creationId="{85F47F65-E355-4CC8-AF37-365EF89B5156}"/>
          </ac:inkMkLst>
        </pc:inkChg>
        <pc:inkChg chg="add mod">
          <ac:chgData name="Aniket Chhabra" userId="598e0514-bef3-4e71-b6aa-f2edd6441cff" providerId="ADAL" clId="{BE5B4798-BE1E-4422-9D3C-1ACF860F87B4}" dt="2021-07-24T02:44:27.646" v="775"/>
          <ac:inkMkLst>
            <pc:docMk/>
            <pc:sldMk cId="0" sldId="287"/>
            <ac:inkMk id="315" creationId="{8ACADB66-1810-47B2-B503-EC06C9E92EF7}"/>
          </ac:inkMkLst>
        </pc:inkChg>
        <pc:inkChg chg="add mod">
          <ac:chgData name="Aniket Chhabra" userId="598e0514-bef3-4e71-b6aa-f2edd6441cff" providerId="ADAL" clId="{BE5B4798-BE1E-4422-9D3C-1ACF860F87B4}" dt="2021-07-24T02:44:27.646" v="775"/>
          <ac:inkMkLst>
            <pc:docMk/>
            <pc:sldMk cId="0" sldId="287"/>
            <ac:inkMk id="316" creationId="{3FA07B52-97DE-429B-AFFF-A70862A42E4F}"/>
          </ac:inkMkLst>
        </pc:inkChg>
        <pc:inkChg chg="add mod">
          <ac:chgData name="Aniket Chhabra" userId="598e0514-bef3-4e71-b6aa-f2edd6441cff" providerId="ADAL" clId="{BE5B4798-BE1E-4422-9D3C-1ACF860F87B4}" dt="2021-07-24T02:49:01.816" v="824"/>
          <ac:inkMkLst>
            <pc:docMk/>
            <pc:sldMk cId="0" sldId="287"/>
            <ac:inkMk id="318" creationId="{1B8F81DF-838B-43EE-8171-FC4CE1F6B945}"/>
          </ac:inkMkLst>
        </pc:inkChg>
        <pc:inkChg chg="add mod">
          <ac:chgData name="Aniket Chhabra" userId="598e0514-bef3-4e71-b6aa-f2edd6441cff" providerId="ADAL" clId="{BE5B4798-BE1E-4422-9D3C-1ACF860F87B4}" dt="2021-07-24T02:49:01.816" v="824"/>
          <ac:inkMkLst>
            <pc:docMk/>
            <pc:sldMk cId="0" sldId="287"/>
            <ac:inkMk id="319" creationId="{0527A007-0717-440B-A5A1-1BEC8EA5299D}"/>
          </ac:inkMkLst>
        </pc:inkChg>
        <pc:inkChg chg="add mod">
          <ac:chgData name="Aniket Chhabra" userId="598e0514-bef3-4e71-b6aa-f2edd6441cff" providerId="ADAL" clId="{BE5B4798-BE1E-4422-9D3C-1ACF860F87B4}" dt="2021-07-24T02:49:01.816" v="824"/>
          <ac:inkMkLst>
            <pc:docMk/>
            <pc:sldMk cId="0" sldId="287"/>
            <ac:inkMk id="320" creationId="{82073C2D-D046-41B8-9980-A74E0FAF5688}"/>
          </ac:inkMkLst>
        </pc:inkChg>
        <pc:inkChg chg="add mod">
          <ac:chgData name="Aniket Chhabra" userId="598e0514-bef3-4e71-b6aa-f2edd6441cff" providerId="ADAL" clId="{BE5B4798-BE1E-4422-9D3C-1ACF860F87B4}" dt="2021-07-24T02:49:01.816" v="824"/>
          <ac:inkMkLst>
            <pc:docMk/>
            <pc:sldMk cId="0" sldId="287"/>
            <ac:inkMk id="321" creationId="{677C7AC0-1DD3-45F4-AF51-E99341762064}"/>
          </ac:inkMkLst>
        </pc:inkChg>
        <pc:inkChg chg="add mod">
          <ac:chgData name="Aniket Chhabra" userId="598e0514-bef3-4e71-b6aa-f2edd6441cff" providerId="ADAL" clId="{BE5B4798-BE1E-4422-9D3C-1ACF860F87B4}" dt="2021-07-24T02:49:01.816" v="824"/>
          <ac:inkMkLst>
            <pc:docMk/>
            <pc:sldMk cId="0" sldId="287"/>
            <ac:inkMk id="322" creationId="{BB5F2064-C999-45DD-92A9-47AD646618C2}"/>
          </ac:inkMkLst>
        </pc:inkChg>
        <pc:inkChg chg="add mod">
          <ac:chgData name="Aniket Chhabra" userId="598e0514-bef3-4e71-b6aa-f2edd6441cff" providerId="ADAL" clId="{BE5B4798-BE1E-4422-9D3C-1ACF860F87B4}" dt="2021-07-24T02:49:01.816" v="824"/>
          <ac:inkMkLst>
            <pc:docMk/>
            <pc:sldMk cId="0" sldId="287"/>
            <ac:inkMk id="323" creationId="{057B3C3F-78E2-4EBA-8D33-7CAD9DFEAC1C}"/>
          </ac:inkMkLst>
        </pc:inkChg>
        <pc:inkChg chg="add mod">
          <ac:chgData name="Aniket Chhabra" userId="598e0514-bef3-4e71-b6aa-f2edd6441cff" providerId="ADAL" clId="{BE5B4798-BE1E-4422-9D3C-1ACF860F87B4}" dt="2021-07-24T02:47:09.329" v="785"/>
          <ac:inkMkLst>
            <pc:docMk/>
            <pc:sldMk cId="0" sldId="287"/>
            <ac:inkMk id="325" creationId="{EF5BB8B3-4BDF-45E2-AABF-AA273C297ECF}"/>
          </ac:inkMkLst>
        </pc:inkChg>
        <pc:inkChg chg="add mod">
          <ac:chgData name="Aniket Chhabra" userId="598e0514-bef3-4e71-b6aa-f2edd6441cff" providerId="ADAL" clId="{BE5B4798-BE1E-4422-9D3C-1ACF860F87B4}" dt="2021-07-24T02:47:09.329" v="785"/>
          <ac:inkMkLst>
            <pc:docMk/>
            <pc:sldMk cId="0" sldId="287"/>
            <ac:inkMk id="326" creationId="{83F8198D-B8E4-47E8-87AB-17A18925E65F}"/>
          </ac:inkMkLst>
        </pc:inkChg>
        <pc:inkChg chg="add mod">
          <ac:chgData name="Aniket Chhabra" userId="598e0514-bef3-4e71-b6aa-f2edd6441cff" providerId="ADAL" clId="{BE5B4798-BE1E-4422-9D3C-1ACF860F87B4}" dt="2021-07-24T02:47:13.221" v="789"/>
          <ac:inkMkLst>
            <pc:docMk/>
            <pc:sldMk cId="0" sldId="287"/>
            <ac:inkMk id="328" creationId="{EE5C354D-9375-4D5D-8195-64F5675AEAC5}"/>
          </ac:inkMkLst>
        </pc:inkChg>
        <pc:inkChg chg="add mod">
          <ac:chgData name="Aniket Chhabra" userId="598e0514-bef3-4e71-b6aa-f2edd6441cff" providerId="ADAL" clId="{BE5B4798-BE1E-4422-9D3C-1ACF860F87B4}" dt="2021-07-24T02:47:13.221" v="789"/>
          <ac:inkMkLst>
            <pc:docMk/>
            <pc:sldMk cId="0" sldId="287"/>
            <ac:inkMk id="329" creationId="{BE75A8F5-9A64-4164-B227-732A42489E85}"/>
          </ac:inkMkLst>
        </pc:inkChg>
        <pc:inkChg chg="add mod">
          <ac:chgData name="Aniket Chhabra" userId="598e0514-bef3-4e71-b6aa-f2edd6441cff" providerId="ADAL" clId="{BE5B4798-BE1E-4422-9D3C-1ACF860F87B4}" dt="2021-07-24T02:47:13.221" v="789"/>
          <ac:inkMkLst>
            <pc:docMk/>
            <pc:sldMk cId="0" sldId="287"/>
            <ac:inkMk id="330" creationId="{43FD574C-D9BF-45AB-AF89-D25CADD30A38}"/>
          </ac:inkMkLst>
        </pc:inkChg>
        <pc:inkChg chg="add mod">
          <ac:chgData name="Aniket Chhabra" userId="598e0514-bef3-4e71-b6aa-f2edd6441cff" providerId="ADAL" clId="{BE5B4798-BE1E-4422-9D3C-1ACF860F87B4}" dt="2021-07-24T02:47:23.118" v="805"/>
          <ac:inkMkLst>
            <pc:docMk/>
            <pc:sldMk cId="0" sldId="287"/>
            <ac:inkMk id="332" creationId="{ECB7B2B7-BC87-4C8B-812B-E40A2BFE4B03}"/>
          </ac:inkMkLst>
        </pc:inkChg>
        <pc:inkChg chg="add mod">
          <ac:chgData name="Aniket Chhabra" userId="598e0514-bef3-4e71-b6aa-f2edd6441cff" providerId="ADAL" clId="{BE5B4798-BE1E-4422-9D3C-1ACF860F87B4}" dt="2021-07-24T02:47:23.118" v="805"/>
          <ac:inkMkLst>
            <pc:docMk/>
            <pc:sldMk cId="0" sldId="287"/>
            <ac:inkMk id="333" creationId="{13774BF0-C361-4CC4-95B9-83BE75AD842D}"/>
          </ac:inkMkLst>
        </pc:inkChg>
        <pc:inkChg chg="add mod">
          <ac:chgData name="Aniket Chhabra" userId="598e0514-bef3-4e71-b6aa-f2edd6441cff" providerId="ADAL" clId="{BE5B4798-BE1E-4422-9D3C-1ACF860F87B4}" dt="2021-07-24T02:47:23.118" v="805"/>
          <ac:inkMkLst>
            <pc:docMk/>
            <pc:sldMk cId="0" sldId="287"/>
            <ac:inkMk id="334" creationId="{E885CF41-D89F-4F95-988B-D4D70AC837D6}"/>
          </ac:inkMkLst>
        </pc:inkChg>
        <pc:inkChg chg="add mod">
          <ac:chgData name="Aniket Chhabra" userId="598e0514-bef3-4e71-b6aa-f2edd6441cff" providerId="ADAL" clId="{BE5B4798-BE1E-4422-9D3C-1ACF860F87B4}" dt="2021-07-24T02:47:23.118" v="805"/>
          <ac:inkMkLst>
            <pc:docMk/>
            <pc:sldMk cId="0" sldId="287"/>
            <ac:inkMk id="335" creationId="{6A438A66-118A-42E5-ADBB-A7AFCEB092D4}"/>
          </ac:inkMkLst>
        </pc:inkChg>
        <pc:inkChg chg="add mod">
          <ac:chgData name="Aniket Chhabra" userId="598e0514-bef3-4e71-b6aa-f2edd6441cff" providerId="ADAL" clId="{BE5B4798-BE1E-4422-9D3C-1ACF860F87B4}" dt="2021-07-24T02:47:23.118" v="805"/>
          <ac:inkMkLst>
            <pc:docMk/>
            <pc:sldMk cId="0" sldId="287"/>
            <ac:inkMk id="336" creationId="{26EF2FD7-115A-4048-9636-5A6973C41457}"/>
          </ac:inkMkLst>
        </pc:inkChg>
        <pc:inkChg chg="add mod">
          <ac:chgData name="Aniket Chhabra" userId="598e0514-bef3-4e71-b6aa-f2edd6441cff" providerId="ADAL" clId="{BE5B4798-BE1E-4422-9D3C-1ACF860F87B4}" dt="2021-07-24T02:47:23.118" v="805"/>
          <ac:inkMkLst>
            <pc:docMk/>
            <pc:sldMk cId="0" sldId="287"/>
            <ac:inkMk id="337" creationId="{6AA16A4A-5C97-473E-9A10-FC836E161027}"/>
          </ac:inkMkLst>
        </pc:inkChg>
        <pc:inkChg chg="add mod">
          <ac:chgData name="Aniket Chhabra" userId="598e0514-bef3-4e71-b6aa-f2edd6441cff" providerId="ADAL" clId="{BE5B4798-BE1E-4422-9D3C-1ACF860F87B4}" dt="2021-07-24T02:47:23.118" v="805"/>
          <ac:inkMkLst>
            <pc:docMk/>
            <pc:sldMk cId="0" sldId="287"/>
            <ac:inkMk id="338" creationId="{B45553E6-5F25-4188-82A2-54E687A1E37F}"/>
          </ac:inkMkLst>
        </pc:inkChg>
        <pc:inkChg chg="add mod">
          <ac:chgData name="Aniket Chhabra" userId="598e0514-bef3-4e71-b6aa-f2edd6441cff" providerId="ADAL" clId="{BE5B4798-BE1E-4422-9D3C-1ACF860F87B4}" dt="2021-07-24T02:47:23.118" v="805"/>
          <ac:inkMkLst>
            <pc:docMk/>
            <pc:sldMk cId="0" sldId="287"/>
            <ac:inkMk id="339" creationId="{CDA2BD0E-7263-4CE5-AD77-75F7E2C2A459}"/>
          </ac:inkMkLst>
        </pc:inkChg>
        <pc:inkChg chg="add mod">
          <ac:chgData name="Aniket Chhabra" userId="598e0514-bef3-4e71-b6aa-f2edd6441cff" providerId="ADAL" clId="{BE5B4798-BE1E-4422-9D3C-1ACF860F87B4}" dt="2021-07-24T02:47:23.118" v="805"/>
          <ac:inkMkLst>
            <pc:docMk/>
            <pc:sldMk cId="0" sldId="287"/>
            <ac:inkMk id="340" creationId="{26C5C70A-9C67-42DD-B337-7A6B0BDA0009}"/>
          </ac:inkMkLst>
        </pc:inkChg>
        <pc:inkChg chg="add mod">
          <ac:chgData name="Aniket Chhabra" userId="598e0514-bef3-4e71-b6aa-f2edd6441cff" providerId="ADAL" clId="{BE5B4798-BE1E-4422-9D3C-1ACF860F87B4}" dt="2021-07-24T02:47:23.118" v="805"/>
          <ac:inkMkLst>
            <pc:docMk/>
            <pc:sldMk cId="0" sldId="287"/>
            <ac:inkMk id="341" creationId="{0502DA64-39C5-422D-8C13-AB2BA231346A}"/>
          </ac:inkMkLst>
        </pc:inkChg>
        <pc:inkChg chg="add mod">
          <ac:chgData name="Aniket Chhabra" userId="598e0514-bef3-4e71-b6aa-f2edd6441cff" providerId="ADAL" clId="{BE5B4798-BE1E-4422-9D3C-1ACF860F87B4}" dt="2021-07-24T02:47:23.118" v="805"/>
          <ac:inkMkLst>
            <pc:docMk/>
            <pc:sldMk cId="0" sldId="287"/>
            <ac:inkMk id="342" creationId="{D6EA855E-C690-44D9-9700-A2616AED0C1E}"/>
          </ac:inkMkLst>
        </pc:inkChg>
        <pc:inkChg chg="add del mod">
          <ac:chgData name="Aniket Chhabra" userId="598e0514-bef3-4e71-b6aa-f2edd6441cff" providerId="ADAL" clId="{BE5B4798-BE1E-4422-9D3C-1ACF860F87B4}" dt="2021-07-24T02:47:23.117" v="804"/>
          <ac:inkMkLst>
            <pc:docMk/>
            <pc:sldMk cId="0" sldId="287"/>
            <ac:inkMk id="343" creationId="{29C6FBC0-9A3F-4A6E-9081-8AA1A78A91A6}"/>
          </ac:inkMkLst>
        </pc:inkChg>
        <pc:inkChg chg="add del mod">
          <ac:chgData name="Aniket Chhabra" userId="598e0514-bef3-4e71-b6aa-f2edd6441cff" providerId="ADAL" clId="{BE5B4798-BE1E-4422-9D3C-1ACF860F87B4}" dt="2021-07-24T02:47:23.118" v="805"/>
          <ac:inkMkLst>
            <pc:docMk/>
            <pc:sldMk cId="0" sldId="287"/>
            <ac:inkMk id="344" creationId="{EA643A47-089A-4580-8DF9-9CD876C0DDA8}"/>
          </ac:inkMkLst>
        </pc:inkChg>
        <pc:inkChg chg="add mod">
          <ac:chgData name="Aniket Chhabra" userId="598e0514-bef3-4e71-b6aa-f2edd6441cff" providerId="ADAL" clId="{BE5B4798-BE1E-4422-9D3C-1ACF860F87B4}" dt="2021-07-24T02:47:26.378" v="812"/>
          <ac:inkMkLst>
            <pc:docMk/>
            <pc:sldMk cId="0" sldId="287"/>
            <ac:inkMk id="346" creationId="{5BE447B2-67AE-4EC9-B713-14DFDDE537D0}"/>
          </ac:inkMkLst>
        </pc:inkChg>
        <pc:inkChg chg="add mod">
          <ac:chgData name="Aniket Chhabra" userId="598e0514-bef3-4e71-b6aa-f2edd6441cff" providerId="ADAL" clId="{BE5B4798-BE1E-4422-9D3C-1ACF860F87B4}" dt="2021-07-24T02:47:26.378" v="812"/>
          <ac:inkMkLst>
            <pc:docMk/>
            <pc:sldMk cId="0" sldId="287"/>
            <ac:inkMk id="347" creationId="{E33073EC-63CD-4DA2-AAEE-C69DC4C63847}"/>
          </ac:inkMkLst>
        </pc:inkChg>
        <pc:inkChg chg="add mod">
          <ac:chgData name="Aniket Chhabra" userId="598e0514-bef3-4e71-b6aa-f2edd6441cff" providerId="ADAL" clId="{BE5B4798-BE1E-4422-9D3C-1ACF860F87B4}" dt="2021-07-24T02:47:26.378" v="812"/>
          <ac:inkMkLst>
            <pc:docMk/>
            <pc:sldMk cId="0" sldId="287"/>
            <ac:inkMk id="348" creationId="{BD5D8806-929D-4831-88E2-3AA859108A9F}"/>
          </ac:inkMkLst>
        </pc:inkChg>
        <pc:inkChg chg="add mod">
          <ac:chgData name="Aniket Chhabra" userId="598e0514-bef3-4e71-b6aa-f2edd6441cff" providerId="ADAL" clId="{BE5B4798-BE1E-4422-9D3C-1ACF860F87B4}" dt="2021-07-24T02:47:26.378" v="812"/>
          <ac:inkMkLst>
            <pc:docMk/>
            <pc:sldMk cId="0" sldId="287"/>
            <ac:inkMk id="349" creationId="{122D5FC2-14CA-43CF-BC5B-E5CD4369060A}"/>
          </ac:inkMkLst>
        </pc:inkChg>
        <pc:inkChg chg="add mod">
          <ac:chgData name="Aniket Chhabra" userId="598e0514-bef3-4e71-b6aa-f2edd6441cff" providerId="ADAL" clId="{BE5B4798-BE1E-4422-9D3C-1ACF860F87B4}" dt="2021-07-24T02:47:26.378" v="812"/>
          <ac:inkMkLst>
            <pc:docMk/>
            <pc:sldMk cId="0" sldId="287"/>
            <ac:inkMk id="350" creationId="{0BCDB895-36C0-4BB7-BB4B-847E985EA312}"/>
          </ac:inkMkLst>
        </pc:inkChg>
        <pc:inkChg chg="add mod">
          <ac:chgData name="Aniket Chhabra" userId="598e0514-bef3-4e71-b6aa-f2edd6441cff" providerId="ADAL" clId="{BE5B4798-BE1E-4422-9D3C-1ACF860F87B4}" dt="2021-07-24T02:47:26.378" v="812"/>
          <ac:inkMkLst>
            <pc:docMk/>
            <pc:sldMk cId="0" sldId="287"/>
            <ac:inkMk id="351" creationId="{D5C64D8D-4399-44C5-B97D-8FE619A0536B}"/>
          </ac:inkMkLst>
        </pc:inkChg>
        <pc:inkChg chg="add mod">
          <ac:chgData name="Aniket Chhabra" userId="598e0514-bef3-4e71-b6aa-f2edd6441cff" providerId="ADAL" clId="{BE5B4798-BE1E-4422-9D3C-1ACF860F87B4}" dt="2021-07-24T02:47:42.812" v="817"/>
          <ac:inkMkLst>
            <pc:docMk/>
            <pc:sldMk cId="0" sldId="287"/>
            <ac:inkMk id="353" creationId="{C0B349D2-2FF0-48C2-BD5F-F531924EB641}"/>
          </ac:inkMkLst>
        </pc:inkChg>
        <pc:inkChg chg="add mod">
          <ac:chgData name="Aniket Chhabra" userId="598e0514-bef3-4e71-b6aa-f2edd6441cff" providerId="ADAL" clId="{BE5B4798-BE1E-4422-9D3C-1ACF860F87B4}" dt="2021-07-24T02:47:42.812" v="817"/>
          <ac:inkMkLst>
            <pc:docMk/>
            <pc:sldMk cId="0" sldId="287"/>
            <ac:inkMk id="354" creationId="{EC647C42-4B47-4BAC-8212-859ACBBD7F07}"/>
          </ac:inkMkLst>
        </pc:inkChg>
        <pc:inkChg chg="add mod">
          <ac:chgData name="Aniket Chhabra" userId="598e0514-bef3-4e71-b6aa-f2edd6441cff" providerId="ADAL" clId="{BE5B4798-BE1E-4422-9D3C-1ACF860F87B4}" dt="2021-07-24T02:47:42.812" v="817"/>
          <ac:inkMkLst>
            <pc:docMk/>
            <pc:sldMk cId="0" sldId="287"/>
            <ac:inkMk id="355" creationId="{3EEB7308-649E-4A6A-AA8D-519495217384}"/>
          </ac:inkMkLst>
        </pc:inkChg>
        <pc:inkChg chg="add mod">
          <ac:chgData name="Aniket Chhabra" userId="598e0514-bef3-4e71-b6aa-f2edd6441cff" providerId="ADAL" clId="{BE5B4798-BE1E-4422-9D3C-1ACF860F87B4}" dt="2021-07-24T02:47:42.812" v="817"/>
          <ac:inkMkLst>
            <pc:docMk/>
            <pc:sldMk cId="0" sldId="287"/>
            <ac:inkMk id="356" creationId="{4F8B0FE7-0A4D-4A3D-A6D5-C87A4CEFF255}"/>
          </ac:inkMkLst>
        </pc:inkChg>
        <pc:inkChg chg="add mod">
          <ac:chgData name="Aniket Chhabra" userId="598e0514-bef3-4e71-b6aa-f2edd6441cff" providerId="ADAL" clId="{BE5B4798-BE1E-4422-9D3C-1ACF860F87B4}" dt="2021-07-24T02:48:04.017" v="821"/>
          <ac:inkMkLst>
            <pc:docMk/>
            <pc:sldMk cId="0" sldId="287"/>
            <ac:inkMk id="358" creationId="{12CA750A-5655-4E63-964E-440E32EB7FAA}"/>
          </ac:inkMkLst>
        </pc:inkChg>
        <pc:inkChg chg="add mod">
          <ac:chgData name="Aniket Chhabra" userId="598e0514-bef3-4e71-b6aa-f2edd6441cff" providerId="ADAL" clId="{BE5B4798-BE1E-4422-9D3C-1ACF860F87B4}" dt="2021-07-24T02:48:04.017" v="821"/>
          <ac:inkMkLst>
            <pc:docMk/>
            <pc:sldMk cId="0" sldId="287"/>
            <ac:inkMk id="359" creationId="{029DE2CF-3DFE-4169-A3BC-37139524664C}"/>
          </ac:inkMkLst>
        </pc:inkChg>
        <pc:inkChg chg="add mod">
          <ac:chgData name="Aniket Chhabra" userId="598e0514-bef3-4e71-b6aa-f2edd6441cff" providerId="ADAL" clId="{BE5B4798-BE1E-4422-9D3C-1ACF860F87B4}" dt="2021-07-24T02:48:04.017" v="821"/>
          <ac:inkMkLst>
            <pc:docMk/>
            <pc:sldMk cId="0" sldId="287"/>
            <ac:inkMk id="360" creationId="{BB7158B9-D99C-4789-BAD4-539AC9A33FE5}"/>
          </ac:inkMkLst>
        </pc:inkChg>
        <pc:inkChg chg="add del mod">
          <ac:chgData name="Aniket Chhabra" userId="598e0514-bef3-4e71-b6aa-f2edd6441cff" providerId="ADAL" clId="{BE5B4798-BE1E-4422-9D3C-1ACF860F87B4}" dt="2021-07-24T02:49:52.059" v="857"/>
          <ac:inkMkLst>
            <pc:docMk/>
            <pc:sldMk cId="0" sldId="287"/>
            <ac:inkMk id="362" creationId="{4AF0D77A-C0BF-48F7-B965-DA01B4904E4E}"/>
          </ac:inkMkLst>
        </pc:inkChg>
        <pc:inkChg chg="add del mod">
          <ac:chgData name="Aniket Chhabra" userId="598e0514-bef3-4e71-b6aa-f2edd6441cff" providerId="ADAL" clId="{BE5B4798-BE1E-4422-9D3C-1ACF860F87B4}" dt="2021-07-24T02:49:02.375" v="825" actId="9405"/>
          <ac:inkMkLst>
            <pc:docMk/>
            <pc:sldMk cId="0" sldId="287"/>
            <ac:inkMk id="363" creationId="{2ED385C0-D22B-4AB1-BAF8-79740EA76DC9}"/>
          </ac:inkMkLst>
        </pc:inkChg>
        <pc:inkChg chg="add del">
          <ac:chgData name="Aniket Chhabra" userId="598e0514-bef3-4e71-b6aa-f2edd6441cff" providerId="ADAL" clId="{BE5B4798-BE1E-4422-9D3C-1ACF860F87B4}" dt="2021-07-24T02:49:04.571" v="827" actId="9405"/>
          <ac:inkMkLst>
            <pc:docMk/>
            <pc:sldMk cId="0" sldId="287"/>
            <ac:inkMk id="365" creationId="{7A479424-1C37-4174-A42D-168DD0492834}"/>
          </ac:inkMkLst>
        </pc:inkChg>
        <pc:inkChg chg="add">
          <ac:chgData name="Aniket Chhabra" userId="598e0514-bef3-4e71-b6aa-f2edd6441cff" providerId="ADAL" clId="{BE5B4798-BE1E-4422-9D3C-1ACF860F87B4}" dt="2021-07-24T02:49:06.635" v="828" actId="9405"/>
          <ac:inkMkLst>
            <pc:docMk/>
            <pc:sldMk cId="0" sldId="287"/>
            <ac:inkMk id="366" creationId="{265E3B08-4996-4FF9-BBB0-CDB486ED6310}"/>
          </ac:inkMkLst>
        </pc:inkChg>
        <pc:inkChg chg="add del">
          <ac:chgData name="Aniket Chhabra" userId="598e0514-bef3-4e71-b6aa-f2edd6441cff" providerId="ADAL" clId="{BE5B4798-BE1E-4422-9D3C-1ACF860F87B4}" dt="2021-07-24T02:49:08.444" v="830" actId="9405"/>
          <ac:inkMkLst>
            <pc:docMk/>
            <pc:sldMk cId="0" sldId="287"/>
            <ac:inkMk id="367" creationId="{EC49DF1A-889B-4BE4-A3BB-CA9D3B9F87C7}"/>
          </ac:inkMkLst>
        </pc:inkChg>
        <pc:inkChg chg="add del">
          <ac:chgData name="Aniket Chhabra" userId="598e0514-bef3-4e71-b6aa-f2edd6441cff" providerId="ADAL" clId="{BE5B4798-BE1E-4422-9D3C-1ACF860F87B4}" dt="2021-07-24T02:49:10.244" v="832" actId="9405"/>
          <ac:inkMkLst>
            <pc:docMk/>
            <pc:sldMk cId="0" sldId="287"/>
            <ac:inkMk id="368" creationId="{B1D8D7B6-8841-4198-BFAC-965DE191671B}"/>
          </ac:inkMkLst>
        </pc:inkChg>
        <pc:inkChg chg="add mod">
          <ac:chgData name="Aniket Chhabra" userId="598e0514-bef3-4e71-b6aa-f2edd6441cff" providerId="ADAL" clId="{BE5B4798-BE1E-4422-9D3C-1ACF860F87B4}" dt="2021-07-24T02:49:54.769" v="863"/>
          <ac:inkMkLst>
            <pc:docMk/>
            <pc:sldMk cId="0" sldId="287"/>
            <ac:inkMk id="369" creationId="{DEC9FC18-8EC3-4B7A-BCE2-E9D14481CA25}"/>
          </ac:inkMkLst>
        </pc:inkChg>
        <pc:inkChg chg="add del mod">
          <ac:chgData name="Aniket Chhabra" userId="598e0514-bef3-4e71-b6aa-f2edd6441cff" providerId="ADAL" clId="{BE5B4798-BE1E-4422-9D3C-1ACF860F87B4}" dt="2021-07-24T02:49:54.769" v="863"/>
          <ac:inkMkLst>
            <pc:docMk/>
            <pc:sldMk cId="0" sldId="287"/>
            <ac:inkMk id="370" creationId="{264BB8C9-38DE-4F57-8737-C52DA0BF0AC7}"/>
          </ac:inkMkLst>
        </pc:inkChg>
        <pc:inkChg chg="add del mod">
          <ac:chgData name="Aniket Chhabra" userId="598e0514-bef3-4e71-b6aa-f2edd6441cff" providerId="ADAL" clId="{BE5B4798-BE1E-4422-9D3C-1ACF860F87B4}" dt="2021-07-24T02:49:54.768" v="860"/>
          <ac:inkMkLst>
            <pc:docMk/>
            <pc:sldMk cId="0" sldId="287"/>
            <ac:inkMk id="371" creationId="{160AC9A5-25E1-4934-B64C-A541A9558E1A}"/>
          </ac:inkMkLst>
        </pc:inkChg>
        <pc:inkChg chg="add mod">
          <ac:chgData name="Aniket Chhabra" userId="598e0514-bef3-4e71-b6aa-f2edd6441cff" providerId="ADAL" clId="{BE5B4798-BE1E-4422-9D3C-1ACF860F87B4}" dt="2021-07-24T02:49:54.769" v="863"/>
          <ac:inkMkLst>
            <pc:docMk/>
            <pc:sldMk cId="0" sldId="287"/>
            <ac:inkMk id="373" creationId="{87B00D43-279A-4593-80B6-30548E7E9F8E}"/>
          </ac:inkMkLst>
        </pc:inkChg>
        <pc:inkChg chg="add mod">
          <ac:chgData name="Aniket Chhabra" userId="598e0514-bef3-4e71-b6aa-f2edd6441cff" providerId="ADAL" clId="{BE5B4798-BE1E-4422-9D3C-1ACF860F87B4}" dt="2021-07-24T02:49:54.769" v="863"/>
          <ac:inkMkLst>
            <pc:docMk/>
            <pc:sldMk cId="0" sldId="287"/>
            <ac:inkMk id="374" creationId="{D6A24204-1DBC-4CED-BCF2-EAE06A00454D}"/>
          </ac:inkMkLst>
        </pc:inkChg>
        <pc:inkChg chg="add mod">
          <ac:chgData name="Aniket Chhabra" userId="598e0514-bef3-4e71-b6aa-f2edd6441cff" providerId="ADAL" clId="{BE5B4798-BE1E-4422-9D3C-1ACF860F87B4}" dt="2021-07-24T02:49:54.769" v="863"/>
          <ac:inkMkLst>
            <pc:docMk/>
            <pc:sldMk cId="0" sldId="287"/>
            <ac:inkMk id="375" creationId="{08485B9C-C3B2-4571-A362-F15F4CF6A34E}"/>
          </ac:inkMkLst>
        </pc:inkChg>
        <pc:inkChg chg="add mod">
          <ac:chgData name="Aniket Chhabra" userId="598e0514-bef3-4e71-b6aa-f2edd6441cff" providerId="ADAL" clId="{BE5B4798-BE1E-4422-9D3C-1ACF860F87B4}" dt="2021-07-24T02:49:54.769" v="863"/>
          <ac:inkMkLst>
            <pc:docMk/>
            <pc:sldMk cId="0" sldId="287"/>
            <ac:inkMk id="376" creationId="{FF7DEE9E-1042-410A-8C6B-0115E5EF624D}"/>
          </ac:inkMkLst>
        </pc:inkChg>
        <pc:inkChg chg="add mod">
          <ac:chgData name="Aniket Chhabra" userId="598e0514-bef3-4e71-b6aa-f2edd6441cff" providerId="ADAL" clId="{BE5B4798-BE1E-4422-9D3C-1ACF860F87B4}" dt="2021-07-24T02:49:54.769" v="863"/>
          <ac:inkMkLst>
            <pc:docMk/>
            <pc:sldMk cId="0" sldId="287"/>
            <ac:inkMk id="377" creationId="{A2D2CD61-240E-4A02-BD83-0AC666BBE22C}"/>
          </ac:inkMkLst>
        </pc:inkChg>
        <pc:inkChg chg="add mod">
          <ac:chgData name="Aniket Chhabra" userId="598e0514-bef3-4e71-b6aa-f2edd6441cff" providerId="ADAL" clId="{BE5B4798-BE1E-4422-9D3C-1ACF860F87B4}" dt="2021-07-24T02:49:54.769" v="863"/>
          <ac:inkMkLst>
            <pc:docMk/>
            <pc:sldMk cId="0" sldId="287"/>
            <ac:inkMk id="379" creationId="{F23290CD-4D9D-4447-8967-2FA0756271E8}"/>
          </ac:inkMkLst>
        </pc:inkChg>
        <pc:inkChg chg="add mod">
          <ac:chgData name="Aniket Chhabra" userId="598e0514-bef3-4e71-b6aa-f2edd6441cff" providerId="ADAL" clId="{BE5B4798-BE1E-4422-9D3C-1ACF860F87B4}" dt="2021-07-24T02:49:54.769" v="863"/>
          <ac:inkMkLst>
            <pc:docMk/>
            <pc:sldMk cId="0" sldId="287"/>
            <ac:inkMk id="380" creationId="{4A35FEBA-AB54-4B16-AE4F-AAA56F51DEFA}"/>
          </ac:inkMkLst>
        </pc:inkChg>
        <pc:inkChg chg="add mod">
          <ac:chgData name="Aniket Chhabra" userId="598e0514-bef3-4e71-b6aa-f2edd6441cff" providerId="ADAL" clId="{BE5B4798-BE1E-4422-9D3C-1ACF860F87B4}" dt="2021-07-24T02:49:54.769" v="863"/>
          <ac:inkMkLst>
            <pc:docMk/>
            <pc:sldMk cId="0" sldId="287"/>
            <ac:inkMk id="381" creationId="{1AE7BAA5-79F3-4A95-B7C3-A62F6D2823ED}"/>
          </ac:inkMkLst>
        </pc:inkChg>
        <pc:inkChg chg="add mod">
          <ac:chgData name="Aniket Chhabra" userId="598e0514-bef3-4e71-b6aa-f2edd6441cff" providerId="ADAL" clId="{BE5B4798-BE1E-4422-9D3C-1ACF860F87B4}" dt="2021-07-24T02:49:54.769" v="863"/>
          <ac:inkMkLst>
            <pc:docMk/>
            <pc:sldMk cId="0" sldId="287"/>
            <ac:inkMk id="382" creationId="{8E3865BD-4074-426B-BAC8-DCD89F9C5215}"/>
          </ac:inkMkLst>
        </pc:inkChg>
        <pc:inkChg chg="add mod">
          <ac:chgData name="Aniket Chhabra" userId="598e0514-bef3-4e71-b6aa-f2edd6441cff" providerId="ADAL" clId="{BE5B4798-BE1E-4422-9D3C-1ACF860F87B4}" dt="2021-07-24T02:49:54.769" v="863"/>
          <ac:inkMkLst>
            <pc:docMk/>
            <pc:sldMk cId="0" sldId="287"/>
            <ac:inkMk id="383" creationId="{210D5F6F-9943-40DA-98C0-9FFBB6F2176D}"/>
          </ac:inkMkLst>
        </pc:inkChg>
        <pc:inkChg chg="add del mod">
          <ac:chgData name="Aniket Chhabra" userId="598e0514-bef3-4e71-b6aa-f2edd6441cff" providerId="ADAL" clId="{BE5B4798-BE1E-4422-9D3C-1ACF860F87B4}" dt="2021-07-24T02:49:54.769" v="863"/>
          <ac:inkMkLst>
            <pc:docMk/>
            <pc:sldMk cId="0" sldId="287"/>
            <ac:inkMk id="385" creationId="{09C1BCDE-A691-42D1-A2C6-CF491FFB576E}"/>
          </ac:inkMkLst>
        </pc:inkChg>
        <pc:inkChg chg="add del mod">
          <ac:chgData name="Aniket Chhabra" userId="598e0514-bef3-4e71-b6aa-f2edd6441cff" providerId="ADAL" clId="{BE5B4798-BE1E-4422-9D3C-1ACF860F87B4}" dt="2021-07-24T02:49:54.769" v="861"/>
          <ac:inkMkLst>
            <pc:docMk/>
            <pc:sldMk cId="0" sldId="287"/>
            <ac:inkMk id="387" creationId="{9A3A4457-197F-48A4-AB61-329C1386B6A4}"/>
          </ac:inkMkLst>
        </pc:inkChg>
        <pc:inkChg chg="add del mod">
          <ac:chgData name="Aniket Chhabra" userId="598e0514-bef3-4e71-b6aa-f2edd6441cff" providerId="ADAL" clId="{BE5B4798-BE1E-4422-9D3C-1ACF860F87B4}" dt="2021-07-24T02:49:54.769" v="862"/>
          <ac:inkMkLst>
            <pc:docMk/>
            <pc:sldMk cId="0" sldId="287"/>
            <ac:inkMk id="389" creationId="{F9C6A71B-8ADA-4C43-9122-A7C5ACBE1632}"/>
          </ac:inkMkLst>
        </pc:inkChg>
        <pc:inkChg chg="add mod">
          <ac:chgData name="Aniket Chhabra" userId="598e0514-bef3-4e71-b6aa-f2edd6441cff" providerId="ADAL" clId="{BE5B4798-BE1E-4422-9D3C-1ACF860F87B4}" dt="2021-07-24T02:49:57.848" v="866"/>
          <ac:inkMkLst>
            <pc:docMk/>
            <pc:sldMk cId="0" sldId="287"/>
            <ac:inkMk id="391" creationId="{5BB30B9F-5C1E-4EBA-AE24-05B3A2DF5A7F}"/>
          </ac:inkMkLst>
        </pc:inkChg>
        <pc:inkChg chg="add mod">
          <ac:chgData name="Aniket Chhabra" userId="598e0514-bef3-4e71-b6aa-f2edd6441cff" providerId="ADAL" clId="{BE5B4798-BE1E-4422-9D3C-1ACF860F87B4}" dt="2021-07-24T02:49:57.848" v="866"/>
          <ac:inkMkLst>
            <pc:docMk/>
            <pc:sldMk cId="0" sldId="287"/>
            <ac:inkMk id="392" creationId="{93FF7242-17B2-42D9-892A-C52154A3F50A}"/>
          </ac:inkMkLst>
        </pc:inkChg>
        <pc:inkChg chg="add mod">
          <ac:chgData name="Aniket Chhabra" userId="598e0514-bef3-4e71-b6aa-f2edd6441cff" providerId="ADAL" clId="{BE5B4798-BE1E-4422-9D3C-1ACF860F87B4}" dt="2021-07-24T02:50:01.447" v="873"/>
          <ac:inkMkLst>
            <pc:docMk/>
            <pc:sldMk cId="0" sldId="287"/>
            <ac:inkMk id="394" creationId="{2C7C2F94-2BA3-4E36-A266-92BA87E7A975}"/>
          </ac:inkMkLst>
        </pc:inkChg>
        <pc:inkChg chg="add mod">
          <ac:chgData name="Aniket Chhabra" userId="598e0514-bef3-4e71-b6aa-f2edd6441cff" providerId="ADAL" clId="{BE5B4798-BE1E-4422-9D3C-1ACF860F87B4}" dt="2021-07-24T02:50:01.447" v="873"/>
          <ac:inkMkLst>
            <pc:docMk/>
            <pc:sldMk cId="0" sldId="287"/>
            <ac:inkMk id="395" creationId="{CC806619-2D62-41F5-A7A8-5E32448DC92B}"/>
          </ac:inkMkLst>
        </pc:inkChg>
        <pc:inkChg chg="add mod">
          <ac:chgData name="Aniket Chhabra" userId="598e0514-bef3-4e71-b6aa-f2edd6441cff" providerId="ADAL" clId="{BE5B4798-BE1E-4422-9D3C-1ACF860F87B4}" dt="2021-07-24T02:50:01.447" v="873"/>
          <ac:inkMkLst>
            <pc:docMk/>
            <pc:sldMk cId="0" sldId="287"/>
            <ac:inkMk id="396" creationId="{32F20EA9-B591-41B3-AD4A-F11F3A373476}"/>
          </ac:inkMkLst>
        </pc:inkChg>
        <pc:inkChg chg="add mod">
          <ac:chgData name="Aniket Chhabra" userId="598e0514-bef3-4e71-b6aa-f2edd6441cff" providerId="ADAL" clId="{BE5B4798-BE1E-4422-9D3C-1ACF860F87B4}" dt="2021-07-24T02:50:01.447" v="873"/>
          <ac:inkMkLst>
            <pc:docMk/>
            <pc:sldMk cId="0" sldId="287"/>
            <ac:inkMk id="397" creationId="{15F1EEAC-BB46-4945-9E9C-F650604FC3B7}"/>
          </ac:inkMkLst>
        </pc:inkChg>
        <pc:inkChg chg="add mod">
          <ac:chgData name="Aniket Chhabra" userId="598e0514-bef3-4e71-b6aa-f2edd6441cff" providerId="ADAL" clId="{BE5B4798-BE1E-4422-9D3C-1ACF860F87B4}" dt="2021-07-24T02:50:01.447" v="873"/>
          <ac:inkMkLst>
            <pc:docMk/>
            <pc:sldMk cId="0" sldId="287"/>
            <ac:inkMk id="398" creationId="{8F3E58A6-A14E-425F-BC68-30725A7003E8}"/>
          </ac:inkMkLst>
        </pc:inkChg>
        <pc:inkChg chg="add mod">
          <ac:chgData name="Aniket Chhabra" userId="598e0514-bef3-4e71-b6aa-f2edd6441cff" providerId="ADAL" clId="{BE5B4798-BE1E-4422-9D3C-1ACF860F87B4}" dt="2021-07-24T02:50:01.447" v="873"/>
          <ac:inkMkLst>
            <pc:docMk/>
            <pc:sldMk cId="0" sldId="287"/>
            <ac:inkMk id="399" creationId="{F4BCF360-AB77-4BF2-9F96-F380A1E2591C}"/>
          </ac:inkMkLst>
        </pc:inkChg>
        <pc:inkChg chg="add mod">
          <ac:chgData name="Aniket Chhabra" userId="598e0514-bef3-4e71-b6aa-f2edd6441cff" providerId="ADAL" clId="{BE5B4798-BE1E-4422-9D3C-1ACF860F87B4}" dt="2021-07-24T02:50:16.406" v="889"/>
          <ac:inkMkLst>
            <pc:docMk/>
            <pc:sldMk cId="0" sldId="287"/>
            <ac:inkMk id="401" creationId="{E3C66CD8-E1EC-406C-86A1-E9E23892D89F}"/>
          </ac:inkMkLst>
        </pc:inkChg>
        <pc:inkChg chg="add mod">
          <ac:chgData name="Aniket Chhabra" userId="598e0514-bef3-4e71-b6aa-f2edd6441cff" providerId="ADAL" clId="{BE5B4798-BE1E-4422-9D3C-1ACF860F87B4}" dt="2021-07-24T02:50:16.406" v="889"/>
          <ac:inkMkLst>
            <pc:docMk/>
            <pc:sldMk cId="0" sldId="287"/>
            <ac:inkMk id="402" creationId="{5B02E3BB-3859-4C1F-96D3-311B1A051542}"/>
          </ac:inkMkLst>
        </pc:inkChg>
        <pc:inkChg chg="add mod">
          <ac:chgData name="Aniket Chhabra" userId="598e0514-bef3-4e71-b6aa-f2edd6441cff" providerId="ADAL" clId="{BE5B4798-BE1E-4422-9D3C-1ACF860F87B4}" dt="2021-07-24T02:50:16.406" v="889"/>
          <ac:inkMkLst>
            <pc:docMk/>
            <pc:sldMk cId="0" sldId="287"/>
            <ac:inkMk id="403" creationId="{3B71599D-6B0E-470C-BA58-AE4C6E44DD4C}"/>
          </ac:inkMkLst>
        </pc:inkChg>
        <pc:inkChg chg="add mod">
          <ac:chgData name="Aniket Chhabra" userId="598e0514-bef3-4e71-b6aa-f2edd6441cff" providerId="ADAL" clId="{BE5B4798-BE1E-4422-9D3C-1ACF860F87B4}" dt="2021-07-24T02:50:16.406" v="889"/>
          <ac:inkMkLst>
            <pc:docMk/>
            <pc:sldMk cId="0" sldId="287"/>
            <ac:inkMk id="404" creationId="{4F78673D-8BD1-4731-B510-8A6A39597B74}"/>
          </ac:inkMkLst>
        </pc:inkChg>
        <pc:inkChg chg="add mod">
          <ac:chgData name="Aniket Chhabra" userId="598e0514-bef3-4e71-b6aa-f2edd6441cff" providerId="ADAL" clId="{BE5B4798-BE1E-4422-9D3C-1ACF860F87B4}" dt="2021-07-24T02:50:16.406" v="889"/>
          <ac:inkMkLst>
            <pc:docMk/>
            <pc:sldMk cId="0" sldId="287"/>
            <ac:inkMk id="405" creationId="{66CD8584-562A-42A0-BD4E-0E0713A64F59}"/>
          </ac:inkMkLst>
        </pc:inkChg>
        <pc:inkChg chg="add mod">
          <ac:chgData name="Aniket Chhabra" userId="598e0514-bef3-4e71-b6aa-f2edd6441cff" providerId="ADAL" clId="{BE5B4798-BE1E-4422-9D3C-1ACF860F87B4}" dt="2021-07-24T02:50:16.406" v="889"/>
          <ac:inkMkLst>
            <pc:docMk/>
            <pc:sldMk cId="0" sldId="287"/>
            <ac:inkMk id="406" creationId="{E8B9E3C9-9767-4A45-8483-31784D4C5E6B}"/>
          </ac:inkMkLst>
        </pc:inkChg>
        <pc:inkChg chg="add mod">
          <ac:chgData name="Aniket Chhabra" userId="598e0514-bef3-4e71-b6aa-f2edd6441cff" providerId="ADAL" clId="{BE5B4798-BE1E-4422-9D3C-1ACF860F87B4}" dt="2021-07-24T02:50:16.406" v="889"/>
          <ac:inkMkLst>
            <pc:docMk/>
            <pc:sldMk cId="0" sldId="287"/>
            <ac:inkMk id="407" creationId="{6E016246-AB08-4AE6-A738-49D56654AB2C}"/>
          </ac:inkMkLst>
        </pc:inkChg>
        <pc:inkChg chg="add mod">
          <ac:chgData name="Aniket Chhabra" userId="598e0514-bef3-4e71-b6aa-f2edd6441cff" providerId="ADAL" clId="{BE5B4798-BE1E-4422-9D3C-1ACF860F87B4}" dt="2021-07-24T02:50:16.406" v="889"/>
          <ac:inkMkLst>
            <pc:docMk/>
            <pc:sldMk cId="0" sldId="287"/>
            <ac:inkMk id="409" creationId="{7E2348E9-A21E-4967-A289-2FAFAAF2DFBC}"/>
          </ac:inkMkLst>
        </pc:inkChg>
        <pc:inkChg chg="add mod">
          <ac:chgData name="Aniket Chhabra" userId="598e0514-bef3-4e71-b6aa-f2edd6441cff" providerId="ADAL" clId="{BE5B4798-BE1E-4422-9D3C-1ACF860F87B4}" dt="2021-07-24T02:50:16.406" v="889"/>
          <ac:inkMkLst>
            <pc:docMk/>
            <pc:sldMk cId="0" sldId="287"/>
            <ac:inkMk id="410" creationId="{44C46129-D93C-4AEF-B826-A7C1805E70E4}"/>
          </ac:inkMkLst>
        </pc:inkChg>
        <pc:inkChg chg="add mod">
          <ac:chgData name="Aniket Chhabra" userId="598e0514-bef3-4e71-b6aa-f2edd6441cff" providerId="ADAL" clId="{BE5B4798-BE1E-4422-9D3C-1ACF860F87B4}" dt="2021-07-24T02:50:16.406" v="889"/>
          <ac:inkMkLst>
            <pc:docMk/>
            <pc:sldMk cId="0" sldId="287"/>
            <ac:inkMk id="411" creationId="{A63C8086-968E-44A9-88C9-4003C5A5D484}"/>
          </ac:inkMkLst>
        </pc:inkChg>
        <pc:inkChg chg="add mod">
          <ac:chgData name="Aniket Chhabra" userId="598e0514-bef3-4e71-b6aa-f2edd6441cff" providerId="ADAL" clId="{BE5B4798-BE1E-4422-9D3C-1ACF860F87B4}" dt="2021-07-24T02:50:16.406" v="889"/>
          <ac:inkMkLst>
            <pc:docMk/>
            <pc:sldMk cId="0" sldId="287"/>
            <ac:inkMk id="412" creationId="{11EB5B8E-25EC-46CD-AFA5-B6CE8B7F50C9}"/>
          </ac:inkMkLst>
        </pc:inkChg>
        <pc:inkChg chg="add mod">
          <ac:chgData name="Aniket Chhabra" userId="598e0514-bef3-4e71-b6aa-f2edd6441cff" providerId="ADAL" clId="{BE5B4798-BE1E-4422-9D3C-1ACF860F87B4}" dt="2021-07-24T02:50:16.406" v="889"/>
          <ac:inkMkLst>
            <pc:docMk/>
            <pc:sldMk cId="0" sldId="287"/>
            <ac:inkMk id="413" creationId="{91F6F1C6-4924-4C9C-A752-81FAA4A04CCF}"/>
          </ac:inkMkLst>
        </pc:inkChg>
        <pc:inkChg chg="add mod">
          <ac:chgData name="Aniket Chhabra" userId="598e0514-bef3-4e71-b6aa-f2edd6441cff" providerId="ADAL" clId="{BE5B4798-BE1E-4422-9D3C-1ACF860F87B4}" dt="2021-07-24T02:50:16.406" v="889"/>
          <ac:inkMkLst>
            <pc:docMk/>
            <pc:sldMk cId="0" sldId="287"/>
            <ac:inkMk id="414" creationId="{6BB8A5D5-C16A-41FB-8BCD-83F6D3F5D402}"/>
          </ac:inkMkLst>
        </pc:inkChg>
        <pc:inkChg chg="add mod">
          <ac:chgData name="Aniket Chhabra" userId="598e0514-bef3-4e71-b6aa-f2edd6441cff" providerId="ADAL" clId="{BE5B4798-BE1E-4422-9D3C-1ACF860F87B4}" dt="2021-07-24T02:50:16.406" v="889"/>
          <ac:inkMkLst>
            <pc:docMk/>
            <pc:sldMk cId="0" sldId="287"/>
            <ac:inkMk id="415" creationId="{2DB427D8-8461-4781-BC5E-2A1D99910B76}"/>
          </ac:inkMkLst>
        </pc:inkChg>
      </pc:sldChg>
      <pc:sldChg chg="modNotes">
        <pc:chgData name="Aniket Chhabra" userId="598e0514-bef3-4e71-b6aa-f2edd6441cff" providerId="ADAL" clId="{BE5B4798-BE1E-4422-9D3C-1ACF860F87B4}" dt="2021-07-23T10:50:33.161" v="51"/>
        <pc:sldMkLst>
          <pc:docMk/>
          <pc:sldMk cId="0" sldId="288"/>
        </pc:sldMkLst>
      </pc:sldChg>
      <pc:sldChg chg="modNotes">
        <pc:chgData name="Aniket Chhabra" userId="598e0514-bef3-4e71-b6aa-f2edd6441cff" providerId="ADAL" clId="{BE5B4798-BE1E-4422-9D3C-1ACF860F87B4}" dt="2021-07-23T10:50:33.161" v="51"/>
        <pc:sldMkLst>
          <pc:docMk/>
          <pc:sldMk cId="0" sldId="289"/>
        </pc:sldMkLst>
      </pc:sldChg>
      <pc:sldChg chg="modNotes">
        <pc:chgData name="Aniket Chhabra" userId="598e0514-bef3-4e71-b6aa-f2edd6441cff" providerId="ADAL" clId="{BE5B4798-BE1E-4422-9D3C-1ACF860F87B4}" dt="2021-07-23T10:50:33.161" v="51"/>
        <pc:sldMkLst>
          <pc:docMk/>
          <pc:sldMk cId="0" sldId="290"/>
        </pc:sldMkLst>
      </pc:sldChg>
      <pc:sldChg chg="addSp delSp modSp add mod ord">
        <pc:chgData name="Aniket Chhabra" userId="598e0514-bef3-4e71-b6aa-f2edd6441cff" providerId="ADAL" clId="{BE5B4798-BE1E-4422-9D3C-1ACF860F87B4}" dt="2021-07-24T02:41:47.287" v="668"/>
        <pc:sldMkLst>
          <pc:docMk/>
          <pc:sldMk cId="1818286724" sldId="565"/>
        </pc:sldMkLst>
        <pc:spChg chg="add del mod modVis">
          <ac:chgData name="Aniket Chhabra" userId="598e0514-bef3-4e71-b6aa-f2edd6441cff" providerId="ADAL" clId="{BE5B4798-BE1E-4422-9D3C-1ACF860F87B4}" dt="2021-07-24T02:41:37.849" v="536"/>
          <ac:spMkLst>
            <pc:docMk/>
            <pc:sldMk cId="1818286724" sldId="565"/>
            <ac:spMk id="2" creationId="{E8AAD655-C5F1-4938-9B5F-148B3AAE8D84}"/>
          </ac:spMkLst>
        </pc:spChg>
        <pc:spChg chg="add del mod modVis">
          <ac:chgData name="Aniket Chhabra" userId="598e0514-bef3-4e71-b6aa-f2edd6441cff" providerId="ADAL" clId="{BE5B4798-BE1E-4422-9D3C-1ACF860F87B4}" dt="2021-07-24T02:41:39.628" v="580"/>
          <ac:spMkLst>
            <pc:docMk/>
            <pc:sldMk cId="1818286724" sldId="565"/>
            <ac:spMk id="3" creationId="{2A4242B7-42B1-43B6-8740-A1B8A3E2684C}"/>
          </ac:spMkLst>
        </pc:spChg>
        <pc:spChg chg="mod">
          <ac:chgData name="Aniket Chhabra" userId="598e0514-bef3-4e71-b6aa-f2edd6441cff" providerId="ADAL" clId="{BE5B4798-BE1E-4422-9D3C-1ACF860F87B4}" dt="2021-07-24T02:41:47.226" v="627" actId="948"/>
          <ac:spMkLst>
            <pc:docMk/>
            <pc:sldMk cId="1818286724" sldId="565"/>
            <ac:spMk id="4" creationId="{93BC1A44-A812-45DA-B485-7716B3C2F99A}"/>
          </ac:spMkLst>
        </pc:spChg>
        <pc:spChg chg="add del mod modVis">
          <ac:chgData name="Aniket Chhabra" userId="598e0514-bef3-4e71-b6aa-f2edd6441cff" providerId="ADAL" clId="{BE5B4798-BE1E-4422-9D3C-1ACF860F87B4}" dt="2021-07-24T02:41:43.251" v="623"/>
          <ac:spMkLst>
            <pc:docMk/>
            <pc:sldMk cId="1818286724" sldId="565"/>
            <ac:spMk id="10" creationId="{F417C843-DCCE-412A-8A45-59CAFFA3B8F6}"/>
          </ac:spMkLst>
        </pc:spChg>
        <pc:spChg chg="add del mod modVis">
          <ac:chgData name="Aniket Chhabra" userId="598e0514-bef3-4e71-b6aa-f2edd6441cff" providerId="ADAL" clId="{BE5B4798-BE1E-4422-9D3C-1ACF860F87B4}" dt="2021-07-24T02:41:47.284" v="666"/>
          <ac:spMkLst>
            <pc:docMk/>
            <pc:sldMk cId="1818286724" sldId="565"/>
            <ac:spMk id="12" creationId="{623FAB8A-D60A-4D46-AA64-2F833FA77BD3}"/>
          </ac:spMkLst>
        </pc:spChg>
        <pc:graphicFrameChg chg="mod">
          <ac:chgData name="Aniket Chhabra" userId="598e0514-bef3-4e71-b6aa-f2edd6441cff" providerId="ADAL" clId="{BE5B4798-BE1E-4422-9D3C-1ACF860F87B4}" dt="2021-07-24T02:41:47.287" v="668"/>
          <ac:graphicFrameMkLst>
            <pc:docMk/>
            <pc:sldMk cId="1818286724" sldId="565"/>
            <ac:graphicFrameMk id="11" creationId="{41EDDECD-71DF-4BCB-82E9-6833F4539CBB}"/>
          </ac:graphicFrameMkLst>
        </pc:graphicFrameChg>
      </pc:sldChg>
      <pc:sldMasterChg chg="addSp modSp mod">
        <pc:chgData name="Aniket Chhabra" userId="598e0514-bef3-4e71-b6aa-f2edd6441cff" providerId="ADAL" clId="{BE5B4798-BE1E-4422-9D3C-1ACF860F87B4}" dt="2021-07-23T10:50:33.161" v="65"/>
        <pc:sldMasterMkLst>
          <pc:docMk/>
          <pc:sldMasterMk cId="0" sldId="2147483648"/>
        </pc:sldMasterMkLst>
        <pc:graphicFrameChg chg="add mod ord modVis">
          <ac:chgData name="Aniket Chhabra" userId="598e0514-bef3-4e71-b6aa-f2edd6441cff" providerId="ADAL" clId="{BE5B4798-BE1E-4422-9D3C-1ACF860F87B4}" dt="2021-07-23T10:50:33.161" v="65"/>
          <ac:graphicFrameMkLst>
            <pc:docMk/>
            <pc:sldMasterMk cId="0" sldId="2147483648"/>
            <ac:graphicFrameMk id="2" creationId="{868511ED-4762-475C-95E2-76A8AA0EECD5}"/>
          </ac:graphicFrameMkLst>
        </pc:graphicFrameChg>
      </pc:sldMasterChg>
    </pc:docChg>
  </pc:docChgLst>
</pc:chgInfo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3:39:15.456"/>
    </inkml:context>
    <inkml:brush xml:id="br0">
      <inkml:brushProperty name="width" value="0.17143" units="cm"/>
      <inkml:brushProperty name="height" value="0.17143" units="cm"/>
    </inkml:brush>
  </inkml:definitions>
  <inkml:trace contextRef="#ctx0" brushRef="#br0">632 51 9062,'-44'-19'4137,"14"6"-3777,-5 0-90,16 9 0,2 2 0,2 3 90,1 2-181,1 4 181,1 1 0,2 3-180,-1 2 90,0 2 90,-1 2-91,-1-1-179,0 2 90,0-2-90,1 0-90,2-2 90,0 1-90,1 2 180,2-2-90,1 1 0,3-3 0,0 2 0,1 1 90,1 2-180,0 2 90,2 1 0,1 1 0,1 3-90,2 1 90,1 1 0,1 3-90,1 0 89,0 0-89,0 1 90,2 14 0,-2-10-90,-1 10 90,-4-15-90,-2-1 90,-3 0-90,-2 0 90,-3 0-90,-2-1 0,-4-1 90,-1-1-90,-5-2 90,-1-2-90,-2-2 0,-1-3 0,-1-4 90,-1-2-90,2-4 0,-10-4-90,10-4 90,-6-4 0,11-2 0,-2-8 0,7 3 180,0-5-90,6 1-90,6 0 90,3-2 0,7 4 180,6 5-180,6 7 0,-2 4 90,3 4-91,-5 1 91,1 2 0,2 2-90,1 2 90,1 2-180,-1 2 90,1 0-90,-2 2 90,0 0-90,0 2 90,5 10-180,-6-7 0,3 8-180,-9-12 0,-2 0-179,-1-1-91,-2 0-180,-1-1 1,-1-1-91,-1-1-89,-1-1-1710,-1-1-3687,2 2 6296,0-3 0,-2-3 0,1-5 0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3:39:19.034"/>
    </inkml:context>
    <inkml:brush xml:id="br0">
      <inkml:brushProperty name="width" value="0.17143" units="cm"/>
      <inkml:brushProperty name="height" value="0.17143" units="cm"/>
    </inkml:brush>
  </inkml:definitions>
  <inkml:trace contextRef="#ctx0" brushRef="#br0">145 165 9242,'24'-22'2608,"-2"1"-1798,-11 7-181,-3-1 541,-1 1-631,-5-5-89,-2 4-180,-4-2 0,-4 7 0,-1 2-90,-4 2 89,-1 3-89,-2 2 0,-2 3 0,0 3 0,-1 2-90,0 2 90,2 3 0,1 1 0,3 2 0,1 1-90,2 1 89,4 0 1,1 0 0,4 0-90,1 0 0,3 0 0,3 0 0,7 5 0,0-6-90,5 3 90,-3-9-90,2-3 0,-1-2 0,1-2 0,0-4 0,1-2 0,1-2 0,1-2 0,-1-1 180,8-7 0,-7 3 0,5-3 0,-10 7-91,-2 0 1,-1 1 90,2 0-180,1 5-180,-1 3-449,-2 10 269,-5 7-180,-1-2-89,-2 3 89,0-4-180,-1 0-89,0 1-91,0-2-179,0 1-2339,0-1 3418,1 5 0,-2-10 0,1 2 0</inkml:trace>
</inkml:ink>
</file>

<file path=ppt/ink/ink1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7:03.746"/>
    </inkml:context>
    <inkml:brush xml:id="br0">
      <inkml:brushProperty name="width" value="0.08571" units="cm"/>
      <inkml:brushProperty name="height" value="0.08571" units="cm"/>
      <inkml:brushProperty name="color" value="#E71224"/>
    </inkml:brush>
  </inkml:definitions>
  <inkml:trace contextRef="#ctx0" brushRef="#br0">28 87 12750,'-22'23'5756,"17"-8"-5306,13-11 0,16-7 0,-2-1-91,5-3-89,6 0 0,3-2-90,4-1 0,2-1-844,0 2 754,-1-2-90,0 2-492,-4 0 222,-3 2-179,-3-1-91,-4 1-360,-3 1 91,-5 2-354,-1 1 1163,0 0 0,-9 2 0,0 1 0</inkml:trace>
</inkml:ink>
</file>

<file path=ppt/ink/ink10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5:33.25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1 0 8432,'-22'11'4857,"4"-1"-4497,17-3-270,12-1-270,9-3-359,6-1-91,-5-2-360,4 0-808,0 0-451,1-1 2249,0-1 0,3 0 0,1-1 0</inkml:trace>
</inkml:ink>
</file>

<file path=ppt/ink/ink10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5:34.34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89 186 9691,'-1'-33'2339,"1"6"-2069,7 7 0,1 6-90,3-1 0,4 1 0,3-1-91,2 2 91,3 1-180,-1 2 90,2 3 0,-2 3-90,0 2 90,0 3-90,-3 3 0,-1 3 90,-3 2-90,-4 3 90,-5 2-90,-3 1 0,-4 2 90,-3 1-90,-9 11 90,1-5-90,-7 7 0,4-9 0,0-1 0,0 0 90,1-1-90,2-1 0,-1 6 0,5-6 90,0 5-90,6-2 0,4-5 0,3 5 0,3-7 0,0 1 0,1-1 0,-1-2 90,0 0 180,1 2 179,-1-1-269,-4 4 90,-7-6-180,-10 1 0,-2-7 0,-5-2-90,3-1 0,-1 0 0,-1-1 90,-1 1-270,0 0 0,-1 0-180,1 0-179,1 0-91,1 0-359,1 0-2160,2 0 3149,-3 0 0,9-1 0,-1 0 0</inkml:trace>
</inkml:ink>
</file>

<file path=ppt/ink/ink10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5:34.62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06 25 10681,'28'-15'2968,"-7"6"-2428,-2 17 0,-4 5-181,1 4 91,2 5 0,0 3-90,1 4-90,-1 2-1,-1 2-89,-3 1 90,-2-1-90,-3 0 0,-2-1 0,-4-1-90,-2 1 90,-3-1-90,-4 1-90,-3 0 90,-3 0-1,-4 0-89,-2-1 0,-2-3-89,-2-1-91,-2-3-180,0-2-90,0-3 0,1-3-179,1-1-1,0-3-269,1-3-181,2 0-2338,2-4 3418,-3 0 0,11-4 0,-2-1 0</inkml:trace>
</inkml:ink>
</file>

<file path=ppt/ink/ink10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5:34.89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47 17247,'17'-17'517,"-3"1"0,-10 8 1,-2 2-1</inkml:trace>
</inkml:ink>
</file>

<file path=ppt/ink/ink10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5:36.02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07 0 8342,'-27'13'2339,"1"3"-1620,3 4-179,-3 8 0,-1 8-1554,-2 6 1464,3 4 89,0 5 1,2 2-358,3 2 178,3 1 90,3 1-180,5 2 0,3-4-1,5-1-89,5 1 0,4 0 0,5 2-90,5-1-180,5-2-90,3-1-90,4-2-89,3-3-181,7 2-180,2-3-179,4-3-360,2-4-990,0-6-1169,4-5 3418,1-3 0,3-6 0,1-1 0</inkml:trace>
</inkml:ink>
</file>

<file path=ppt/ink/ink10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5:36.87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0 100 11940,'15'25'1709,"-1"0"-1259,-11-2 90,1 3-91,0 3 91,1 3-180,0 1 90,0 0-1,0 1 1,0 0-180,0 0 0,0 0 0,-1-1-90,1-2 89,-2-1-89,1-2 0,-2-3-90,1-1 90,-2-3 270,1-1 179,-1 3 1,-1-3 180,-2 3-720,-9-15-90,3-7-90,-6-13 0,6-4 0,0-6-90,0-5 90,1-8 0,1-4 0,1-6-250,2-1 250,2-3 0,2 0 0,3 0 90,4-2-90,1 5 0,5-3 90,0 8-90,4 2 90,1 6-90,2 4 90,-1 6-89,2 4-271,6 4 180,-7 6 0,4 3 90,-9 7 160,-1 4-250,-1 2 90,-1 3 0,-2 2 90,-2 2-90,-4 1 0,-3 10 90,-4-4 0,-4 8 0,-5-7 0,-3 1-90,-4 1 180,-2-1-180,-4 0-90,-2-1 1,-1 0-91,-1-3-180,-1 0-629,-9 3 539,10-7 0,-5 1-179,13-6-91,2-3-2518,3 0 3328,-1-1 0,9-3 0,-1 0 0</inkml:trace>
</inkml:ink>
</file>

<file path=ppt/ink/ink10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5:37.11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22 1 13559,'-22'21'1260,"0"0"-991,8-2 91,0 3-90,1 1-90,1 1 0,3 2 0,1-1 0,3 1-90,3-1 0,2 0-1,3 2 1,2 0-90,9 12-179,-2-9-91,7 7-180,-3-14-90,1-2-89,1-2-181,1-2-89,-1-4-2160,9-1 451,-7-6 2608,5-2 0,-4-9 0,0-3 0</inkml:trace>
</inkml:ink>
</file>

<file path=ppt/ink/ink10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5:37.42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266 8882,'15'-19'3958,"1"2"-2789,-4 14-539,2 6-91,-3 6-89,-1 5 0,-4 1 0,0 1-1,0 3-89,0 1-90,-1 0 0,0 1 0,0 1-1,-1-1-89,1 0 0,-2 0-90,0-2 90,0-1 270,-1-2 359,-1 4 271,1-1-361,-4 1-449,-3-11-270,-2-11 0,-1-10 0,3-8-90,2-2 0,1-4 0,1-4 90,2-4-90,3-5 90,2-1-90,2-2 1,2 0-1,2 1 90,3 3-90,1 2 90,1 3-90,1 5-90,1 3-90,-1 5-90,0 4-1259,7 1 899,-1 9-179,-1 3 89,-3 9-179,-8 4-3958,-1 23 1529,-8-9 2570,-3 19 0,-12-12 0,-3 3 0</inkml:trace>
</inkml:ink>
</file>

<file path=ppt/ink/ink10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5:37.87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1 117 8522,'-21'23'2968,"2"-4"-1618,8-5-1080,12-3-91,8-5-89,9-3-90,7-8 90,-2-1-90,3-2 0,2-2 0,2-2 0,0-1 0,2-2 90,-2 0-90,1-1 270,-3 1-90,-1 0 180,-4 2 0,-2 2-1,-1 0 1,-3 2 0,-1 1 450,-2 2-1,3 2 91,0 4-541,3 6 1,-6 3 90,-2 3-180,-5 0 0,0 0-1,0 2 1,-1 1-90,0 1 0,-2-1 0,2 0-90,-2 0 180,0-1 90,1 3 539,0-1 720,0 3-719,0-4-721,1-11-89,3-8-90,0-9 0,3-5 0,-2 1-90,1 0 90,1 0 0,0 0 0,1 0-89,-1 3 89,1 0-90,-1 3 90,-1 1-90,3 2 0,1 4 0,2 4-270,-1 9 0,-3 6 0,-4 0-89,-1 2-91,-4-4-629,0 0-181,0 7-359,1 1 0,-1 3-629,-1-2 2338,0-1 0,-2-11 0,1-1 0</inkml:trace>
</inkml:ink>
</file>

<file path=ppt/ink/ink10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5:38.73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6 0 12930,'-24'7'5576,"13"7"-5396,12-7 0,12 7 0,3-7 0,5 2-90,2 0 0,3 1 0,0 0 0,2-1-90,0 1 90,-2-1-90,1 0 0,-4-1 90,0 1-90,-3-2 0,-2 0 0,-1 0 90,-3-1-90,-1 0 270,-2 0 179,0 3-179,-6 4-180,-6 0 0,-6 0 0,-6-4 0,1-2-90,-3 0 0,-18 6-180,11-4-180,-12 3-90,16-5-89,0 0-181,1-2 1,2 2-1260,1-3-270,-3 3 2249,2-1 0,4-2 0,4-1 0</inkml:trace>
</inkml:ink>
</file>

<file path=ppt/ink/ink1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7:03.980"/>
    </inkml:context>
    <inkml:brush xml:id="br0">
      <inkml:brushProperty name="width" value="0.08571" units="cm"/>
      <inkml:brushProperty name="height" value="0.08571" units="cm"/>
      <inkml:brushProperty name="color" value="#E71224"/>
    </inkml:brush>
  </inkml:definitions>
  <inkml:trace contextRef="#ctx0" brushRef="#br0">7 134 12210,'-5'16'6566,"3"-7"-6206,19-10 0,0-5-90,5-2-90,1-1 0,4-1-1,2 0-89,0-1-90,3 0 0,-2 1-180,2-1 1,-3 1-181,-1 0-180,-1 2 0,-3 0-179,-2 1-91,-4 2-179,-1-1-1260,-3 2-4227,3-2 6476,-4 2 0,-3 2 0,-4 0 0</inkml:trace>
</inkml:ink>
</file>

<file path=ppt/ink/ink10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5:38.95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39 10141,'18'-15'4588,"-2"2"-2879,-3 5 0,-1 5-1080,2 6 91,-3 4-180,-2 6 89,-3 1 1,0 2-270,0 3 89,0 2-179,-1 1 0,1 1-90,0 0-90,0 3-270,-1-1 90,1 1-270,-2-1 0,1-1-89,-1 0-91,0-1-180,0-1-89,-1-3-91,0 0-899,0-3-539,2 4 2338,0-4 0,-2-3 0,0-8 0</inkml:trace>
</inkml:ink>
</file>

<file path=ppt/ink/ink10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5:39.24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84 16528,'12'36'1349,"-1"-8"-1079,-6-9-1,1-4-89,3 0-90,1-1 90,1 1-90,1-2 0,1-1 0,0-2 0,0-1 90,0-1 0,4-3 0,1-5-180,-1-2 90,-2-5 0,-6-3-90,0-2 90,-3-3 89,0-1-89,-2-2 0,-2 2 0,-2-2 0,-2 0-90,-3-1 90,-1 1-90,-3 0-90,-2 2-90,-1 1-179,-2 2-91,-1 1-90,-1 1-179,-1 2-91,0 2 0,0 2-1168,0 2-451,-2 0 2429,1 2 0,5 0 0,4 2 0</inkml:trace>
</inkml:ink>
</file>

<file path=ppt/ink/ink10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5:39.44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95 0 10141,'28'2'3868,"-1"1"-2699,-10 4-179,1 4-1,-1 4-179,0 3-91,0 4 1,-3 2-180,0 3-91,-3 0-89,-1 3-90,-3 1 0,-2 2-180,-3 0-90,-2 1-90,-4 3-180,-4-1-90,-3 2-269,-3-1-181,-6 1-89,-4-2-91,-5 0-449,-4-2-360,-3-4-810,-2-2-1528,-4-4 4071,-2-4 1,-3-4-1,-1-2 1</inkml:trace>
</inkml:ink>
</file>

<file path=ppt/ink/ink10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5:40.83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261 11850,'26'-2'900,"3"-1"-720,1-1 89,9-2-179,10 0 90,9-1-5430,16-1 5340,9 1 45,11 0 0,9 1-708,-9 1 0,2 0 603,-21 2 0,2-1 0,5 1-30,2 1 0,6 0 0,-1 0 0,-10 0-293,8 1 0,-1-1 270,-13 1 1,7 0-1,0 0 1,-9-1-23,4 1 0,-1 0-425,16-1 0,9-1 1,-7 1 424,-3 0 0,0-1 9,-4 1 0,7-1 1,-7 1-55,11-2 0,-9 0 45,-19 1 0,0 0 45,19-1 0,-2-1 328,-29 2 0,-3 0-328,-1-1 0,0 0 0,44-3 0,-12-1 0,-8 0 90,-11 1 0,-8-1 1357,-8 1-1447,-8-1 0,-6 1 1923,-7 1-1923,-4 0 4,-5 0-3152,-3-2 3985,-12 0 0,-13 0 1,-12 0-1</inkml:trace>
</inkml:ink>
</file>

<file path=ppt/ink/ink10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5:41.73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7 226 13559,'8'24'810,"0"-1"-450,-4-6-181,0 3 91,0 1-90,0 0 90,0 2-90,-2-1 0,1 0 0,-1 0 90,0-1-90,0-1-1,-1-2 1,-1 0 360,1-1 90,-1 5 89,-1-1-89,-1 3 0,-3-7-451,-6-7 1,-1-11-90,-2-5-90,2-9 90,4-1 0,1-6-90,1-5 0,2-5 0,1-3 90,2-5-90,3-1 0,2-2 0,4-2 0,6-16 0,-1 17-90,7-11 90,-4 22-90,1 5 90,2 4 0,0 4 0,1 4 0,0 4-180,0 4 0,-1 4 1,-1 3-1,1 4-180,-2 2 0,1 3 0,-3 3 0,-2 2 1,-2 2 89,-2 2 0,-5 1 90,-2 1 0,-4 1 90,-2 0-90,-8 11 90,0-7 90,-7 7-90,2-11 90,0 0 0,-1-3 0,1-1 0,0-2 0,2-2 0,-1-2 0,-3 2-90,5-4-539,-6 2 629,7-5 0,14-7 0,7-3 0</inkml:trace>
</inkml:ink>
</file>

<file path=ppt/ink/ink10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5:41.95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8 0 15448,'-15'21'720,"1"0"-450,6-5-180,0 3 89,2-1-89,2 3 0,2-1 0,2 2-90,2-1-90,2 1-90,3 0-179,1-1-1,2 1-180,2-2-89,2 0-181,1-3-89,0-1-91,0-4-89,1-1-630,0-4-270,-1-2 1979,0-4 0,-6 0 0,-3-2 0</inkml:trace>
</inkml:ink>
</file>

<file path=ppt/ink/ink10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5:42.21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273 8612,'11'-20'3868,"2"-1"-2249,-4 11-1079,6 6-91,-5 6 91,0 9-180,-3 4 0,-2 0-1,1 4 91,0 0-180,-1 2 0,1 1-90,-2 0 90,1-1-90,-1 1-91,0-1 91,-1-2-90,-1-1 360,0-1 90,-1 3-1,-1-3 271,-3 1-450,-6-10-360,1-12 0,-2-6 0,4-10 0,2-1 0,2-4-90,2-5 90,1-2 0,3-6 0,1-1-90,4-2 0,3 1 0,1 1 0,3 3-180,2 2 0,2 3-179,1 3-91,0 5-90,0 3-89,-3 6-91,0 3-1169,-2 4 900,3 5-1620,-6 4 2699,2 4 0,-5 11 0,-2 4 0</inkml:trace>
</inkml:ink>
</file>

<file path=ppt/ink/ink10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5:42.67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3 205 8882,'-16'20'4317,"1"1"-3777,14-9-360,7-3-180,8-3-90,7-7 0,-1-1-270,5-3 1,1-2-91,4-1 0,2-3-180,0-2 271,2-1-1,-2-4-90,12-10 450,-12 5 540,16-14-1,-23 17 91,4-4 0,-12 10-1,-3 2-89,0 1-90,-2 2 629,-2 1 91,3 2-181,-1 5-90,1 5-449,-1 10-90,-3 1 0,-2 3-90,-2-5 0,0 2-91,-1-1 91,1 1-180,-1-1 180,0 0 90,1 3 449,-1-1 1080,1 3-1979,2-12 90,-2-7-180,3-11 180,-3-4-89,1-2-1,2-2 90,2-1-90,0 2 90,1-1-90,0 3 90,0 0 0,0 3-90,0 2 90,0 2-90,2 3 90,2 5 0,3 7 0,-4 3 0,-2 4-270,-5-1 90,-1 1-180,0 0 90,-1 2-179,0 0-1,-1 0-719,-1 0-271,-1 7-269,-2-1-90,0 4-2608,-1-4 4407,-1-3 0,1-9 0,0-3 0</inkml:trace>
</inkml:ink>
</file>

<file path=ppt/ink/ink10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5:42.89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3 15 12120,'21'-12'4767,"-7"10"-4137,-10 16-90,-5 7-181,-1-1 1,0 4 0,-1 4-180,1 2 90,-1 4-180,1 0 90,-1 2-90,1 0 0,0 1-180,0 0-90,-1-2-180,0 1-180,0-2 1,-1-1-181,0-3-180,0-2 1,-1-3-270,1-2-1,-1-2-1258,1-2 2428,-1-4 0,3-6 0,0-3 0</inkml:trace>
</inkml:ink>
</file>

<file path=ppt/ink/ink10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5:43.45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0 18416,'20'33'1170,"-3"-3"-810,-11-13-180,-1 1-1,1 2 1,0 0 0,-1 1 0,0 0-180,-1 0 180,0-1-180,0 1-90,-2-2 0,0 0-450,0-2-449,-1 7-360,-1-1-270,-3 4-1709,-1-5 3328,-2-4 0,3-10 0,0-2 0</inkml:trace>
</inkml:ink>
</file>

<file path=ppt/ink/ink1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7:04.280"/>
    </inkml:context>
    <inkml:brush xml:id="br0">
      <inkml:brushProperty name="width" value="0.08571" units="cm"/>
      <inkml:brushProperty name="height" value="0.08571" units="cm"/>
      <inkml:brushProperty name="color" value="#E71224"/>
    </inkml:brush>
  </inkml:definitions>
  <inkml:trace contextRef="#ctx0" brushRef="#br0">1 55 13110,'32'-6'809,"-1"0"-809,-11 2-270,1 1-180,1-2-449,1 1-1170,1 0-809,0-1 2878,-1 0 0,4-1 0,-1 0 0</inkml:trace>
</inkml:ink>
</file>

<file path=ppt/ink/ink10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5:43.72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92 17157,'15'30'1799,"-1"-7"-1439,-8-5 0,0-6 0,3 1-91,1-1-89,1 1 0,1-2 0,1-1 0,0-2 0,-1-1 90,1-2-90,5-1 0,-1-6-180,0-1 89,-3-6-89,-6-1 0,-2-3 0,-1-1 0,-2-2 0,-2-1 0,-2 0-179,-2-1-1,-2 0-90,-3 0 0,-1 1-809,-7-3-271,-5 0 541,0 3-181,0 5-89,6 6-1440,1 2-3327,-5 0 5846,1 3 0,4 0 0,6 1 0</inkml:trace>
</inkml:ink>
</file>

<file path=ppt/ink/ink10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5:44.01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48 1 18866,'22'24'2069,"-1"3"-1439,-11 4-1,2 5-89,-1 3-90,1 4-581,-1 1 491,-1 1 0,-2 0-90,-1-1-1,-3-2-89,-2-2 0,-3-3-90,-3 2-180,-4-3-180,-4 1-179,-3-2-271,-5-3-179,-2-3-181,-3-3-269,-3-2-180,-3-3-260,-1-3-7836,-17 0 9625,11-7 0,-15-1 0,14-6 0</inkml:trace>
</inkml:ink>
</file>

<file path=ppt/ink/ink10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5:46.26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387 5 11670,'-37'-4'1350,"-3"3"-991,4 6 91,-10 1-5750,-8 3 5839,-9 1 396,-9 3-485,-6 1-1,-9 2-65,-5 2-24,-6 0-90,23-4 0,-3 0-180,13-2 0,-2 0-632,-20 4 0,-2-1 587,19-2 0,1-2 0,-1 1 0,0 0 589,4-2 0,1 0-634,-5 1 0,-1 0 0,6-1 0,-4 0-651,-29 4 1,-1 0 605,25-3 0,2-1 0,-20 3 0,2 0-9,30-4 1,4-1-82,-1 1 0,1-1 45,1 1 0,1-1-45,2 0 0,0 0-44,-45 7-181,7-1 90,13-2-90,8-2 0,15-2-89,9-2-181,8-1 0,7-1 1037,3-2-3465,6 0 3246,3-4 0,14-9 1,2-6-1</inkml:trace>
</inkml:ink>
</file>

<file path=ppt/ink/ink10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5:46.63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249 133 8072,'22'-26'1799,"-2"4"-1349,-9 8 270,-3 1-181,-1-3-269,-11 2 90,-3 1 0,-12 3 90,-6 6-91,-10 4 91,-11 1-790,-11 6 790,-15 3-1,-9 3-44,13 0 0,-2 2-180,14-3 0,0 0-1581,-24 6 1,-1 0 1535,19-3 0,1 0-45,-5 0 0,-1 2-695,1-1 0,-1 1 650,0 0 0,2-1-321,5-1 1,-1 1 365,-20 5 0,1 0-90,24-6 0,0 0-322,-15 4 0,3 0 277,-18 6 0,11-3-270,9-1 0,10-3 1141,9-1-1410,6 0 1372,8-3-1462,4 0-1,5 0-90,4 0-89,5 0-2519,5 0 1199,6 5 2129,6-4 0,0-3 0,1-7 0</inkml:trace>
</inkml:ink>
</file>

<file path=ppt/ink/ink10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5:47.50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070 158 8162,'-1'-37'1619,"-1"9"-1349,-2 9-90,0 7 90,-3 0-180,-1 1 0,-4 0 0,-4 2 0,-3 1-90,-3 3 90,-4 1 0,-3 2-90,-4 3 90,-4 3 0,-2 3 0,-5 5-1,-2 8 1,-3 5 90,3 2 0,1 2-504,-10 6 0,1 1 459,11-1 0,5 0 45,-16 20 0,17-14 0,1 2 0,-16 25-746,19-24 1,2 1 745,-7 19-90,5 1-76,6-2 166,2 31-90,11-24-921,3 24 831,13-27 90,6 0-90,8 4 45,2-20 0,2 0 45,17 29-90,-10-28 0,1-2 0,20 15 90,5-3-90,4-3 90,4-3-90,4-4 0,4-4 0,3-4 90,3-5-90,-20-15 0,2-2 90,29 7-90,-31-13 0,0-2 0,18-2 0,-4-4 0,0-5 0,1-4 0,-1-4 0,-1-4 0,3-5 0,0-5 90,2-5-90,-3-4 134,-23 4 1,-1-3 45,22-15 0,-14 1 0,-4-3 90,5-12-180,-22 18 0,-1-1 180,5-21 179,4-25-89,-13 16-90,1-19-90,-14 23-1862,-3-2 1862,-5-2-45,-6 17 0,-1-1-72,-7-33-18,1 29 0,-2 0-135,-15-28 90,-6 2-90,-8 3 0,-9 4 0,-6 6 0,-9 5-180,-7 6 0,-8 8-180,-8 7-45,16 19 1,-4 5 179,16 5 0,-1 4-45,-20-3 1,0 4-46,20 7 0,1 4-135,-1 1 1,0 2-586,1 2 1,-1 3-405,-4 2 0,1 3 1529,0 2 0,0 1 0,-6 5 0,0 1 0,1 2 0,-1-1 0</inkml:trace>
</inkml:ink>
</file>

<file path=ppt/ink/ink10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5:48.19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25 41 10051,'-30'-2'5037,"3"1"-3418,5-1-539,3 0-1,-3 0-989,17-4-180,8 2-270,17-4-179,6 4-181,5 1-269,4 0-271,2 1-179,0 1-989,0 1-1350,-1 1 3778,-5 2 0,-1 0 0,-2 1 0</inkml:trace>
</inkml:ink>
</file>

<file path=ppt/ink/ink10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5:48.34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2 61 10591,'-29'6'4767,"16"-10"-4227,13 1-450,30-11-90,-2 9-90,14-4-270,-6 5-90,2-1-269,4 2-271,-2-1-1438,0 1-1170,-3 0 3598,-1 1 0,3-2 0,-2 0 0</inkml:trace>
</inkml:ink>
</file>

<file path=ppt/ink/ink10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5:49.08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 93 9512,'-2'-37'3148,"1"5"-1979,1 11-809,0 19-90,0 9 719,0 13-719,4 32 0,0-25-3392,5 23 3392,-1-27-1,2-1 145,10 9-144,-4-9-90,7 5 0,-7-12-90,2-3 90,-1-1-90,1-3 0,-1-2 0,0-2 3374,0-3-3464,-1-3 143,1-3-143,-1-2 90,0-4-90,1-4 0,-3-3 0,0-3 180,-2-1 90,-1 0 180,-2 1 90,-2 1-181,-1 1 91,0 2-180,-1 1 0,-1 3 0,1-3-270,-5 18-90,1-2-90,-4 20-180,0-2 90,1 3-90,0 2-539,0 14 449,2-7-90,-1 11 1,1-10-91,1 0-90,0 2 1,0-1-1,-1-2-89,1-2-1,0 0-89,1-2-91,-2 0-89,1-4-2249,0-1 3328,-1 1 0,0-11 0,1 0 0</inkml:trace>
</inkml:ink>
</file>

<file path=ppt/ink/ink10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5:49.36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51 8702,'28'-32'1799,"-1"2"-1349,-6 12-90,0 1-181,0 2 91,-2 3-90,0 2 0,-3 2 0,0 2 90,3 3 0,-1 5-90,1 6-1,-8 8 1,-7 0 0,-6 3 90,-3-3-90,-2 1 90,-1 1 0,-2-1 0,-1 2-91,-1-2 1,1 1 90,0-1 0,0-1-90,1-1 90,2-1 90,0 0 629,2-2 0,0 3-539,7-1-180,2 0 0,9-4-90,3-4 0,3-2-90,5-1 0,1-2 0,5 0-1,2-2-178,3-1-91,0 0-90,0-1-270,-1-1-269,-3 1-91,-3 0-269,-3 0-1440,-3 1 2609,0 1 0,-10 0 0,-2 1 0</inkml:trace>
</inkml:ink>
</file>

<file path=ppt/ink/ink10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5:49.56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39 42 5032,'-32'15'3508,"4"-1"-1348,4-2-1351,4-1 1,2-2 2662,5-1-3023,10 4 264,7-8-354,14 3 745,7-9-924,8-1 90,6-1-704,9-3 344,4-1-90,3-1-180,0-1-180,-2-2-89,-5 1-91,-3 0-236,-6 0 56,-3 1-89,-5 1-90,-6 1-91,-3 3-2877,-6 0 4154,0 1 0,-8 2 0,-2 0 0</inkml:trace>
</inkml:ink>
</file>

<file path=ppt/ink/ink1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7:05.110"/>
    </inkml:context>
    <inkml:brush xml:id="br0">
      <inkml:brushProperty name="width" value="0.08571" units="cm"/>
      <inkml:brushProperty name="height" value="0.08571" units="cm"/>
      <inkml:brushProperty name="color" value="#E71224"/>
    </inkml:brush>
  </inkml:definitions>
  <inkml:trace contextRef="#ctx0" brushRef="#br0">0 242 12660,'6'-27'4047,"2"13"-3597,3 17-90,-1 9 0,-1 2 0,-1 0-1,-1 0-89,1 2 0,-1 1 0,0 0 0,0 0-90,-2-1 0,1 0-1,-2-2 181,0 0 90,1 5-90,-2-1-180,-1 3 90,-4-5-181,-4-4-178,-5-7-1,-3-9 0,2-4 0,0-8-90,4-1 90,0-5-90,1-4 180,2-4-270,0-1 270,3-27 0,1 21 0,2-18 0,1 29 0,2 1 0,0 2 0,0 2 0,1 3 0,1 2 0,0 3 90,2 2 90,1 2-180,6 3 90,4 3-90,1 3 90,0 4-90,-4 2-90,0 3-90,1 0-90,-1 3-180,0 0-179,0 2-1,-1 0-179,-1 1-1,-2 1 1,-1 1-91,-2-1-179,-2 0-1170,-2 0 90,-5 5-719,-2-5 2878,-3 3 0,2-13 0,0-1 0</inkml:trace>
</inkml:ink>
</file>

<file path=ppt/ink/ink10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5:49.88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60 1 7713,'-5'25'1978,"0"-1"-1348,3-5-90,0 1-90,1 3-1,0 1-89,1 0 0,-1 2-90,1-1 0,-1 1-1,-2 1 1,0-1 90,-3 1-180,-1 0 180,-2-1-180,-3-2 89,-1-1 1,-3-2 0,-1-3-90,-2-1 90,1-3 0,-2-4 0,0-1-1,0-3 271,-7-4-180,-3-6-180,3-2-90,2-7 0,6-8-90,7 1 0,0-8 0,7 4 0,3-1 0,3-2 0,1-2 0,3 0 0,2-2-90,0 1 90,2 2 0,1 0 0,-2 4 0,1 1-90,-2 3 90,0 3-90,-2 2 0,0-1 0,-7 4-450,-4 4-89,-8 7 359,-2 9 0,4 1-90,0 2-269,5-2-271,0 6-89,4 1 359,3 4-180,5-5 1,4 0-720,2-7-270,3 0 1799,3-3 0,-8-1 0,0-3 0</inkml:trace>
</inkml:ink>
</file>

<file path=ppt/ink/ink10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5:50.12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0 49 11041,'18'10'3148,"-3"1"-2878,-12 11 90,1-6-181,2 0 91,3-3 0,0-2-90,4 1 0,0-1 0,2-1 90,0-1 0,0-2-91,0-3 271,0 0-270,5-4-90,-6-2 90,4-3-180,-7-2 90,-2-3 0,-3-2-90,-1-1 0,-4-10-90,-2 6 0,-4-7-180,-2 7-90,-3 1-179,-3 1-1,-2 3-90,-3 1-179,-2 2-91,-1 3-269,-3 2-990,-3 3-809,-3 3 2968,-5 2 0,-5 3 0,-3 1 0</inkml:trace>
</inkml:ink>
</file>

<file path=ppt/ink/ink10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5:50.71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41 206 9152,'-25'7'1709,"3"0"-1349,12 0 89,1 0 271,1 3 0,0 5-451,5 5 1,2 1 0,5 1 0,4-5-90,2 3 0,3 1 0,1 1-90,1 1-1,-1-1 91,-1 1-180,-1-2 180,-2 0 0,-2-1 90,-2-1-90,-2 0 0,-2-1 0,-3-1 0,-3 0 0,-2-1-1,-3-1 91,-3-2 0,-1-1-90,-2-2 180,-2-3-90,0-1 269,1-3-359,-6-3-90,7-1 0,-4-4 0,9-2 90,2-2-180,4-10 0,5 2 0,5-9 0,3 3-90,6-5 0,4-4 0,4-4-325,3-5 325,3-1 90,1-1-90,0 0 180,0 1-90,-1 2 90,-4 3-1,-2 4 91,-5 4-90,-2 2 0,-4 5-90,-2 0 90,-3 5-90,-5-4 416,-6 4-506,-9 1-90,-9 9 0,2 6-90,-1 4 90,7 3-179,-1 1-1,1 3 0,1 2-180,1 1 1,1 2-91,1 1-180,2 1-179,0 1-450,3 2 1439,0 0 0,2 7 0,-1 2 0</inkml:trace>
</inkml:ink>
</file>

<file path=ppt/ink/ink10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14.00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3 269 9062,'-1'-30'2968,"1"2"-2158,6 22-361,1 9 1,0 10 0,-1 8 0,-2-1-1,0 4 1,-1 3-90,0 2 0,0 3 0,-1 2-1,1-1-89,-1 1 0,0 0 0,0-3 0,-1-2-90,0-1 89,1-3-179,-1 0 90,0-4 360,-1-1 359,0 4-269,1-3 0,-3 1-360,-7-10-270,-3-13 0,-2-7-90,0-12 0,5-3-90,-1-8 0,1-6 0,3-5 0,1-5 0,4-2-281,3-4 102,4-1-520,10-25 789,0 22-90,9-14 1,-3 28-24,2 6 113,1 5 1,1 7-1,-1 4 0,0 6-90,-1 4 180,-1 4 170,-2 4-170,0 3-90,-2 3 807,-1 4-717,-1 2 24,-3 3-114,0 9 90,-6-4 90,-1 8-90,-7-7 0,-4 2 90,-3 3-90,-3-1 0,-3 2 90,-3-1-90,-1 0 90,-12 7-90,6-9 0,-9 7 90,10-11-90,-2-1-90,1-2-90,0-1-90,2-2-89,1-2-91,1-1-180,1-1 1,1 0-2160,-3 0 2789,1-1 0,6-2 0,4-1 0</inkml:trace>
</inkml:ink>
</file>

<file path=ppt/ink/ink10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14.28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9 1 11490,'-2'13'4858,"5"-8"-4409,-27 30 1,12-14-90,0 2 0,0 1-90,1 2-91,2 0 1,2 1 0,1 0-90,2-1 0,1 1 0,3-1 0,1 1 0,2 1-90,2 0 90,1 0-180,2 0-90,2-2 0,0 0-90,2-2-89,0-2-91,0-2-180,2-3 1,-1-2-181,2-3-1079,7 1 720,-5-7-1080,5 0-809,-5-8 3058,-1-2 0,4-6 0,-1-2 0</inkml:trace>
</inkml:ink>
</file>

<file path=ppt/ink/ink10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14.71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8 1 14009,'3'28'1349,"-1"-6"-989,-1 4-90,-1-5 90,1 2-1,-1 3 181,0 13-180,-1 4-180,1 1-90,-2-3 90,2-13-90,-1 0-90,0-1 180,-1 10-180,1-9 0,-1 6-90,1-13-90,0-2-360,1-2 90,-1 5-6026,0-3 5127,2-14 809,0-11-359,2-14 899,-3-3 0,1 13 0,-1 2 0</inkml:trace>
</inkml:ink>
</file>

<file path=ppt/ink/ink10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14.96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552 0,'0'-77'2399,"0"39"492,0-39-2621,1 52 1499,-1 0-1499,2 0-90,0 0 859,1 0-859,1 0 3302,3-1-3302,0 1-180,3 0 180,1 1 0,3 2-1,2 2 1,2 2 0,1 1 0,2 4 0,1 3 360,10 2-180,-7 7-91,7 2 91,-9 7 0,0 2 0,-1 4 0,-1 3 89,-1 2-89,-3 4-90,0 1 0,-3 3 0,-1 0-90,-1 3-1,-2 0 91,2 14-180,-4-10 0,2 12 0,-5-15 0,0 0-90,-2-1-90,1 10-180,-1-12-179,-1 9-91,-1-15-989,0 7-450,-1-8-4947,0 9 6926,-2-13 0,2-4 0,-1-6 0</inkml:trace>
</inkml:ink>
</file>

<file path=ppt/ink/ink10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15.12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6 91 10951,'-22'-10'4497,"2"0"-4227,16 3-360,9-1-180,8 2-180,5 1-179,1 2-181,1 0-269,3-1-1080,2-1-719,2 0 2878,1-1 0,5-3 0,0 0 0</inkml:trace>
</inkml:ink>
</file>

<file path=ppt/ink/ink10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15.34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5 11311,'22'-5'4227,"-4"7"-3597,-8 11-1,-3 4-89,-1 0-90,0 2-90,-1 2-1,0 2-89,0 3 0,0 1-90,1 3 0,-2 0 0,0 1-90,-1 0 0,-1 0 0,0-2 0,0 0 0,-2-1-270,1 0 0,-2-1-180,1-1-180,0-1-179,-1-3-1,0-1-1079,0-3 1799,1 13 0,-1-18 0,1 8 0</inkml:trace>
</inkml:ink>
</file>

<file path=ppt/ink/ink10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16.02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21 11311,'18'2'2158,"-2"8"-1798,-10 7 90,0 3 0,-3-2-91,0 1 1,0 2 0,-1 1-90,0 0 90,-2 1-91,1 0 1,-2 0 0,1-1-90,-1 0 1709,-3 39-810,1-32 181,-2 29-721,1-43-539,-3-11-90,-1-9 90,0-7-180,2-6 1,2 0 89,1-3 0,1-2-90,0-3 90,2-2-90,0-2 180,2-1-180,0-2 90,2 1 0,2-1 0,1 3 90,1 0-90,1 2 90,1 1-90,2 3 90,-1 3 0,1 2-90,0 3 90,0 2-90,1 2 90,-1 3 0,-1 2-90,5 3 90,0 5 0,2 4 0,-2 8 0,-5 6 0,-4 4 90,-4 3-90,-3-4 0,-2-1 0,0-6 0,-1 6 0,1 0 0,1 4 0,5-2 90,2-6-90,6-2 0,0-4 0,3 0 0,2 1 0,0-1 0,1 0-90,-1 1 90,-1 0 0,-1 0 0,-1 0 0,-1 0 0,-3 1 90,-1-1 90,-3 5 0,-8 1 0,-2 1-90,-7-2 90,-2-5 0,-2 0-90,-3-1 0,0 0 0,-3-2-90,2-1 90,-2 0-90,-1-1-90,1-1-90,-1 0-90,2-1-90,0-2-180,2 0-1079,1-2 540,-5-2-270,7-2-180,-3-2-1350,8-3-1618,3-2 4497,1-4 0,4 6 0,1 1 0</inkml:trace>
</inkml:ink>
</file>

<file path=ppt/ink/ink1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7:05.233"/>
    </inkml:context>
    <inkml:brush xml:id="br0">
      <inkml:brushProperty name="width" value="0.08571" units="cm"/>
      <inkml:brushProperty name="height" value="0.08571" units="cm"/>
      <inkml:brushProperty name="color" value="#E71224"/>
    </inkml:brush>
  </inkml:definitions>
  <inkml:trace contextRef="#ctx0" brushRef="#br0">124 187 8522,'-50'-7'7826,"16"-4"-7287,0-8-359,29-2 0,10 5-180,8 0-180,1 4-180,5 0-89,2 0-1170,14-3 449,-6 5-1258,11-1-1260,-12 4 3688,1 1 0,3 0 0,1 0 0</inkml:trace>
</inkml:ink>
</file>

<file path=ppt/ink/ink10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16.24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0 9242,'26'5'3868,"-3"1"-2789,-7 0-90,-1 3 1,1 1-181,-1 2 1,0 2-1,1 1-179,-2 2-90,1 1-180,-2 1 89,-1 1-89,-2-1-90,-2 2-90,-1-1-90,-2 1 90,-1 1-90,-3-3-90,-2 11-90,-2-9-180,-3 7-450,-5-2 91,0-7-91,-5 4-90,3-8-179,-1-2-180,-1-2-181,0-1-1528,0-2 2878,0-2 0,8-3 0,1-1 0</inkml:trace>
</inkml:ink>
</file>

<file path=ppt/ink/ink10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16.59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14729,'30'8'809,"-5"-2"-899,-1-5-180,-6 0-179,0-1-361,1 1-269,-1 0-1170,-1-1 2249,0 1 0,-8-1 0,-3 1 0</inkml:trace>
</inkml:ink>
</file>

<file path=ppt/ink/ink10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16.72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8 12120,'4'15'1529,"1"-3"-1349,15-11 90,-1-2-270,3 0-180,1-1-270,2 1-359,0-1-1350,2-2-989,2 0 3148,1-1 0,2-2 0,1-1 0</inkml:trace>
</inkml:ink>
</file>

<file path=ppt/ink/ink10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17.84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12 159 13829,'13'26'1799,"-1"1"-1259,-9-6-90,-1 3 89,1 2-179,0 2 90,1 1-180,-1 1 89,1-1 91,0 11-270,-1-11-90,1 8 180,0-2-90,-2-11-90,0 7 899,-1-1-179,0-8-271,-1 7-179,-5-14-180,-5-8-180,-14-14-90,6-4-90,-7-12 0,9-1 90,1-4-180,0-6 181,1-3-91,2-2 0,2-3-129,2-1 129,3 2-90,2 1 91,4 0-1,4 0-90,4 0 90,4 2 0,4 4 90,3 2-180,16-4 90,-5 12 90,10-1 0,-12 14 0,-2 5 90,-1 3-89,-1 4 89,-1 3-90,-1 4 90,-1 1 0,-2 3 0,-3 2 0,-4 1 0,-2 1 218,-3 10-218,-6-5 0,-3 7 0,-6-6 0,-4-1 0,-2 1 0,-4 1 90,-2-3-90,-4 1 0,1-2 0,-3-1 90,2-2-90,0-2 0,0-1 0,2-2-90,1-1 0,2-2-180,2-1-539,1-2-630,-2 2-7646,3-2 9085,10-4 0,-1 1 0,13-5 0</inkml:trace>
</inkml:ink>
</file>

<file path=ppt/ink/ink10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18.07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17 0 13379,'-17'30'1709,"0"-2"-1259,4-7-90,0 2 0,0 2-90,2 1-1,1 1-89,1 1 0,3-1-90,1 0 90,3-1-90,1 0 0,3 0 0,2-1-90,2 1-90,2-2-180,1 1-90,3-2-89,-1-3-91,2-2-180,1-3-179,0-3-91,2-1-269,-1-4-810,0-3-629,1-3 2698,0-4 0,4-6 0,2-2 0</inkml:trace>
</inkml:ink>
</file>

<file path=ppt/ink/ink10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18.49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98 12390,'17'17'2788,"-2"4"-2338,-13 2-90,1 4-90,-1-6 90,1 2-1,-1 0-89,1 2-90,0-1 0,-1-1 0,0 1-90,1-2 0,-1-1 0,0-2 90,0-2 89,-1 4 451,1-1 629,0 3-899,-2-5-720,-6-13 90,0-11 0,-2-10-89,4-8 89,3 3 0,2-5 0,1-2 0,2-3 90,2-1-90,3-4 90,1 2 0,3-2 0,1 3 90,1 0-90,0 5 90,1 2-90,-1 3 90,1 3-90,-2 2 180,1 4-90,-1 2 90,-1 3 180,1 3-90,4 3 0,-4 4 0,4 2 0,-6 4 269,5 9-269,-4-1 270,13 27-360,-14-18 0,8 18 0,-11-17-90,0 1 90,0 1-90,-1 0 90,-1 1-90,0-1-90,-1-1-180,0-1-90,-2-1-899,2 9 449,-3-9-179,1 6-180,-2-11-3059,-1-2 4228,0 4 0,-1-11 0,0 2 0</inkml:trace>
</inkml:ink>
</file>

<file path=ppt/ink/ink10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18.62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2 154 10771,'-13'-20'2698,"4"0"-2518,15 5-180,2 2-180,8 2-269,0 2-271,3 1-180,4 0-898,1 0-451,3 0 2249,0-2 0,5-1 0,-1-1 0</inkml:trace>
</inkml:ink>
</file>

<file path=ppt/ink/ink10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19.03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37 12390,'20'14'2608,"-4"-1"-2158,-10 3 180,-2-2-180,0 3-91,1 1 91,-1 2-90,0 0-90,0 1 0,0 1-91,0-1 1,0-1-90,-2 0 0,1-2 90,0-2 0,-1 5 450,1-2 89,-1 3-449,-4-4-270,-6-12-180,-4-8 0,0-9-89,2-8 89,4-1-90,1-3 90,2-2 0,1-3-90,5-18 180,0 10 0,6-15 0,-1 18 0,2 0 90,2 4-90,0 2 0,2 2 90,1 3 0,1 2 0,8 1 90,-6 8 90,5 0 0,-7 10 0,-1 2-90,0 4 90,0 3 0,0 3 0,-2 2-90,0 3 90,-1 3-90,0 1 89,-1 3-179,-1 0 180,-1 1-180,-1 1 90,-1-2-90,-1 2 90,-1-3-90,0 1-90,-1-1-180,-1-2 1,0-1-271,-1-2-809,0 0-270,0 4-180,0-3-5577,0 3 7376,6-9 0,-6-5 0,4-5 0</inkml:trace>
</inkml:ink>
</file>

<file path=ppt/ink/ink10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19.65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26 9512,'21'-16'4137,"-3"7"-3597,-4 14 0,-4 3-91,-1 4 1,-3 0 0,0 2-90,-1 3-1,1 3-89,-2 0 0,1 1 0,-1 1-90,-1 0 0,0 1 90,0-1-91,-1 0-89,0-1 90,-1-1-90,1-2 90,-1-1 0,0 6 360,0-3 899,0 5 0,-1-4-1529,-3-14 90,0-8 0,-3-12-180,2-7 180,2 4-90,0-4 0,1-1 90,0-3-90,0-1 0,2 0 90,1-1-89,1-2-1,2 0 90,0-2 0,2 3-90,0 0 0,1 1 0,1 3 0,1 2 0,0 1 0,1 2 0,0 2-90,0 1 90,0 3-270,4-2 270,0 5 0,5 2 90,-3 7-90,-2 7 90,-5 6 0,-4 6-89,-6 5 89,-2-3 0,-2 1 0,-1-7 0,0 0 0,1 0 0,-2 0 0,2 0 0,0-1 0,0 6 0,4-1 89,1 0-178,5-2 178,1-6-89,3 1-89,1-1 89,1 1 0,2 0 0,0 0 0,-1-1-90,-1 0 90,-2-1 0,1-2 179,-2 1 91,0 3 90,-3 1-90,-4 3-90,-8 0-90,-3-5 0,-5-1 0,2-3 0,-2-1-90,-2 0 0,-1-1 0,-1 0-180,-1 0 0,0-1-180,0 0 0,2-1-89,0-1-991,0 0 541,-5-1-270,5-2-91,-3-1-1798,8-3-1889,1-1 4947,2-2 0,5 3 0,1 1 0</inkml:trace>
</inkml:ink>
</file>

<file path=ppt/ink/ink10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19.87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80 0 11311,'27'8'3148,"-3"1"-2159,-12 0-89,-1 3-91,1 3 1,0 4-181,0 2 1,-1 2-180,1 3-90,-1 1-1,-2 2 1,1 1-180,-3 1 90,-2 0-180,-1 0 0,-2 0-90,-3 0 0,-1-1-180,-4 0 0,-2-1-270,-3-1-89,-2 0-1,-4-2-180,-2 0-89,-4 0-181,-2-2-179,-2-2-180,-2-1-5757,-18 5 7106,9-7 0,-16 4 0,14-9 0</inkml:trace>
</inkml:ink>
</file>

<file path=ppt/ink/ink1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7:06.075"/>
    </inkml:context>
    <inkml:brush xml:id="br0">
      <inkml:brushProperty name="width" value="0.08571" units="cm"/>
      <inkml:brushProperty name="height" value="0.08571" units="cm"/>
      <inkml:brushProperty name="color" value="#E71224"/>
    </inkml:brush>
  </inkml:definitions>
  <inkml:trace contextRef="#ctx0" brushRef="#br0">6 139 12300,'9'23'2878,"-1"1"-1978,-3-4-181,-1 3-269,1 1 90,-1 1-90,-1-3-1,0-1 451,-1-3 89,0 1-359,-4-3-450,-4-10-90,-2-8-90,-2-9 0,3-4 0,2 1-90,1-3 90,0-2-90,1-1 90,1-2-90,2-1-90,2 0-90,1-1 180,7-18 0,-3 15 0,6-12 0,-5 21-90,1 2 1,-1 2-91,1 3 0,2 0 0,0 3 180,5 5 0,-3 5 0,1 8 90,-2 5 0,-2-2-90,0 2 90,-1-5 0,0 3 0,1 0 0,1 0 0,1 2 0,-1-1-90,4 6 0,-5-5 90,2 4 0,-6-6 0,-1 3 0,-6 2 0,-1-1 0,-7-1 90,1-6-90,-3 0 0,-2-1-180,-1 0-179,-1 0-91,-1 0-270,0-2-89,-1 1-181,0 0-269,0 0-1350,-1 0-1438,2 0 4047,-1 0 0,-1 1 0,-1 1 0</inkml:trace>
</inkml:ink>
</file>

<file path=ppt/ink/ink10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20.45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2 441 11221,'-22'-6'3957,"23"-4"-3597,12 1 0,24-4-90,2 3 0,9-1-1035,10-1 945,11-2-2737,8 1 2737,10-1-1,8 0-681,-45 7 0,1 1 547,2 0 0,2 0-415,1-1 0,2 1 460,0 1 0,1-1-45,1 1 0,0-1 0,0 1 0,1-1-45,-1 1 0,1-1 45,0 1 0,-1 0-45,1-1 0,-1 1 45,0 0 0,-1-1-45,0 1 0,-1-1 45,0 1 0,0-1 44,-2 0 1,0 0-45,-1 0 0,-1 0-139,-2 0 0,0 0 184,46-6 0,-6 0 0,-11 1 0,-7 0 0,-9 1 0,-5 0-90,-8 1 2063,-4 0-1883,6-3-90,-16 4 89,4-2-89,-18 5 1445,-5 0-1715,-1 1 962,-3-1-3211,-2 0 2495,-13 2-1775,-3 2-899,-15 3-1350,-2 1 3958,-5 1 0,-9 1 0,-5 0 0</inkml:trace>
</inkml:ink>
</file>

<file path=ppt/ink/ink10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21.20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2 47 12930,'-1'37'1799,"0"-2"-1260,0-13-89,0 2 0,0 1 0,1 0-181,0 1 91,1-1-90,-1 1 0,1-1 0,0 0-90,0-1-1,0-2-89,0-1 0,0-2 90,0-2 180,-1 6 450,1-3-271,-2 4 1,-1-8-360,-8-6-180,-3-10 0,-5-11 0,5-5-180,-3-17 90,7 7 0,0-12 0,6 7 0,1-2 0,3 0 0,3-2 0,2 0-1262,4 0 1262,2 0 0,3 2-90,3 2 90,11-4 0,-5 11 90,9-2-90,-11 14 90,1 4-90,-2 3 90,-1 3-90,0 3 1353,-3 3-1263,1 3-90,2 7 90,-7-1 0,2 5 90,-10-3-90,-3 6 0,-4-3 0,-4 5 0,-5-5 0,-2 0 0,-3 0 90,-2 0-90,-1-1 0,-1-1 0,-1-1 0,1-1-90,0-2-180,2-1 0,1-1-180,3-2 1,0-1-1080,2 0 1529,-2 0 0,15-14 0,1-1 0</inkml:trace>
</inkml:ink>
</file>

<file path=ppt/ink/ink10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21.40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6 0 13739,'-3'29'1799,"-1"-3"-1349,-2-11 0,-1 1-91,2 2-89,0-1 0,1 2-90,3-1 0,0 1 0,2 0-90,2 2 0,1 0 0,2-1 0,1 0 0,2-1-180,1 0-90,1-1-180,1-2-180,1-1-89,1-1-181,1-2-179,0-2-91,2-1-1438,-1-3-1260,1-3 3778,0-3 0,3-6 0,2-1 0</inkml:trace>
</inkml:ink>
</file>

<file path=ppt/ink/ink10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21.98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63 14639,'15'18'2158,"-4"-2"-1708,-9 7-90,-1-3 0,1 0 0,0 3-91,-1 0 1,1 0-90,0 0 0,0-1 0,-1 0 0,0-1-90,1-2 90,-1-1 0,0 5 1529,0 6-1170,-2-4-629,-10-15 0,5-17-90,-6-13 91,10-3-1,1 4 0,2-4 0,2-1 0,1-2 0,2-1 90,2-1-90,2 0 90,1 0-180,2 1 180,2 2-90,2 1 90,0 2-90,2 1 90,-1 3-90,0 3 90,0 2-90,-2 4 90,0 1-90,-1 3 0,4 4 90,-1 4 0,1 6 0,-6 5 0,-7 5 0,-6 5 0,-4-5 0,-1 0 0,0-6 0,0 0 0,0 0 0,-1 3 0,0 0 90,3 3-90,5-2 0,9-1 0,2-4 0,4 0 0,-2-4-90,1 1 90,1 0 0,-2 1 0,1 0 0,-3 1 0,0 0 0,-2-1 180,-2 1 90,0 4-90,-6 2 0,-2 0 90,-5-1-90,-4-4-1,-3-1 1,-1 0 0,-3 0-90,-1-1 90,-2-1-180,-1 0 180,-1-1-180,-1-2 90,0 1-180,-1-2 0,1-1-90,-1 0-90,2-2-90,1 0-539,2-1-900,-5-2-720,1-1-1978,-1-6 4497,7-7 0,10-12 0,6-7 0</inkml:trace>
</inkml:ink>
</file>

<file path=ppt/ink/ink10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22.18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9691,'27'-1'3688,"-1"1"-2698,-10 5 89,0 1-179,1 4-91,-1 1 1,0 3-1,-1 3-269,1 1 90,-1 3-181,0 1-89,0 1 0,-2 0-90,0 1-90,-2 2 0,-3-2-90,-2 1-90,-2-2-180,-2 1 0,-2 0-270,-3-1-809,-8 11 359,0-8-89,-7 8-360,1-12-181,-5 0-1438,-1-1-1709,-4-3 4677,0-3 0,-5-3 0,0-2 0</inkml:trace>
</inkml:ink>
</file>

<file path=ppt/ink/ink10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22.84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90 11490,'17'5'3598,"-8"-3"-3508,54 2 0,-19-4-1043,9 0 1043,4-1-90,4 0 90,1 0-90,0-1 90,0-1-90,-6 1 90,-3-1 0,-6-1 179,-5 0-89,-4 0 297,-6 0-297,-4-1 91,-3 0-181,-5-1-90,-2-2 90,-4 0 534,-3-1-534,-1-5 121,-7-2-31,-3-7 270,-3 5-90,-4-3-181,1 6 1,-1-3-180,10 13 0,0 5 90,9 12-90,-4 2 0,2 2 90,-1 3 0,0 0 0,-1 1 90,-1 1 0,0 10 0,-3-8 0,-2 9-90,-4-11 0,-2 1 0,-2-1 0,-2 0 0,-1-1-1,-8 7-178,3-7-91,-5 4-90,6-9-90,-1-2-180,2 0-89,0-3-1170,1-1 1799,-1 0 0,6-5 0,-1 1 0</inkml:trace>
</inkml:ink>
</file>

<file path=ppt/ink/ink10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23.08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7892,'22'8'4408,"-5"0"-3598,-5 3-91,-4 0-89,-1 3-181,0 0 1,0 3-90,0 1-90,-1 0 0,1 2-90,-1 0 0,0 1-1,0 0-89,-2 1 0,1-1-180,-2 0-179,0 0-91,-1-2 0,-1-1-540,0-1 1,0 6-90,-1-2 989,-1 3 0,0-12 0,1-5 0</inkml:trace>
</inkml:ink>
</file>

<file path=ppt/ink/ink10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23.40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48 93 9961,'-33'-18'2699,"6"5"-2160,7 16 1,5 4-90,-1 3 0,-1 5-91,-1 1 1,1 4-90,1 2 90,1 2-180,1 2 90,3 0 179,-2 16-179,5-12 0,1 12 0,7-15 90,1 2-180,4-1 89,2 2 1,4-1-90,3 0 0,4-1 90,2-1-90,3-2 0,-1-5 0,3-1 0,-1-5-1,2-3 91,1-2-90,-1-4 0,0-2 0,1-4-90,0-3 90,2-2-180,0-6 90,12-15 0,-11 2-90,8-15 0,-15 5 0,-2-3 90,-4-3 0,-4 1 0,-2 0-1,-5 0 1,-2 2-90,-4 2 90,-4 1 0,-10-15-90,0 14-180,-10-9-89,2 19-271,-3 4-180,-1 5-179,-4 4-360,0 5-361,-3 5-1888,-5 6-2338,-7 5 5217,-7 6 1,-22 9 0,-7 4 0</inkml:trace>
</inkml:ink>
</file>

<file path=ppt/ink/ink10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25.60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18 42 9422,'-11'-22'3508,"0"2"-2789,5 22-449,1 6 180,2 10-90,2 4-1,2-1 1,0 3-90,0 5 0,0 2 0,2 5 0,-1 1-1,0 2-89,0 0 0,0 0 0,-1 1 0,0-1 0,1-1 0,-2-2-90,1-2 90,0-2-90,-1-4 0,0-2 359,0 5 361,0-8-181,-1 7-89,-2-14-450,-7-2-180,-4-15 0,-1-7 90,1-10-270,0-15 90,4 3 1,-2-16 89,7 10-90,2-4 0,2-2 90,3-1-371,3-2 282,3 0-1,3-2 90,4 3 0,3-1-90,2 6 90,2 5 0,1 5 0,-1 5 0,2 4 0,-2 6 0,1 3 90,0 5-90,-3 3 371,0 4-281,-1 3 0,-2 2 0,0 4-90,-4 2 90,2 10 0,-7-3 90,-1 7-90,-7-6 0,-3 0 0,-3 2 0,-4 1 90,-3 1 0,-4 0-90,-2 0 90,-4-1 0,-1 0-1,-11 3-89,7-6 0,-6 1 0,11-8-89,1-2-91,1-2 0,3-1-180,1-2-719,2 0-8096,-2 0 9175,13-12 0,5-1 0,14-11 0</inkml:trace>
</inkml:ink>
</file>

<file path=ppt/ink/ink10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25.83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22 0 13020,'-15'23'1799,"0"0"-1350,1-1-89,-1 3 0,1 4-90,1-1 0,1 4-91,3-1 1,3 1-90,1 1 90,2-2-90,2 2 0,3-1 0,2 0 0,1 0-90,2-2 90,2-1-180,2-1 0,2-2-540,8 8 181,-4-10-91,6 4-90,-6-13-89,0-3-91,-1-3-1439,0-3 451,6-4-451,-5-4 2249,5-5 0,-5-6 0,1-2 0</inkml:trace>
</inkml:ink>
</file>

<file path=ppt/ink/ink1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7:06.577"/>
    </inkml:context>
    <inkml:brush xml:id="br0">
      <inkml:brushProperty name="width" value="0.08571" units="cm"/>
      <inkml:brushProperty name="height" value="0.08571" units="cm"/>
      <inkml:brushProperty name="color" value="#E71224"/>
    </inkml:brush>
  </inkml:definitions>
  <inkml:trace contextRef="#ctx0" brushRef="#br0">1 68 8162,'0'-22'7106,"1"1"-5667,1 3-989,4 13 0,0 3 90,3 14-91,-1 2 1,1 6-90,1 4 0,3 5-90,0 4-91,1 4 1,-1 3 0,0 1-90,0 4 90,-1-1-482,0 2 392,-1-3-180,-2 0 0,-1-1-180,-1-2-90,-2-3-347,-1-2-13,-1-4-89,-1-2-181,-1-3-179,0-3-270,-2-3-5757,-1-3 7196,-3 0 0,3-9 0,-2 0 0</inkml:trace>
</inkml:ink>
</file>

<file path=ppt/ink/ink10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26.41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91 9152,'9'-27'3418,"-1"4"-2699,1 21-269,-2 8-90,0 9 0,-3 3 0,-1 0-1,-1 1-89,0 3 0,1 2 90,-2 0-90,1 1 0,-1 1-91,-1 1 1,1-2 0,-1 1-90,1-1 0,-1-3 0,0 0 90,0-3 450,-1 5 269,1-1 450,-1 1-1439,-4-18 90,2-7-180,-4-16 91,6-4-91,0-3 90,0-2 0,2-4-180,2-18 90,2 7 0,3-12 90,1 14 0,2 1 0,2 2-3392,1 2 3392,1 3-234,7-7 324,-5 13-90,5-4 90,-7 13-90,-1 3 90,1 4-90,-1 2 90,3 4 0,-2 6 0,1 5 3320,-5 7-3320,-9 7 217,-3-3-217,-4 1 0,0-5 0,-1 0 0,1-1 0,-1 0 0,1 0 0,0-1 0,-1 5 0,3-1 90,3 3-90,4-5 0,6-3 0,2-3 0,4 0 0,2 1-90,4 0 90,10 6 0,-8-4 0,6 3-90,-12-4 90,-3 0 0,0 1 0,-4-1 180,-2 0-91,-4 6 1,-4-4 90,-5 4 0,-4-4 0,-4 0 0,-3-1 0,-3 0 0,-2 0-90,-3-1 90,-1 0-90,0-1-90,0-1-90,1-1 0,2 0-90,0-2-90,1 0 90,2-1-989,1-1-630,-3 0-450,3-3-1259,0-4 450,8-7 3058,6-2 0,4 3 0,1 3 0</inkml:trace>
</inkml:ink>
</file>

<file path=ppt/ink/ink10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26.65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2 10501,'27'-10'4138,"-5"9"-3509,-12 12-89,-3 5 0,-1-1-1,-1 3-89,0 2-90,0 2 0,1 3-180,-1 2 89,1 2-89,-2 0-90,2 1 0,-3 0 0,2 1 0,-3-3 0,1 2 0,-2-4-180,0 1-90,-1-2-180,-1 0-89,0-2-181,0-1-90,0-2 1,-1-2-1260,-1-2-4767,0 3 5898,0-3 0,1-5 0,0-4 0</inkml:trace>
</inkml:ink>
</file>

<file path=ppt/ink/ink10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27.15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30 10951,'20'-11'2878,"-3"5"-2518,-11 19 0,-1 0-1,-1 3 1,0-2 0,-1 3-90,0 0 0,0 3 0,1 1-90,-2 0-1,1 2 1,-1 0 90,0-1-90,-1 2 0,1-2 0,-2 0-90,0-1 0,0-2 90,0-1-90,0-1 359,-2 4 451,2-1 89,-2 1-629,-1-4-450,-3-12-90,-2-10 90,2-8-180,0-9 91,4 2-1,0-5-90,1-3 90,2-4 0,2-2 90,2-3-90,2-1 90,2-2 0,2 2 0,1 2 0,1 2 90,1 3-90,1 3 0,0 4 90,0 3 0,0 3 90,8 0 180,-7 8-180,12 2 0,-12 9 90,5 4-90,-6 3 0,-1 4 90,0 1-90,0 3 90,0 2-90,-2 3 0,1 1-90,-3 2 90,0 0-90,-1 0 89,-2 0-89,-2-1-89,-1 1-1,0-2-180,-2 1-180,-1-1-90,-1-1-179,-2-1-1,0 0-1349,-6 7 720,1-8-1170,-4 4-1528,1-11 4047,-2-3 0,6-4 0,0-2 0</inkml:trace>
</inkml:ink>
</file>

<file path=ppt/ink/ink10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27.28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 134 10771,'-2'-21'1259,"2"3"-1079,11 9-90,3 2-180,2 0-180,3-1-180,3 1-359,3-1-720,1 0-270,1 0 1799,0-2 0,2-1 0,1-1 0</inkml:trace>
</inkml:ink>
</file>

<file path=ppt/ink/ink10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27.51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51 0 12030,'26'2'3058,"-5"1"-2428,-10 9-90,-2 0-1,0 2 1,1 3 0,0 3-180,0 1-1,1 3-89,-2 1 0,1 1-90,-2 0 0,-2 0-90,-1 0 0,-3-1 90,-2 0-90,-2-1-90,-2 0 90,-2 0-180,-3 0-180,-3 0-90,-2-2-90,-2-1-179,-3 0-91,-2-2-179,-3 0-91,0-3-269,-3 0-1440,1-3-1618,0-2 4317,1-3 0,-2 0 0,1-3 0</inkml:trace>
</inkml:ink>
</file>

<file path=ppt/ink/ink10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27.71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21 8342,'21'-6'1439,"-2"0"-1079,-4 3-180,0 0 90,1 2-270,1 0-270,0 1-360,-1 0-629,0 1 1259,0 1 0,4 3 0,1 1 0</inkml:trace>
</inkml:ink>
</file>

<file path=ppt/ink/ink10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27.85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40 13469,'32'3'1080,"1"-2"-900,-5-6-90,3 0-180,2 0-180,1 0-270,0 1-269,-1 0-541,-1 0-539,-4 1-629,-3 0 2518,-4 0 0,-10 1 0,-4 1 0</inkml:trace>
</inkml:ink>
</file>

<file path=ppt/ink/ink10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29.70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45 9152,'2'29'1529,"0"-1"-1169,-1-12-1,1 3 91,0 0-90,1 3-90,0-1 0,0 2 0,1 0-91,-1-1 1,1 1 0,0-1 0,-1 0-90,0 0 0,0-3 0,0 0 90,-1-2-90,1 5 360,-1-2 269,1 3 540,0-4-179,-1-2-900,-6-13-180,-1-6 90,-5-15-90,4 0-3392,-1-5 3302,3 4-193,0-3 283,2-2-90,0-1 90,2-1-90,0-2 90,3-2 3162,1-1-3162,2 0-89,3 0 89,0 1 332,3 1-332,2 2-90,1 1 90,2 3-90,1 2 90,1 3-90,0 3 90,2 4 0,-2 4-90,-1 2 90,1 5 0,6 6 0,-6 2 0,3 5 0,-9 0 0,-2 1 0,-2 2 0,-3 1 0,-1 1 90,-4-1-90,-1 0 90,-3 1 90,-1 0-90,-4 0 0,-1 0 90,-10 9-90,4-9 0,-7 5 0,8-10-90,-2-1 0,1-1 90,0-2-180,0-2 0,0 0-90,1-2-360,1-1-449,-3 0-1350,0-1 2339,-3-1 0,9-2 0,2-1 0</inkml:trace>
</inkml:ink>
</file>

<file path=ppt/ink/ink10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29.99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84 0 12210,'-20'26'1889,"2"0"-1349,8-4-91,0 4 1,1 2-180,2 1 90,2 1-180,2 0 90,2 0-91,2 0-89,3 1 0,1 1 0,2 0 0,2-1 0,2-1 0,2-1 0,0-2-270,2-1-90,1-3-179,1-1-91,-1-3-180,1-3-89,0-3-361,0-3-1258,0-2-1080,-1-4 3508,0-3 0,-8 0 0,0-2 0</inkml:trace>
</inkml:ink>
</file>

<file path=ppt/ink/ink10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30.42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 67 12570,'11'31'1799,"-2"-6"-1439,-5-1-1,-3-6-89,2 1 0,-1 1-90,0 0 0,0 0 0,0-1 0,0-1 179,-1-1 91,1 5 450,-1-1 449,0 3-540,-2-5-809,-9-9-89,2-11-1,-4-8-90,4-7 0,4 0 0,2-4 0,0-3 90,3-3-90,1-2 180,3-1-90,2-2 0,2 1 0,2 1 90,0 3-90,2 1 0,0 3 90,1 3 0,-1 2 90,1 5-3392,0 3 3482,1 3-90,6 6 0,-4 4 90,5 5-90,-5 2 90,-1 4 0,1 3 3302,0 2-3392,0 2 0,-1 2 0,0 0-3393,-2 2 3393,1 0-90,-3 2 90,0 0-180,-1 0-179,-2-1-1,-1-1-270,-2 0 3392,-1-3-3571,-2 0-91,-1-1-89,-2-2-181,-2-2 1,-1-1-180,-2-2-990,-1-1 2249,-1-3 0,3-5 0,0-2 0</inkml:trace>
</inkml:ink>
</file>

<file path=ppt/ink/ink1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7:06.816"/>
    </inkml:context>
    <inkml:brush xml:id="br0">
      <inkml:brushProperty name="width" value="0.08571" units="cm"/>
      <inkml:brushProperty name="height" value="0.08571" units="cm"/>
      <inkml:brushProperty name="color" value="#E71224"/>
    </inkml:brush>
  </inkml:definitions>
  <inkml:trace contextRef="#ctx0" brushRef="#br0">43 76 11041,'-18'19'3238,"2"-2"-1349,10-4-1080,4 6-4251,1-3 4072,5 5 0,3-6 1288,14 9-1378,0-7-90,9 5-90,-3-9-1,1-1 1,1-3 0,17-1-90,-13-4-90,11-2 3382,-14-6-3472,-1-1 120,0-3-120,-3-3 0,-1-2-90,-3-3 89,-1-3-89,-3-2 0,-1-2-179,-3-1 89,-2 0-630,0-7 90,-4 9-1259,-1-5-899,-5 7-7043,-5 5 9770,-5 0 0,3 9 0,-1 4 1</inkml:trace>
</inkml:ink>
</file>

<file path=ppt/ink/ink10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30.54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2 180 8972,'-9'-25'2518,"7"3"-2248,8 6-180,6 3 90,0 3-360,3 2-90,3-2-359,2 2-271,3-2-449,1 1 0,1-1 1349,1-1 0,3-2 0,1-2 0</inkml:trace>
</inkml:ink>
</file>

<file path=ppt/ink/ink10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31.14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60 10051,'15'15'360,"-5"-1"-90,-13 0 3957,0-12-3867,6-1 90,-1-2-180,7 8 180,-4 8-1,1 3 1,0 3 0,-1 1-90,1 1-91,-1 1 1,0 2-90,-1-1 0,0 0 0,-1 0 0,0 0 0,0-1-90,-1-1 0,0-2 90,-1-2 89,0-2 721,0 4 449,0-2-899,-3 2-720,-5-11-90,-2-10 0,-3-9-90,3-8 91,3 0-181,0-5 90,1-4 0,1-3 180,1-4-90,1-3 91,2 0 89,2-1-90,1 0 90,1 2-90,2 2 180,2 1-180,1 3 180,1 3-90,1 4 0,0 2 90,1 5 0,0 3 0,1 4 0,5 4 90,-3 4-90,4 5 90,-5 3 0,0 3 0,0 4 0,0 2-90,1 3 90,-1 1 0,0 1-90,-1 1 90,-1 1-90,-1 0 90,0 1-180,-3-2-90,0 1-90,-2-3-90,0 0-180,-1 0-809,0 5-360,-2-7-90,1 9-4497,-2-10 6296,2 2 0,-2-10 0,0-4 0</inkml:trace>
</inkml:ink>
</file>

<file path=ppt/ink/ink10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31.87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54 12030,'16'18'1619,"-2"-1"-1079,-10-2-90,-1 2-1,1 1-179,0 3 180,0 0-90,0 1 0,-1 0-181,0 1 181,0-1-180,-1 1 90,-1-1-90,0-1 0,0-1 90,0-2-90,-1 6 359,0-3 541,1 5-271,-1-5-989,-7-14 0,3-8 0,-6-18 1,6-1 89,1-2 0,1 4 0,0-2 90,0-1-90,2 0 90,-1 0-90,1 2 90,0-1-90,1 2 90,1 0-90,0 0 90,0 2 0,0 1 0,1 0-90,1-5 90,1 1-90,2-3 90,-1 3 0,-1 3 0,0 2-90,1-1 90,1 3 0,2-1-90,2 4 90,1 2 0,1 3-90,2 3 90,-1 5 0,1 4 0,-2 4 90,-2 5-90,-3 2 0,-5 3 0,-5 0 0,-2 1 0,-3-2 0,1-2 90,-1-3-90,1-1 0,7-2 0,5-3 0,12-4 0,0-3 0,3 1-90,-5-1 90,0 0 0,2 2 0,-1-1 0,0 2 0,0 1 0,-1 1 90,-2 0 0,-2 0 180,-2 2 90,0 4-90,-6 2-1,-5 4 1,-5-3-90,-3-2 0,0-5-90,-1 0 90,-2-1-90,-1-1 0,-1 0-180,0-1 90,0-1-270,-1-1 0,0-1-180,0 0-179,-1-1-1080,1-1 539,-7-1-179,6-2-1799,-5-1-1889,9-3 5037,1-2 0,6 3 0,1 0 0</inkml:trace>
</inkml:ink>
</file>

<file path=ppt/ink/ink10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32.06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0 9871,'29'12'3778,"-3"1"-2788,-9 0-91,0 3-89,-1 2-91,1 3-89,-1 2-90,-1 1-91,0 1-89,-1 2-90,-2 1 0,0 0-90,-1 1-90,-3 0-180,-1 1-180,-3-1-180,-3-1-180,-2-1-89,-3 0-181,-3 1-179,-5 2 0,-3 0-450,-5-1-810,-3 0-1079,-3-2 3418,-4 0 0,-3-2 0,-3 1 0</inkml:trace>
</inkml:ink>
</file>

<file path=ppt/ink/ink10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32.51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0 563 12300,'-15'-13'3328,"11"4"-2878,34-10 90,12 3-91,22-4-1434,13-2 1345,18-3-1008,-37 12 0,1-1 828,6 0 0,2 1-45,7-2 0,3 0-985,2 1 1,2 0 939,0 0 0,6 0 29,-4 2 1,6-1 0,-3 1-632,-17 3 0,-4 0 0,4 0 542,20-3 0,4 0 0,-5 1-251,8 0 0,-4 0 266,2-1 0,-1 1-45,-1 0 0,0 0 45,-3 0 0,-1 1-45,-3 0 0,-1 1 45,-10 0 0,-2 1-34,-4 0 0,-3 1-11,-8 1 0,-3 0 777,45-6-1002,-43 6 0,-3 0-224,19-3-181,3 1 1038,-42 4-2297,-8 1 2671,-20 3-2222,-9 2 1430,-21 2-3048,-10 2 3058,-13 1 0,-9 1 0,-7 1 0</inkml:trace>
</inkml:ink>
</file>

<file path=ppt/ink/ink10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33.15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10141,'10'14'5217,"-8"-13"-5037,12 39-90,-11-25 90,1 1-90,0 2 0,1 1 0,0 1 0,0 1 0,0 1-180,0 0-180,0 0-90,-1 0-90,1 1-179,-1-2-91,0 1-2518,1 8 90,-1-8 3148,0 5 0,-3-18 0,0-2 0</inkml:trace>
</inkml:ink>
</file>

<file path=ppt/ink/ink10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34.19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50 12930,'9'30'1349,"0"0"-989,-6-11 89,1 2-89,0 2 270,4 14-270,-3-9-180,3 9 89,-3-13-179,1 0 90,-1 0 0,0-1-90,-1-1 90,2 6 0,-2-8 270,3 10 269,-4-10 271,1 1-721,-4-4-269,-3-11-89,-6-10-1,0-7 0,0-7-90,3 1 0,0-5 0,2-4 0,1-3 90,1-3-90,2-3-215,2 1 215,2-1 0,3 1 0,0 1 0,9-11 90,-3 13-90,7-8 180,-5 17-90,1 2 1,0 5 89,1 1-90,-1 5 0,-1 3 90,5 3 0,-1 6 215,0 1-305,-5 6 90,-5 4 0,-5 3 0,-1 2 0,-5-1 0,-4-3 0,-1 1 0,-3 0 0,-2-1 90,-2 2-180,-2-1-360,-7 5 91,4-5-91,-5 3-90,8-7 0,1-2-89,2-1-810,2 0 1439,-3 0 0,8-5 0,-1 1 0</inkml:trace>
</inkml:ink>
</file>

<file path=ppt/ink/ink10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34.40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5 0 12660,'0'20'1349,"-1"0"-1079,-6-4 0,-1 2-90,2 2 89,1 2-179,1 1 0,1 1 0,3 1 0,1 0 0,2 0 0,1 0-90,3 1 90,0 0-180,3-1-90,0-1-90,1-2-269,0-3-1,1-2-270,0-2-269,1-1 1079,6-2 0,-11-6 0,3-2 0</inkml:trace>
</inkml:ink>
</file>

<file path=ppt/ink/ink10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34.79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46 12840,'18'20'1709,"-3"-1"-1170,-11-1-89,-1 2 0,0 3-90,0 1-90,0 1-1,0 1 1,-1 0 540,2 30-720,-3-26 180,1 21 359,-2-27 1,0-3-270,-2 1-180,-3-7-270,-6-13 0,2-5-90,-1-10 0,5-2 0,1-4 0,3-4 90,0-3-90,4-4 90,1-1 90,3-4-90,2 0 0,3-1 90,2 2-180,9-9 180,-5 13 0,7-5 0,-7 16 0,-1 3 90,0 4 0,0 4 90,-1 3 90,7 7 0,-4 2-90,5 6 0,-7 2 0,0 4-90,0 2 89,-1 3 1,-1 2-90,0 1-90,-1 2 90,-1 0 0,-1 1 0,2 13 0,-4-10-180,1 8-180,-4-15-89,-2 0-181,-1-2-180,0 0 1,-2-2-1350,0 0 720,-3 3-6027,-1-6 7376,-5 5 0,3-14 0,-1 0 0</inkml:trace>
</inkml:ink>
</file>

<file path=ppt/ink/ink10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34.92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99 11670,'1'-24'990,"3"3"-810,8 13-90,2 0-180,4 1-450,1 1-360,2 2-898,0-1-451,1 2 2249,0-1 0,2 0 0,0 0 0</inkml:trace>
</inkml:ink>
</file>

<file path=ppt/ink/ink1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7:07.367"/>
    </inkml:context>
    <inkml:brush xml:id="br0">
      <inkml:brushProperty name="width" value="0.08571" units="cm"/>
      <inkml:brushProperty name="height" value="0.08571" units="cm"/>
      <inkml:brushProperty name="color" value="#E71224"/>
    </inkml:brush>
  </inkml:definitions>
  <inkml:trace contextRef="#ctx0" brushRef="#br0">23 161 15898,'-6'42'1799,"2"-5"-1259,6-14-91,1-1-89,1 1-90,1 0 90,0-1-180,-1 0 90,1-1-91,0-2 1,-1 0 90,0-3 270,0-1 179,0 3 91,0-3-540,-6 2-270,-1-13 0,-5-5-90,0-11 0,1-3-90,-1-5 90,0-5-90,1-4 0,0-21 90,2 9 0,2-13 90,4 17 90,3-14-90,0 14 90,4-8-90,-2 19 0,5-3 0,-3 10 360,6 0-180,2 12-90,-3 6 90,7 5-90,-5 5 0,3 4-90,-1 5 90,3 4-90,0 4-180,1 2 0,0 3-270,0 1-90,-1 1-89,0 0-181,-2 0-89,-2 0-181,-2-3-359,-3-1-8365,-1 14 9804,-5-17 0,-1 3 0,-4-22 0</inkml:trace>
</inkml:ink>
</file>

<file path=ppt/ink/ink10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35.36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44 0 10591,'24'23'3058,"-3"-1"-2248,-9-4-1,-1 4-89,2 3-180,-2 1-91,0 3-3481,-2 0 3392,0 1-180,-1 2 90,-2 0-90,-2 0-1,-1 2-89,-3-1 0,-2 0 0,-2 0-90,-2-1-90,-3 0-180,-2 0-89,-3-2-181,-3 1-90,-2-2-179,-2-3-1,-1-3-269,0-3 3032,1-4-7350,-11 1 5397,7-8 0,-10-3 0,9-8 0</inkml:trace>
</inkml:ink>
</file>

<file path=ppt/ink/ink10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36.07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260 13110,'43'6'1259,"1"-3"-899,-10-7-181,6-1-707,8-2 708,4 0-90,4-1 90,2 0-668,-1-1 488,0 0 396,-1 1-306,13-3-90,-20 4 90,6-3-90,-24 5 90,4-2-90,-10 2 427,2-2-427,-12 1 643,-2-4-643,-5-1 0,-5-5 0,-8-1 0,-3 3 0,-2 0 90,2 4 0,0 1 0,-1-3-90,0 0 0,5-1 0,8 6 0,11 6 0,2 7 0,2 4 0,-5 1 0,-1 1 0,0 1 0,-2 2 90,2 8 0,-6-5-90,-1 6 90,-5-7-90,-6 10 0,0-7 0,-6 8 89,2-10-268,-8 8-91,5-8-90,-5 6-180,6-9-89,1-3-181,1 0-989,1-2 1799,0 2 0,3-6 0,1-1 0</inkml:trace>
</inkml:ink>
</file>

<file path=ppt/ink/ink10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36.29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0 8612,'22'2'4947,"-1"5"-4227,-7 1-91,-2 4-89,-4-1-90,-1 2 0,0 3-180,1 1-1,-2 2-89,0 1 0,0 1-90,-1 1 90,0 0-90,0 1-90,-1 0-180,-1 0-90,0-1-90,-1-1-179,-1-1-1,-1-2 0,0 0-719,-1-2-450,-2 4 1709,0-4 0,0-4 0,0-6 0</inkml:trace>
</inkml:ink>
</file>

<file path=ppt/ink/ink10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36.49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11400,'20'10'3419,"-1"6"-2970,-12 1-89,0 3 0,-2-2-180,0 2 0,0 1 0,0 0-1,-1 2-89,0 0 0,0 0 0,-1 0-270,0 0-89,0-1-91,-1-1-90,-1-1-719,1-2-1,-1 5 1170,1-3 0,-2-5 0,1-6 0</inkml:trace>
</inkml:ink>
</file>

<file path=ppt/ink/ink10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36.86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50 141 7803,'-30'-19'1978,"0"2"-1348,5 7-90,-2 2-91,-1 1 1,-1 4 0,0 1-90,-1 4-90,-1 1 89,-1 6 1,0 2 0,-1 5-90,3 4 0,-1 5 0,2 5-1,1 5 1,4 3 180,0 20-3572,9-11 3392,3 12 0,11-16-128,5 0 128,5 3-2196,4 0 2195,5 0 1,3-2-57,3-4 57,3-3 0,2-3-1,1-6 1,2-3-90,1-5 0,2-4 0,1-3 0,0-3 0,-1-5-90,-1-3 2258,-1-3-2258,3-4 0,-2-4-90,2-4 90,-2-4 0,-1-7 0,0-5-90,-2-6 0,-2-5 6,-4-4-6,-3-3 0,-4-4 0,-3-1 0,-4 1-90,-4 0 90,-3 3 0,-3 0-90,-3 2 90,-4-1 0,-2 3-90,-5 2-90,-1 4-89,-4 2 2992,-3 5-3352,-3 4-181,-5 6-1349,-22 3 630,7 10-1944,-23 6-1115,11 11 4588,-13 7 0,-20 11 0,39-11 0,0-1 0</inkml:trace>
</inkml:ink>
</file>

<file path=ppt/ink/ink10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39.78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0 0 5914,'-20'2'0</inkml:trace>
</inkml:ink>
</file>

<file path=ppt/ink/ink10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40.02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0 7533,'5'38'1529,"1"2"-989,1-1-181,2 9-892,1 4 893,1 6-1,2 1 1,0 1-90,0 0 0,0-1-90,0 0 0,1-2 0,-2-2-90,2-1 0,-3-6 0,1-2-90,-2-4 179,-1-2 58,0-3-327,-1-2-90,-2-5 2,0-2-92,0-3-90,-2-3-1079,1-4 1576,-1 2 1,-2-11 0,0 1 0</inkml:trace>
</inkml:ink>
</file>

<file path=ppt/ink/ink10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40.66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0 666 8612,'-7'-26'1259,"5"6"-989,8 5-90,7 4 0,7-2 0,8-1-90,12-2-788,8-2 698,16-3-777,7 1 867,10-2-1255,5 0 1165,5 1 90,5 1-90,-46 9 0,0 2 45,2-1 0,0 1-45,1 0 0,1 0 45,0 0 0,0 1-90,-1 0 0,0 0 90,-2 1 0,1 0-135,46-6 0,-4 1 0,-6 1 90,-9 1-839,-5 1 839,-7-1-90,-2 1 180,-1 0-180,-2-2 90,-2 1-90,-1-1 90,22-5 0,-21 4 8,13-3-8,-26 4 622,-5 2-622,-1 0 0,-1 0 0,-2 0 0,0 1 1210,-3 0-1210,-1 0 962,-3 2-962,0 0 0,-1 0 0,-1 1 634,-1-1-634,1 2 194,-3-1-374,3 1 119,-2 0-119,3 0 90,0 0-90,2 0 90,-1 1-90,1 0 90,0 0-89,-2 1 179,-1 1-90,-3 0 0,-1 0 0,-3 0 90,-2 0-90,-2 2 90,4 0-90,-3 1 90,2 2 90,-5 1 180,-3 2-180,-2 5 179,-2-2-89,-2 4 0,0-1-90,0 3 90,0 2-90,2 4 90,-1 2-90,2 4 90,-1 2 0,0 4-1,-1 3-89,0 4 90,0 1 0,-1 2 0,-1 0-390,-1 2 389,1 2-89,-2 0 90,1 2-90,0 3 0,1 2 0,-1 2 0,1 2 0,0-1 0,0 0-645,-1-2 645,0-2-90,0-3 0,-2-1 90,0 0-90,-1-2 0,-2-1 0,-1-3 0,-2-1 90,-2-4-180,-2-1 90,0-3 0,-2-3 0,-9 9 0,2-9-90,-9 6 90,4-13-180,-5-2 0,-3-3-180,-4-1-90,-5-1-1169,-29 4 180,10-4-1534,-23 1 2973,18-7 0,-4-2 0,-1-1 0</inkml:trace>
</inkml:ink>
</file>

<file path=ppt/ink/ink10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42.04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62 8612,'7'8'3688,"-5"-6"-3328,15 37 0,-9-15-1,0 2-89,-1 0 90,0 1-90,0-1-90,-1-1 90,-1-1-1,0-1-89,0-1 0,-1 0-90,-1-2 90,0-3 1259,2 10-269,-2-8-361,-1 8-719,-9-21-90,-1-9-90,-4-9 0,4-8 0,2 1-90,2-3 0,0-5 1,2-3-1,1-3-90,3-1 0,2-4 0,3 0 0,4-2 0,3 1 91,3 2-271,14-10 270,-5 14 0,9-7 90,-9 20-90,1 4 90,-2 5 0,0 4 0,-1 2 0,-2 5 90,-1 2-90,-2 3 90,-2 3 0,-2 2 0,-2 2-90,-1 8 90,-5-4 0,-2 7-90,-6-7 180,-3 2-180,-2-1 180,-3 1-90,-3 0 0,-2 0 0,-3 1 0,-2-2 90,0-1-90,-1-1 0,1-2 90,-8 3-90,7-5-90,-5 1-90,9-5-89,2-1-451,0-1-269,-2 1-451,0 0 1440,-1 0 0,8-3 0,3 0 0</inkml:trace>
</inkml:ink>
</file>

<file path=ppt/ink/ink10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42.30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2 0 11400,'-11'28'1440,"1"0"-1081,2-7-89,0 4 0,0 2-90,1 1 90,3 1-90,0-1 0,3 0-90,1 0 0,2 1 0,3 0-1,1 1 1,1-1 0,3-1 0,1-1-90,2-2-3482,2-1 3302,1-3-89,2-1-91,0-2-90,2-2-180,-2-3 1,2-3-91,-2-2 1504,7-3-2673,-6-4 1889,4-2 0,-5-8 0,-1-1 0</inkml:trace>
</inkml:ink>
</file>

<file path=ppt/ink/ink1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7:07.833"/>
    </inkml:context>
    <inkml:brush xml:id="br0">
      <inkml:brushProperty name="width" value="0.08571" units="cm"/>
      <inkml:brushProperty name="height" value="0.08571" units="cm"/>
      <inkml:brushProperty name="color" value="#E71224"/>
    </inkml:brush>
  </inkml:definitions>
  <inkml:trace contextRef="#ctx0" brushRef="#br0">51 513 9871,'-23'-11'5757,"5"-1"-5037,8-2-450,12-3-91,4 2-179,10-1 0,1 4-269,5-1-1,5-1-180,4-1-90,3 0-89,1 0-91,1-1 90,0 1 1,0 0 179,-2 0 0,-4 2 180,-1-1 91,-4 1 628,7-3 1,-10 4 90,4-1-1,-12 6 631,-2 0-181,4 0 540,-3 1-539,6 2-271,-6 7-359,0 7-90,-4 2 90,-2 3-180,-1-3 0,-1 0-1,1 1 1,-1 0-90,1 0 90,-1-1 0,1 5 360,0-3-180,0 5-270,-11-13-90,-1-8 0,-6-11 89,4-6-89,3 0 0,1-2 0,1-2 0,1-2 0,3-12 0,2 9 0,2-7 90,1 12-90,1 2 0,2 2 0,0 1 0,3 4 0,-1 2 0,2 4 90,6 3-90,-3 5 0,6 4 0,-6 5 90,1 3-90,1 3 0,-1 4-90,1 1-90,-1 3-179,-1 0-1,-1 1-180,-2 1-89,1-1-181,-3 0-1079,1 7 720,-3-8-270,-1 3-5937,-4-11 7376,-1 0 0,-1-7 0,-1-1 0</inkml:trace>
</inkml:ink>
</file>

<file path=ppt/ink/ink10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42.71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73 11221,'20'9'1529,"-3"3"-1080,-12 6-89,0 1 90,0 3-180,0 0 0,0 2 0,0 0-91,0 0 91,-1 0-90,0 0 0,0-1-90,-1-1 0,0-1 90,-1-2-90,0-2 360,0 4 539,0-1-90,1 2-539,-7-5-270,-5-11-270,-4-9 0,-1-8 90,3-7-89,3 0-91,1-3 90,2-3 0,1-2-90,1-1 90,3-4-180,4-15 181,1 10 89,5-11-90,0 16 90,2 3 90,1 2-90,1 3 90,1 3-90,7 0 180,-4 7-90,5 2 90,-7 9 0,0 2 0,1 4 0,0 4 0,2 2 89,7 12-89,-6-2 0,6 8 0,-10-5 0,0 0-90,-1 2 90,-1 1-90,-1 0 90,-1 1-90,-2-1 90,0 1-90,-1-1-90,-2-2-180,-1 0-90,-2-2-179,0 0-91,-3-2-179,0-2-181,-1 0-179,-2-2-4048,-5 6 5217,0-8 0,0-1 0,3-9 0</inkml:trace>
</inkml:ink>
</file>

<file path=ppt/ink/ink10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42.84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4 162 9332,'-8'-23'2068,"3"5"-1708,13 5 0,3 3-90,4-1-180,3 1-90,4 0-270,3 1-90,1 0-359,3 1-990,1 1-360,1 0 2069,1 0 0,3-2 0,2-1 0</inkml:trace>
</inkml:ink>
</file>

<file path=ppt/ink/ink10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43.27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8 90 12210,'17'26'1079,"-2"-1"-719,-10-7-90,1 3 0,0 0-90,0 2 0,0-1 0,-1 0-1,0 1-89,-1-1 0,-1-1 0,0-1 0,0-2 90,-2-2 270,0 5-90,-2-1 0,-2 1-1,-4-5-269,-7-8-180,-8-23-90,5 0 1,-3-18 89,13 8-90,1-4 90,2-2 0,2-1 0,1-1 0,3 0 0,1 0-90,3 2 180,11-21 0,-6 22 0,10-12 0,-8 26 90,1 5 0,0 2 0,7 6 0,-5 3 0,5 6 180,-6 3-1,0 5-89,0 2 0,0 4 0,0 1 0,-2 2-90,0 2 0,-1-1 0,-1 2 0,0 0-90,-2 0 90,-2-1 0,1 0-90,-3-2 90,1-1-180,-2-1 0,0-1-180,-1-1-90,-1-2-449,1-1-91,-1 2-3058,1-1 3958,2 0 0,-3-8 0,1-5 0</inkml:trace>
</inkml:ink>
</file>

<file path=ppt/ink/ink10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44.01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 146 10951,'7'24'2248,"0"-2"-1978,-2-1 0,-1-4-90,0 1 0,-2-4 180,1 2-360,0 6 90,-1-5 90,0 5-90,0-1 89,0 0-89,1 4 810,-2-4 629,0 0-989,-2-5-270,-4-7-181,-3-10-178,-3-13-1,3-1 0,1-7-90,2 3 90,1-3 0,0-2 0,2-1-90,0-2 90,2 1 0,2-2 90,0 2-180,2 1 90,7-18 90,-3 16 0,7-11-90,-5 20 90,1 3-90,1 1 90,0 2 0,0 2 0,0 2-90,-1 2 90,5 1 0,0 2-90,3 4 90,-3 4 0,0 6 0,-3 3 90,-2 4-90,-4 4 0,-6 3 0,-2-4 0,-3-1 0,-1-5 0,-1 0 0,-2-1 0,1 2 0,-1-3 0,1 1 0,0-3 90,-1 4-90,1-2 90,-2 2 0,9-1-90,6-6 0,12-2 0,1-5 0,1 1 0,-3-1 0,1 1-90,8 2 90,-6 1 0,5 2 0,-9-1 0,-2 1 0,-1 1 0,-3 1 270,-1 0 180,-1 6-270,-6 2 90,-2 0-90,-5 0-1,-3-4 1,-2-1 0,-1 0-90,-2 0 0,-1-1 0,0-1 0,-1 0 0,0-1-90,-2-2 90,2 1-90,-1-2-90,1-1-180,2 0-629,-6-1-541,2-1-448,-4-3-1890,6-5 90,5-9 3688,6-1 0,5-12 0,3 2 0</inkml:trace>
</inkml:ink>
</file>

<file path=ppt/ink/ink10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44.23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0 0 8522,'22'5'3058,"-1"0"-2248,-7 3 89,-1 2-179,1 3-90,0 3-1,0 2-89,0 3-90,-1 2-1,-1 1-89,0 1-90,-1 2 0,-2 0 0,-1 0-90,-2-1-90,-2-1 90,-1 0-91,-3-1 1,-1 0 0,-3-1 0,-1-1-90,-3 1-90,-3-2-90,-2 0-179,-2-2-1,-2-1-90,-1-2-90,-3-1-89,1-3-900,-9 1 539,7-5-269,-5 1-3688,9-6 4947,-4-3 0,12 0 0,-2-2 0</inkml:trace>
</inkml:ink>
</file>

<file path=ppt/ink/ink10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44.43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1 8432,'29'-5'1349,"-3"1"-1079,-8 3 0,-1 0-270,1 2-270,0 0-269,-2 2-631,1 0 1170,-2 1 0,5 4 0,1 2 0</inkml:trace>
</inkml:ink>
</file>

<file path=ppt/ink/ink10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44.58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39 12660,'30'0'1169,"-2"-2"-989,-7-3 0,1 0-180,1 0-90,1 1-180,-1 0-360,0 0-89,-2 1-2249,-1 1 2968,2 0 0,-12 1 0,1 0 0</inkml:trace>
</inkml:ink>
</file>

<file path=ppt/ink/ink10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46.05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11400,'10'25'1710,"-1"0"-1261,-5-8 91,0 2-180,1 3 0,0 1-91,1 4 1,-1 0-90,2 3-90,-1 0 90,0 0-90,-1 1 0,1-1 0,-1 1 0,0-3 0,-2-1-90,0-2 0,0 0 0,-1-3-90,0-1-270,-1-1 180,1 3-809,-1-3-1620,-1 4 1350,-3-16 539,-1-9 91,-2-12-541,2-4 271,1 1 899,0-2 0,-2-6 0,0-3 0</inkml:trace>
</inkml:ink>
</file>

<file path=ppt/ink/ink10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46.46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326 6453,'5'-51'2249,"0"17"-1979,2-16 90,0 22-1,2 2-89,2 2 0,0 0 0,3 3-90,0 3 90,0 2-90,2 4 0,1 2-91,1 3 91,0 3 0,1 4-90,0 2 0,1 4 0,-1 2 0,1 4 90,-3 2 0,0 4 0,-3 1 90,-2 2 179,-3 11-89,-4-7-90,-3 8 0,-5-7 0,-4-2 0,-2 2-1,-3-2-89,-1-2-3392,-1-1 3392,-1-1 0,0-4 0,0-1 0,2-2 0,2-2 90,-5 1-181,1-3 3393,-3-1-4921,2-3-90,14-6 1259,12 3 180,7-5 90,6 1-4317,-10-3 4317,-1-2 0,-6 2 0,0 3 0</inkml:trace>
</inkml:ink>
</file>

<file path=ppt/ink/ink10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46.81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71 0 9242,'-30'11'1979,"3"1"-1260,12 2-269,0 3 0,-1 3-91,1 2 1,1 4-90,2 1-90,2 2 0,3 1 0,2 0-90,1 1 0,3-1 0,2 0 0,3 1 0,1 0-90,2-1 89,3-1-89,1-1 0,2-2-179,1-2-1,1-1-180,2-3-90,1-3-179,-1-2-91,1-4-180,-1-1-899,-1-4-539,1-3 2338,-2-2 0,-6-1 0,-2-1 0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3:39:19.951"/>
    </inkml:context>
    <inkml:brush xml:id="br0">
      <inkml:brushProperty name="width" value="0.17143" units="cm"/>
      <inkml:brushProperty name="height" value="0.17143" units="cm"/>
    </inkml:brush>
  </inkml:definitions>
  <inkml:trace contextRef="#ctx0" brushRef="#br0">1 249 9961,'14'-22'3688,"-1"4"-2069,-3 8 90,2 5-899,3 6-91,-4 6-89,-2 5 0,-3 0-91,-2 2 1,1 2-90,-2 0 0,-1 2-1,0 0-179,-1 0 90,-1 1-90,-1-1 0,0 0-90,-1-1 89,-1 0 1,0-2 180,-1 0-180,-2 2-90,-1-3-630,-5-4 0,5-13 180,3-14 91,6-3-1,4-4 0,1 4 90,2 0 0,2-1 0,0 2 0,2 0 90,0 3-90,0 2 90,1 2-90,0 2 90,-1 2-90,4 4 0,1 6 180,2 6 0,-5 6 270,-6 5 0,-4 2 89,-6 0 181,-3 0-90,-3-3 269,-1-3-809,1-13 0,13-13 0,-1-3-90,12-7 180,-4 7-90,1 2 90,2 0-180,0 1 180,0 2-180,1 1 90,-1 2 0,0 1 0,6 4-180,-6 2-90,6 3-89,-8 2-1,1 2-180,-2 1 1,0 2-1,-3-1 0,0 2 90,-3-1-179,-1 1-631,-1 1 1,-1 5-180,-2 1 90,0 4-270,-3-3-180,-1-1 1529,7-12 0,-1-4 0,7-15 0,-2-5 180,3-5 90,2-6 180,3 0 0,2-3 180,1 2-90,1 0 0,-1 3 179,9-4-179,-9 11 0,7-3 90,-11 14-90,0 3 90,-2 4 89,0 4 1,-1 5 0,-2 4 89,-1 3-89,-2 4 90,-1 5-90,-2 3-91,-1 4 91,0 2 0,-2 2-90,0 0 0,-2 2 89,0 0-179,-2 0 270,-4 16-180,1-13-181,-3 9 91,1-17-90,0-3 180,0-3-90,0-3 180,0-3-270,0-2 89,-1-3 91,0-4-270,-4-1-270,-1-10 90,-1-4-270,2-11 1,3-6-1,2-6-270,0-31 450,4 8-292,3-24 202,5 16-576,3-3 666,3 0 91,4 2-91,3 2 90,3 3 0,1 5 0,1 3 0,0 7 90,0 5-90,-2 8 90,1 5-90,-2 6 90,0 2-90,-2 7 90,-1 0 362,4 8-272,-4 4 776,-1 8-776,-9 5-90,-8-1 90,-6 0 0,-13 3-90,1-4 90,-11 4-90,5-7-630,-40 11 91,27-12-1440,-49 8 1169,58-19-269,-14-2-91,25-4-269,3-2-989,4-3-1350,4-3 3778,3-3 0,6-10 0,2-2 0</inkml:trace>
</inkml:ink>
</file>

<file path=ppt/ink/ink1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7:08.302"/>
    </inkml:context>
    <inkml:brush xml:id="br0">
      <inkml:brushProperty name="width" value="0.08571" units="cm"/>
      <inkml:brushProperty name="height" value="0.08571" units="cm"/>
      <inkml:brushProperty name="color" value="#E71224"/>
    </inkml:brush>
  </inkml:definitions>
  <inkml:trace contextRef="#ctx0" brushRef="#br0">1 139 12570,'26'-16'4857,"-3"8"-4227,-10 16-91,-2 6 1,-2 0-180,-1 2 90,0 2-91,-1 0 1,1 2-90,-1 1 0,0-1 0,0 1 0,-1-1-1,-1-1 1,-1-1 270,0-2 270,0 4-1,0-2-269,-3 2-450,-6-15-90,-3-11-90,-1-9 90,1-7-90,3 2 0,1-2 90,1-2-90,1-1 0,1 0 0,2-1 0,1 0 0,1 1 0,1 0-90,1 2 90,1 1-90,0 2 1,2 1-1,-1 2 0,1 2 0,0 2-180,-1 2 90,4 1 0,-1 3 0,4 4 270,0 8-89,-2 3-1,-1 3 90,-1 0-90,0 2 0,1 2 90,1 2-90,1 1-90,1 2 180,1 1-90,0 2 0,-2-2 90,0 2 0,-2-2-90,-2 0 90,-2-1 0,-4 0 90,-2 0-90,-3-1 0,-4 0 0,-3-1 90,-1-2-180,-4-1 90,-1-2-270,-2-1 0,-1-2-719,-10 0 179,7-5-269,-7 0-180,11-4-271,-1-2-1348,1-2-1799,1-2 4677,1-3 0,0-5 0,1-2 0</inkml:trace>
</inkml:ink>
</file>

<file path=ppt/ink/ink11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47.31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19 9242,'12'11'4947,"-7"-9"-4677,9 38 0,-10-20-91,0 0 91,0 2 0,0 0-90,-1-1 90,2 11-90,-1-1-180,0 0 90,-1-6 90,-1-3 449,0-3 721,0 4-991,-2-4-269,-4-12-180,-1-9-90,-2-9 1,2-6-91,1-1 0,1-3 90,0-3 0,1-2 0,0-2 90,2 0-90,1-2 90,1-2 0,1 0 0,2 1 1,0 2-1,2 1 0,0 4 90,2 1-90,0 4 90,2 2 0,0 2 90,2 2-90,-1 4 180,2 2-91,7 5 91,-4 3 0,5 5 90,-5 3 0,0 4-90,0 2 0,0 4 0,-1 2 0,-1 1-1,0 3 1,-1 1-90,-1 0 0,-1 2 0,0-1 0,-2 1-90,0 0 90,-2 0-90,0-1-90,-1-1-90,-1-2-180,-2-3-89,1 0-1620,0 5 180,-3-2-1709,-2 4 3598,-7-8 0,3-9 0,-2-5 0</inkml:trace>
</inkml:ink>
</file>

<file path=ppt/ink/ink11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47.44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8 110 11580,'-13'-26'1619,"8"3"-1349,14 13-270,7 0 0,-2 4-270,3 0 1,1 1-271,0 0-360,2 1-899,-2 1-539,1-1 2338,-2 1 0,-6 1 0,-4 0 0</inkml:trace>
</inkml:ink>
</file>

<file path=ppt/ink/ink11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47.92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30 10231,'8'-19'3868,"3"9"-3508,-5 12 0,2 9 89,-3 5 1,-1 2 0,0 3 0,1 4-91,-1 5 181,1 3-180,0 5-90,0 2-1,0 3-89,0 1 0,0 0-243,0 1 243,0-2-90,0-2 0,-1-2 0,0-3 0,0-2 0,-1-2-90,0-2 90,0 7 0,-1-12-90,1 5-90,-1-13-90,-1-1-809,1 2 1049,0-2 1,0-4 0,-1-5-1</inkml:trace>
</inkml:ink>
</file>

<file path=ppt/ink/ink11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49.63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87 10861,'17'30'1709,"-3"-6"-1349,-8-3-1,-1-5 1,0 1-90,1 2 0,-1-1 0,1 1-90,-1 0 89,-1-2-179,1 0 270,0 5 0,0-1 180,1 2 359,-2-3 1080,0-4-1889,-10-11-90,0-9 0,-6-8 0,1-13 0,4 6 0,-2-6-90,3 6 90,1-1 0,0 0 0,2-1-180,0-8 90,3 6 0,1-6 0,3 9 0,6-8 0,-2 7-89,10-11 89,-6 16 0,4-3 90,-4 9-90,-1 3 0,0 0 0,6 3 90,0 4 0,4 4-90,-5 2 90,0 9 0,-7-5 0,0 5 0,-4-3 0,-1 1 0,-1 7-90,-2 2 90,-1 7 0,-1-1 90,-1-3-90,1-3 0,1-3 90,6-2-90,4-1 0,2-4 0,2-2 0,-2-3 0,0 0 0,0 0 0,-1 1-90,1-1 90,-2 1 0,3 4 90,-2 2 90,-1 4 179,-7 1-179,-7 1-90,-4-5 90,-3-1 0,1-4-90,-2-1 90,-1-1-90,-1 1 0,-2-1-90,0-1 90,1-1 0,-1 0-90,1-2-90,0 1 0,1-2-360,-1 0-269,-4 1-451,0-2-1708,-3-1-4048,6-4 6926,10-8 0,2 5 0,7-5 0</inkml:trace>
</inkml:ink>
</file>

<file path=ppt/ink/ink11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49.87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80 0 9242,'24'9'2608,"0"1"-1798,-9 1-181,2 4 1,-1 3-90,1 2-1,-2 4-179,0 1 0,-1 2-90,-2 1 0,-3 1-90,0 1 0,-4 0-91,-1 0 91,-2-2-90,-2-1 0,-2 1 0,-3-1 0,-2 0-90,-2-1 90,-2-2-90,-2-2 0,-2-1-90,-1-2-90,-1-3 0,0-2-179,0-3-91,-1-1-180,1-1-89,-1-2-1,0-1-359,0-2-4498,2-1 5577,-5-3 0,11-1 0,-3 0 0</inkml:trace>
</inkml:ink>
</file>

<file path=ppt/ink/ink11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50.22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0 7623,'0'0'0</inkml:trace>
</inkml:ink>
</file>

<file path=ppt/ink/ink11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51.01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23 13559,'12'28'1529,"-2"-1"-1169,-7-6 90,-1 2-90,1 3 0,1 2-91,0 1 91,0 1-90,0 1-90,0-1 90,0-1-180,0-3 90,-1 0-90,0-4-1,0-1 271,-1-2 630,1 4 719,-1-3-810,-1 3-719,-5-14-270,-5-11 0,-2-9 0,0-8-180,3-2-89,1-3 89,1-6 0,0-2 0,4-3 0,1-1 0,5-4-89,2-1 89,4-1 90,4-2-90,2 5 90,4 0 0,0 6 0,2 3 90,2 3-90,-1 5 91,1 4-1,-3 6 0,0 3 90,-2 4-90,-2 3 90,-1 3-90,-2 3 90,3 7-90,-6-1 90,1 5 0,-7 4 0,-3-3 0,-3 4 0,-3-4 90,-2 0-90,-2-1 0,-3 1 0,-1-1 0,-2 0-90,-1-1 0,0 0-90,-1-2-180,0 0-90,1-1 1,-1 0-181,2-2 0,1-1-89,2-1-720,0-1 1439,-2 2 0,7-5 0,-1 1 0</inkml:trace>
</inkml:ink>
</file>

<file path=ppt/ink/ink11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51.24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2 1 12210,'-18'20'1529,"2"-1"-1079,7-5-90,0 2-1,2 1-89,1 1 0,2 0-90,2 2 0,2 0-90,2 0 90,2 2-90,3 1 0,1 0 0,4 0 0,0-1-90,2-2-90,0-1 0,1-3-180,0-2-90,1-2 0,0-2-719,7-1 449,-5-4-89,3-2-181,-6-5-3687,7-8 4587,-5-2 0,6-10 0,-5 0 0</inkml:trace>
</inkml:ink>
</file>

<file path=ppt/ink/ink11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51.43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8 9152,'14'-13'3778,"-4"9"-3419,-3 20-89,-5 2 0,1 3-90,-1-4 0,0 2 0,0 0 0,0 2-90,0 1 0,0 0 0,0-1-1,-1-1-89,0 0 90,0-1-90,-1-1-359,0-1-181,-1 6-180,0-3 720,1 4 0,-1-12 0,1-4 0</inkml:trace>
</inkml:ink>
</file>

<file path=ppt/ink/ink11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51.88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48 8702,'0'-34'2429,"2"2"-2160,4 11 1,1 6-90,4-2 0,1 7-90,4-1 180,0 5 0,0 4 90,1 6 89,-1 4-89,-1 5 90,-4 4 0,-4 2-91,-5 2-179,-4 2 90,-2-5-90,-3 4-90,0-6 0,-1 3 0,2-4 0,0-1 0,8-2-90,6-2 0,8-3 0,7-2-90,1 0 90,0 1 0,-1 3 90,-3 0 270,-5 3 449,-5 1-179,-7 4-360,-8-1-1,-4-2 1,-3-3-90,1-4 0,-1-1 0,-1 0-90,-1 0 0,0-1 0,0-1-90,0 0-90,-1-1-90,1 1-180,1-1-449,-1 0-361,-3 1-359,-1-1-3148,-1-1 4677,1-4 0,9 1 0,1-2 0</inkml:trace>
</inkml:ink>
</file>

<file path=ppt/ink/ink1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7:08.483"/>
    </inkml:context>
    <inkml:brush xml:id="br0">
      <inkml:brushProperty name="width" value="0.08571" units="cm"/>
      <inkml:brushProperty name="height" value="0.08571" units="cm"/>
      <inkml:brushProperty name="color" value="#E71224"/>
    </inkml:brush>
  </inkml:definitions>
  <inkml:trace contextRef="#ctx0" brushRef="#br0">11 49 10681,'38'-21'5037,"-3"4"-3598,-11 11-180,-1 1 91,0 6-271,1 3 0,0 4-89,0 4-181,-1 3-89,1 5-270,-1 4 0,-1 5-181,-1 2-179,-2 3 0,-2 0-270,-2 3-89,-5-1-271,-4 2-90,-4-2-89,-5 3-271,-5 4-269,-7 0-507,-6 2 147,-7-1-90,-5-4-1799,-7-1-2248,-8-2 5513,-7-3 0,-20 3 0,-7 0 0</inkml:trace>
</inkml:ink>
</file>

<file path=ppt/ink/ink11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52.09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17 0 9242,'22'10'3328,"-2"1"-2429,-6 1 1,-1 2-1,2 3-179,-1 2-90,1 3-1,-1 1-179,0 2-90,-1 1-90,-1 2-1,-1 1-89,-1 1 0,-2 1-90,-3 0 0,-1-1-90,-4 2-90,-2-1-270,-2 0-179,-6 1-91,-3-1-180,-6 0-179,-5 0-180,-6-2-1620,-6-1-2016,-4-2 4805,-4-3 0,-4-4 0,-3 0 0</inkml:trace>
</inkml:ink>
</file>

<file path=ppt/ink/ink11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53.57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213 14819,'28'-12'359,"2"1"-359,-1 8 90,3-2-90,3 2 90,1-1-90,3 1 90,-2-1-90,18-1 0,-16 0 90,11 0-90,-17 1 0,-4 0 0,-2 0 90,-4 0-90,-2-1 0,-2 0 0,-2 0 90,-3-2-180,-1 1 90,-3-1 0,2-5 0,-4-2 0,0-3 0,-4-1 0,-3 1-90,1-1 360,2 12-180,-1 8 90,3 10 180,0 12-91,-3-7-89,2 7 0,-3-7 0,0 0-90,0 1 90,-1 0-90,0 0-90,-1 0 90,0-1 0,-1 0 0,0-1-90,-1-1 0,0 0-90,-1 0-180,-1-1-90,-1 0 0,0-2-719,0 1-540,-3 1 1619,1-1 0,2-3 0,1-4 0</inkml:trace>
</inkml:ink>
</file>

<file path=ppt/ink/ink11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53.79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0 11131,'23'17'2428,"-2"1"-1798,-11-4-90,0 2-91,1 4 1,1 0-180,0 4 0,1 0-90,-1 2 0,1-1-1,-2 2 1,0-1-90,-1 0-90,-1 1-90,-2-2-179,0-2-91,-2-1-90,-1-1 0,-1-2-449,0-2-181,-1 3 1080,-1-3 0,0-5 0,-1-4 0</inkml:trace>
</inkml:ink>
</file>

<file path=ppt/ink/ink11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54.14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22 69 8522,'-29'-9'2609,"5"4"-2160,1 4 1,4 4 0,0 1-180,-3 5 0,0 0-91,-2 5 91,3 1-90,0 3 0,1 1 90,2 3 90,-4 11-90,8-6 269,-3 18-269,13-18 0,2 7 90,6-9-90,4 0 89,5 0-89,3-1-90,3-1 90,4-1-90,1-4 0,2-2 90,0-3-1,16-1-179,-11-5 90,11-2-90,-14-6 0,1-3 0,0-2 0,-1-3-90,0-4 90,-1-4-90,-1-4 0,-3-2 90,-2-5-90,1-14 0,-8 8 0,0-11-90,-11 15 180,-2-1-90,-4 1 0,-3-1 0,-3 1-3392,-3 3 3302,-2 1-90,-3 3 0,-2 2-180,-3 3-89,-1 4-1,-2 2-270,-2 4 1,-2 4-181,-2 4-269,-3 4-1440,-4 3 1675,-6 6 934,-2 3 0,-5 2 0,1 2 0</inkml:trace>
</inkml:ink>
</file>

<file path=ppt/ink/ink11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55.37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09 11580,'11'26'1440,"-1"0"-991,-5-6-89,1 3 90,0 1-90,0 2-91,1 1 91,-1 1-90,0 0 0,1-2-90,-1-1 0,-1-1 0,0-1-90,0-1 179,0 4 91,0-7 540,0 9 179,-1-11-449,-3 3-360,-8-10-270,-4-9 0,-2-8 0,0-7-90,4-1-90,0-3-90,0-4-360,0-18 270,2 6 91,1-13-91,6 12 0,3-3-629,21-35 719,-4 25 90,16-22 0,-11 39 0,1 6 0,-1 4 90,1 4 0,-2 6 0,-1 3 0,-3 5 0,1 2 90,4 8 0,-6 1 0,2 5 0,-9 0 0,-2 2 0,-2 0 0,-3 1 90,-1-1 0,-4 2 0,-3 1 0,-2-1 0,-5 3 0,-2 0 0,-3 0 0,-3 0 0,0-2 0,-11 6-90,7-7 0,-7 3-90,10-8 0,1-2-180,1 0 0,2-3-89,0 0-721,2-2-1708,-3 1 2788,1-3 0,4 0 0,4-2 0</inkml:trace>
</inkml:ink>
</file>

<file path=ppt/ink/ink11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55.60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1 0 9512,'-9'44'2788,"1"-5"-2428,3-18 269,0 11-359,2-5 180,2 20-270,3-18-90,2 9 0,0-10 0,4 0 0,-1-1 0,3-1 0,1 0-90,1-3 90,2-1-180,0-2-90,0-2-90,1-3-90,-1-2-90,1-2-89,-1-3-91,1-1-1349,-1-3 540,6-5-90,-4-2 1529,4-6 0,-4-6 0,-1-3 0</inkml:trace>
</inkml:ink>
</file>

<file path=ppt/ink/ink11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56.00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32 12030,'20'21'1439,"-2"1"-989,-12-6-90,0 3-90,0 1 0,1 1-1,-1 1 1,0-1-90,0 1 0,0 0-90,-1-1 0,-1 0 0,0-3 90,-1 0 270,0 2 269,0 0-359,-2 2-450,-7-13 0,-2-10-90,-3-10-90,3-8 0,3 1 1,1-4 89,0-3-90,1-2 90,2-1 90,1-4-90,1 0 90,2-1 0,2 0 0,1 2 0,3 1 0,1 2 90,2 2-90,1 3 90,0 4-90,2 2 90,-1 4 0,1 3 180,0 4-90,7 4 90,-4 3 0,4 6 90,-7 2 0,1 4-90,-1 2 0,0 3-1,0 2 1,0 1 0,-1 1-90,0 2 0,-2 0 0,0 2 0,0 0-90,-1 0 90,0 0-90,-2 0 90,1 0-90,-3-2-180,1-1-90,-2-2-90,0 0-179,-1-2-91,0-1 0,-2-2-1079,0-1-1529,-1 3 3238,-3-2 0,0-4 0,-1-4 0</inkml:trace>
</inkml:ink>
</file>

<file path=ppt/ink/ink11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56.13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4 54 8162,'-16'-15'1170,"8"3"-2070,15 3 91,10 3 539,0 1 270,4 2 0,-13 1 0,-1 1 0</inkml:trace>
</inkml:ink>
</file>

<file path=ppt/ink/ink11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56.71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27 14279,'26'-5'270,"0"0"-270,-6 2-180,1 1-90,-1 0-90,-1 0-180,-2 0-629,-1 0-450,4 1 1619,-3 0 0,-3 0 0,-6 1 0</inkml:trace>
</inkml:ink>
</file>

<file path=ppt/ink/ink11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57.14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43 10321,'13'20'1889,"-1"-1"-1349,-6-7-91,0 2-89,1 2 0,0 1-90,0 1 0,0 1 0,1 0-91,-2 1-89,1-2 90,-1 1-90,-1-2-90,-1-1 270,0-1 360,1 2 629,-1-1-359,0 4-811,-9-10-89,-1-6-89,-7-15-91,5-3-90,1-5 90,3 2 0,1-3 0,2-2 90,1-2 0,2-1 0,1-1 0,3-1 0,1 0-3392,2 1 3392,2 2 90,0 3-179,7-4 179,-3 9 0,4 0-90,-5 9 180,6 6 0,-5 2-1,5 4 3393,-7 3-3482,1 2 90,-2 3 0,0 1-90,0 1 90,-2 2-90,0 1 90,-1 1-90,-1 2 90,0-1-180,-1 1-90,0 0-90,-2 1-89,0-1-91,-1-1-180,-1-1 1,1-2-181,-2 0-629,1-3-1349,1 4 2788,1-4 0,-2-2 0,1-7 0</inkml:trace>
</inkml:ink>
</file>

<file path=ppt/ink/ink1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7:08.816"/>
    </inkml:context>
    <inkml:brush xml:id="br0">
      <inkml:brushProperty name="width" value="0.08571" units="cm"/>
      <inkml:brushProperty name="height" value="0.08571" units="cm"/>
      <inkml:brushProperty name="color" value="#E71224"/>
    </inkml:brush>
  </inkml:definitions>
  <inkml:trace contextRef="#ctx0" brushRef="#br0">32 11 12300,'-12'-7'6116,"6"4"-5576,-5 26-90,9 0-90,1 4 0,4 3-1,4 5-179,6 4 90,5 2-420,5 4 150,5-3-689,4 2 329,2-4-179,2 0-361,1-4-179,1-2-450,0-2-1889,0-4-2249,-1-4 5667,-1-4 0,0-4 0,-1-1 0</inkml:trace>
</inkml:ink>
</file>

<file path=ppt/ink/ink11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57.71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47 10141,'18'11'2699,"-1"5"-2250,-10 0 1,0 2-90,-2-5 0,0 2-90,1-1-1,-1 2 1,0-1-90,0-1-90,0 1 180,-1-1-90,2 4 450,-1-2 719,1 4 0,0-4-1349,-11-12 0,1-6-90,-7-9-90,5-5 90,1 1-90,1-2 90,1-1 0,0-4 0,1 0 90,1-1-90,2-1 1,1 0-1,2 0 90,1 1-90,2 0 90,2 1 0,0 2-90,2 1 90,0 2 0,0 2-90,0 2 90,0 2-90,5 2 90,-1 4 0,2 3 0,-3 7 0,-5 6-90,-4 5 90,-5 4 0,-4 2 0,-2 1 0,0-1 0,0-1 0,2-2 0,4-2 0,6 0 0,3-5 0,6 0 0,-1-3 0,2 1 0,0 0 0,1 0 0,-1 0 0,-1-1 0,-2 1-3302,-1 0 3662,-2-1 179,-2 5-359,-5 2 90,-4 0-90,-5 0 0,-3-6-90,-1 0 3482,-3 1-3482,-2-1 0,-2-1-90,0 0 90,0-1-180,-1 1 0,1-2-180,0 1 0,1-2-180,0 1-90,1-2-449,2 0-810,-4 1-899,1-3-2879,0-3 5577,5-8 0,6 3 0,4-4 0</inkml:trace>
</inkml:ink>
</file>

<file path=ppt/ink/ink11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57.94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8 1 9512,'20'10'2968,"-2"0"-2069,-8 1-89,-1 2-1,0 3-89,-1 0-90,-1 3-91,-1 1-89,1 0 0,-2 1-90,0 2-1,-2-1-89,0 1-90,-2 0 0,0 0-829,-2 0 739,-1-1 90,-2-1-90,-1 0 0,-2-1-90,-1 0 0,-2-2-90,-1-2 0,1 0 649,-1-2-1009,0-2 0,0-2-899,0-3-540,-4 1-1978,-1-6-91,-4-3 3958,6-5 0,5 1 0,5 1 0</inkml:trace>
</inkml:ink>
</file>

<file path=ppt/ink/ink11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58.14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86 9242,'30'-10'2698,"-2"1"-2068,-6 1-180,1 0-91,3 0 1,-1-1-90,1 2-90,-1 0 0,1 1-270,-2 2-90,-1 0-270,0 1-179,-2 2-271,-1 0-1888,-2 2 2788,1 1 0,-9 0 0,-1 0 0</inkml:trace>
</inkml:ink>
</file>

<file path=ppt/ink/ink11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58.27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5 11850,'33'2'900,"-1"-1"-720,-9-5-90,0 1-270,2 0-180,-1 0-180,-1 2-449,-2-1-2609,-2 1 3598,2 1 0,-11-1 0,1 1 0</inkml:trace>
</inkml:ink>
</file>

<file path=ppt/ink/ink11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59.18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08 9691,'8'26'1979,"0"-1"-1349,-5-6-90,2 3-91,0 1 1,1 3 0,0 0 0,0 2-91,0-1-89,0 1 0,-1-3-90,0 0 0,0-3-3392,-1-1 3392,-1-2 180,0-2 629,0-2 630,0 4-809,-3-2-541,-7-4-89,-5-8 3212,-2-10-3392,2-7 0,3-2-180,1-3 1,1-4-1,2-3-90,1-5 0,2-3 0,2-2 0,4-4 0,2 0 90,3-2-89,3 2 89,3 0-90,3 3 90,2 3 90,2 3-90,2 3 90,0 6 0,0 4 0,-1 5 0,-1 5 0,6 5 90,-8 4-90,5 5 90,-11 2 0,-2 2 0,-2 2 0,-2 1 0,-4 0 0,-1 1 90,-3 0 0,-2 1 0,-2 0 90,-2 0-90,-2 0 90,-7 5-180,1-5 90,-4 4-90,2-9 90,0-1-90,-1-1 0,-8 2-90,6-3 0,-4 1-90,8-5-539,1 0-271,-3 0-449,1 0-90,-3 1-3688,4-1 5217,3 0 0,5-2 0,3 0 0</inkml:trace>
</inkml:ink>
</file>

<file path=ppt/ink/ink11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8:59.50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96 0 9871,'-22'11'2879,"-1"1"-2250,4 3 91,-2 2-90,0 4-181,1 2 1,2 2-90,2 1 0,3 1-90,3 0-1,2 1 1,4-1-90,3 0 0,3 1-90,3 1 90,2 1-90,3-1 0,3 1-270,8 8-90,-2-9-90,6 4-179,-6-14-1,1-1-180,1-3-179,-1-3-1,1-2-179,-2-3-1080,-1-2-809,-1-3 2968,0-3 0,3-5 0,0-1 0</inkml:trace>
</inkml:ink>
</file>

<file path=ppt/ink/ink11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00.10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41 10951,'14'-11'2788,"-3"8"-2338,-2 16-90,-4 5 89,-1-1-89,0 2 0,1 2 0,0 1-90,-1 0 0,0 1-1,0 0-89,-1 0 0,0 0 0,0-1-90,-1-2 90,0-1 180,-1-2 359,1 4 1,-1-1-90,-2 0-361,-4-4-179,-5-13-180,-2-8 0,2-8 0,2-3 90,3 0-179,1-2 179,0-3-90,1-2-90,1-1 90,1-1-90,0-1 90,3-1 0,0-1-90,3-1 90,2 0 0,1 1 0,3 0 0,1 3 90,1 1-90,3 1 0,-1 3 90,1 3-90,-1 3 90,0 3-90,-1 2 90,0 3-89,3 2 89,0 5 0,2 6-90,-6 7 90,-5 5 90,-5-1-90,-5 1 0,-1-5 0,-1 1 0,0 0 0,-1-1 0,1 0 0,0 0 0,-2 4 89,3 0-89,3 4 0,4-7 0,5-1 0,2-6 0,4 1 0,2-1 0,2 0 0,1 1 0,0-1 0,0 0 0,-1 0 0,-1 1 0,-2-1 0,-2 0 180,-1-1 0,-3 4 90,-5 1-90,-8 4 0,-5-3 0,-8-1 0,1-4 0,-2 0-90,-2 0 0,0-1-1,-2 0 1,1-1-90,-1 0 0,1-1 0,0 0-90,0-1-89,1 0-1,1 0-180,2-1-360,0 0-359,-3 1 0,2-1-1800,-3 1-3507,5-4 6386,8-5 0,2 1 0,7-2 0</inkml:trace>
</inkml:ink>
</file>

<file path=ppt/ink/ink11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00.35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10951,'21'9'2968,"-3"-1"-2338,-10 11-91,-2-2 1,0 3 90,2 3-181,-1 1 1,1 3-180,0 1 90,1 1-180,-1-1-3392,1 1 3392,-2 0-91,0-1 1,-1-2 0,0-1 0,-2-1-180,0-2-90,-1 0 3393,-1-1-3573,0-3-540,0-1-89,0 3-1080,-1 0 2069,2 3 0,-2-11 0,0-4 0</inkml:trace>
</inkml:ink>
</file>

<file path=ppt/ink/ink11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00.77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56 11580,'18'4'2249,"-3"1"-1709,-7 8-90,-3 0-1,1 3-89,1 1 0,-1 1 0,0 2-90,0-1-1,0 1-89,-1-1 0,0-1-90,-1-1 180,-1-2 90,1 5 539,0-2 540,0 3-1169,-5-4-360,-3-12-90,-3-7 1,-1-10-91,3-5 0,2 0-90,1-4 90,1-3 90,1-4 0,2-2 0,1-3 91,2 0-1,0 1 0,3 1 0,-1 1 0,2 3 90,0 1-90,1 4 90,0 2 0,1 4 0,-1 3 180,2 3 90,4 4-91,3 7-89,1 3 90,-1 5-90,-5 3 90,-1 1-90,0 2 90,0 1-90,0 2 0,-1 0 0,-1 2 0,-1-1 0,0 1 0,-2-1-90,0 0 90,-1 0-180,-1 0-90,-1-2-90,0-1-180,-1-1-809,-1 0-450,0 5-630,-1-2-3957,-3 5 6296,-5-4 0,3-9 0,-2-4 0</inkml:trace>
</inkml:ink>
</file>

<file path=ppt/ink/ink11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00.92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4 95 10411,'-21'-12'3598,"9"-2"-3328,16 2-180,6 0 90,7 3-180,0 4-90,3-1-180,1 2-270,0-1-179,1 2-361,-1-1-899,-2 2-539,0 0 2518,-3 0 0,-8 0 0,-1 1 0</inkml:trace>
</inkml:ink>
</file>

<file path=ppt/ink/ink1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7:09.485"/>
    </inkml:context>
    <inkml:brush xml:id="br0">
      <inkml:brushProperty name="width" value="0.08571" units="cm"/>
      <inkml:brushProperty name="height" value="0.08571" units="cm"/>
      <inkml:brushProperty name="color" value="#E71224"/>
    </inkml:brush>
  </inkml:definitions>
  <inkml:trace contextRef="#ctx0" brushRef="#br0">210 316 10771,'-28'-12'3598,"6"4"-2789,5 0 1,4 2-91,0 0 1,0-1-90,0-1-91,0-1-89,0-1-90,1 0 0,1 0-90,2 0-91,0 0 91,2-2-90,0 0 0,1-6-90,3-3-180,4-6 180,2 6-90,4 2 0,0 7-90,1 0 0,1 1-90,1 0 90,0 2-269,1 1-271,5 2-180,1 3 271,4 7-91,-6 2 90,-3 7-179,-6-1 89,-2 2-179,-1 1-1,-2 1-89,-1 3-91,-2 1-989,-2 1-809,-2 0 2788,0 1 0,-2 2 0,0 1 0</inkml:trace>
</inkml:ink>
</file>

<file path=ppt/ink/ink11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01.54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9602,'22'19'2608,"-1"2"-1798,-9-2-91,2 5-89,-1 1-1,1 4-179,-1 3 0,1 2 0,-2-2-1,-1 1-89,-3-1-90,0 0 0,-2 0-90,-2 0 0,-2-2-90,-1-2 0,-2-1 0,-3-1-1,0 0 1,-3-1 0,0-2-90,-2-2-180,-1-1 1,1-3-271,-1-1 0,-1-2-180,1-3-989,0 0-1079,-4-2-2339,1-4 5037,-1-4 0,6-1 0,4-4 0</inkml:trace>
</inkml:ink>
</file>

<file path=ppt/ink/ink11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01.75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8 16528,'24'-5'-1035,"-3"3"1,-16 5-1,-1 1 1</inkml:trace>
</inkml:ink>
</file>

<file path=ppt/ink/ink11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02.46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43 13020,'17'21'1529,"-2"0"-1080,-7-2 1,1 3 0,0 1-90,0 2-90,1 1-1,-2-1 91,0 0-90,-1-2-90,0-1 0,-1-2 0,0-1-90,-2-3 449,0 0 361,1 2 89,-1-1-449,-4 3-360,-9-11-90,-12-16-180,5-5-450,-6-25 360,16 12-359,1-28 179,6 17-118,5-16 208,3 13-270,12-16 270,-2 11 91,10-7-1,-5 19 0,1 6 0,0 4 90,1 6-90,-3 4 90,0 5 0,-3 4 0,-1 3 0,-2 3 90,-1 3-90,-1 2 298,-4 3-208,-2 1-90,-3 1 90,-5 8 0,-4-3 0,-4 6 0,-4-6 90,-3 1-90,-4 0 90,-2 0 0,-1-1-90,-2-1 90,0 0-180,0-2 0,0 0-90,1-1-179,1-2-91,3-1-809,-4 2 359,7-4-539,-3 1 1439,5-1 0,7-5 0,-1 1 0</inkml:trace>
</inkml:ink>
</file>

<file path=ppt/ink/ink11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02.69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33 1 12300,'-27'20'1799,"3"0"-1259,9-3-91,1 2-89,0 2-90,2 1 90,2 0-180,2 2 0,3-2 0,2 2-1,3-1-89,2 1 0,2-1 0,4 1 0,2-1 0,2-1-180,2-1-90,1-1-90,1-3-89,0-2-91,0-3 0,0-2-90,1-2-89,-1-2-91,1-3-89,-2-3-181,2-3-989,-1-3-449,2-5 2428,-1-4 0,3-6 0,0-4 0</inkml:trace>
</inkml:ink>
</file>

<file path=ppt/ink/ink11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03.09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70 8432,'14'-21'3598,"-2"5"-2698,0 15-451,-1 10 91,-2 6-90,-2 6-90,-2-3-1,0 2 1,0 2-90,-1 0-90,1 0 90,-1 1-180,0-1 90,0 0 0,-2-2-91,1-1 91,-1-2 180,0 4 540,0-2 89,0 3-629,-2-5-450,-6-13-90,-1-10 0,-2-8 0,2-7-90,2 2 90,0-4 91,0-4-1,0-2-90,0-2 90,1 0 0,2 0 0,1 1 0,1 1 0,1 1 0,2 2 90,2 1-90,1 1 0,2 3 90,2 1 0,2 3 0,1 3 0,2 4 0,0 3 0,1 4 90,1 4-90,0 3 90,0 4 0,2 4 0,-2 2 0,2 4 0,-3 1-90,1 2 90,-2 1-90,0 2 90,-2 1-90,-1-1 90,-1 2-90,-2-1-90,-1 0-90,-2-2-180,-2-1-90,-1-1-719,-3 6 449,-3-7-89,-2 6-91,-2-9 1,-2-2-181,-2-1-719,-1-3-539,-1-1 2338,-2-4 0,8-2 0,0-3 0</inkml:trace>
</inkml:ink>
</file>

<file path=ppt/ink/ink11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03.19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4 229 9422,'-25'-23'2248,"7"1"-1978,18 5-90,4 3-90,6-1 0,2 5-180,1 0-90,4-1-270,0 1-179,4 0-271,1-1-539,1 0 180,0-2 1259,-1-1 0,1-4 0,0-2 0</inkml:trace>
</inkml:ink>
</file>

<file path=ppt/ink/ink11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03.39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08 1 11221,'21'3'2068,"-2"3"-1438,-10 5 0,-1 4-181,2 1 91,-1 3-180,0 3 0,1 1 0,0 2-91,-1 1-89,0 1 0,-1-1 0,-2 0-90,0-1 0,-4-1 90,-1-1-90,-2 1-90,-4-1-90,-2-1-180,-3 1-90,-3-1-179,-2-1-91,-2-1-180,-2-1-179,-2-2-270,0-1-1080,-2-2-899,-1-3 3238,0-2 0,-2-3 0,-1-1 0</inkml:trace>
</inkml:ink>
</file>

<file path=ppt/ink/ink11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04.09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322 10951,'3'-14'3868,"2"7"-3689,31-7-89,-5 7 90,4 1-90,3-1 0,3 0 0,0 0-90,1 0 90,-1 0-90,-1-1 90,-4 0 0,-2 0-90,-4-1 90,-2 1-90,-2-2 0,-4 1 90,-2-2-90,1-6 0,-7 3 90,1-5-90,-9 4 90,-2 2 270,-2-7-91,-1 1-89,0-4-180,-1 2 0,5 14 0,5 13 0,1 8 0,0 10 0,-4-7 0,-1 1 0,0 1 90,-2 0-90,0 0 0,-3 0 0,-1-1 90,-1 1-90,-4 0 0,-2 1 0,-3 0-90,-2 0 0,-3 0-180,-1-1 1,-1-1-181,1-1 0,0-2 0,2-3-89,2 0-811,0-2 1350,-1 0 0,6-5 0,0 1 0</inkml:trace>
</inkml:ink>
</file>

<file path=ppt/ink/ink11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04.29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0 8882,'31'-6'2968,"-3"3"-2068,-10 5-181,0 2 91,0 3-91,-1 3-179,-2 3 0,1 2-180,-2 3-1,-2 3-89,0 1-90,-3 1 90,-1 0-180,-2 0 90,-1 2-90,-2-1-90,-1 0-180,-1 0-180,-1-1 0,-1 0-179,0-2-1,-1-1-809,1-3-1,-1 4 1350,0-2 0,0-6 0,1-4 0</inkml:trace>
</inkml:ink>
</file>

<file path=ppt/ink/ink11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04.47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2 11940,'28'-1'2339,"-6"1"-1979,-12 13-1,-3 1-89,0 2 0,1 1 0,2 12-90,-1-6-90,1 8 0,-1 2-360,-4-9 0,1 8-90,-3-11-179,-1-2-91,-1-1-809,-1-1-1440,0 6 2879,-1-5 0,0-2 0,1-8 0</inkml:trace>
</inkml:ink>
</file>

<file path=ppt/ink/ink1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7:10.069"/>
    </inkml:context>
    <inkml:brush xml:id="br0">
      <inkml:brushProperty name="width" value="0.08571" units="cm"/>
      <inkml:brushProperty name="height" value="0.08571" units="cm"/>
      <inkml:brushProperty name="color" value="#E71224"/>
    </inkml:brush>
  </inkml:definitions>
  <inkml:trace contextRef="#ctx0" brushRef="#br0">0 1 11131,'0'35'1799,"0"-5"-1440,4-5-179,1-3 0,-1 0-360,2 3-179,0 0-361,0 3-1439,0-1-719,0 0 2878,-2-3 0,1 5 0,-2-1 0</inkml:trace>
</inkml:ink>
</file>

<file path=ppt/ink/ink11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04.87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74 27 7623,'-33'-12'1709,"2"2"-1260,8 7 91,-1 2-90,-1 3 90,-2 4-91,-3 4 91,0 5-180,-2 6 0,0 5-232,0 6 142,3 4-1,2 3 1,2 2-90,4 3 90,3-1 0,4 0 90,4-2-1,3-1 1,4 0 0,3-3 0,4 1 539,18 32-629,-4-26 0,15 22 0,-11-37-90,4-2 0,2-4-1,4-2 361,37 4-450,-22-11-332,26 1 332,-34-13 0,0-4-161,1-3 161,1-3-90,2-5 90,-2-5-90,0-4 0,-2-6-511,-3-4 601,-3-4-90,-3-4 0,-4-5 0,-4-1-90,-4 0 180,-6 1-205,-4 1 115,-4 3 90,-5-3-90,-4 3 0,-6-4 102,-5 2-102,-4-1-90,-4 5 1,-3 2-271,-2 6 0,-2 5-180,-2 5-179,-2 4-181,-3 5-1888,-3 4 89,-29 10-1708,10 5 4162,-28 10 1,0 6-1,39-10 1,0 1-1</inkml:trace>
</inkml:ink>
</file>

<file path=ppt/ink/ink11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10.78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69 113 8612,'13'-21'2609,"-2"2"-1890,-6 6-179,0-2-270,-4 0-180,-4-1 0,-5 6-90,-5 7 0,-1 9 0,1 5 0,1 5 0,4 0 90,-2 4 89,1 4 91,0 4-180,0 5 180,1 4 0,-1 5-3482,1 5 3482,0 5-90,0 4-481,0 4 481,1 2 0,0 1 0,1 2 0,0 1-91,0-1 91,2-1-90,0 0 90,1-1-90,1-5 0,0-2 90,3-3-90,0 18 0,2-18 0,-1 11-77,1-24 77,0-6 90,0-3 0,1-3 3116,0-4-3116,1-3 620,2-1-710,3-4 123,1-3-123,3-2 0,1-2 0,14-3 0,-6-3-90,9-1 0,-7-3-180,-1-2-270,2 1-270,-1-1-629,0 0-1709,-2 0-2159,-3 1 5217,-1 0 0,-10 2 0,-2 0 0</inkml:trace>
</inkml:ink>
</file>

<file path=ppt/ink/ink11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13.12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12 163 9512,'-9'-28'2698,"2"4"-1529,3 9-629,2 15-270,2 6 449,2 10-449,5 26 0,-3-16-90,3 18 90,-3-16-90,1 1 0,0 1 0,0-1 0,-1 0-91,0-2 1,0-1 0,-1-2 0,1-1-90,-2-2 90,1-1 180,-1-4 450,0 6-181,0-4-179,-3 2-270,-8-9-90,-4-11-90,-1-5-90,1-9 90,4-2-180,-1-4 91,1-4-91,1-5 90,1-2 0,2-2 0,2-1 0,2-2 0,2 0 90,3-3-180,3 1 181,11-16-362,-1 15 361,7-8 0,-3 19 90,0 5-90,2 4 90,0 4-90,0 4 90,-1 3 0,-2 5 361,0 3-451,-1 2 90,-1 4 0,-1 2 0,-2 3 0,-3 1 0,-1 2 0,-4 0 90,-3 2-90,-2 0 90,-4 1-90,-4 0 90,-1 2 0,-5 0 0,-3-1 0,-2 1-1,-4-2-89,0-1 90,-2-1-90,-1-1 90,-1 0-90,0-2-269,-11 4-1,11-6-90,-8 3-180,14-6 0,0 1-179,2-2-1,2 1-1528,1-1 2248,-1 2 0,8-4 0,0 1 0</inkml:trace>
</inkml:ink>
</file>

<file path=ppt/ink/ink11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13.37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1 0 10771,'-10'28'2249,"0"-1"-1710,1-6 1,0 2-90,0 3-1,1 1-89,1 2-90,2-2 0,2 2 0,2-2-90,2 2-90,2 0 90,2 2-91,2-2 1,1-1 0,2 0 0,1-2-180,2-1-90,0-1-179,2-2-91,-1-3-90,1-1-89,-1-4-91,1-1-179,0-2-91,-1-3-3777,1-3 4767,3-4 0,-9 0 0,2-3 0</inkml:trace>
</inkml:ink>
</file>

<file path=ppt/ink/ink11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13.79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203 9152,'9'-23'4407,"-1"16"-3957,-3 14 0,0 10-180,-2 2 89,-1-3 1,1 2-90,0 2 0,0 0-90,0 1 0,0 0 0,0-1-1,0-2 1,-1 0-90,0-1 90,-1-1-90,1 4 450,0-1 719,0 2-989,-2-2-450,-5-13 0,-2-10-90,-1-10 90,2-7-89,3 1 89,0-3-90,1-3 0,2-3 90,2-3 0,1-2-3392,2-2 3482,2-1 0,2 1-89,1 3 179,0 3-90,1 3 90,1 2 0,0 4 0,1 3 0,0 3 90,2 4 3391,0 3-3301,0 3-90,1 5 90,0 3 0,0 4 90,1 4-90,0 3 180,0 5-180,-1 1 89,-1 3 91,5 14-270,-6-8 90,4 11-90,-8-12 0,1 1 0,-3-1 0,1 0 0,-3-1-90,-1-1 90,-1-2-360,0 8-90,-2-8-90,-1 5-179,-1-10-181,-1-2-89,-2 0-271,0-2-359,-1-1-989,-2-1 2518,-1-2 0,2-5 0,2-3 0</inkml:trace>
</inkml:ink>
</file>

<file path=ppt/ink/ink11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13.94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 159 11131,'-5'-27'1889,"4"6"-1530,12 7-179,2 4 0,4 1-90,3-1-180,3 1-180,2 1-179,1 1-181,1 0-360,0 2-808,-1 0-451,-1-1 2249,0 1 0,3-3 0,-1 0 0</inkml:trace>
</inkml:ink>
</file>

<file path=ppt/ink/ink11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14.15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0 13289,'15'15'1440,"-2"1"-1081,-9 1 1,0 3-90,0 1-90,0 3 0,0 0 0,-1 2-90,0 0 90,0 0-90,-1 1-1,0 0-89,-1-1-89,0 0-181,-1 0-90,0-2-90,0-1-90,0-2-1978,-1 7-2609,0-4 5127,1 2 0,-1-11 0,1-8 0</inkml:trace>
</inkml:ink>
</file>

<file path=ppt/ink/ink11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14.82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11670,'18'19'1440,"-3"0"-1081,-11-4 1,0 2 0,1 2-90,0 3 0,-1 0-91,1 0 91,-1 1 0,0 0-90,-1 0 0,0-1-90,0 0 90,-1-3-90,0 1 0,-1-4 90,1 7 269,0-3 811,0 3-271,-1-2-629,-3-6-270,-4-10-180,0-9 0,-3-14 90,4-4 0,2 1-90,1-2 0,2 5 0,2-1 0,1-2 0,1 0 90,1 0-90,1-1 90,2 2-90,0 0 0,6-7 90,-2 8 0,2-5 0,-4 10 0,0 1-90,-1 2 90,0 1 0,1 1-90,2 0 90,2 4 0,2 2-90,-2 7 90,-2 5 0,-4 4 0,-4 5 0,-4 5 0,-2-5 0,-2 2 0,-1-6 90,1-1-90,-1 1 0,0-1 0,0-1 0,-1 5 90,0-2-90,0 3 90,4-3-90,6-2 0,8-2 0,6-2 0,4-1 0,-2-2 0,-1-1 0,-6-1 0,0 0 0,0 0 0,3 3 90,-2 1 270,2 2 90,-6 2-180,-7 4 0,-6-1-181,-9 2 91,0-7-180,-2 0 90,2-4 0,-1 1-90,0-2 0,-1 0 0,-1-1-180,0 0 0,-1 0-179,1-1-91,-1 0-90,1 1-719,-1-1-270,-3 1-900,0-1-3867,-1-2 6296,5-3 0,7 0 0,3-2 0</inkml:trace>
</inkml:ink>
</file>

<file path=ppt/ink/ink11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15.08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9 0 10681,'22'14'2698,"-2"1"-1888,-8-1-91,-1 2 1,2 3-90,0 3-91,1 1-89,-1 3-90,0 0 0,0 1-90,-1 1-1,-2-1 1,-1 0 0,-2-2-90,-2 0 0,-2-2 0,-2-2-90,-2 1 0,-3-2 90,-1 0-180,-4-2 90,-2 0-180,-1-2-90,-3-2-180,-2 0-90,-1-1-90,-1-3-179,0 0-181,-1-2-89,0-2-270,0-1-1530,1-2-1618,1-1 4407,1-3 0,9 0 0,1-1 0</inkml:trace>
</inkml:ink>
</file>

<file path=ppt/ink/ink11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15.23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38 12300,'23'-13'1169,"-4"2"-1169,-7 4 0,-6 3 0,-1 1 0</inkml:trace>
</inkml:ink>
</file>

<file path=ppt/ink/ink1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7:11.050"/>
    </inkml:context>
    <inkml:brush xml:id="br0">
      <inkml:brushProperty name="width" value="0.08571" units="cm"/>
      <inkml:brushProperty name="height" value="0.08571" units="cm"/>
      <inkml:brushProperty name="color" value="#E71224"/>
    </inkml:brush>
  </inkml:definitions>
  <inkml:trace contextRef="#ctx0" brushRef="#br0">0 137 11131,'23'-8'899,"6"-1"-1349,3-1-629,11-3-1036,5-1 495,8-1 1190,3-2 0,19-7 0,5-2 0</inkml:trace>
</inkml:ink>
</file>

<file path=ppt/ink/ink11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16.40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06 11131,'5'40'1979,"0"-4"-1530,-2-13 91,0 3-180,1 3 0,2 2-1,-1 0-89,1 1 90,0 0-180,0-1 0,-1 0 0,1-2 0,-1-1-90,0-2-1,-2-1 1,1-3 180,0 5 540,-1-2 179,1 3-449,-4-6-360,-6-13-180,-5-9-180,-2-10 90,1-7 0,4 0-90,-1-4 0,2-4 0,0-4 0,1-2 1,1-2-1,2-2 90,2-1-90,2-2 0,1-2 0,3 0 0,3-2 90,2 2 0,3 3 0,2 1 0,3 4 0,1 2-90,4 4 180,-1 3-89,2 5-1,-1 3-3302,0 5 3302,-1 3 90,8 6-90,-8 4 90,4 4 0,-9 3 0,-3 1-90,-2 3 3482,-2 2-3392,-2 0 0,-3 1 0,-3 1 90,-4 0-90,-3 1 0,-3 1 90,-4 0-90,-13 10 90,2-7-3482,-9 6 3482,7-10-243,0-1 64,0-3-91,2 0-180,-1-2 0,3-1-180,0-1-89,3-2-91,2-1-89,1-1 1067,3-2-258,-2 0 0,7-2 0,0-1 0</inkml:trace>
</inkml:ink>
</file>

<file path=ppt/ink/ink11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16.64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85 1 10321,'-13'20'2159,"0"1"-1529,3-4-181,1 3-89,-1 2 0,1 2-90,1 2 0,2 0-91,2 1 1,2-1 0,3 1-90,1 1 90,3 0-90,2 1 0,2-2 0,2 1 0,1-3-270,1-1 0,1-2-540,6 4 181,-5-8-1,4 1-90,-7-9-1079,1-3-90,3-3-539,-2-4 2338,2-4 0,-1-6 0,0-4 0</inkml:trace>
</inkml:ink>
</file>

<file path=ppt/ink/ink11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17.22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4 137 8072,'11'-20'3149,"2"0"-2160,-2 13-179,0 6-361,2 12-89,-6 3 0,-2 4-90,-1-2 90,-1 2 89,1 1-89,-2 1-90,1 1 0,-1 0 0,0-1-90,-1-1-91,0-1 181,-1 0-90,1 5 360,-2-1 179,1 2 1,-2-5-450,-4-5-180,-3-10-90,-3-10-90,2-6 0,3-5 0,2 0 0,2-1 90,-1-3-90,3-2 0,0-2 0,1 0 0,2-1 0,1 0 0,2 0 0,2-1 0,2 2 1,1 0-1,2 2 0,0 4 90,1 1-90,-1 4 0,1 1 90,-1 3-90,0 3 90,4 2-90,1 5 90,3 6-90,-4 8 90,-4 0 0,-5 9 0,-5 0 0,-2-1 0,-2 1-90,0-8 90,-2 0 0,1 0 0,-1-1 0,0 0 0,0 4 90,0-2-90,0 4 0,3-3 90,7-2-90,8-2 0,0-4 0,3-1 0,-4-2 0,0-1-90,0 1 90,-1 0 0,0 1 0,-1 0 0,2 4 180,-3 1 90,-3 4-180,-8 0 179,-5-3-89,-6 0-90,1-4 90,-4-1-90,-1 0 0,-2 0 0,-1-2 0,-1 1 0,-1-1-90,-1-1 0,0 0-90,0 0 0,0-1-90,1 0-90,-1-1-90,2 1-89,1-1-541,1 0-719,-3-1-899,2 0-2699,0-4 5307,9-7 0,4 5 0,6-4 0</inkml:trace>
</inkml:ink>
</file>

<file path=ppt/ink/ink11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17.43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3 1 9781,'23'7'3059,"-1"2"-2340,-10 1 1,0 2-1,-1 2-89,-1 2-90,-1 2-90,-1 2-1,-1 1-89,0 1-90,-2 1-90,-1 0 90,-1 1-180,-2-1 89,0 2-89,-2-2 90,-1 1-90,-2-1-90,-1 0-90,-2-2-180,-1 0-89,-2-1-91,0-1-180,-1-3-89,-2 0-181,0-3-179,0-1-450,-1-2-3868,1-3 5397,-3-3 0,8-2 0,-1-2 0</inkml:trace>
</inkml:ink>
</file>

<file path=ppt/ink/ink11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17.61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29 8702,'25'-8'2249,"0"2"-1710,-6 2-179,2 0 0,2 1-90,0 1-270,1 1-90,-1 0-360,-1 2-269,0 0-1080,-1 2-270,-1 0 2069,-3 1 0,-7-2 0,-3 0 0</inkml:trace>
</inkml:ink>
</file>

<file path=ppt/ink/ink11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17.76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10141,'8'8'4408,"-6"0"-4408,33-8-90,-14 0-270,-1 0-270,3 1-179,-2 0-451,-1 1-2787,-2 0 4047,1 1 0,-10-2 0,1 0 0</inkml:trace>
</inkml:ink>
</file>

<file path=ppt/ink/ink11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18.55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36 41 10321,'-1'39'1979,"-1"-1"-1529,0-14-1,0 1 1,0 2-90,1 0 0,-1 0-90,1 1-3393,-1 0 3303,0-1-781,1 0 781,0-1 0,0-2-90,0-1 90,0-3-90,0-2 3454,0-1-2554,-1 3 808,0-2-1169,-2-1-449,-6-7-90,-4-11-90,0-6 90,0-7-180,4-1 0,0-5 0,0-2-90,2-6 0,1-2-89,2-3 89,3-1-90,3-2 90,3-2-90,3 1 90,4-2 0,3 3 0,3 3-179,3 3 269,22-10 0,-14 18 90,16-6-90,-22 23 90,-2 3-90,0 3 90,-2 3-90,-1 2 90,-1 3 0,-3 1 0,-2 2 0,-2 1 0,-3 1 0,-3 1 0,-2 0 90,-4 1-90,-3 0 0,-3 2 0,-3-1 90,-3 1-90,-2-2 0,-2 1 0,0-3 90,-2 1-90,2-3 0,0-1-180,2-1 0,-1-1-90,3-1 0,1-1-719,1-1-1620,-1 0 2609,1-1 0,3-1 0,4-2 0</inkml:trace>
</inkml:ink>
</file>

<file path=ppt/ink/ink11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18.80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10 1 11131,'-19'21'2068,"1"-1"-1528,6-3-90,-1 2 0,1 3-91,0 1-89,3 3 90,2 0-180,1 1 0,4-1 0,2 1 0,3 1-90,2 1 0,2 0 0,2 0-1,2-2 1,1 0-180,2-3 1,1 0-271,2-3 90,0-2-180,0-2 0,0-3-89,0-3-91,-1-1-90,1-4 1,-2-2-91,1-2-179,-1-4-630,1-3-90,0-4 1709,1-5 0,2-6 0,0-3 0</inkml:trace>
</inkml:ink>
</file>

<file path=ppt/ink/ink11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19.33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223 7713,'13'-20'4407,"3"9"-3507,-6 14-451,0 13-89,-5 4 0,-1 4 0,-2-5-90,1 3-1,-1 1-89,1 0 90,-1 0 0,0 0-90,0 0 0,0 0 0,0-3-90,-1 0 90,0-3 89,0 5 361,0-2 90,0 3-361,-3-6-539,-2-11 91,-4-9-181,1-8 0,1-7 0,1-1 0,1-3 0,-1-5 0,2-2 1,0-4 89,1-1-90,3-18 180,1 13-90,3-12 90,1 18 0,2 1 90,1 3-180,8-8 180,-3 10-90,4-3 90,-4 13-90,-1 4 90,0 3-90,4 1 90,0 6 0,4 6-90,-4 8 90,-5 2 0,-3 3 0,-5-3 0,-1 2 0,-2 0 90,0 7-180,-1-4 180,-1 6-90,0-8 0,0 1 0,0 5 0,1 2 0,1-1 90,2-3-90,2-6 0,1-2 0,2 2 0,2-2 0,2 2 0,1-1 0,0 0 0,-1 0 0,0 0 0,-2-1 0,-1 1 180,-1-1 270,-3 4-180,-4 3-90,-3-1 90,-5-2-91,-2-4 1,-2-1-90,-3-1 90,-2 0 0,-10 3-90,5-3-90,-8 1 0,8-3-90,0-2-90,1 1-90,1-1-179,0 0 89,3-2-810,0 1-269,-2 0 1439,3-1 0,3-1 0,5-1 0</inkml:trace>
</inkml:ink>
</file>

<file path=ppt/ink/ink11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19.58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12300,'2'32'1889,"0"-2"-1439,-2-10-1,1 2-89,1 2-90,0 2-90,1 2 0,0 1 0,0 1 0,2 0-90,-1-2 0,-1 0-1,1-3-89,-1 0 90,0-1-90,-1-2-179,1-1-181,-1-2-360,1-2 90,-1 4-539,0-2-5217,2 1 6386,5-11 0,-5-4 0,4-7 0</inkml:trace>
</inkml:ink>
</file>

<file path=ppt/ink/ink1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7:11.466"/>
    </inkml:context>
    <inkml:brush xml:id="br0">
      <inkml:brushProperty name="width" value="0.08571" units="cm"/>
      <inkml:brushProperty name="height" value="0.08571" units="cm"/>
      <inkml:brushProperty name="color" value="#E71224"/>
    </inkml:brush>
  </inkml:definitions>
  <inkml:trace contextRef="#ctx0" brushRef="#br0">0 38 13739,'32'-2'-180,"-2"-1"-719,-10-2-1260,2 1-989,1-1 3148,0 1 0,4-3 0,0-1 0</inkml:trace>
</inkml:ink>
</file>

<file path=ppt/ink/ink11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20.01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8 118 12750,'10'30'1529,"-1"-2"-1169,-8-11 809,3 33-989,-1-22 180,2 33-270,-4-39 0,1 7 89,-1-12 91,0 6 630,-1-2 269,1 2-449,-4-4-900,-5-12 0,-1-10-90,-1-10 0,3-7-90,3 1 91,1-5 89,1-3 0,2-3 0,3-2 90,0-2-90,2 0 90,2 0 0,1 1 0,2 2 90,1 2-180,6-8 180,-3 12 0,3-4 0,-4 14 90,-1 4 180,1 3-90,4 4 0,-3 4 0,3 4 0,-5 4-90,0 4 90,-1 3-1,1 3 1,-1 2-90,0 3 90,0 2-90,-1 1 0,0-1-90,0 2 90,-2-1 0,0-1-90,-1 0 90,0-2-180,-2-2-90,1 1-180,-2-2-89,0-2-721,0-1-179,-1 4-630,-2-2-1529,-1 2 3508,-5-7 0,2-6 0,-2-5 0</inkml:trace>
</inkml:ink>
</file>

<file path=ppt/ink/ink11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20.16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73 12660,'1'-22'989,"1"5"-899,18 11 0,-1 1-90,1 2-270,2-1 0,1 1-269,-1 1-271,0-1-1169,-2 2-629,-1-1 2608,-2 0 0,-8 1 0,-2 0 0</inkml:trace>
</inkml:ink>
</file>

<file path=ppt/ink/ink11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20.39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2 1 11311,'22'23'2968,"-4"0"-2159,-10-6-89,1 3-180,-1 2-1,1 2-89,-1 4-90,1 0 0,-2 2-180,-1 0-1,0 0 1,-2 1 0,0 0-90,-2-1 0,-1-1-180,-2-1-90,0-2-1079,-12 26 719,4-20-179,-11 17-181,6-27 1,-3-1-271,-1-2-1168,-3-3-1170,0-2 3508,-2-3 0,-4-3 0,-1-2 0</inkml:trace>
</inkml:ink>
</file>

<file path=ppt/ink/ink11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20.86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44 10681,'2'-26'-832,"2"14"0,-2 6 0,2 10 0</inkml:trace>
</inkml:ink>
</file>

<file path=ppt/ink/ink11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21.80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7 137 9781,'10'24'1440,"-1"0"-991,-7-8-89,0 3 0,1 1-90,-1 2 90,-1 1-181,1 0 181,-1 1-90,0-1-90,-1-2 0,1 0 0,-1-2 270,0-1 179,-1 4 451,1-1-91,-1 2-90,-1-5-539,-6-7-270,-3-10 0,-2-5 0,0-6 0,4-2-90,1-3 0,0-3 0,1-4 0,1-3-90,4-3 0,0-4 0,4-2 0,3-3-90,4 1-179,2-2 269,25-24 0,-11 23 0,19-15 0,-16 33 0,-1 4-90,11 3 180,-11 6-90,8 4 90,-13 6 0,-1 3-90,-2 2 90,-2 4 0,3 7 0,-8-2 0,0 5-90,-8-4 90,-3-1 0,-3 0 0,-3 1 90,-2 0-90,-4 1 0,-4 0 0,-3-1 0,-3 0 0,0-3 0,-2 0 0,0-2 0,1-1 90,1-2-180,1 0-180,2-3 0,1 1-89,2-2-721,1 0-449,-3 1 1529,2-1 0,3-1 0,5-2 0</inkml:trace>
</inkml:ink>
</file>

<file path=ppt/ink/ink11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22.03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6 0 12120,'-14'20'1439,"1"-1"-1079,7-6-90,1 2 0,1 1-90,2 1 0,0 4-1,4 0-89,0 2 0,3 2 0,2 0 0,3 2-90,2-1 90,1-1-90,1 0-90,2-1-90,1-2-90,1-2-89,-1-1-1,1-2-90,0-2-90,-2-2 1,0-3-1620,5 0 630,0-7-90,0-2 1619,-2-7 0,-5-6 0,2-3 0</inkml:trace>
</inkml:ink>
</file>

<file path=ppt/ink/ink11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22.42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96 11940,'20'4'1799,"-4"0"-1529,-11 14 0,-2-3 90,1 2-180,0 2 89,0 1-179,0-1 90,0 1-90,0-1 0,-1-2 450,3 11 359,-3-7 451,3 6-901,-8-11-359,-3-13-180,-4-10-90,0-8 90,2-6-179,4 1-1,0-3 90,2-3 0,2-4 90,2-1-90,1-1 90,3-1 0,1 2 0,2 0 0,1 2 90,1 2-90,1 3 0,2 1 90,-1 5 0,1 2 0,0 4 180,-1 3 0,6 5 0,-5 4 90,5 4-90,-7 4 0,0 4 90,-1 3-91,1 3 1,-1 4 0,0 2-90,0 2 0,-2 1 0,0 2 0,-1 1 0,0 0 0,-1 1-90,-2 0 90,0 0-90,-1-3-180,-2 0-540,0 9 271,-1-10-181,-2 6-90,0-12-179,-2-1-1,-1-2-2877,-4 6-1,0-8 3778,-3 2 0,5-13 0,1-1 0</inkml:trace>
</inkml:ink>
</file>

<file path=ppt/ink/ink11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22.56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8 108 10231,'-11'-23'2699,"5"2"-2340,10 5-359,8 3-179,1 2-271,5 4 0,-4 3-360,2 1-988,0 0-451,1 1 2249,-1 0 0,-6 1 0,-3 0 0</inkml:trace>
</inkml:ink>
</file>

<file path=ppt/ink/ink11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22.78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2 24 11311,'18'-15'3597,"2"7"-2967,-7 10-90,2 6 0,-2 2-91,1 4-89,0 3 0,1 3-90,0 3-90,-1 1-1,-2 2 1,0 1-90,-3 0 0,-2 2 90,-3 10-90,-3-8-90,-4 8-180,-3-12-90,-3 0-629,-10 12 269,3-12-89,-7 9-181,3-13-89,-2-1-360,0-2-4408,-13 4 5757,9-9 0,-12 1 0,10-9 0</inkml:trace>
</inkml:ink>
</file>

<file path=ppt/ink/ink11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23.60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72 14908,'16'-16'450,"2"3"-450,8 11 90,3-1-90,5 1 90,6 0-90,2-1 90,4 1-90,0 0-421,0 0 421,-1 0 90,-3 0-90,-2 1 0,-6-1 90,-2 0-90,-4 0 0,-4 0 90,-1-1-90,-2 0 0,-3 0 421,-2-2-331,-2 1-90,-2-2 0,1-3 0,-3-2-90,0-4 180,-6-3 90,-3 3-180,-2-4-90,0 22 90,3 4 0,1 13 0,2-1 0,-2-5 0,0 1 0,-1 1 90,1-1-90,-1 7 0,-2 1 0,-1-1 90,-3-1-90,-3-6 0,-1 0-90,-3 0-180,-1 0-90,-2-1 0,0 0-179,-1-1-1,0-1-180,-1-1-89,0 0-271,1-1-3057,1-2 4137,-3-1 0,9-3 0,-2-1 0</inkml:trace>
</inkml:ink>
</file>

<file path=ppt/ink/ink1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7:11.634"/>
    </inkml:context>
    <inkml:brush xml:id="br0">
      <inkml:brushProperty name="width" value="0.08571" units="cm"/>
      <inkml:brushProperty name="height" value="0.08571" units="cm"/>
      <inkml:brushProperty name="color" value="#E71224"/>
    </inkml:brush>
  </inkml:definitions>
  <inkml:trace contextRef="#ctx0" brushRef="#br0">3 215 17337,'-2'-14'3418,"2"6"-3238,31-17-270,-2 11-360,5-2-179,3 1-616,4 0 76,2 0-360,1 0-360,-2 1-810,-3 2-1528,-1-1 4227,-3 1 0,-2-1 0,0-1 0</inkml:trace>
</inkml:ink>
</file>

<file path=ppt/ink/ink11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24.39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0 13020,'6'37'1439,"-2"-8"-1169,-1-6-91,-1-4 1,1 1-90,0 2 0,-1 0 0,1 1 0,-1 1-90,0 0-180,-2 0 0,1 0-179,-1-2 89,0 0-90,0-2-90,-1-1-269,1-2-91,-1 4-3957,0-2 4767,7-8 0,-5-3 0,6-10 0</inkml:trace>
</inkml:ink>
</file>

<file path=ppt/ink/ink11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24.58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47 8882,'15'-17'3058,"1"-1"-2248,-5 12-1,2 1-179,0 9-360,-1 7-90,-2 3 0,-2 2-91,-3-1 1,-1 0 0,1 2 0,-1 1 0,0 1-90,-2 1-3302,1-2 3302,-2 1-270,0-1 90,0 0-89,-2-1-541,0 0-269,0 4-1,-1-1 1080,0 3 0,0-11 0,2-4 0</inkml:trace>
</inkml:ink>
</file>

<file path=ppt/ink/ink11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24.78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13919,'16'20'630,"-2"0"-450,-12 0-90,1 3-1,0 1 1,1 1 0,-1 1 0,0 1-360,2 22 1,-2-17-91,1 15-90,-2-25-629,-1 6-540,1-4 1619,-1 4 0,0-14 0,-1-4 0</inkml:trace>
</inkml:ink>
</file>

<file path=ppt/ink/ink11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25.18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44 151 7443,'-31'-4'1889,"2"2"-1440,0 2 1,1 2-90,-1 3 0,0 1 0,1 4-1,-1 4-89,1 4 90,0 3-90,2 3 0,1 4 0,3 1-91,3 4 91,1 2-90,4 2 0,1 2 0,4 1 90,2 0-90,4-1 0,4 2 89,3-1 1,3 2-319,3-1 319,5 2 539,26 31-539,-9-26-696,20 19 606,-16-37 0,2-4-90,3-4 90,3-2-282,-2-5 192,2-3 90,-2-4-90,-2-3 0,-1-2 131,-2-3-131,2-4-90,-2-2 90,2-5-1,0-5-89,-1-5 0,-1-5 364,-3-6-364,-4-6 0,-3-4 0,-3-4 90,-5-3-90,-4-2 0,-4 0 0,-5 0 0,-4 1 0,-5-4 0,-4-1 0,-6-3-664,-4 2 664,-6 2 0,-4 2 0,-5 4-90,-2 3-180,-5 5-89,-2 4-181,-3 5-223,-2 5-856,-24 0 539,17 11-449,-19 3-720,19 14-1301,-2 5 3550,-7 4 0,-19 8 0,-7 2 0</inkml:trace>
</inkml:ink>
</file>

<file path=ppt/ink/ink11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30.17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11 13289,'13'22'810,"-1"-1"-630,-6-7 0,1 2-90,0 2 90,1 0-1,-2 2 1,1 0 0,-2 2-90,0-1 90,-1 1-90,1 0 0,-2 0 90,0 0-180,0 0 180,-1-2-180,0-1 180,-1-2-90,0 0 180,0 4 269,0-2 181,0 3-540,-5-6-90,0-12 0,-5-9-90,2-8-90,0-5 0,1 0 90,1-3-90,0-5 90,2-2-90,0-4 0,2-3 0,2 1 0,2-4 90,4-1-90,2 0 0,4 1 90,1 2-90,3 4 90,2 2-90,1 5 90,0 3 0,0 7 0,1 3-90,-1 4 90,-1 5 0,-1 3 0,0 3 0,-2 3-90,-1 3 90,-1 2 0,-3 2 0,-1 2 0,-4 1 0,-1 0 0,-4 7 90,-3-3-90,-3 4 90,-3-6 0,-2-1 90,-4-1-90,-1 0 0,-4 0 0,-1-2 0,0-1-90,-9 1 0,7-5-360,-14 4 0,16-7-90,-6 1-719,10-4-540,-4 0-4767,2 0 6476,-3-1 0,10-1 0,5-1 0</inkml:trace>
</inkml:ink>
</file>

<file path=ppt/ink/ink11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30.42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26 1 12120,'-13'21'2069,"0"0"-1619,0-8 89,-1 3-89,0 1-90,0 2-90,1 0 0,3 1-1,1 0-89,3 0 0,2 1 0,1 0-90,4 1 0,1-1 0,2 2-90,1-1-180,3-1-90,0 0-90,3 0-89,0-1-91,1 0 0,1-3-269,1-1-1,-1-3-179,2-1-271,-1-2 1260,7-1 0,6-6 0,6-3 0</inkml:trace>
</inkml:ink>
</file>

<file path=ppt/ink/ink11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30.99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77 14189,'9'31'1349,"-1"-2"-989,-9-11-90,1 1 0,1 1-1,-1 1 1,1 0-90,-1 1 0,1-1-90,-1-1 90,1-1-90,-1 0 90,1-2 180,-1 5 269,1-2 271,-1 3-540,-2-5-271,-1-13-178,-2-9-1,0-10 0,2-4 0,1 2 0,1-2 90,1-3-180,1-1 180,1-3-90,2-1 90,2-1-90,2-2 0,1 1 0,3 1 90,1 1-90,1 2 90,3 1-90,0 3 90,1 2-90,2 1 90,-2 4 0,0 2-90,0 4 90,-2 2-90,5 3 90,-3 5 0,0 5 0,-7 6 0,-9 6 90,-3-4-90,-4 2 0,-1-6 0,1 0 0,-1 1 0,0-2 90,-2 6-90,0-2 90,1 3-90,6-1 0,8-2 0,4-2 0,7-2 0,-2-3 0,2 1 0,1 0 0,0 1 0,0-1-90,-2 1 90,0 1 0,-2-1-90,-2 0 180,-3 0 90,0 4-90,-7 1 90,-1 1-90,-8-3 90,-3-3 0,-3 0 0,-3-1-90,-2 1 89,-2-2-89,-2 0 0,0-1 0,-1-1 0,1 0-90,-1-1-90,1-1-90,1 0-89,1-1-181,1 0-720,2-1-539,-5 0-989,2-2-4048,-2-2 6746,9-5 0,5 3 0,5-2 0</inkml:trace>
</inkml:ink>
</file>

<file path=ppt/ink/ink11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31.21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10411,'27'6'3418,"-5"1"-2428,-13 2-181,0 3 91,-1 2-91,0 2-179,-1 2-91,-1 2 1,-1 0-180,0 2-90,-1 1 0,0 1-90,-1 0-1,0 1-89,0 1 90,0 0-180,-1 0 0,0 1-90,-1-1-180,-1 0-269,0-1-91,0 0 0,-2-2-179,0-1-91,-1-2-89,0-1-3059,-1-3 4048,-1 1 0,2-9 0,0 1 0</inkml:trace>
</inkml:ink>
</file>

<file path=ppt/ink/ink11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31.70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2 81 15088,'6'38'1260,"-2"-3"-901,-4-16-89,-1 2 0,0 0 0,1 2 0,-1-1-90,0 0 0,1-2-90,-1 0 89,1-3 181,-1 6 540,0-2 89,0 3-809,-3-7-360,-1-12 0,-2-11-90,2-7-3391,3-7 3301,2 0 90,2-3 90,1-5 0,3-1 0,1-3 90,2-1 0,0 0 0,2 1 0,6-8 1,-5 11 3481,4-5-3303,1 10 271,-5 9 180,8-1-360,-3 15 90,0 3 0,-2 9-91,-4 1 1,0 4 0,0 3 0,0 2 0,-1 3-90,2 1 0,-2 2 0,0 2-90,-1 0 90,-1 1-180,0-1 0,-1 1-90,0-2-270,-2-1-89,-1-1-91,-1-2-180,0-1-89,-1-1-90,-1-2-361,-1-3-269,-2 0-4677,0-2 6296,-6 0 0,5-7 0,-3 0 0</inkml:trace>
</inkml:ink>
</file>

<file path=ppt/ink/ink11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31.84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0 115 10681,'-8'-28'3868,"7"5"-3598,8 8-91,6 3 1,2 5-270,2 0-90,3 2-269,2 1-271,1 0-359,1 2-1170,-1-1-809,0 1 3058,-3 1 0,-8 0 0,-4 0 0</inkml:trace>
</inkml:ink>
</file>

<file path=ppt/ink/ink1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7:17.11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81 63 10051,'-3'-31'3148,"0"1"-2968,2 28 450,-1 3-450,-2 47 0,0-12 0,-1 28 90,0-18-1,1 5-89,-2 3 0,0 4-756,0-1 755,0 1-89,0-3-90,0-3 90,1-3 0,0-1-90,1-1-148,0-5 148,0-1 0,0 10 0,1-14 0,0 7 0,2-19 0,-1-4 0,1 5 90,1-8-180,6-7 656,-2-11-746,4-12 90,-4-5-179,1-4 247,0-5-158,-1-6 1,1-5-1,-2-6-329,-1-4 239,-1-5-3193,-1-6 3283,-2-3 90,-2-6-495,0 2 495,-2 1 0,1 7 180,-4-11-90,2 24 0,-1-8 0,2 25-182,-1 5 182,-1 7 200,-7 6-200,3 7 3092,-5 7-3002,3 9 754,-1 6-754,-1 6 90,2 5-90,-1 5 0,3 3 90,1 3-90,3 1 153,2 1-243,4-1 90,0-2-90,4-2-1131,1 1 1221,2-1-90,2-2 90,2-1-90,0-5 90,6 10 0,-2-13 0,3 5 0,-4-14 0,-1-5 90,0-2-90,5-3 0,0-8 1220,2-3-1310,-3-8 0,-4-3 90,0-4-90,-1-6 0,-1-4 0,-1-4 0,-2-3-90,-1-6 90,-3-2 0,0-5 0,-2 0 0,0 1-3392,-3 4 3392,0 2 0,0 5 0,-1 4 0,-1 4 0,0 5-90,-1 5 90,-5 3 0,-2 14 3392,-1 5-3392,-1 13 0,5 4 90,0 6-90,1 5 0,1 3 0,2 3 0,2 1 0,2-2 0,2 1 0,3 1 0,2 0 0,1 1 0,3-2 0,0-2 0,2-4 0,1-2 0,0-5 0,1-2 0,0-4 90,0-2-90,0-5 90,0-2-90,0-4 0,5-6 90,-4-3-90,4-5 0,-5-5 90,1-4-180,-1-5 180,0-6-90,0-6-90,-1-5 90,-1-8-303,-2-4 303,-1-5-89,-2 1 89,-2 1 0,-3 4 89,-1-12-89,-1 16 0,-2-4 0,-1 20-89,-1 7 178,-1 4-89,-3 4-89,-6 9 89,1 7 212,-6 8-122,2 9-90,-1 7 90,0 6-90,0 6-202,3 5 292,0 1 0,4 3-90,2-3 90,3 1-90,2 0 90,2-2-90,2-2 90,3-2-90,0-3 0,3-1 90,1-2-1,1-4 1,2-1 90,0-5-90,2-2 382,-1-5-382,2-4 90,1-3-90,7-7 0,-3-5 0,7-7-90,-5-5 0,1-6 90,0-6-90,1-7-90,-3-7-393,0-6 393,-4-5-710,-3-5 710,-4-3 0,-4-1 90,-7-27 0,-2 23 0,-6-13 0,0 31-90,-1 8 90,-4 4 0,0 8 0,-4 6 0,1 8 364,-3 7-364,-2 7 0,-4 7 829,-2 6-829,-3 8 90,2 5 0,1 5-90,5 1 0,3 1 90,3 13 0,8-10-90,2 7 0,8-14 90,5-2-90,3 1 0,2-1 90,3-2-90,1-1 0,3-4 90,1-1-90,0-4 0,1-4 0,0-2 90,6-3-180,-6-5 0,5-4-270,-3-11 0,-5-1 0,3-11-89,-8 1 89,-2-3 0,-1-2 0,-2 1 0,-2 0 1,0 4-271,-2 1 0,0 4-1079,-3 3-2518,-3 1 4227,-4 7 0,4 2 0,-1 6 0</inkml:trace>
</inkml:ink>
</file>

<file path=ppt/ink/ink11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32.11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10 0 11760,'20'24'3328,"-3"0"-2518,-11-7-1,1 3-179,-1 1-90,0 4-90,0 1-91,-1 2 1,-1 2-180,0 0 0,-3-1 0,0 1-90,-3 1-540,-6 16-90,0-11-179,-6 11-91,1-15-269,-3 0-270,-2-2-1440,-1-1-1798,-2-2 4587,-1-5 0,-4 0 0,0-4 0</inkml:trace>
</inkml:ink>
</file>

<file path=ppt/ink/ink11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32.85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3 14549,'23'6'719,"1"-1"-539,-3-7-5660,3 1 5570,5 0-988,18-1 718,-9 0 988,12 0-1888,-3 0 271,-13 1-181,6 0-89,-17 2-3059,-3-1 4138,1 2 0,-12-1 0,1 0 0</inkml:trace>
</inkml:ink>
</file>

<file path=ppt/ink/ink11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33.06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9 47 9691,'-21'12'6747,"4"-1"-6208,19-7 91,4-1-180,17-5-1,1-1-179,5-1 90,5-1-90,3-1 0,4 0-90,-1-1 0,-2 1-90,-2 0 89,-3 1-179,-4 1 0,-3 0-90,-4 1-179,-2 0-91,-2 0-989,-3 0 1349,4 0 0,-10 1 0,1 0 0</inkml:trace>
</inkml:ink>
</file>

<file path=ppt/ink/ink11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33.97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4 162 13379,'7'29'1080,"0"-2"-720,-4-12-91,1 2-4250,0 1 4251,0 2 859,-1-1-140,2 22-629,-3-18 0,2 22 90,-4-25 629,1 3-359,-2-2 2942,-5-7-3483,-2-6-89,-7-12-90,4-4 0,-1-7 0,5 1-90,0-5 0,2-2 1,1-4-91,3-3 90,2-4 0,2-1-90,4-4 0,2 1 90,12-16 0,-4 14-90,10-7 90,-5 19 0,0 4 0,1 5 0,-2 4 0,0 4 0,-2 3 0,-1 4 90,-2 2-89,-1 3 89,-2 2 0,-1 2-90,-2 2 90,-3 2 0,-1 1 0,-4 7 0,-2-3 0,-4 6 0,-2-6 0,-3 0 0,-2 0 0,-4 1-90,0-1-180,-2 1 0,-1-1-90,0-2-90,1-1-89,0-1-1,0-1-90,1 0-89,0-2-1,2 0-989,2-2-899,-4 2 2608,4-1 0,2-2 0,4-4 0</inkml:trace>
</inkml:ink>
</file>

<file path=ppt/ink/ink11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34.20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1 0 14189,'-16'25'1079,"1"-2"-809,7-4 0,1 2-90,0 1 0,3 1 0,1 1-90,2 1 90,2 0-91,1 1 1,1-1-90,2 1-90,1 0-179,1-1-1,1-1-180,-1-3-90,1-1 1,0-1-181,-1-2 0,0-2-179,0-1-4048,-1-2 4947,4 0 0,-6-5 0,2-2 0</inkml:trace>
</inkml:ink>
</file>

<file path=ppt/ink/ink11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34.61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1 171 12030,'4'28'2609,"-1"-5"-2070,-3-1-89,0-4 0,0 1-90,1 2-1,-1 0-89,1 2 0,0 0-90,0-1 0,1-1 0,0-1-90,-1-1 180,0-2 89,1 4 541,-1-1-91,0 2-449,-3-6-360,-4-11-90,-1-11 0,-1-7-180,3-6 1,3-1 89,0-4-90,2-4 90,1-4 0,3-6 90,1-1 0,2-3 0,2 1 0,2 0 90,1 3-90,1 3 0,0 4 90,1 3 0,0 5 0,1 4 90,0 4 0,0 4 0,0 4 0,7 6 0,-5 3 0,5 7 0,-5 3 0,-1 4 0,1 4-90,-2 2 90,0 2-90,-1 1 90,-1 2-90,0 1 90,-1 1-90,-2 0 0,0-1 90,-1 2-270,-1-2-90,-2-2-180,0 0-179,-2-3-990,0 8 539,-2-9-89,-2 4-1530,-1-10-1618,-3-2 4317,-1-2 0,2-5 0,0-3 0</inkml:trace>
</inkml:ink>
</file>

<file path=ppt/ink/ink11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34.75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8 121 10321,'-17'-20'3688,"7"-2"-3508,13 6 0,5 1-180,6 6 0,0 3-270,3 1-90,2 0-180,2 1-269,0 1-181,2 0-808,0 1-451,1 0 2249,-1 0 0,5-1 0,0 0 0</inkml:trace>
</inkml:ink>
</file>

<file path=ppt/ink/ink11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3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2 12390,'18'-2'2069,"-4"7"-1709,-9 10-1,-2 4-179,-2-4 90,0 1-180,0 1 90,0 1-90,-1 0 0,1 1 0,-1-1 0,-1 1-90,1 1 90,-1-2 0,0 0-90,-1 0-90,0-1-900,0 6-89,-2-1-360,-1 4 1439,1-5 0,2-10 0,1-3 0</inkml:trace>
</inkml:ink>
</file>

<file path=ppt/ink/ink11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35.71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4 220 11400,'-2'29'2789,"1"0"-2339,1-4 89,2-4-179,1 6-90,0-5 0,0 3 359,1-4 1080,-2-3-989,-1-2-450,-6-10-180,-1-5-90,-6-15 90,5 0-90,-1-5 0,5 2 0,-1-2 0,2-2 0,0-2 0,2 0-90,2-2 90,1 0 0,6-14 0,-1 9 0,6-8-90,-1 13 90,1 2 0,2 1 0,1 3 0,1 2-90,0 2 90,0 3-90,-2 3 90,0 3-90,0 2 90,4 4 0,-5 2 0,3 3-90,-7 1 90,2 8 0,-5-2 0,1 6 0,-5-4 0,-1 1 0,-2 1-90,-1 0 180,-1 1-180,-2-1 180,0 1-180,-1-1 180,0 0-90,-3 5-90,2-5 90,-2 4 90,2-3-90,0 0 0,3 3 90,5-3-180,4-4 180,4-2-180,0-3 90,1-1 0,1 1 0,0 0-90,0 0 90,-1 0 0,0 0 0,-2 0 0,0 0 90,1 4 0,-3 0 180,-4 4-180,-8 1 0,-4-5 90,-4 0-90,0-5 0,-1 0 0,-2 0 89,-1-1-179,-1 0 90,-1-1-90,0 0-90,-1-1 1,1 1-91,0-2-180,0 0-90,1 0 0,-1-1-179,2 0-721,-1-1-449,-5 0-1888,2-1 3687,-3-4 0,11 2 0,5-2 0</inkml:trace>
</inkml:ink>
</file>

<file path=ppt/ink/ink11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35.97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24 0 12120,'23'14'2519,"-3"1"-1800,-10-2-89,-1 3-90,1 2-91,0 3-89,0 1 0,-1 3-180,-1 1 90,-2-1-90,-1 1-1,-2-1-89,-2 1 0,-2-1 0,-3 2 0,-2-1-90,-8 13-270,1-11 1,-7 8-271,4-13-629,-10 6 359,5-7 0,-7 3-269,8-10-270,2-2-810,0-2 2159,-3 0 0,11-7 0,-2 1 0</inkml:trace>
</inkml:ink>
</file>

<file path=ppt/ink/ink1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7:35.42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843 381 8972,'21'-32'3598,"-7"11"-2969,-2-4 721,-6 4-451,-3-2-269,-1-7-360,-5 2 0,-1 6-91,-1 4 1,-4 1-90,2 6 0,-5-3 0,1 6-90,-2 2 90,-2 0-90,-3 2 0,-1 1 90,-2 2-90,-1 2 0,-1 1 0,-4 3 0,0 2 0,-5 4 0,-16 10 90,8 1-525,-13 8 435,15-4 90,0 3-90,2 2 90,0 1-90,1 3 90,2 1 0,1 2 0,1 0 0,2 2-90,1 0 180,3 1-90,1 0 0,4-2 0,2 0 0,3-1 90,1 0-227,3 1 136,1 1 1,2 0 0,2 17 0,3-14-266,1 12 266,6-14-90,0 0 0,3 2 90,0 0 0,3-1-90,7 17 90,-2-14-180,7 13 180,-3-17 0,2 0-90,1-3 0,1 0 90,2-4-90,1-1 90,3 0-90,-2-6 0,4 1 0,-2-4 90,3-1-90,-1-2 0,2-2 0,0-2 387,1-1-297,0 0 0,2-3 0,-1-1 0,0-3 90,0-1-90,-1-3 0,1 0 0,1-3 89,1 0-89,1-2-90,3-2 90,0-1-90,2-3 90,20-5 90,-13 0-3330,15-7 3240,-19 3-90,0-3-146,-2-1 146,-2-3 0,-1-1 90,-3-1-90,0-2 90,-3-1-90,-3 0 180,10-14-90,-14 10 0,7-11 89,-14 10-89,-1 0 90,-2-2-90,-3 0 90,-1-2-90,-2-1 90,-2-1-43,-3 0 43,-1 0-180,-3 0 0,-1-1 90,-4-25-90,-2 14-274,-5-22 364,-1 21 0,-2-4 0,-3 1 0,-3 1-90,-2 0 90,-3 2-90,-2 1 0,-2 1 0,-2 1 89,-17-16-178,7 15-91,-14-11 90,12 20-180,-2 3 0,-2 2-90,-2 1-90,-2 3-89,0 2-91,-1 2-179,-1 3-91,-1 4-269,-1 3-360,1 3-360,-1 3-990,2 5-1798,1 1 4652,2 3 1,-2 0-1,-2 0 1</inkml:trace>
</inkml:ink>
</file>

<file path=ppt/ink/ink11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36.20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0 14819,'27'-6'1169,"-2"3"-6476,-10 5 5307,-5 6 0,-4-2 0,-6 1 0</inkml:trace>
</inkml:ink>
</file>

<file path=ppt/ink/ink11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37.02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7 115 9691,'4'33'2789,"-1"-7"-2249,-2-2-1,1-5-179,0 1 90,1 3-90,1 0 89,0 0-179,1 0 0,-1-1 0,1-1-90,-1 0 0,0-2 0,-1-1 269,0-3 451,1 5 89,-1-3 1,0 2-541,-4-5-269,-7-11-90,-4-8-90,-2-8 0,3-5-90,3 0 0,1-3 0,0-3-89,2-4 89,2-3-90,1-2 90,4-2 0,3-1 0,3-2-90,2 1 90,5 1 0,2 3 0,2 2 0,3 5 90,0 4-90,0 3 0,-1 6-360,43 14 450,-38 2 0,28 12 0,-49 4 0,-4-4 0,-3 5 0,-8 2 0,-1-5 90,-15 13-90,7-13-179,-18 10-91,15-13-180,-7 4 0,10-8-179,1-1 89,-1-1-180,2 0 1,1-1-1170,1-2 1889,-1 2 0,9-4 0,-2-1 0</inkml:trace>
</inkml:ink>
</file>

<file path=ppt/ink/ink11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37.25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85 1 12840,'-20'25'1709,"2"-1"-1170,8-9-179,1 3 0,0 1-90,2 2 0,1 1-90,3 1-1,1 1 1,3 1-90,2 1 0,3 1 0,1 1 0,3-1-90,1-1-90,1-1-180,1-1-89,1-2-181,-2-3 0,1-2-89,0-2-181,0-1-179,0-3-181,-1-3-3327,1-1 4497,4-5 0,-8 0 0,1-3 0</inkml:trace>
</inkml:ink>
</file>

<file path=ppt/ink/ink11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37.81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6 197 13289,'10'39'1709,"-2"-7"-1439,-5-10 90,0-5-90,0 1-90,-1-1 0,1 0 0,-1-1 89,1-1 1,0 5 450,0-2 629,0 3-809,-3-4-450,-5-12-90,-4-8 0,0-9 0,0-6-90,3 2 0,0-4 0,1-2 90,1-2-90,2-2 0,1-1-180,1 0 180,7-28 90,0 20-90,6-19 90,-2 29-90,1 2 90,1 3 0,0 3-90,1 2 0,-1 3 90,1 3-90,0 2 90,3 4 0,-1 4-89,2 7 89,-6 3 0,-4 9 0,-8 2 0,-1 2 0,-5 0 0,1-6 0,-2 0 0,0 0 0,-1 1 89,1-2-178,0 0 178,1-1-89,1 0 0,1-2 90,0 5-90,4 1 0,1-2 0,5-2 0,2-5 0,1-1 0,2 0 0,0 0 0,1-1 0,-1 0 0,-1 0 0,0-1 0,-1 0 90,-1 0 180,2 4 0,-3 0 0,-1 4 90,-5-1-90,-6 0-91,-6 0-89,-5-1 0,2-3 0,-2-2-90,4-4 0,-1 0-90,-1 0-90,0-1-89,-1-1-181,-1 0 0,1 0-899,0 0-360,-6-1-810,0-1 91,-4-3 2428,8-2 0,-1-9 0,6-2 0</inkml:trace>
</inkml:ink>
</file>

<file path=ppt/ink/ink11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38.03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21 0 10231,'22'10'4318,"-4"-1"-3599,-3 6 91,-5-1-181,0 3 1,-1 1-180,1 4-90,-1 2-91,0 1 1,-1 3-90,-2 0 90,0 1-180,-2 0 90,-2 0-180,-2 0-90,-3 0-90,-2 1-180,-3 0-89,-3 0-181,-4 0-90,-3 0-89,-4-2-91,-3-1-359,-3-2-180,-3-2-720,-4 0-899,0-4 3058,-4-2 0,-2-2 0,-2-2 0</inkml:trace>
</inkml:ink>
</file>

<file path=ppt/ink/ink11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38.96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6 339 9961,'-23'-11'2609,"10"-4"-2429,14 7 0,13-3 0,3 6-4342,8 0 4342,3 0 769,9 0-679,30-2-180,-9 2-517,-1 1 0,1 0 427,17 0 45,-23 2 0,-1 0-45,25-1 45,-16 2 0,3 0-45,33-1 0,-30 1 0,0-1 90,25 1-90,-6-2 0,5 1 0,-11-1-680,3 0 680,-6 0 0,-1 0 90,-2-1-90,-1 0 0,-2-1 0,-1 1 90,25-4-90,-24 2 0,20-1 0,-30 1 0,-1 0 2528,-1-1-2528,25-2 0,-20 1-629,20-2 629,-27 4 0,0-1 0,0 1 90,-1-1-180,1 2 90,-4 0 879,3-1-879,-6 1 0,2 1 90,-3-1-90,-1 1 873,21-3-873,-16 2-89,16-1 89,-20 2 0,-1 0 0,1 0 0,-1 1 0,1-1 0,-2 0 89,-1 1 108,12-2-107,-14 2 0,8-1 0,-19 1 0,-3 1 90,-2-1 698,-4 1-788,-3 0 540,5-1-1979,-4 1 918,-13 2-468,-9 1-361,-19 3-539,-3 1-539,-5 0 2338,-5 1 0,-6 1 0,-3 0 0</inkml:trace>
</inkml:ink>
</file>

<file path=ppt/ink/ink11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40.33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0 13110,'1'30'1709,"0"0"-1260,0-6 1,1 3 0,1 2 0,0 2-181,2 0 91,-1 1-90,2-2 0,-2 1 0,2-1-180,-1-3 90,-1 0-1,2 6-89,-2-10 0,0 5 360,-1-12 450,0 3 449,-1-1-1169,-4-2-180,-1-12-90,-4-7-90,1-10-270,-1-12 90,3 3 180,0-10-179,3 5-1,2-3 90,3-1 0,1-5 0,4 0 0,2-1 91,2 1-1,3 3 0,2 2 0,0 4 90,1 4-90,1 5 90,-1 3 0,-1 4 0,-1 5 0,6 4 90,-8 4 0,4 3-90,-8 2 90,-2 2 0,-2 1 0,-1 2 0,-1 7 0,-4-3 90,-2 4 0,-3-5 0,-3 1 0,-2-1 0,-3 0-90,-2 0 90,-1-1-90,-2-1 90,1-1-90,-2-1 0,1 0-90,0-1-180,0-1-90,1-1-89,0-1-91,2 0-540,1-2-539,-3 2 1619,2-1 0,4-1 0,4-2 0</inkml:trace>
</inkml:ink>
</file>

<file path=ppt/ink/ink11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40.57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5 0 13739,'-21'22'1349,"2"0"-899,8-6-90,1 3 0,1 1-90,0 1-1,3 1 1,1 1-90,2 1-90,2 0 90,1-1-90,3 2 0,1-1 0,2 0 0,2 0-90,1-1-90,1-2-90,0-1-90,1-2-180,0-2 1,0-1-91,0-3 0,0-1-899,0-3-450,6-2-90,1-5-719,0-3 1850,1-7 0,-12 5 0,-1-1 0</inkml:trace>
</inkml:ink>
</file>

<file path=ppt/ink/ink11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40.96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34 9512,'23'-16'4497,"-6"9"-3867,-8 21-91,-6 3 1,-1 3-180,-2-2 0,1 0-1,-1 2-89,1-1-90,-1 1 0,1 0 0,-1 0 0,0-1 0,0 0-90,0 5 359,0-3 631,0 5-630,-1-6-900,-4-15 270,0-9-90,0-12-90,3-5 90,2 0 91,1-2-1,2-5 0,2-1 90,0-3 0,2 1 0,2 0 0,-1 1 0,2 2 0,1 1 90,1 2-90,1 3 90,0 3-90,1 3 180,0 3 0,0 4 180,0 3-90,6 7 90,-4 2-90,4 7 89,-6 1-89,0 5 90,0 3-90,-1 2 90,-1 2-90,0 1 0,-1 1 0,-1 0-90,-1 1-1,0 1 1,0-1 0,-2-1 0,1 0-90,-2-3-90,0 1-90,-1-2-629,1 7 179,-1-7-899,-1 4-540,-1-4-1978,-2-2 4047,-3 1 0,1-9 0,-2-5 0</inkml:trace>
</inkml:ink>
</file>

<file path=ppt/ink/ink11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41.11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5 117 11221,'-19'-18'4047,"5"1"-3507,12 3-360,11 1-180,3 3-270,7 2-90,-2 3-90,3 0-359,2 2-180,0 0-1350,1 0-1079,0-1 3418,-1 1 0,3-2 0,0-1 0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3:39:20.143"/>
    </inkml:context>
    <inkml:brush xml:id="br0">
      <inkml:brushProperty name="width" value="0.17143" units="cm"/>
      <inkml:brushProperty name="height" value="0.17143" units="cm"/>
    </inkml:brush>
  </inkml:definitions>
  <inkml:trace contextRef="#ctx0" brushRef="#br0">0 0 9602,'32'2'3508,"-3"1"-2429,-11 6-180,-1 3 1,0 5-1,-2 5-179,-1 3 0,-1 5-91,-1 3-89,-1 4-180,-1 1-1,-2 2-89,0-3 0,-3 1-180,-1-2 0,0 1-180,-2-1-90,-1 0 0,-1-2-269,0-1-91,-1-3-180,0-3 1,-1-2-91,0-2-179,1-2-1710,-1-2 2699,1-1 0,1-9 0,0 0 0</inkml:trace>
</inkml:ink>
</file>

<file path=ppt/ink/ink1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7:36.43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220 169 8162,'-24'-26'1709,"2"2"-1349,4 8 0,-1 0-90,-1 1 90,0 1-181,-1 1 91,1 2 0,-1 1 0,1 2 0,-1 1 0,-1 2 0,-2 3-91,0 1 91,-4 3-90,0 2 90,-4 3-90,-2 3 90,-4 5-265,-2 3 175,-3 5 0,0 2 90,0 3-90,0 2 0,0 2-552,2 3 552,-1 1 0,2 2 0,1 1 0,2 2-1,1 0 1,2 2 0,2 1 0,3 0 90,1 1-180,3 1 90,2 2-90,2-1 0,2 2 90,2 0-90,4-2 0,1-1 89,4-2-344,1 1 255,3 0 0,2-2 0,3 1 90,1-2-90,4 2 90,7 17-90,-1-16 0,7 14 0,-1-19 90,2 0-91,4 0 91,16 14-612,-7-15 522,14 11 90,-10-18-90,2-3 0,2 0 90,1-3 90,2-1-180,0-2 90,2-2-1,0-2 1,1-2-90,-3-3 317,1-2-227,18 0 0,-15-5-228,17 0 138,-20-5 90,0-3-90,2-2 180,2-3-180,0-2 328,3-3-238,-1-2 719,-2-3-719,-1-2-657,-1-4 657,-2-1 179,15-17-269,-16 6 0,9-11 90,-19 9-90,-4-2 554,-1-2-554,-3-2 0,-1 0 0,-3-3 0,-1-1 180,4-21-180,-8 16 0,2-16-560,-10 22 560,-1-1 0,-3-1 90,-2 0-90,-3-2 0,-2-1 90,-3-3-180,-3-1 90,-4-3 0,-2 1-90,-5 1 0,-3-1 0,-6 0 90,-26-25-180,7 19-90,13 23 0,-1 2-180,-22-11-270,-6 3-269,-6 5-91,-5 3-1460,-8 5 1010,-7 5 540,41 14 1,-2 3-786,-3 0 0,-1 2-114,-4 0 0,-1 1-1765,-7 2 1,-3 0 3563,-1 0 0,-6 1 0,1 1 0,-6 0 0,-1 0 0,-5 0 0,0 0 0,1 0 0</inkml:trace>
</inkml:ink>
</file>

<file path=ppt/ink/ink12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41.32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28 1 12660,'19'17'2518,"-2"0"-1798,-11-1-180,0 3-1,1 1 1,0 4-90,2 1-1,-1 3-179,1-1 0,-2 1 0,0 1-90,-2-2 0,-1 1-90,-2-2 90,-1 1-180,-4 0-180,-2 0-90,-3 1-180,-3-3-179,-5 2-181,-5-1-89,-4-1-1530,-18 8 2429,-28 1 0,9-7 0,-14-3 0</inkml:trace>
</inkml:ink>
</file>

<file path=ppt/ink/ink12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46.53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0 390 11131,'-25'-8'4047,"10"-3"-3867,18 6 90,14-2-90,12 2-90,10 1 0,12-1-989,9 0 899,9 0 90,10 0-3035,4 1 2945,8 0 90,-6 1-90,-1 2-380,-8 0 470,-3 0-90,-4 0 0,-8 1 180,-6-1 90,-10 0 179,-5 1 91,-7-1 136,-4 0-137,-3 1 583,-3-2-762,-3 0 3157,-2-1-3338,-3-1 632,-2-1-451,-1-1-102,0-4-78,-3-2-90,-2-5 0,-8-4-90,-3 3 0,-3-2 0,0 6 0,-2-1 0,0 0 90,0 1-90,0-1 0,1 2 0,-1 0 0,2 0-180,0 1-180,0-3 90,1 0 90,5-2 90,10 5 0,4 5 90,6 6-90,-1 5 0,2 5 90,2 2 0,0 4-90,2 4 90,-3 0 0,0 4 0,-3-1 0,-2 2 0,-3 0 0,-2 2 0,-4-2 90,-2 1-90,-3-2 0,-3 0 0,-2 0 0,-3-1-90,-3 1-89,0-3-91,-2 1-180,-1-4-629,-5 6 449,4-8-180,-3 3-1079,6-8 1889,-2-1 0,6-4 0,-1-1 0</inkml:trace>
</inkml:ink>
</file>

<file path=ppt/ink/ink12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46.91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23 9152,'23'-7'5397,"-3"6"-4768,-4 9-89,-5 3-90,0 5 0,-4-2 89,1 3-179,1 2 0,1 1-90,1 2-90,0 1-1,0 1 1,0-1-90,-1 0 0,0-2 0,-2 0-90,0-2 0,0 0 0,-2-2-90,-1-2 90,0-1 90,1 4-90,-1-4 0,4-7 0,-1-12 0,1-10-90,-1-7 90,1 1 0,1-3 0,3-5 0,2-2 0,2-2 0,2-2 90,-1 0-90,1 0 90,-1 1-90,-1 2 0,-1 3 90,-2 3-90,-2 4 0,-2 3-270,-1 2-90,-1 3-2428,1-2 2158,-11 13-179,1 0-1,-12 13-89,2 1-271,-5 2-628,-1 1-451,-3 1 2249,-3 1 0,-4 0 0,-3 0 0</inkml:trace>
</inkml:ink>
</file>

<file path=ppt/ink/ink12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47.11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0 15718,'10'26'1529,"-1"-2"-1169,-2-7-90,1 0 0,0 2-90,1 2-91,0 1 91,-1-1-90,1 2-90,-1-2-180,-1 0-89,0 0-181,-1-1-180,0-1 1,-1-2-721,0-1-89,0 2 1439,0-2 0,-2-3 0,0-6 0</inkml:trace>
</inkml:ink>
</file>

<file path=ppt/ink/ink12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47.49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08 77 8252,'-21'1'2879,"0"3"-2160,2 4-89,-1 4 0,-1 4-91,-2 4 361,-12 21-451,7-6 271,-16 31-360,22-24-3033,-8 31 2943,18-29 0,1 12-222,9-16 132,4 0 0,4 0-90,4 2 0,4 2 0,3-1-90,4 0 90,2-2-90,4-2 90,3-5-90,2-2 90,3-4-90,-1-5 90,3-3-90,0-5 0,19-3 0,-14-6 90,15-3-90,-17-9 0,3-5 0,-1-5 90,0-6-90,-1-6-1118,-4-4 1118,-2-5 0,-3-4-478,-3-4 568,-3-3 1924,-4-2-1924,-4-2-1,-5-2 1,-4 4 90,-5 1-90,-5 2 0,-5-1 90,-6 0-90,-6-1 90,-5 3 0,-8 3 0,-5 3-180,-6 3 134,-4 4-404,-26-4 0,14 13-381,-18-3 21,22 16-2071,3 4 1802,-1 5-2279,-26 10 570,17 4-1440,-22 9 4048,25-1 0,-17 8 0,-3 3 0</inkml:trace>
</inkml:ink>
</file>

<file path=ppt/ink/ink12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52.540"/>
    </inkml:context>
    <inkml:brush xml:id="br0">
      <inkml:brushProperty name="width" value="0.08571" units="cm"/>
      <inkml:brushProperty name="height" value="0.08571" units="cm"/>
      <inkml:brushProperty name="color" value="#E71224"/>
    </inkml:brush>
  </inkml:definitions>
  <inkml:trace contextRef="#ctx0" brushRef="#br0">2 1 12930,'-1'29'1619,"0"0"-4362,4 15 3283,-2-7 129,2 18-219,-1-11 463,0 6-463,-1 0-90,0 7-522,0 1 432,0 5 0,0 0 0,0 0-90,-1-5 0,1 0 0,0-5-91,-1-1 1,1-2 0,-1-1-90,1-4 1618,-1-3-2067,1 12 89,-1-17 699,0 10-969,0-20 90,0-4-179,0-1-498,1-4-6878,-1 3 8285,2-4 0,-1-4 0,1-6 1</inkml:trace>
</inkml:ink>
</file>

<file path=ppt/ink/ink12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9:56.740"/>
    </inkml:context>
    <inkml:brush xml:id="br0">
      <inkml:brushProperty name="width" value="0.08571" units="cm"/>
      <inkml:brushProperty name="height" value="0.08571" units="cm"/>
      <inkml:brushProperty name="color" value="#E71224"/>
    </inkml:brush>
  </inkml:definitions>
  <inkml:trace contextRef="#ctx0" brushRef="#br0">187 700 8432,'14'-16'180,"2"3"-180,-2 9 0,3 1 0,2 1 0,3 0 0,4 1 0,-5 1 0,3 0 0,-7-1 0,2 1 0,1 0 0,2 0 90,1-1-90,1 0 0,0 0 0,2 0 0,0 0 0,2-1 0,1 0 0,2-1 0,0 1 0,1-1 0,0-1 0,0 0 0,2-1 0,0 0-3392,2 0 3392,2-1-158,1-1 158,1 1 0,-1-1 0,1 0 0,-1 1 0,0-1 0,13-2 0,-12 2 0,8-1 0,-15 3 0,0 0 0,-1-1 0,1 0 0,0 0 0,0 0 0,3-1 0,17-3 90,-9 1 0,12-3 2975,-15 4-2975,0-2 228,0 1-228,1 0-90,0 0-121,-1-1 211,1 2 0,-2-2 0,0 2-90,-3-1 90,-2 2-1,10-4-89,-11 4 430,10-3-340,-15 3 0,0 1-90,-1 0 179,0 0 40,0 0-39,1-1-180,0 0 90,1 0-90,0 0 90,1 0-90,0 0 90,14-3 0,-9 2-638,11-2 548,-14 3 0,0 1 87,0-1-177,0 1 180,1-1-180,-2 2 180,1 0-180,0 0 728,-1-1-638,15-1 0,-11 2 90,10-2 0,-14 3 3,-1 0-93,1 1 90,0-1-90,0 0 90,1 1-180,-1-1 180,1 1-90,-1 0 0,1 0 0,-1 0 89,13-1-89,-11 1 0,10-1 0,-13 2 0,-3-1 90,-1 0-180,-1 1 180,0-1-180,-1 1 180,-1-1-180,1 1 180,-2-1-90,12 0 0,-10 0 0,9-1 0,-11 2 0,11-2 90,-7 1-180,8 0 180,-10 0-180,0 1 180,1-1-180,-1 0 180,1 1-180,0-1 180,1 1-90,-1-1 0,1 1 0,1 0 0,-1 0 0,0 0 90,2 0-90,-1 1 0,1 0 0,-1 0 90,1 0-90,-2 1 0,2-1 90,13 2-180,-8 0 180,11-1-90,-11 2 0,-2-1 0,3 1 0,-1 0 0,0-1 0,1 1 0,0 0 0,15 1 0,-12-1 0,11 1 0,-15-2 0,-1 1 90,1 0-180,-1 0 180,0 0-180,0-1 180,-1 0-90,-1 1 0,-1-1 0,12 1 0,-11-1 0,9 0 0,-12 0 0,0-1 0,0 1 0,0 0 0,0-1 0,-1 1 90,1-1-180,-1 0 180,1 1-90,-1-1 0,0 0 90,12 1-180,-10-1 180,11 0-180,-13-1 180,1 1-90,-1 0 0,18-1 0,-10 1 0,12-1 0,-14 0 0,0 1 0,0-1 0,1 0 0,-1 0 0,1 0 90,-1 0-90,0 0 90,0 0 0,-1 0-90,1 0 90,-1 0-90,1 0 0,-1-1 0,1 1 90,14-1-90,-11 1 0,11-1 90,-15 1-90,0 0 0,0 0 0,1-1 90,0 1-90,0 0 0,-1 0 90,15 0-90,-11-1 0,12 0 90,-16 0-90,2 1 90,-1-2-90,15 0 90,-11 0-90,12-1 89,-15 2-89,2-2 90,-1 2 0,2-2-90,2 1 90,1 0 0,2-1 0,0 1 0,1 0-90,-3 0 90,0 1 0,14-1-90,-13 1 0,12 1 0,-17 0 90,0 1-90,-2-1 0,1 2 0,0-1 0,0 1 0,1 0 0,0 0 0,1 0 0,0 2 0,1-2 0,19 2 0,-11 0-364,12 0 364,-18-1 0,1 0 0,-1 0 90,4 0-180,-3 1 90,3-1 0,-3 0 90,3 1-90,0 0 0,0-1 0,-1 1 0,0 0 0,0 1 0,18 1 0,-14-1-437,14 1 437,-19-1 0,-1-1 0,0 0 0,-2 1 286,-2-2-196,1 1-90,-1-1 0,1 0 0,-1 0 0,1-1 0,1-1 0,-1 1 0,1-2 0,3 1 0,22-2 0,-13 1 0,17-1-90,-20-1-103,2 1 103,0-1 90,4 1 0,-3-1 0,2 0 0,18-1 0,-17 0-647,15 1 647,-22 0 0,-2 0 408,0 1-408,-1-1-90,-4 1 180,0 0-180,-3 0 90,-1 1 0,0 0 0,-1 0 58,0 0-58,14 0 0,-11 0 0,12 2 0,-13-1-2882,0 1 2882,3 0-658,2 1 658,2-1 0,0 1 0,0 0 0,1 1-39,-1-1 39,0 0 0,0 1 0,0-1 0,-1 1 0,17 1 0,-16-1 0,12 1 0,-19-1 0,0 0 0,-2 0 90,1 0-180,-1 0 180,-1 0-90,1 1 0,1 0 947,-1 0-857,1 0-90,-1 1 0,3-1-90,-2 1 90,17 1 90,-14-1-180,11 1 180,-16-3-180,0 1 243,-1-1-153,0 0 0,0 0 0,0-1 3360,0 0-3360,1 1 98,-1-1-98,1 1 0,-1 1-90,1 0 90,0 0 0,15 2-90,-11 0 90,11 1 0,-15-1 0,15 4 0,-12-3 0,12 2 0,-14-2-90,-1 0 90,1 0 0,-2 0 0,-1 0 0,1-1 0,-1 1 0,1-1 0,-1 0 0,0 1 0,0-1 0,0 0-90,-2 0 90,0-1 90,-1 0-90,-3 1 0,0-1 0,7 2 0,-8-3-90,7 3 90,-11-3 0,0-1 0,0 2 0,-1-2 0,-1 0 0,-1 0 0,-1 0 90,7 1-180,-6-1 180,5 0-180,-7-1 90,-1-1 90,2 0-180,-2 0 90,1-1 0,7 1 0,0 0 0,6-1 0,-2 1 0,-2-1 0,-2 1 0,-1-1 0,-2 0 0,0 1 0,-1 1 0,0 0 0,0 2 0,0 2 0,0 1 0,-1 5 90,-4-2-180,-2 2 180,-4-2-90,-2 1 0,0 2 0,-1 0 0,-1 3 90,0 1 0,-1 3 0,-2 2-90,0 2 90,-2 2-90,-1 3 90,0 1-90,-2 3 90,0 2 0,-1 2 0,-1 2 0,-1 3 0,0 1-242,-1 2 152,0 0 90,0 1-90,-5 28 0,3-17 0,-3 20 0,3-23-720,1-3 720,-1 1 0,2-4 0,-1 2 0,1-2 0,1 0 0,1-1 0,0 1-2983,-2 20 2983,2-15 0,0 15-1350,-3 18 1440,3-31-226,-3 28 226,1-39-180,0-2 180,-1 1-180,-1-2 180,-2 1-90,0-1 0,-3 2 0,1-2-90,-13 22 90,6-18 0,-8 13 0,7-19 0,1-5 0,-3 1 0,-1-2 0,0-2 0,-1 0 90,0-3-90,0-1 343,-1-1-343,-2-1 90,0-1-90,-20 9 0,9-8 2131,-12 5-2131,13-11 90,-1-1-90,-3-2 0,-4-1 0,-3-1 89,-2-2-178,-4-2 178,-2-1-89,-2-2 0,-3-1 1284,-2-2-1284,-3 0-1355,0-2 1355,-1-1-90,1-1 90,0-1 0,1 0-772,1-1 683,1 0-68,1 0 157,0-1 0,1 1-90,0-2 180,0 2-180,0-2 90,0 0 0,-30-2-90,21 2-88,-22-2 88,27 1 90,-3 0-90,-1 0 0,-3 0-90,-6-1 90,-3 0 232,-7 0-142,1-1-90,0 1-793,31 2 0,0 1 883,-29-1-45,34 1 0,1 1-149,-18 1 104,2 0 216,2 1-126,1 2 0,2 0-90,-1 2 180,1 0-180,0-1 90,-1 2-90,-2-1 180,0 0-135,16-2 0,-1 0-135,-28 1 222,26-2 1,0 1-133,-25-2 90,-7 0-90,-3-1 90,-6 0 1206,1-1-1206,1 0-90,6-1 233,4-1-233,7 1 90,23 0 0,-1 0 90,-26-2-135,28 2 0,1 0 135,-17-1-180,2 0 218,0-1-218,1 1 180,-1-1-180,0 0 180,0 1-180,-1 0 90,-1 0-90,-2 1 90,-1-1-90,18 2 0,0 0 0,-30-1 45,12 0 0,0 0 135,-12-1-102,28 1 0,1 1 102,-20-3-90,2 1 554,2-1-554,1 1 0,1 0 0,2 1 90,2 0-90,0 0 90,2 1-180,4 2 597,1-1-507,0 2 90,-1-1-180,-3 2 180,-1 0-180,1 1 180,-1 0-180,0 0 180,-2 1-90,-31 2-90,22-2-179,-24 3 180,29-3 178,1 1 373,1 0-462,0 0 0,3 1 0,1-1-90,2 1 180,0 0-180,3 0 180,3 0-90,2 1 410,3-3-320,0 2-180,-24 2 90,16 0-99,-20 1 99,21-2 0,0-1 0,-2 1 0,-25 3 0,17-3 0,-20 2 0,25-2 0,1-1 0,0 1 0,0-1 0,1 0 0,1 1 0,1-1-90,-24 3 90,19-1-90,-18 2 90,25-3 0,-1-1 0,1 1-90,-1 1 0,-1-1 90,0 1 0,-1-1-90,0 1 90,0-1-90,-1 1 90,1-1 0,-2 1 0,2-1 0,-2-1 0,0 1-90,-28 2 90,19-3 109,-21 1-109,25-2 0,-1-1 329,0-1-329,-29 1 90,23-2-608,-22-1 518,30 0 0,1-1 0,4 0 90,-2 0-90,6 0 84,-3 0-84,4 0 0,0 0 0,-3 0 0,-21-1 90,16 0 0,-14 0-90,24 1 0,0-1 90,1 1-90,0 0 0,2 0 0,0 1 90,2 0-90,1 0 835,3 1-835,-15 0 0,16 0 0,-12 0 0,18 0 0,0 0 181,1 0-181,-14 1 0,11-1 0,-8 0 0,16-1 0,1 0 0,1 1 0,1-1 0,0 0 0,0 0 0,1 1 934,2-1-934,0 0 591,-7 0-501,-22-1-90,18-1 0,-11-1 0,31-1 0,0 0 0,2-2 0,-1 0 90,1-1-90,1-1 0,0-1 0,1 0 0,0-1 0,0 0 0,1-1 0,-1-1 89,-1-1-178,1-1 89,-1 1 89,1-2-89,-1 1 0,0-1-89,1 0 89,0 0-90,-1-1 90,1 0 0,0 0 0,1 0 0,0-1 0,0 0 0,1-1 0,0-1 0,-3-8 0,3 4 0,-4-6 0,5 7 0,-1-3 90,0-1-90,-1-3 89,2-1 1,-3-16 0,3 8-90,-1-13 90,4 13 0,0-3 0,2-3 0,1-4 0,2-1 0,0-2-378,1-6 378,2-4 0,0-4 90,3-33-180,-2 22 90,2-22-1022,-3 31 1022,-2 2-90,-1 5 90,-2 3 0,-1 5-90,-1 2-90,-2 3-90,-1 2-269,0 2-91,-1 5-539,0 3-1080,-1 4-810,1 4 2969,-1 2 0,-1 1 0,-1 1 0</inkml:trace>
</inkml:ink>
</file>

<file path=ppt/ink/ink12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0:36.26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304 7263,'2'-27'3328,"0"5"-2608,0 0-91,0 6-89,1 0-90,0 0 179,1 2-269,1-4-90,1 2 539,1 1 91,5 9-450,1 11-1,0 7 91,-1 6-180,-3-3 0,0 3-1,0-1-89,1 2 90,0-1-180,1 0 90,0-1 0,1 0 0,2-2-1,0-1-89,3-2 0,0-2 0,4-2 0,1-3-90,2-2 0,3-3-90,1-3 90,3-2 0,2-5-90,0-1 90,2-4-90,-1-3-90,13-12-90,-13 4-320,9-7 140,-16 7 1,-2 0-91,-3 0-90,-1 2-90,-4 1-89,-3 3-1440,2-5 2159,-6 9 0,-1 1 0,-6 10 0</inkml:trace>
</inkml:ink>
</file>

<file path=ppt/ink/ink12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0:36.48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1 503 9512,'-6'29'5486,"2"-2"-4586,8-16-91,3-4-89,10-11-90,4-7-91,8-10-89,7-5 0,9-10-2758,4-5 2578,4-5 0,0-2-764,0-1 674,-5 4-90,-4 1 90,-6 6-274,-4 3 94,-5 4 0,-4 5-270,-5 5-359,-4 3 2018,0 3-3548,-5 3-6679,1 3 8838,-8 14 0,1-4 0,-7 9 0</inkml:trace>
</inkml:ink>
</file>

<file path=ppt/ink/ink12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0:37.99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3 181 11311,'-28'-7'2788,"5"-4"-2608,15-5 0,5 0-180,7-3-90,4 4-180,4-2-180,3-1-179,3 1-91,2 1-180,0 3-898,1 3 1798,-3 5 0,6 6 0,0 3 0</inkml:trace>
</inkml:ink>
</file>

<file path=ppt/ink/ink1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8:07.36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33 395 12030,'-4'-28'4498,"0"2"-3689,0 8-89,-1 1-271,1 1-269,0 14 0,3 18 0,1 7-90,5 29 0,-2-18-90,2 15 90,-1-12 0,-2 2-90,0 0 90,0 1-90,-2 0 90,0-1-90,-1 0 90,-1-1-90,0-2 0,-1-2 90,0-2-90,-1-4 90,1-1 0,0-4 179,0-3 271,-1-3-180,0 1-180,-4-6-90,-3-6-180,0-8 90,-1-8-90,3-5 90,0-6-90,1-5 0,0-8 0,1-5-316,0-7 316,3-6-674,1-5 764,3-5-90,3-2 0,3 0 90,10-27-90,1 23-761,9-18 761,-1 32 90,1 4-387,4 6 297,1 4 90,-1 7 195,2 7-195,-4 8 0,1 5 0,-3 5 598,0 5-598,0 5 893,-1 4-893,0 4 469,-2 3-379,-2 4-17,-3 2 17,-2 3 0,1 14-90,-8-9 180,0 10-180,-9-13 180,-4 1 0,-3 0-90,-5 1 90,-5-1-90,-5-1 0,-3 0 90,-4-3-90,-2-2 0,-2-3-90,-1-2 179,-12 0-179,11-6 0,-8-1-179,15-5-91,3-2 90,0-1-180,2-1-90,2 0-719,-2-4-450,7 1-720,-2-4-1619,14-1-179,6-3 4137,7 2 0,8-2 0,-1 2 0</inkml:trace>
</inkml:ink>
</file>

<file path=ppt/ink/ink12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0:38.11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3 217 9422,'-26'29'3058,"4"-4"-2428,9-14 1079,2-1-1709,10-18-270,7-1-180,34-33-180,-2 11-731,20-14-797,-11 12-901,2 2 3059,1-1 0,-1 2 0,0 0 0</inkml:trace>
</inkml:ink>
</file>

<file path=ppt/ink/ink12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2:05.11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1 1 13829,'1'20'2968,"-1"0"-2248,-2-1-90,0 3-91,1 3-89,-1 4 0,1 2-90,-1 2-91,1 1 1,0 1-180,1-1 180,0 0-270,1 1 0,0-2-180,1-1-270,-1-2-179,1-2-271,-1-2-359,2-2-360,-1-2-6836,1-3 8455,2 0 0,-2-10 0,1 0 0</inkml:trace>
</inkml:ink>
</file>

<file path=ppt/ink/ink12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2:05.29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34 17607,'10'-19'0,"-1"4"0</inkml:trace>
</inkml:ink>
</file>

<file path=ppt/ink/ink12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2:05.65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3 12750,'20'-2'5127,"-1"7"-4498,-12 7 1,1 5-180,-4-3 90,0 1-1,1 1-89,-1 2-90,0 0 0,-1-1-91,0 0 1,0 0-90,0 0 90,-1-1-90,0 6 0,-1-2 90,1 3-180,-1-3-90,7-16-90,-1-1 90,8-14-90,-2 3 90,3 0-90,1 1 90,2 1-90,0 2 90,1 2 0,0 2 0,0 2 90,0 2-90,-1 2 90,-2 2-90,-1 2 90,-2 1 0,-1 2-90,-3 0 0,-2 1 90,-2 0-270,-4 7-180,-2-4-180,-3 3 0,-3-6-179,-2 0-91,-1-1-89,-4 0-91,-1-3-179,-2 1 0,0-3-91,-3-1-89,1-3-1169,0-1-1260,0-3 3778,0-2 0,-3-5 0,-1-3 0</inkml:trace>
</inkml:ink>
</file>

<file path=ppt/ink/ink12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2:05.79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8 408 0,'-4'-25'3029,"2"0"672,0 1-2622,2-1-90,1 1 1410,0-1-1590,2 1 1,1 0 679,2 1-949,2 0 3301,1 2-3481,2-1-90,1 4-90,3-1 0,0 4-90,2 1 0,0 3-270,1 0-180,1 3-180,1 1-89,0 1-91,1 2-359,1 1-91,-1 1-179,1 1-1259,1 0-1260,0 1 3868,1-1 0,4 0 0,1 0 0</inkml:trace>
</inkml:ink>
</file>

<file path=ppt/ink/ink12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2:05.97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8 1 9691,'23'5'4678,"-2"1"-3329,-9 1-90,0 3 1,-2 3-181,-1 3 0,-1 4-179,-3 1-91,-1 3-89,-3 2-180,-1 0-91,-2 4-89,-2 0 0,-1 1-90,-2 1-90,0 0-270,-1-1-180,0-1-270,-1-1-89,1-1-361,-2-1 1,2-3-181,0-2-179,1-3-270,0-3-3418,0-1 5037,-1-1 0,4-8 0,-1 1 0</inkml:trace>
</inkml:ink>
</file>

<file path=ppt/ink/ink12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2:06.09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1 118 14819,'-11'-28'5576,"1"4"-7914,4 8-2699,2 0 5037,8 3 0,14 1 0,8 4 0</inkml:trace>
</inkml:ink>
</file>

<file path=ppt/ink/ink12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2:06.21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14549,'21'14'-23,"-2"0"1,-12-10-1,-1 0 1</inkml:trace>
</inkml:ink>
</file>

<file path=ppt/ink/ink12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2:06.48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01 103 11311,'-23'5'5576,"1"0"-4047,3-1 630,2 0 450,-2 0-2339,20 0-90,4-2 89,24-1-269,34-7-180,-7 0-1022,27-4 752,-18 1-90,0 0-90,0 0-179,-2-1-181,-2-1-359,-4 1-360,-7 0-1889,-5 1-2534,-7 0 6132,-5 1 0,-5 0 0,-1 0 0</inkml:trace>
</inkml:ink>
</file>

<file path=ppt/ink/ink12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2:06.73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2 36 13829,'-28'19'7646,"4"0"-6477,26-6 0,7-1-269,16-2-1,8-4 1,8-2-741,13-1 471,5-1 0,7-2-1320,3-2 690,0 0 0,1-1 0,-3-1 0,-2 0 0,-7 0-581,-5 0 581,-7 0 0,-5 1 0,-4-1 0,-7 1 0,-2-1 476,-5 1-476,-3 0 859,-2-1-1039,-3 0-3642,-1-3-495,-5-4-5514,-7 0 9208,-10-2 0,-9 0 0,-3-1 0</inkml:trace>
</inkml:ink>
</file>

<file path=ppt/ink/ink1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8:07.60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2 43 9332,'28'-14'3598,"-4"1"-2069,-11 6 1079,2-1-1978,-5 9-180,-4 2 89,-8 11-89,-8 3-90,-1 4-90,-3 3 90,0 5-91,0 3-89,1 3 0,2-1-90,1 3 0,2-2 0,2 3 0,2-2-180,4-1 90,0-1-180,3 0 0,1-1-90,2-2-89,2 0-91,0-2-180,2-3-89,2-2-91,0-3-359,1-3-1,1-5-179,2-2-1169,-1-5-1350,2-3 3868,-1-6 0,4-4 0,1-3 0</inkml:trace>
</inkml:ink>
</file>

<file path=ppt/ink/ink12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2:38.07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6 223 10501,'-2'-29'4138,"1"2"-3239,1 7-539,1 1-90,1 18-180,-1 8 0,1 12 359,-1 4-359,1 19 90,0-14-90,1 20 0,-1-22 90,0 2-90,0-1 90,0 0-90,-1 0 0,1 0 0,-1-1 90,1-2-180,-1 1 90,0-4 0,0 0-1,0-3 271,-1 5 180,1-3 180,0 3-810,-9-16 0,4-7 0,-6-16-90,5-4 90,0-6 0,1-5 0,0-8-90,2-4 90,2-5-446,1-2 446,3-4 0,7-15 90,0 17 0,3-9-90,-1 25 90,0 5-90,3 5 90,-1 5-90,2 5 90,1 4 0,-1 4 0,1 4 0,-2 3 446,1 4-446,-2 4 90,-1 2-90,-1 3 0,-2 2 90,-3 3-90,-1 1 90,-4 0 90,-3 12-90,-3-6 0,-5 9 0,-2-10 0,-2 1-90,-2-1 90,-3-2-90,0 0 90,-2-2-90,0-1-90,-1-2-90,1-2 0,0-2-180,1-3-449,-7 1-630,7-4-91,-9-1-2157,8-5 3687,-3-3 0,10 1 0,4-1 0</inkml:trace>
</inkml:ink>
</file>

<file path=ppt/ink/ink12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2:38.37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15 20 13110,'-12'-12'2698,"1"5"-1978,-6 18-181,1 5 91,-3 6-180,-1 4-1,-3 7-89,0 4 0,2 1-90,3 2 90,4-1-180,3 1-1,4-1 1,4-1-90,5-1 90,4 1-90,3 0 0,6 3 0,4-1-336,3 1 246,1-5-180,2-3-89,-2-3-181,2-2-90,-1-2-269,-2-3-91,-1-4-269,-3-2-360,-1-4 1529,3-2 0,-10-5 0,1-2 0</inkml:trace>
</inkml:ink>
</file>

<file path=ppt/ink/ink12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2:39.21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 1 13739,'-1'8'4947,"0"-5"-4317,1 39 0,0-11-91,1 3 1,0 4-90,0 4-90,0 2-466,1 2 376,1 0 0,-1-1-91,2 0 1,-1-1-90,1-2 90,-1-2-180,0-3-90,0-1-90,0-2-179,-1 0 1,-1-3-181,0-2-271,0-4-89,0-2-900,-1-2-1080,0 3 2949,0-6 1,0-3 0,-1-8 0</inkml:trace>
</inkml:ink>
</file>

<file path=ppt/ink/ink12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2:39.78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11 1 15628,'-23'29'1529,"3"0"-1169,7-8 0,1 3-90,0 1-1,1 1-89,3 0 0,1 0 0,3 0 0,3 0-90,2-1 0,4 1 0,2 0 0,3-1 0,3-1 0,2-1 0,3-1 0,1-3-90,3-2 90,0-3-90,1-2 0,-2-2 0,1-4 90,-2-3-90,0-2 0,-1-4 90,1-3 89,-2-2-89,0-2 0,-1-3 0,-1-2 180,-1-3-180,-2 0 90,-3 0-90,0 0 180,-3 0-180,0 2 180,-2 0-91,0-3-89,-3 2-90,-4-2 90,-5 5-90,-8 7 0,2 7 90,-4 6-90,6 7 90,4 3-90,6 5 0,4-4 0,4 0 0,2-4 90,2-1-90,2 0 0,3-1 0,-1-1 0,3-2 0,0 0-90,1-3 180,0-1-180,-1-2 90,0-1-90,-1-2 90,-1-3-90,0-2 90,-1-2 0,-2-3 0,-2-2 0,-1-2 90,-3 0-90,-1-2 90,-4 2 0,-2-2-90,-2 2 0,-3-1 90,-3 1-180,-2 1 180,-2 1-270,-2 2 0,-1 0-179,-1 3-631,-6-2-629,6 5 0,-8-1 1619,9 4 0,3 1 0,6 2 0</inkml:trace>
</inkml:ink>
</file>

<file path=ppt/ink/ink12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2:40.03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0 10591,'28'0'3868,"-5"2"-3149,-9 4-89,-4 1 90,0 3-181,1 2 1,0 2-90,-1 2-180,1 1 89,-1 0-89,1 1 0,-1 0-90,1 1 0,-1-1 0,0 0 0,-1-1-90,1 0 89,-1-1-89,0-2 270,-1-1 720,-2-2-1,2 2-90,0-2-629,4-6-180,-1-11-90,-1-5 90,-3-7 0,-1 2-90,-1-2 0,0-1 0,-1-2-90,1 1-90,-2 0-270,1 1-90,-1 1-1079,-1 2-900,1-5-2068,-1 2 4497,1-4 0,-2 11 0,0 3 0</inkml:trace>
</inkml:ink>
</file>

<file path=ppt/ink/ink12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2:40.19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12480,'23'17'3508,"-4"-1"-2609,-11-7-89,-1 2-91,-1 1-179,0 0-90,0 2-90,-1-1 0,0 2-91,-1 0-89,-1 0-180,1 0-270,-1 0-629,-1 1-720,0 5-990,-1 0 2609,0 3 0,-1-11 0,0-5 0</inkml:trace>
</inkml:ink>
</file>

<file path=ppt/ink/ink12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2:40.34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3 299 10501,'-12'-29'4407,"1"2"-3327,3 8-181,1 0-89,0 1-270,0 1-1,2 0-179,0 1-90,0 2-360,2 0-810,0-5-1078,4 0 628,4-3-1618,1 6-1799,5 1 4767,-2 7 0,-4 3 0,0 1 0</inkml:trace>
</inkml:ink>
</file>

<file path=ppt/ink/ink12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2:40.47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11221,'23'22'3508,"-4"0"-2609,-8-6 91,0 5-181,0 2 1,0 3-91,0 3-89,0 3-90,-1 2-5128,1 1 4588,-3-1 0,-3-16 0,-2-3 0</inkml:trace>
</inkml:ink>
</file>

<file path=ppt/ink/ink12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2:40.67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74 385 25882,'-15'19'630,"1"-3"-1440,2-7 1710,-1-1-1170,0-2-540,-5-1-1258,0-3 1618,-4-6-180,6-2 270,1-7 91,6 0-1890,1-3 2189,28-34 0,20-22 0,-6 12 150,-8 13-180,28-51 0,-4 28 90,-41 78-180,0 0-1260,7 14 91,-6-9-450,6 15-540,-10-10 2249,0 12 0,-3-15 0,-2 3 0</inkml:trace>
</inkml:ink>
</file>

<file path=ppt/ink/ink12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2:41.35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43 1 15178,'15'24'1709,"0"2"-1169,-5-3-90,1 4-4342,1 4 4252,-1 2-90,1 4 227,0 1-228,-2 0-179,-1-1 180,-1-1-90,-3-2 0,-1 0 0,-1-1-90,-4 0 90,-1-1-90,-4-1 3078,-3-1-3078,-3-2 0,-2-2 946,-3-3-946,-11 6 0,6-10-90,-8 2 90,10-12-90,2-4 0,0-3-90,2-3-90,0-4 0,2-4 0,1-4-90,1-12 180,5 4 0,2-9 1,7 7-1,2 0 0,4 0 0,2 0 90,3 1-90,1 1 90,2 3 0,1 2-90,1 3 90,9 2 0,-7 4-90,16 2 90,-16 6 0,8 2 0,-8 3 0,8 5 0,-7-1 0,5 4-270,-8-4-540,4 5 271,-5-3-181,2 3 1,-7-6-1170,-2-1-1709,3 2 3598,-2-4 0,-3 0 0,-2-4 0</inkml:trace>
</inkml:ink>
</file>

<file path=ppt/ink/ink1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8:07.98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342 8612,'12'-29'3148,"-2"5"-2068,-4 9 539,1 1-540,2 5-449,1 8-91,0 7 91,-2 10-90,-2 2-1,0 2-89,0 5 360,2 14-360,-1-7-181,1 11 1,-4-12-3482,0-2 3482,-1-1-180,-1-2 180,0-1-90,-2-2 89,1-2 361,-2-1 0,0 3 3212,-2-2-3573,-3-1-359,-4-10-89,-3-14-1,1-8-180,0-9 90,4-3 90,2-6-90,1-5 0,3-5 90,2-5-494,3-7 584,2-2 0,3-2 90,2 2 0,1 4 90,1 4 0,1 6-157,1 3 157,0 6-90,1 2 180,0 7 0,-1 3 0,2 5 851,-2 6-762,9 5 1,-6 6 0,6 5 70,-5 5-160,0 3 0,2 5 0,-1 4 0,1 2-90,-2 4 0,0 0 0,-2 1-180,0 1 0,-2-1-270,-2-1-90,-2-1-989,1 9 630,-4-9-91,1 6-89,-5-15-1,-1-1-1708,-2-3-1620,-2 3 4318,-4-4 0,3-4 0,-2-6 0</inkml:trace>
</inkml:ink>
</file>

<file path=ppt/ink/ink12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2:41.54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8 13199,'29'-6'3419,"-3"4"-2250,-15 13-90,2 5-89,0 5-1,1 6-89,1 4-1,1 7-179,0 1-91,-1 2-179,-2-1 0,-2 0-90,-1-1-181,-2 0 1,-3-1-180,-1-4-269,-3 1-181,-2-1-180,-3 0-89,-2-2-271,-2 0-179,-4-2-270,-3-1-4228,-13 8-1259,5-11 6926,-10 2 0,4-13 0,-1-2 0</inkml:trace>
</inkml:ink>
</file>

<file path=ppt/ink/ink12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2:42.48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4 80 9422,'-23'-22'4767,"4"3"-3508,7 8 1080,2 1-2159,12 1 0,3 4-90,13 2 89,1 5-89,6 1 0,2 1 0,2 1-90,1 1 0,-1-1-90,0 1-269,-3 0-91,-2 0-90,-3-1 0,-1 1-89,-4-1-810,-2 0-3419,-1 1 4858,-10 2 0,-9-6 0,-11-3 0</inkml:trace>
</inkml:ink>
</file>

<file path=ppt/ink/ink12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2:42.68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8 48 10051,'-12'-25'4768,"0"4"-3779,6 20-359,2 8-361,2 16 1,1 0-90,0 2 0,1-3-90,0 0 0,1 3 0,-1 1 0,0-1 0,0 1 0,1 0-90,-1 1-90,0-1-90,0 0-180,0-1 0,0 0-179,-1-1-181,1 0-89,0-2-181,0-1-179,0-3-4138,1 0 5307,2 2 0,-2-10 0,2 1 0</inkml:trace>
</inkml:ink>
</file>

<file path=ppt/ink/ink12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2:43.01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32 10411,'21'11'1979,"-2"1"-1529,-10-2-1,1 3 1,0 1 0,1 2-180,0 1 90,1 0-91,0 1 1,0 0 0,1 1 0,-1-1 0,0-1-90,-1-1 90,-1-1-1,0-2 181,-2-1 719,-1-1 271,2 2-271,0-2-719,4-5-270,-4-11-90,0-6 89,-3-7-179,-2 1 90,1-4-90,-1-1 90,0-1-90,-1-1 0,0 0-180,0 2-179,-1 0-91,0 3-360,-1 1-1169,0 1-359,-1-2-2699,-2 3 5037,-3-2 0,2 10 0,-1 3 0</inkml:trace>
</inkml:ink>
</file>

<file path=ppt/ink/ink12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2:43.55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4 34 14549,'19'-15'629,"-7"2"-719,-21 8 1080,-1 5-720,-3 32 0,10-16-1,4 19 1,10-24-90,1-2 0,2-3 0,2-3-90,0-5-90,0-4 90,-1-6-90,-3-4 0,-4-2 0,-5 0-90,-7 4 90,-8 4 0,-8 6 0,2 5 0,-2 5 0,-9 12 0,14-6 90,-10 11-90,19-12 0,2 8 0,4-5 90,3 6-180,5-6-180,2 0-90,3 0-180,3 1 1,2 0-271,3-1-269,0-1-180,1-1-1080,-1-1-989,1-3 3328,-2-1 0,4-3 0,2 0 0</inkml:trace>
</inkml:ink>
</file>

<file path=ppt/ink/ink12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2:44.17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1 1 12210,'-21'11'4048,"11"3"-3868,20-8 0,7 2-91,10-5 1,0 0-359,2-1-91,3 1-270,1-1-179,-1 1-181,-1-1-1528,-3 1-4742,-4 0 7260,-1 0 0,-11-1 0,-4-1 0</inkml:trace>
</inkml:ink>
</file>

<file path=ppt/ink/ink12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2:44.32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0 11 9781,'-24'14'4498,"2"-2"-2519,9-5-1709,19-3-180,-1-2 89,20-4-89,0-1-90,3-1-180,2 0-269,1 0-91,0 1-270,0-1-269,0 0-1439,-1 1-1440,-2 0 3958,-1-1 0,1-1 0,0-2 0</inkml:trace>
</inkml:ink>
</file>

<file path=ppt/ink/ink12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2:45.12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29 305 9332,'22'4'2518,"-4"1"-2068,-5 9 0,-4-1-90,0 4-91,-1 1 91,-1 2-90,-1 1-90,-2 1 90,-1 0 0,-2-1-91,-1 1 451,-4 8-360,0-6 0,-4 5-90,1-11 90,-2-1-91,-1-1 271,-6 2-270,3-6 0,-5 1 90,5-8-90,-5-3-90,3-3-90,-3-3 90,6-5-90,1-2 0,1-4 0,2-2-3392,2-3 3392,2-3 0,3-2 0,0-3 0,4-2-90,1-3 90,2-3 0,2-2 0,1-2 0,1 1-90,-1 0 90,1 3-90,-1 2-2179,-2 3 2269,0 3 2269,1-7-2359,-4 12 90,1-5-90,-6 7 90,-7 3 0,-1 2 3392,-12 8-3482,6 6 90,-8 4 0,6 2 90,-1 3-90,1 1 0,0 2 0,1 1 0,2 2 0,1 0 0,2 2 0,2 1 0,3 0-90,1 1 0,3 0-90,3 1-90,3 0-179,4 1-1,4 0 0,3-1-180,4 0 91,3-1-181,2-2-89,2-2-1080,1-3 180,15-1-360,-9-6 2069,10-2 0,-9-7 0,0-2 0</inkml:trace>
</inkml:ink>
</file>

<file path=ppt/ink/ink12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2:45.37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40 7982,'20'-10'5577,"-9"10"-5307,-14 12 0,-4 3-90,-3 6 90,6-7 179,1 0-269,3 8 0,1-5-90,5 6 90,1-7-90,2 0 0,2 0 0,2-2 0,1-1 90,1-1-90,0-2 90,1-1 0,-1-2 269,0-2-89,3-3-270,-1-5 0,-1-3 0,-4-5 0,-6-2-90,-3-2 90,-1-1-90,-2-3 0,-3-1 0,-2 0 0,-2 0 0,-2 0-180,-3 2-180,-1 0-90,0 1 1,-3 2-181,1 3-3328,-19-7 3958,12 9 0,-6-3 0,20 11 0</inkml:trace>
</inkml:ink>
</file>

<file path=ppt/ink/ink12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2:45.56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13 1 10141,'19'11'3328,"-4"2"-2428,-9-2-91,-2 4-89,-2 1-90,-3 4-91,-2 1-179,-1 4 0,-2 2-90,-1 1-90,0 1-1,-1 0 1,0 1-90,0-1 90,-1 1-270,0 0-180,-1-2-179,1 1-181,0-1-90,-1-2-359,2-2-180,-1-1-1440,1-3-1618,0-1 4317,-1-2 0,5-8 0,0-3 0</inkml:trace>
</inkml:ink>
</file>

<file path=ppt/ink/ink1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8:08.47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8 385 9152,'-19'-13'3688,"2"2"-2789,6 1-269,4 1-270,4-3-181,11 0-89,5 3-90,8 1-179,-1 2-91,3 0 0,3-1-90,3 1 90,0-1 0,2 0 1,-1-1-1,1 0 90,-2-1 180,0 1 0,-1-1 90,-4 1 180,-1 0-1,-3 1 181,-2 0 0,-2 1 90,-1 0-1,-2 0 271,-1 1-91,3-1 271,-1 3-540,4 4-1,-5 4 1,-1 5 0,-4 2-90,1 2-1,0 3-89,-1 2 0,2 3 90,-1 1-180,1 1 90,0 1-90,-1 0-91,0-3 91,-1 0-90,0-2 0,-1-1 0,-1-2 0,0-2 360,-1-1 180,1 2-1,-1-2-899,-2-10 90,-4-14-179,-3-10 89,0-8-90,3-1 180,0-3-90,2-3 180,1-2-90,2-2 90,2-1 1,2-1-1,0 4 90,2 4-3482,0 2 3482,1 5-90,-1 2 90,2 4 0,-1 4 90,1 5 179,1 4-89,6 5-90,-3 6 3482,3 4-3392,-5 4-90,0 3 0,0 2 90,0 3-90,0 3 0,-1 1-90,1 1 0,-2 1-360,4 12-90,-6-11 1,3 9-181,-7-15 0,0-1-179,-1-1-1,-1-2-1259,-1-2-3328,-1 3 5397,-1-2 0,1-5 0,-2-3 0</inkml:trace>
</inkml:ink>
</file>

<file path=ppt/ink/ink12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2:45.70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0 111 13199,'-8'-33'3419,"1"4"-5668,3 11-4767,4 2 7016,7 8 0,-4 2 0,6 6 0</inkml:trace>
</inkml:ink>
</file>

<file path=ppt/ink/ink12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2:45.82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11850,'23'24'1080,"-3"-3"-1080,-8-9 0,-7-7 0,1 0 0</inkml:trace>
</inkml:ink>
</file>

<file path=ppt/ink/ink12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2:45.98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7 13469,'8'16'360,"0"-3"-810,18-15-539,-3 0-1080,3-2-899,2-1 2968,1-1 0,4-2 0,1-1 0</inkml:trace>
</inkml:ink>
</file>

<file path=ppt/ink/ink12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07.98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33 28 11940,'12'-18'3688,"1"8"-3328,1 16-90,-3 7 0,-4-2-91,-2 4 1,0 0 0,-2 2 0,-2 1-90,-1 0 0,-2 2 90,-2-1 0,-2 2-90,-3-1 90,-1 0-90,-3 0 90,-2-1-91,-1-1 91,-1-3-90,1-2 0,0-2 270,-4 0-360,1-4 0,-1-4 0,5-7 0,9-7-90,9-5 90,3 2 0,6 0 0,-2 5-90,7-1 90,-4 3 0,5-1-90,0 5 90,2 3 0,-1 2 90,0 3 0,-6 0-90,1 1 90,1 1 0,0 1 90,1 1-90,1 0 0,1 0 0,0 0 0,1-1 0,0 0 90,1-1-90,-1-1-1,-1-2 1,0-1 0,-1-2 0,0-1 90,-1-2-180,0-1 90,-1-3 0,-1-2-90,1-3 0,-2-2 90,-1-3-90,-1-1 0,-1-1 90,-2 0 0,0 0-90,-2 1 0,-1 2 90,-2-2-90,-3 2 0,-5 2 0,-5 8 0,-3 9 180,1 8 0,3 5-90,5 6 0,3-2 0,3-2-1,2-5 1,0 0 0,2-1 0,0-1 270,1 0-90,3 1 0,1-1 0,3-1-90,0-8-180,-2-7 90,-4-8-270,-4-5-450,-4-6 180,-4-1-809,-1 5-450,-3-3-180,1 9-2069,-1-3 630,6 0 450,9 3 2878,6 0 0,10 3 0,-1 0 0</inkml:trace>
</inkml:ink>
</file>

<file path=ppt/ink/ink12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08.14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1 2 8702,'23'-1'4048,"-2"0"-2789,-3 2-90,-3 2 1,-1 2-1,-2 1-180,-3 4 1,-2 2-181,-3 2-179,-3 2-90,-2 2-1,-2 2-179,-2 2-90,-1 3-90,-1 1 90,-2 1-270,0 1-180,-1 1-90,0-1-90,0-1-269,0 0-181,0-1-179,-1-1-91,0-1-359,0-3-450,-1-1-1169,2-4 3058,0-2 0,4-7 0,2-2 0</inkml:trace>
</inkml:ink>
</file>

<file path=ppt/ink/ink12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08.28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7 135 14639,'-12'-35'5936,"0"5"-5846,6 10-3508,0 4-1349,5-1 4767,7 7 0,17 3 0,7 7 0</inkml:trace>
</inkml:ink>
</file>

<file path=ppt/ink/ink12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08.39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9422,'13'22'3238,"-1"-3"-3238,-4-6 0,-3-5 0,-2-4 0</inkml:trace>
</inkml:ink>
</file>

<file path=ppt/ink/ink12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13.01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87 1 8792,'-22'8'1529,"3"1"-989,6 3-180,-2 8-181,5-5-89,-2 5 180,6-8-90,-1 1 0,0 1 0,-1 1 0,0 1-90,0 1 90,-5 6-90,5-4 0,-4 4-90,6-7 90,0 0-720,2-2-1979,2 6 181,4-1 2428,3-2 0,-1-6 0,0-7 0</inkml:trace>
</inkml:ink>
</file>

<file path=ppt/ink/ink12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14.21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96 9602,'24'-26'1709,"-1"3"-1530,-7 8-448,4 0-271,4-2-989,5 0-270,6-2 1799,5-1 0,3-2 0,3 1 0</inkml:trace>
</inkml:ink>
</file>

<file path=ppt/ink/ink12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37.45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61 13289,'24'12'720,"-2"1"-6111,-12 5 6111,9 25-1617,-6-13 1076,6 19 974,-6-7-973,-4-9-90,2 9 179,-3-3-89,-2-11-90,-1 7 90,-1-13 3341,0 11-2441,-1-8 3516,1 7-4326,-7-17 166,-3-13-526,-3-7 0,-1-11-90,3-4 1,0-4-91,0-7 90,0-5-90,3-5-256,1-5 346,3-2 0,3 0 90,2 0-90,4 0 0,4 0-90,11-11 181,-4 18 89,9-5-180,-7 23 180,0 4-90,-1 7 0,0 3 90,-2 4 0,-1 4-90,-3 3 90,1 3 0,-2 3 0,3 9 0,-6-3 346,0 5-346,-6-4 0,-3 0 0,-2 7 0,-2-4 0,-4 3 0,-1-5 0,-2-1 90,-1-1-90,-3-1 0,0-1 90,-1-2-90,-1-1-90,0-2-90,1-1-450,-1-2-269,-4 0-360,0-2-271,-3-2-2157,4-1 3687,4-5 0,7 3 0,4-1 0</inkml:trace>
</inkml:ink>
</file>

<file path=ppt/ink/ink1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8:09.05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91 9871,'7'-25'3688,"0"2"-2698,-2 8-271,1 3 91,1 1-270,2 7-181,1 6 1,-1 8 0,-3 4 0,-1 0-1,-1 3 1,0 2-90,0 3 0,-1 2 0,1-1 0,-1 2-90,1 0-1,-1 0 1,0-1-90,-1-1 90,-1-1 0,0-2 0,-1-1 270,0-2 179,0 5-179,-3-3-90,-1 1-180,-6-9-180,0-11-90,-2-11 0,4-5 90,2-6-90,3 3 0,2-2 0,0-2 0,3 1 0,0-3-90,3 1 90,1-1 0,1 0-90,1 0 91,1 2-91,1 2 90,0 2 90,1 3-90,1 1 0,-1 2-90,5-2 0,-4 6-180,5-1 180,-4 8 90,-2 7 90,-2 9-90,-7 5 90,-1 4 0,1 0 0,1-3 0,1 1 0,1-6 0,0 2 0,2 0 0,1 2 0,0-2-90,0 1 180,0 0-90,-1-1 180,0-1-180,-2 0 270,-1-2 90,0 0-180,-4 5 0,-1-4-90,-4 3 90,-1-7-180,-2 1 179,-1-2-268,-2-1-1,-1 0-180,0-2-90,-2-1-90,0-2-809,-1-1-450,-5-1 540,-1-5-271,1-2-179,5-4-809,7-2-1260,2-3 3688,3-2 0,3-9 0,1-3 0</inkml:trace>
</inkml:ink>
</file>

<file path=ppt/ink/ink12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37.70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20 0 11131,'-22'5'2608,"0"3"-1798,5 7-91,-3 5-179,-2 5 0,0 3-1,1 4-89,2 1-90,2 2 0,3 1-90,3-2-1,3 1 1,4-4-90,4 2-90,2-1 90,4 1-90,3 0-3392,3 0 3302,3 0-431,2-2 161,2-2-360,1-1-89,1-5-271,0-2-359,0-3 2817,1-3-3896,-2-3-1350,2-3 3872,-2-3 0,-9-4 0,-2-1 0</inkml:trace>
</inkml:ink>
</file>

<file path=ppt/ink/ink12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38.00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82 16 10501,'-30'-3'5847,"3"1"-3689,7 0-1888,16 0-90,5 0 180,16 0-270,29 1-90,-13 1 0,22-1-180,-25 1-180,-3 0-90,-1 0-89,-3 1-91,-2-1-629,-3 0-540,3 1 1799,-3-1 0,-5 0 0,-6 0 0</inkml:trace>
</inkml:ink>
</file>

<file path=ppt/ink/ink12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38.43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11850,'9'21'2249,"0"1"-1619,-5-3-91,1 2 1,1 4-180,-1 1 90,2 3-91,0-1 1,0 1-90,0 0 90,1-1-2151,0-1 2061,0-3 89,0-1-89,-1-2 0,1-2 180,-2-3 269,0-1 901,-1-2-361,2 2 1521,2-6-2510,3-5 0,-1-6-180,2-9 90,-4-2-90,0-4 0,1-4-90,-1-3 0,0-3-90,0-1-90,-1 0-90,0 0-90,-2 2-90,-1 0-3481,0 3 3121,-1 2-89,0 1-1350,0 3-1349,-1-2 3598,-1 0 0,-1 7 0,-1 3 0</inkml:trace>
</inkml:ink>
</file>

<file path=ppt/ink/ink12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38.76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44 9691,'22'10'3778,"1"-2"-3148,-2-5-360,4-3-90,-3-2 0,1-1-90,-6-1 89,2-1-89,0 0 0,-1-2-90,0-2 90,-1 0 0,-1-2-90,-1 0 0,-2-1 90,-3 0-90,-1 0 0,-2-4-90,-6 1 360,-6-2 0,-10 7 0,-2 6 0,-3 5-1,3 5 1,-1 3 90,-1 2-180,1 3 90,1 2-90,1 2 90,2 0-91,2 1 1,3 1-90,2 0 90,2 1-90,2-1 0,2 1-90,3-1 90,0 0 0,4 0-90,1-1-180,1-1-90,2-2-179,1-2-1,2-1-180,0-2 1,0-3-1081,1-1 541,7-5-180,-3-3-810,5-5-719,-5-5 2878,-1-5 0,3-8 0,-1-2 0</inkml:trace>
</inkml:ink>
</file>

<file path=ppt/ink/ink12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38.94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41 8612,'15'-18'4228,"3"0"-2879,-3 13-719,4 6-91,-5 5 91,0 7-90,-5 1-1,0 3-89,0 3-90,-1 2 0,1 3-91,-1 2 1,0 2-90,-1-1 0,0 1-90,-2 1 0,0 0-90,-1-2-180,-2-1-180,0-2-89,-2-1-181,0-1-3418,-1 13-2248,-1-9 6296,-2 7 0,2-20 0,-1-7 0</inkml:trace>
</inkml:ink>
</file>

<file path=ppt/ink/ink12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41.04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13649,'7'28'1709,"-2"1"-1169,0-7-90,-1 4-180,1 2 89,0 1 1,0 1-4342,0-1 4252,0-1 770,0-1-860,-1-3-90,0-1 89,0-1-89,-1-3 90,0-1 3932,-1-3-2853,1 4 630,0-2-1889,-7-10-90,2-6 0,-5-15-90,4-13 0,3 4 90,1-11 0,3 8 1,1-2 89,3 0-90,2 0 90,2 3-90,1 1 90,0 3-90,1 4 90,-1 3-90,1 4 0,0 2 0,5 5 90,-4 3 0,4 4-90,-6 3 90,-1 4-90,0 0 180,-1 4-180,-1 0 180,1 2-180,-2 0 90,0 0 0,0 1 0,-1 1 0,1-1 0,-2-1 0,1 0 0,-1-2 0,0 0 90,0-2-90,0-1 0,1-2 0,1 0 0,0-3-270,6 1 90,3-6 0,-1-2-90,3-5 1,-6-4-91,1-3 90,0-4 90,0-2 0,0-3 0,-1-2 90,-1 1-90,-2-1 90,-1 3 0,-3 0 1,-1 3-91,-2-4 180,-4 6 90,-8 4 89,-2 13-89,-2 6 90,3 6 0,5 0-90,2 1 90,2 1-90,1 1 90,4 2-90,1 0 0,3 1 0,3 0 90,2-1-90,2-1 0,0-3 0,1-2-1,-1-2 1,1-3 90,-1-2-180,5-4 90,-6-3-90,3-4 90,-7-5-180,-3-2 90,-1-6-90,-2-1 90,-3-4-90,-2-1 0,-3-2-89,-1 0-1,-3 0-540,-6-11 270,1 11-3571,-4-5 3481,2 14-180,1 3-89,-1 2-91,-1 3-1168,2 2-3689,-4 3 5757,1 1 0,5 1 0,4 2 0</inkml:trace>
</inkml:ink>
</file>

<file path=ppt/ink/ink12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41.37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10321,'21'18'2789,"-3"0"-2070,-11-6-89,-1 2-1,-1 2-179,-1 0 0,-1 1-90,0 1-1,-1 0-89,-1 1 0,0-1-90,0 1 90,-1-2 0,0 5 449,0-1 541,-1 2-991,-1-5-448,0-17 179,2-12-90,1-10 90,5-5 0,1 2-90,3 1 90,1-3-90,3 1-3302,0 1 3392,1 2 0,1 1 0,0 3 90,-1 2 0,0 5-90,0 1 269,-1 4 3303,5 4-3482,-5 4 90,4 3-180,-6 3 180,0 3-180,0 2 90,-1 2-90,0 1 90,-1 3-90,0 1-90,-2 0-90,0 1-270,-1 0-89,0 0-181,-1-1-179,-2-1-91,0-1-1978,-2-1-3868,0 5 6836,-1-4 0,0-3 0,-1-7 0</inkml:trace>
</inkml:ink>
</file>

<file path=ppt/ink/ink12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41.61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54 12210,'27'-17'2339,"0"3"-2429,-2 8-630,1 1-539,3 3-270,0 1 719,1 0-629,-7 0-3302,-2-1 4741,-7 0 0,-6 1 0,-2-1 0</inkml:trace>
</inkml:ink>
</file>

<file path=ppt/ink/ink12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42.10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7 61 8432,'19'-19'6476,"-2"2"-6026,-19 15 989,1 3-1169,-20 33 0,13-14-90,-7 20 90,12-21-90,1 1 0,2 0-90,2 0 89,2 1-89,2-2 0,2 0 0,2-1 90,14 8-180,-8-11 90,10 5-90,-12-14-90,6-4 90,-5-4-90,4-4 90,-6-5-90,0-2 90,-1-4-90,-2-2 90,0-1 0,-2 0 0,-2-1-90,-1 0 90,-1 2 0,-2 1 0,-3-4 0,-2 6 90,-2-4 0,-1 9 90,-1 1-180,-3-3 90,0 2-90,-2-2 90,2 2-90,0 1 0,0 7 0,5 8 0,1 9 0,5 8 0,3 1 90,1-3-90,1 0 0,0-5 0,1 0 0,2 0 0,1-1 90,0-1-90,2-1 0,-1-1 0,2-2 0,-1-2 0,0-1 90,5-1 0,0-4 0,4-4-90,-6-3 0,-3-5 0,-5 1 90,-2-2-90,-1-15-90,-3 8-180,-3-11 0,-3 14-180,-1-1-179,-1 2-271,-2-1-179,0 3-180,-2 1-1530,0 1-1708,0 2 4497,0 1 0,5 4 0,0 1 0</inkml:trace>
</inkml:ink>
</file>

<file path=ppt/ink/ink12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42.66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 65 13289,'-3'33'2609,"2"-7"-2069,3-6-91,1-5 1,2 2-90,0-1 0,2 1-90,-1-2 89,1-1 1,0-1 630,0-1-181,3 2 91,0-3-541,5-2-89,-2-8-180,2-11 0,-5-3 0,-2-5-90,-4 2 90,0-2-90,0-2 0,-1 0 90,0-1-90,-2 2-90,0 1 0,-1 1-180,-1 0-180,0 1-89,-2 2-91,-1 1-89,-1 1-990,-2 1-270,-4 1-7016,-1 3 8995,-4 2 0,8 3 0,1 3 0</inkml:trace>
</inkml:ink>
</file>

<file path=ppt/ink/ink1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8:09.23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1 9332,'31'-6'3688,"-3"2"-2519,-10 6-90,-1 4 1,-1 4 89,-2 3-180,-1 3 1,-2 4-1,-1 2-179,-2 5-1,0 1-89,-3 1-180,-2 0-91,-2 0-89,-1 0 0,-3 1-180,-1 2 90,-2-2-180,-2 1-270,-1-3-270,0 0-90,0-4-899,-3 6 540,2-9-91,-1 2-1798,3-10-7043,-3-2 9680,-2-10 0,5 2 0,0-8 1</inkml:trace>
</inkml:ink>
</file>

<file path=ppt/ink/ink12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42.82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0 8612,'24'0'6566,"-4"2"-5126,-3 6-811,-3 4-179,-4 2 0,-1 1-181,-4-2 1,1 2-90,-1 1-90,-1 2-270,1 1-180,-2 0-179,0 0-181,-1-2-1529,0 1-5306,-1 5 7555,-1-3 0,0-5 0,0-5 0</inkml:trace>
</inkml:ink>
</file>

<file path=ppt/ink/ink12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42.98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89 102 9152,'-13'-18'2608,"2"1"-1708,4 7-361,-3-3-808,-1 1-2790,-2 0 3059,1 1 0,5 6 0,3 1 0</inkml:trace>
</inkml:ink>
</file>

<file path=ppt/ink/ink12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43.26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0 9512,'23'30'3328,"-1"0"-2519,-9-7 1,-1 1-91,-1 2-179,0 1 0,-2 0-91,-1 1-89,-1-3 0,-3 0-180,-1-1 90,-2-2-90,-1 0-90,-3-2 90,-1 0-91,-1-2 1,-1-2 0,-1-2-90,-1-2-449,-3-1 89,-2-6 180,0-5 0,4-11 90,9-8 0,3 3 90,4-1 90,1 5-90,1 1 90,1 0 0,2 2-90,0 1 90,1 1-90,1 2 90,0 2-90,6 1 0,-4 2 0,6 3-90,-8 1-90,0 1-180,0 1-89,-1 1-181,-1 1-180,0 0-179,-2 0-2609,1 0 3598,0 3 0,-5-6 0,0 1 0</inkml:trace>
</inkml:ink>
</file>

<file path=ppt/ink/ink12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43.48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61 0 10681,'28'6'3508,"-4"2"-2519,-16 4-89,0 4-91,0 2 1,-1 2-270,0 2 89,-1 4-179,-1 2-90,-1 2-90,-1 0-1,-2 0-179,-2 1 0,-2 0-180,-2 1-89,-3-1-181,-2 1-180,-3-1-180,-3 1-89,-2-3-270,-2-1-181,-3-3-449,-1-2-809,0-3-1260,-1-3 3778,1-3 0,-4-3 0,1-2 0</inkml:trace>
</inkml:ink>
</file>

<file path=ppt/ink/ink12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48.33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45 1 12390,'-30'3'5577,"1"0"-5217,29-3-360,33-1 0,-7-1 0,22-1 0,-32 3-90,4-1 180,0 2 269,2 1 1,-5 7-90,-5 3 90,-5 5 0,-4 2-1,-3 4 91,0 7-90,-2 7 0,0 7-1,-1 5 1,1 6-1124,1 5 1034,-1 6 0,2 2 0,1 1-91,0 3 1,2-1 0,0 3-3019,0-1 2928,-1 0 91,0-1-830,0 26 920,-2-25-1715,-1 16 1715,-1-34-90,-2-6 517,-1-4-247,-4 10-271,1-16 1,-5 4 1926,2-18-1926,-1-4-180,-3-2 1123,-1-5-1123,-3-1-89,0-4-271,-4-2 3302,0-2-3482,-4-2-179,-1 0-181,-3-2-89,-2 0-181,-1-2-269,0 1 0,0-1-4048,-16 1-809,12 2 6296,-12-1 0,12 2 0,0-1 0</inkml:trace>
</inkml:ink>
</file>

<file path=ppt/ink/ink12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43.91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0 16707,'31'10'-2338,"-6"-3"1168,-3-6-1168,-6-1 2338,0 1 0,-8 0 0,-1-1 0</inkml:trace>
</inkml:ink>
</file>

<file path=ppt/ink/ink12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44.03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 1 12570,'-9'20'1619,"10"-5"-1889,15-11-270,5-2-269,-3-1-1350,1 0-899,1-1 3058,1 0 0,-9-1 0,-2 1 0</inkml:trace>
</inkml:ink>
</file>

<file path=ppt/ink/ink12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46.07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43 61 10681,'10'-28'3238,"-9"6"-2968,-9 13 90,-5 7-1,-2 9-89,2 3 0,-1 2 0,-1 5 0,1 1 0,0 3-90,1 2 0,1 0-1,3 1 1,3-1-90,2 0 90,1 0-90,2-1 0,2 0 0,2-1 0,1-2 0,2-1 0,0-2 0,4 3 0,3-4 0,3-2-90,2-10-90,-3-6 0,-2-5 0,-3-3 0,-1-3-90,0-4 180,-1 0-90,4-10 180,-4 7 90,1-4-90,-3 9-90,-1 3 1169,2-2-629,1 12-270,-3 7-90,1 11 0,-4 6-1,-1-3-89,1 3-90,0 2 90,1 2 0,0 3-90,1 0 90,-1 1-90,2 1-180,-2-3-90,1 1-179,-1-3-1,0 0-180,0-2-89,0 0-91,-1-3 1,-1 0-900,1-3-1709,0 4 3418,0-4 0,-1-4 0,0-6 0</inkml:trace>
</inkml:ink>
</file>

<file path=ppt/ink/ink12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46.43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3 0 15088,'-10'24'1080,"0"-1"-720,3-6-91,1 3-89,0 1 90,1 2-90,1 1-90,0 0 90,1 1-90,1 1 0,1-1 0,1 1 0,2-1 0,2 10-90,2-9 90,3 6 0,0-12-90,2-1 89,0-3-89,1-2 0,0-2 90,0-2-90,1-4 90,4-3-90,1-6 0,-1-3 0,-3-5 0,-6-1 0,-1-1 0,-3-1 90,-1-7-90,-4 5 0,-1-4 0,-4 7-90,-3 0-90,-2 2-89,-2 0-91,-2 2-90,-1 1-90,0 2-89,0 1-1,1 2-1079,0 0-1709,-5 2 3418,3 0 0,3 1 0,6 0 0</inkml:trace>
</inkml:ink>
</file>

<file path=ppt/ink/ink12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46.64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61 1 11400,'15'25'4228,"-4"-4"-3508,-10 2-91,-3-3-89,-1 3-90,-1 1-90,0 2-91,-2 2-89,1 2 0,-1 1 0,0 1-180,0-1-180,-1 0-180,-1 0-179,0-1-181,-1-1-179,-1-1-271,-1-3-359,-2-1-989,-1-3-1350,0-3 3868,-1-4 0,-3-1 0,-1-1 0</inkml:trace>
</inkml:ink>
</file>

<file path=ppt/ink/ink1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8:09.37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39 8072,'26'-8'3868,"1"0"-2968,1 2-271,1 0-89,2 2-90,0 0-90,0 2-91,-1 1-89,-2 1-180,-2 1-270,-1 1-89,-2 1-181,-2 2-90,-3 0-269,-3 0-2159,-4 3 3058,-3 4 0,-12 8 0,-4 6 0</inkml:trace>
</inkml:ink>
</file>

<file path=ppt/ink/ink12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46.87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8882,'23'7'5487,"2"0"-4228,-9-3-809,1 0-450,0-3 0,-9-1 0,-1 0 0</inkml:trace>
</inkml:ink>
</file>

<file path=ppt/ink/ink12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47.07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8 12030,'13'-10'0,"-2"3"0</inkml:trace>
</inkml:ink>
</file>

<file path=ppt/ink/ink12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49.10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6 87 12660,'18'-16'3058,"1"0"-2698,-4 5-90,-2 1 0,2 0-1,-3 4-89,1 1-90,0 0 270,0 0-180,7 3 90,-4 2 0,4 2 89,-5 5-89,-1 3 180,2 6-90,-1 4 0,0 8-1,1 8 1,0 9-1183,-1 8 1183,-1 5 0,-1 6-3001,-1 10 3001,-1-2 0,-1 12-837,-1-7 747,-2 4-91,-2-5 1,-1 1-303,-1-1 213,-2-22 0,-1 1 0,0 27-87,-1-29 0,-1-1 87,-2 17-90,-1-4 90,-1-4-90,-1-6-90,-1-5 2394,-1-6-2484,0-3-180,-2-2-4556,-40 7 1,-7-2 1254,16-12 2266,-18 7 1,2-10 1394,31-34 0,-5-1 0,-1-1 0</inkml:trace>
</inkml:ink>
</file>

<file path=ppt/ink/ink12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49.46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6 7443,'17'-6'0</inkml:trace>
</inkml:ink>
</file>

<file path=ppt/ink/ink12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4:35.85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275 11311,'4'26'2878,"-1"-1"-7639,1-9 6560,4 8-989,0-6 2128,6 9-2399,-5-11 681,3 0-1041,-2-5 1,2-4-90,6-4 3392,3-6-3482,1-3 0,2-3 90,-3-1-180,3-3 180,3-1-90,1-3 0,4-2 0,2-2 0,-1 0 0,4-3 90,-3 3-90,1-1 0,-2 1 90,-1 0 0,0 0-90,-2 1 180,-1 1-90,-2 1 90,-3 1 0,-2 2 0,-2 1 89,-3 1 361,5-2-450,-8 3 270,4-1-180,-5 3-181,-1 0-448,1-2-9472,-2 3 3651,-11 5 6180,-3 5 0,-14 10 0,-1 3 0</inkml:trace>
</inkml:ink>
</file>

<file path=ppt/ink/ink12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4:39.20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72 12840,'10'20'1889,"0"0"-1440,0-7-179,2 3-90,-1-3 0,1-1 0,-4-2 0,0-2 0,0 1 0,1-1 269,-1 0 91,4 3 0,1 0 89,3 0 1,0-1-180,1-5-270,2-4 0,-2-2 89,0-4-179,-2-1 90,0-2-90,1-1 90,0-1-90,2-3 0,-1 1 0,0-2 0,-1 1-90,0 0 180,-1 0-180,0-1 90,-1 1-90,0 0 90,-2 1-90,0 0 90,-2 2-90,0 0 0,-2 1-450,3-3-1079,-1 1 1529,1-2 0,-5 6 0,-2 3 0</inkml:trace>
</inkml:ink>
</file>

<file path=ppt/ink/ink12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4:40.98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81 137 9512,'-22'9'4677,"-1"0"-2968,9-3 630,-2 0-2070,11-7 1,6 0 180,14-8-270,37-9-90,-14 4-343,27-7 253,-27 9 90,-1 1 0,-3 3-90,-3-1 0,-2 2 90,-4 0-90,-2 1-90,-2 1 163,-4 0-343,-1 1-629,-2 0-361,3 0-1258,-2 0-1800,2 0 4318,-5-2 0,-4 2 0,-4 1 0</inkml:trace>
</inkml:ink>
</file>

<file path=ppt/ink/ink12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4:41.23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6 11850,'21'-5'6387,"-4"9"-5668,-6 8 1,-4 7-181,-2-1 1,1 2-180,-1 1 0,1 4-90,1 0-91,0 3 91,1 1-180,0 1 90,0 0-90,1 1-180,0 0-90,1 0-90,-1 0-89,0-1-91,1 1 0,-1-2-269,-1-1 89,0-3-90,-1-1 91,-1-3-181,-2-2-899,0-1-719,-3 1 2428,-3-5 0,-9-9 0,-5-7 0</inkml:trace>
</inkml:ink>
</file>

<file path=ppt/ink/ink12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4:41.47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8 233 12660,'-26'-19'4047,"6"0"-3687,18 7 0,4 1-90,8 1-90,3 1 0,3 0 0,5-1-90,3 0 89,3 0-89,2 0-90,3 0 90,-1 0-90,2 0 90,-3 1-90,-1 1 0,-1 0 0,-3 1-180,-3 1-179,-2 0-1,-3 1-180,-1 0-719,-3 1-2069,2-1 3328,-3 0 0,-3 1 0,-4 2 0</inkml:trace>
</inkml:ink>
</file>

<file path=ppt/ink/ink12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4:42.47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0 13829,'15'21'1799,"1"-2"-1349,-5-4-90,3 2-1,2 2-89,-1 2-90,2 1 0,-1 2 0,0-1-90,-2 2 0,-1-2 0,-2 1 0,-1-1 0,-3-2-90,-1 0 90,-2-3-90,-2 0 90,-2-3-90,-1 1 90,-4 2-1,-2-3-89,-3 0 0,-2-11-179,4-9 179,2-11-90,6-1-90,3-2 180,1 4-90,2-2 0,2-1 90,1 0-90,1 0 0,2-1 90,1 0 0,0 1 0,0 0-90,0 2 180,0 1 90,4-6-90,-5 7 180,3-3-180,-4 4 359,0 2 361,1-1-450,-2 12-1,-3 6-89,-2 12 0,-1 8-180,0-6 0,3 5 90,3-5-90,-2-4-90,4 3 90,-2-6-90,0-2 90,1-2-90,0 0 90,1-2-90,1-2 90,6-2-90,-5-3-90,5-2 0,-6-4 0,-1-2-90,-1-4 90,-1-2 0,-1-4 0,-1-1-90,1-12 180,-4 8 180,1-7-180,-3 12 180,-1 2-90,0-3 180,-1 2-180,-6 8-90,3 11-90,-4 14-90,8 7-180,1-2-180,2 0-89,0-4-181,1-1-89,0 1-91,0 0-269,1-1-180,0-1-1260,0-1 2699,0-3 0,-3-5 0,-1-1 0</inkml:trace>
</inkml:ink>
</file>

<file path=ppt/ink/ink1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8:09.49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6 0 8972,'-18'17'6026,"11"-3"-5576,16-7-90,7-2-180,8-5 90,-3 0-90,3-1-180,2 0-270,0-1-180,1 1-360,0-2-359,-2 1-1349,1-1-1350,-2 1 3868,-1-2 0,-10 3 0,-4-1 0</inkml:trace>
</inkml:ink>
</file>

<file path=ppt/ink/ink12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4:42.77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 67 13649,'24'-5'2339,"-1"0"-1979,-7 0 89,0-3-89,-3-1 270,-2-1-180,-8-4-181,-12 7-89,-8 4 0,-1 6 0,1 4 0,6-1-90,1 1 360,0 0-630,-4 25-270,14-13 0,-4 15-179,15-20-91,-2-6-179,1 0-271,1-1-2787,0-1 3957,6-1 0,-9-2 0,2-1 0</inkml:trace>
</inkml:ink>
</file>

<file path=ppt/ink/ink12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4:43.57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42 10231,'10'30'2699,"-1"0"-1890,-3-6-179,0 4-1,1 3 91,1 2-180,-1 2-91,2 2 91,-1-1-90,0 0-90,-1-3-90,1-1-1,-2 0 1,1-1-90,-2-3 90,0-2-90,-1-3 90,0-2 90,-1-2 269,-1-1-89,-1 1-90,-3-4-271,-7-3-179,-2-14 0,-3-8-89,2-11-1,3-4-90,-1-7 90,2-6-90,0-6 0,2-4-260,2-2 350,2 0-90,3-2 91,2 2 89,2 1-90,5-1 0,0 5 0,3 2 0,0 6-126,0 6 126,2 4 0,0 5 0,0 5 90,1 3-180,-2 6 345,5 3-255,0 6 221,-2 2-221,-2 7 90,-8-1 0,-1 3-90,-4 8 90,-3-2 0,-2 6 0,-4-5 0,-2 1 0,-2 1-90,-2 1 0,0-1-180,-1-1 0,-1-2-89,2-1-91,0-2 0,1-2 0,2-1-1079,0-2-6476,-1 0 8005,2-10 0,2 3 0,3-7 0</inkml:trace>
</inkml:ink>
</file>

<file path=ppt/ink/ink12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4:43.83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31 10681,'20'8'2968,"-2"2"-2248,-10 2-91,1 2 91,2 1-180,4-1-1,2-2-89,2-6 0,2-4-90,-1-6-90,-2-7-91,-4-6-89,-6-6 0,-6 2 0,-4 1-90,-3 5 90,-1 1-90,-2 0-90,-2 1-180,-1 0-89,-1 3-1,-1 0-180,0 2 0,0 1-179,0 2-810,1 0-540,-5 0 2069,3 1 0,3 1 0,4 1 0</inkml:trace>
</inkml:ink>
</file>

<file path=ppt/ink/ink12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4:44.13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2 1 13289,'-14'29'1170,"3"1"-990,11-7-90,3 1 89,3-5-89,3 1 90,2 2-180,2 0 180,2 1-180,1 0 180,0 0-90,1-2-90,-1 1 90,0-2 0,-3 0 90,-1-2-90,-1-2 90,-3-2 90,-1 0-1,-3 2-179,-6-1 0,-7 1-90,-4-6-90,-3-3-90,2-5-179,-1-2-1,-1-1-180,0-2-269,0-1-91,0-2-269,0-2-990,1-1-899,2-2 3058,1-2 0,1-5 0,1-1 0</inkml:trace>
</inkml:ink>
</file>

<file path=ppt/ink/ink12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4:44.34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0 10861,'20'13'3238,"-2"1"-2698,-7 1-360,0 2 89,-2-2-179,-1 1 90,-3-4-180,1 0 180,-1 0-90,1 0-180,1 5-270,-2-5-269,3 9-631,-2-5-629,1 3 1889,-1-3 0,-2-7 0,-2-3 0</inkml:trace>
</inkml:ink>
</file>

<file path=ppt/ink/ink12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4:44.51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9 81 11850,'-23'-17'2159,"2"3"-1439,10 8-451,-3-3-1258,2 2-5667,-2-3 6656,13 2 0,-2 3 0,10 0 0</inkml:trace>
</inkml:ink>
</file>

<file path=ppt/ink/ink12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4:44.66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10141,'19'23'3148,"-2"1"-2338,-8-4-180,0 3-1,0 4-179,0 1-90,1 2 0,2 3-91,-1 0-89,1 2 0,1 0-90,-2-2-180,1-2-180,-2-1 1,0-1-271,0-2-90,-2 1-179,0-4-91,-1-1-359,-2-3-3868,0-2 5127,-3 2 0,0-10 0,-1 0 0</inkml:trace>
</inkml:ink>
</file>

<file path=ppt/ink/ink12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4:44.91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5 194 10411,'-9'-24'3058,"4"1"-2788,9 5 0,3 4 0,5 1-90,-1 3 0,3 0-90,1 0 89,3 1-89,0-1 180,1 1 0,1 0 0,-1 0 90,0 2-90,0 0 89,-2 2 451,-1 1-1,5 2-449,0 4 0,-1 1-90,-2 5 90,-7-1-180,0 3 0,-1 1-1,1 1 1,-1 1-90,-1 1 0,0 0-180,0 1-90,-1 0-89,-1-1-181,0-1-899,-2 0-271,1 4-3417,0-1 5037,-1 3 0,-2-9 0,-1-3 0</inkml:trace>
</inkml:ink>
</file>

<file path=ppt/ink/ink12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4:45.05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3 127 9152,'-9'-19'4227,"-1"-3"-3507,2 7-540,-2-2-1799,1 1-3688,2 2 5307,8 2 0,-2 5 0,6 2 0</inkml:trace>
</inkml:ink>
</file>

<file path=ppt/ink/ink12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4:45.25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67 8252,'14'22'2879,"-2"-2"-2070,-4-8 91,-1 0-181,1 0 1,-1-1 809,1-1 90,1 3-90,-1-1 540,2 2-1259,1-7-541,-3-9-449,0-7-629,-4-11 179,-3-3-179,-1 2-91,-1-1-1348,-1 6-451,1-6-3777,-1 0 6476,2-6 0,0 13 0,1 3 0</inkml:trace>
</inkml:ink>
</file>

<file path=ppt/ink/ink1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8:10.27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1 222 14279,'14'13'1889,"-2"1"-1260,-10 6 1,0 2-180,1 2 89,-1 2-89,0 1 0,1 0-90,-1 1-90,0-1-1,0-1 91,0-1-180,-1 0 0,1-3 90,-2-1 449,1-3 271,-1 5-270,-2-3-91,-2-1-359,-9-10-180,-1-13 0,-2-7-180,3-8 90,4-3-180,1-4 0,2-6-90,1-6 90,3-3-89,2-5 179,3-1-270,3 0 180,11-23 90,-3 22-370,9-15 370,-6 28 1,4 5-72,0 3-19,1 7 90,0 4-89,0 7 89,-3 3 0,2 6 277,-2 2-277,0 4-3229,-1 4 3229,-2 3 90,-2 1 0,-1 3 0,-1 12 0,-5-6 90,-1 7-90,-6-8 0,-2-1 0,-3 1 3392,-4 2-3302,-2-2-180,-3 1 180,-3-2-90,-8 5-90,3-8 0,-5 3-90,7-11 0,0 0-180,1-4 0,1 0-719,1-2-540,-4-2-900,2-3-5306,-1-4 7825,10-7 0,4 5 0,6-3 0</inkml:trace>
</inkml:ink>
</file>

<file path=ppt/ink/ink12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4:45.52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8 87 10051,'25'-7'3328,"-2"0"-2608,-10-1-180,-1-1-181,-2-3 1,-2-1-270,-5-2 0,-9 4 0,-7 6 0,-4 8 0,-2 7 90,4 1 270,-1 4-270,-4 8-1,5-4 91,0 7-90,8-7 90,2 1-90,2-1 0,3 0 0,2 0-90,4 0 90,2 0-91,3 0 1,4-2 0,1 0-270,1-3 1,1-1-361,0-4 0,0-1-179,-1-2-1980,0-2 181,6-4-1350,-6-2 3868,3-4 0,-12 3 0,-3 0 0</inkml:trace>
</inkml:ink>
</file>

<file path=ppt/ink/ink12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4:47.56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9 8162,'21'4'1260,"1"0"-1710,0-4-630,6 0 541,9-3 351,10-2 1,6-4-1,6 0 1</inkml:trace>
</inkml:ink>
</file>

<file path=ppt/ink/ink12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4:48.34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5 1 12930,'-11'23'4137,"8"-2"-3867,11-11-90,6-3 0,8-5 0,1-1-90,5-1-180,3-1-180,3 0-180,1 0-89,-1 0-91,-3 0-270,-1 1-179,-3 1-180,-3 0-990,0 0-899,-4 1 3148,-2 0 0,-8-1 0,-3-1 0</inkml:trace>
</inkml:ink>
</file>

<file path=ppt/ink/ink12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4:54.90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75 8972,'6'37'2249,"0"0"-1620,-2-8 1,1 2-90,-1 1-91,2 0-89,-1 0 0,1 0 0,0 0-90,0 0-1,0-1-89,0-1 0,0-3 0,-1 0 0,0-4-90,0 0 90,-1-2-90,0-3 449,-1-2 91,1 4 0,0-3-720,-5-8 0,-3-14 0,-3-8 90,0-10-90,1 4 0,0-2 90,-1-3-90,1-2 90,-1-3 0,1-2-90,-1 0 90,1-2-90,0 0 180,1-1-90,0 0 0,2 0 0,-1-1 90,3 1-90,0 0 0,2 2 0,6-20 0,-1 19 0,5-12 0,-3 24 0,3 2-90,0 2 180,2 2-180,1 3 0,0 2-629,1 3 269,6 2-90,-5 4-90,4 1-179,-7 5-91,0 1-449,-3 3-540,-2 3-719,-2 1 2608,-2 2 0,-2-7 0,-2-1 0</inkml:trace>
</inkml:ink>
</file>

<file path=ppt/ink/ink12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4:55.12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1 103 11221,'-18'13'5397,"16"-5"-5128,17-8 1,11-5-90,7-3 90,-5 0-180,3-1 90,0 1-90,0-1 0,0 0 0,-2 1-90,-2 0 90,-2 0-90,-3 2-90,-3 0-180,-2 1-360,-2 0-9201,2 0 9815,-15-3 0,5 4 0,-12 0 1</inkml:trace>
</inkml:ink>
</file>

<file path=ppt/ink/ink12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4:55.67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73 27 11490,'-23'-16'1709,"2"5"-1349,7 15-90,2 2 90,2 2-90,-1 2 0,0 1 89,-1 3-89,1 1 0,0 2-90,2 1 90,0 1-90,2 1 0,1 0-3392,2-1 3391,2 0-89,2 0 0,3-1 90,1 0-180,2 0 90,2-1 0,1-2 3392,3 0-3482,0-3 90,2-1 0,0-1-90,0-2 90,-1-2 0,6-1 0,-1-5-90,3-5 0,-6-3 0,-4-4 0,-5 0 0,-2-2 0,0-2 0,-2 0 90,0 0 359,0 0-179,-1-5-90,0 2-90,-1-4 0,2 5 0,0 16-90,3 5-270,2 15 0,0 2-89,0-2-91,0-1 0,-2-4-90,1-1 1,-1 0-721,0 0-269,2 4-180,1 0-2698,0 1 4407,1-4 0,-5-5 0,-1-5 0</inkml:trace>
</inkml:ink>
</file>

<file path=ppt/ink/ink12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4:57.76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10591,'5'24'2968,"1"1"-2158,-3-3-91,2 3-5839,0 3 5659,0 2-89,1 1 1519,10 43-1789,-6-31 0,8 30 715,-9-42-805,-1-1-90,1-1-540,2 9 1,-3-11 3062,1 6-3062,-4-13 594,0-2-1674,-2-2-4640,0 3 6259,-3-1 0,1-6 0,-2-3 0</inkml:trace>
</inkml:ink>
</file>

<file path=ppt/ink/ink12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4:58.29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84 4 12210,'-26'-3'1529,"3"5"-1169,13 15 0,3 3-180,7 4 0,4-5-1,4 1-89,1-4 90,2-1 0,3 2 0,1-1-90,2 1 90,1 0-90,-1-2 90,6 5 90,-1 0-180,-1-2 0,-4-2 359,-8-6-89,2 1-90,-4 1-90,-4 3-180,-10-5-90,-10-1-90,0-7-90,-4-2-90,4-3 90,0-1 1,0-2-1,0-2 0,2 0 90,1 0 0,1-1-90,3 1 0,-2-2 91,0 1 179,-3 3 0,4 9-720,2 6-2518,6 8 3238,5 1 0,-1-8 0,2 0 0</inkml:trace>
</inkml:ink>
</file>

<file path=ppt/ink/ink12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4:59.43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0 78 12390,'20'-6'630,"-3"-2"-451,-12-5 91,-2-1-90,-2-2 90,-5 3 180,-5 6-180,-7 9-1,2 7-89,-1 6 90,3-1-90,1 3 90,1 1 0,1 0-90,2 2 0,2-2 0,2 0-1,2 0 1,3 0-90,3-2 0,3 2 0,3-3 0,2-1 0,4-2-180,3-1-90,3-2-270,2-2-89,-1-1-451,1-2-179,-1-3-1440,1 0-1438,-1-3 4047,-1-1 0,2-4 0,0-1 0</inkml:trace>
</inkml:ink>
</file>

<file path=ppt/ink/ink12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5:13.26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8 1 13559,'-10'27'3418,"2"15"-2968,9-13 450,4 31-721,-1-31 1,3 15 0,-3-20-90,1-1 0,0 0-90,1-1-180,-1-1 90,0 0-180,1-2-89,-1-1-91,-1-3-540,0 0 1,1 2-1350,0-1 2339,1 3 0,-3-10 0,-1-3 0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3:39:20.413"/>
    </inkml:context>
    <inkml:brush xml:id="br0">
      <inkml:brushProperty name="width" value="0.17143" units="cm"/>
      <inkml:brushProperty name="height" value="0.17143" units="cm"/>
    </inkml:brush>
  </inkml:definitions>
  <inkml:trace contextRef="#ctx0" brushRef="#br0">50 231 10501,'22'-16'2429,"-1"2"-1800,-8 6 1,0-1-4432,2-1 4162,-1-1 769,0-1-769,1-1 270,3-7-360,-4 4-1,2-6-89,-7 8 3662,-3 0-3302,-17-11-360,2 14 0,-15-5 89,5 19-89,-3 4 90,-1 2 0,0 5-90,0 2 90,2 2-90,2 3 0,3 1-1,4 0-89,2 1 0,5 0 0,3-1 0,4 0 0,5 3-90,5-2-90,5 2-90,4-3-90,5-1-269,4-2-181,2-3 1,2-2-271,0-4 1,0-2-450,-3-4-1350,0-2-1888,-1-3 4677,-3-1 0,-10 0 0,-6 1 0</inkml:trace>
</inkml:ink>
</file>

<file path=ppt/ink/ink1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8:10.86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1 0 11940,'14'13'3418,"-5"-1"-2698,-16 5-180,-1-3-91,0 3 1,0 0 0,0 2-180,0 1-1,2 2 1,1 0-90,1 1 0,2 1-90,2 0 90,2 1-90,3 1-90,2-1 0,1 1-90,3-1-90,0-2-90,2-2 0,0-2-179,1-2 89,1-4-90,1-2-90,0-3-539,8-1 449,-4-6 91,6-3-1,-6-6 90,0-4 180,1-4 1,1-3 89,0-2 180,-1-2 180,0 1 89,-3 1 91,0 2 90,-2 0 0,-1 2 179,4-2 271,-7 6 539,6-2-360,-3 15-179,1 15-360,-4 3-91,-3 12 91,-5-8-90,-1 2-1,0 1-89,0 1 0,-2 1-180,1-1 90,0 0-90,-1 0 0,-1-1-1,1-3 1,-1-1 270,0-3 90,0 4-90,-2-3-450,-3-1-630,-2-14 270,-2-13-180,3-7 91,0-10-1,4-1 0,1-5 180,2-7 0,2-3 1,2-4 89,1 0-302,2-1 392,2 2 180,0 1 180,7-13-180,-3 18-90,3-7 180,-5 21-1,0 4 91,1 3 0,0 5 270,1 4-270,5 5 89,-3 5 393,5 4-482,-6 6 0,1 3 0,1 4 0,0 3-1,1 5-89,0 1-90,1 5 90,-2 0-90,0 2-90,-1 0-90,-2 0-180,-1-1-269,-2-1-91,-2-3-180,-1 0 1,-1-4-1260,-1 9-270,-2-12-989,-2 11-4497,-4-15 7825,-6-1 0,3-9 0,-1-6 0</inkml:trace>
</inkml:ink>
</file>

<file path=ppt/ink/ink13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5:13.61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49 11131,'25'7'1259,"-3"3"-899,-7 6 0,0 1-91,3 3 91,3 2-90,1 2-90,1 0 90,3 1-90,0 0 89,0-1-89,1-1 90,-1-1 0,-1-3 0,-2-1 90,-2-3 89,-2-2 91,-2-2 0,-2-2 359,-2-1-89,3-2-180,-1-6-451,1-8 91,-5-3 0,-3-5-90,-6 0 0,-1-2 90,-1-2-90,-1-2 0,-1-2-1,-1 0 1,-2 0-90,0 0 0,-1 1 0,-1 0 0,1 2-180,-1 1-90,1 2-90,0 1-89,0 2-91,0 2-989,1 1-270,-3-3-6207,1 4 7916,-5 4 0,6 3 0,0 5 0</inkml:trace>
</inkml:ink>
</file>

<file path=ppt/ink/ink13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5:14.40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237 11221,'5'23'2788,"1"-4"-2158,-1-5-91,5-4-179,4-1 0,4-4-180,4-4-90,-4-2 0,0-4 0,-6 0 0,0-2 0,-2-1-90,0-1 90,0-2 179,-3 0-89,1-6 0,-4 1 0,-3-4-90,-7 4 180,-7 7-180,-6 8 90,1 5 0,-1 6-90,5 1-1,1 2 91,0 1-90,2 2 0,0 1 0,3 0 0,1 1 0,2 0 0,3 0-90,2 0 90,2-1 0,1 0-90,3 0 90,3-1-90,1-1 0,2-2 0,2 0 90,1-3-180,2-1 90,1-2-180,1-2 90,0-2 0,0-1-90,1-3 90,-1 0-90,2-2 90,-1-2 0,1-1 1,-2-2-1,2-2 0,-2-2 0,10-8 90,-8 1-90,5-6 90,-9 6-90,-1-3 90,-1 0 0,-1-1 0,-1-1 0,-1 0 0,-1 0 90,-2 1 0,-2 0 90,1-7-90,-3 8 179,0-6-89,-4 5-90,-3 0-90,-3-3 0,-5 7 0,-3 7 0,-3 9 0,-1 10 0,4 3 0,4 3 0,4-1 0,4 9 90,1-4-90,4 6 0,1-6 0,3 1 0,15 17 0,-6-13 0,11 14 0,-11-17 0,0 1 0,0 0 0,1 1 0,-2 0 0,-1 0 0,-1 1 0,-1 0 0,-2-1 90,-3 1-90,-2-1 90,-3-1-90,-3 1 90,-3-1 0,-3 0 0,-2-2 0,-2 0 90,-2-2-90,-2-2 90,-2-1-90,-1-2 89,-9 0-89,5-4 0,-5-1-90,9-5 0,1-2-90,0-2 0,0-2-179,2-1-361,-3-7 180,6 2-179,-2-4 89,7 2-899,2-1 629,3-7-89,2 3-1,4-6 91,0 5-181,3 0 91,1 0-720,0 1-360,3-3 1979,0 0 0,4-3 0,0 0 0</inkml:trace>
</inkml:ink>
</file>

<file path=ppt/ink/ink13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5:14.75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42 7713,'25'-28'3238,"2"-3"-2609,-16 16 631,5-8-361,-8 10 450,3-5-989,-10 7-270,-6 9 90,-4 3-90,-4 10 0,5-1 90,-1 1 0,1 0-90,1 1 90,1 0 359,2 0-449,3 23 0,3-16 0,7 13-90,4-27 0,3-7-90,-2-4 90,0-5 0,-5 3 0,0-2 270,-1 0-90,3-3-90,-1 1 270,1 0-270,1 7 0,-5 8-90,3 8 89,-5 3-89,2 2 90,-2-3-180,1 2-179,1 1-91,0 0-90,0 0-90,0-1-179,0-1-1,0-1-1079,0-2-1439,2 3 3238,0-4 0,-3-1 0,-1-6 0</inkml:trace>
</inkml:ink>
</file>

<file path=ppt/ink/ink13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5:14.93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41 8972,'13'-24'6206,"2"7"-5666,-2 17-90,-1 8 0,-2 6-91,-2 2-89,1 2-90,0 3 90,1 2-180,0 2 90,1 2-90,-1-1-90,-1 2-270,0-1-180,-1 0-90,-1-2-269,-2 0-91,-1-4-359,-2 0-1349,-2-2-1260,-1-1 3868,-2-3 0,1-6 0,0-4 0</inkml:trace>
</inkml:ink>
</file>

<file path=ppt/ink/ink13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5:15.19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251 11760,'16'-22'1799,"1"2"-1349,0 9 0,2-1-1,5-1-89,3-1 0,4 0-90,2-2 90,2 0 0,0 0-1,0 1 1,-1 0-90,-3 1 90,-1 3-90,-3 0-1,-3 2 361,8 0-360,-12 3 360,7 0-451,-5 6 91,-6 1-90,4 2 0,-7 2 0,-2 1 0,-1 2-90,0 1 0,-1 1-180,-2 1-90,0 1-180,-1 1-90,-1 1-179,-1 0-990,0 0-900,-3 7-1708,-2 1 4227,-3 4 0,2-12 0,-2-4 0</inkml:trace>
</inkml:ink>
</file>

<file path=ppt/ink/ink13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5:15.46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 59 12390,'-5'-27'6926,"2"1"-6566,8 20-270,2 7 90,6 9-90,0 5 0,-2-2-1,0 1-89,0 1 90,1-1-180,-1 2-89,0-1-181,-1 0 0,0-1 0,-1-1 0,-2-2-179,0 0-271,1 2-539,-1-1 539,-7-8 451,-3-8-1,-6-8 0,0-3 0,2 1-90,-1-1-89,0 0-91,1-2-179,0 1-900,0 1-450,1-1 2159,0 2 0,3 6 0,1 1 0</inkml:trace>
</inkml:ink>
</file>

<file path=ppt/ink/ink13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5:15.82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0 10951,'16'27'2248,"-1"-1"-1618,-7-10 0,1 2-181,2 1 1,1 3 0,1 0-90,0 1-90,1 0-1,0-1 1,0 1 0,0-3-90,-1-1 90,-1-1-90,-1-2 449,2 3 361,-4-6-91,4 6-89,-5-9-540,4-6 0,-5-8-270,0-13 90,-5-2-90,0-4 0,-2 2 0,0-1-270,0-2 0,0 0-90,-1 0-90,0 1-269,0 1-91,-1 2-89,1 2-1260,0 1-90,0-3 270,0 1-2338,3-2 4317,4 6 0,-3 6 0,1 4 0</inkml:trace>
</inkml:ink>
</file>

<file path=ppt/ink/ink13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5:16.05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09 8072,'33'-2'1979,"-5"1"-1439,-13-1 0,-1-1-1,0-1-89,-1-2-90,0 1 0,-1-2 269,-2-1-89,3-5-180,-5-1 90,-1-2-91,-10 1-179,-9 6 0,-1 6 90,-4 4 90,-3 9-90,4-1-90,-5 7-1,8-3 1,3 3-90,0 0 90,4 1-90,1 0 0,3-1-90,2 1 90,4 2-90,1-2 90,3 2-270,2-2-90,2 0-180,2-1-89,1-2-1,1-1-989,6 3 450,-5-6-4588,3 1 5667,-5-6 0,-8-3 0,2 0 0</inkml:trace>
</inkml:ink>
</file>

<file path=ppt/ink/ink13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5:16.32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5 43 11400,'-19'-18'832,"2"3"0,12 9 0,1 3 1</inkml:trace>
</inkml:ink>
</file>

<file path=ppt/ink/ink13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6:22.71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7 205 10771,'-2'8'4767,"0"-9"-4407,5 40 0,-1-18 0,0 2-91,0 0-89,0 1 90,1-1-90,-1 0 0,1-1-90,-1 1 90,1-3-90,-2 0 0,1-3 90,-1-1 449,1 4 990,0-2-359,-1 4-1081,-6-13-89,-2-9-90,-3-11-180,1-9 91,3 0-91,2-4 90,1-2-90,2-6 0,2-1-3392,2-6 3482,4-2-696,2 0 697,2 0-91,11-12 90,-4 15 0,8-9-90,1 14-90,11 1 180,-9 8-90,3 7 90,-13 14 3092,-2 5-3182,0 5 1086,-8 5-996,-9 4 0,-5-1 0,-7 1-180,-1-4 0,-2 0 1,-2 0-181,-2 1 90,-2 0-180,-1 0 1,1-1-1,2-1 0,0-1-89,2 0-1,1-1-2068,1 0 2698,-9 7 0,14-10 0,-5 6 0</inkml:trace>
</inkml:ink>
</file>

<file path=ppt/ink/ink1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8:11.00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2 177 9871,'-22'-13'4228,"2"1"-3149,10 4 450,2-1-629,-1-2-270,6-1-451,7-3 1,5 3-270,7 2-89,1 4-181,3 0-180,1 0 0,4 1-449,1 0-1,3 0-269,0 0-1259,0 0-1260,1-1 3778,-1-1 0,3-2 0,-1-1 0</inkml:trace>
</inkml:ink>
</file>

<file path=ppt/ink/ink13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6:22.98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7803,'28'3'4587,"-8"1"-3778,-1 7-179,-12 3 90,-1 4-361,0 3-89,-2-3 90,2 0-90,-1-4 0,0-1-90,2 0 90,1 1-91,1 0 91,1-1-90,0 0 90,1-1-90,0-2 180,-1-1 89,2-2-89,3 2-90,2-5-180,4-4 0,-5-4-90,-1-4 90,-7-2-90,0 0 90,-1-3-180,-2 0-90,0-2-360,-2 1-449,-1-8 359,-4 0 1,-2 1-1,-4 4-90,-1 7-89,-1 1-1,-1 2 1,-1 1-1980,0 1 2789,-5 1 0,10 1 0,-4 2 0</inkml:trace>
</inkml:ink>
</file>

<file path=ppt/ink/ink13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6:23.51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1 27 8522,'23'-11'2968,"-3"2"-1888,-7 2-810,-11 9 179,-1 2-89,-9 11 0,2 2-180,3 5 0,4-3 0,3 3 0,3-5-1,2 3 1,2 1 0,2 1-90,0-1 0,1 1-90,0-1 90,-1-1-90,-2-1 0,-1-2 90,-1-1 0,0-2 90,-2-1 180,-1 4-180,-4-1-90,-5-1 0,-8-3-90,-6-10-90,0-2-180,0-4 90,5-1-90,-1 0-90,1-3 0,0 0-89,2-1 89,0-1-90,2-2 0,1 0-449,1-1 269,3-5 180,2-2 181,5-3 269,2 5 1529,3 3-540,2 11-449,-7 9-180,-1 9-180,-8 8-90,-1-5-1,-1 2 1,2-5-90,-1 0-90,0 2 1,0-1-181,-1 2 0,1-2-90,-1 0-629,-1 5 269,1-4-899,-1 3-1619,1-4 3238,1-2 0,2-3 0,1-4 0</inkml:trace>
</inkml:ink>
</file>

<file path=ppt/ink/ink13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6:23.71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0 11580,'24'3'3239,"-2"3"-3060,-11 10 91,-2 0-90,-1 3 0,-3-4-90,1 2 0,-1 1-90,0 1-270,-1 0-90,-1 0-89,0-1-1620,-1 8-900,-1-1 2969,-3 4 0,1-13 0,0-6 0</inkml:trace>
</inkml:ink>
</file>

<file path=ppt/ink/ink13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6:23.85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9 110 8252,'-4'-30'2159,"1"3"-4048,-1 7 1889,1 2 0,1 10 0,0 1 0</inkml:trace>
</inkml:ink>
</file>

<file path=ppt/ink/ink13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6:24.06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9961,'20'24'2429,"-3"0"-1889,-8-9-91,0 3-89,0 0 0,0 2-90,0 2-90,0 1 0,0 2-1,0 0-89,-1 1 0,-1 0-180,0-1 0,-2-1-179,0-1-1,-1 0-90,-1 0-180,-1-2-89,-1-2-181,-1-1-89,-2-2-2879,0-1 3778,-4 2 0,3-8 0,-1 0 0</inkml:trace>
</inkml:ink>
</file>

<file path=ppt/ink/ink13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6:24.32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85 10591,'8'-25'2339,"1"5"-1980,7 9 1,-1 4-90,2-1-90,3 2 0,1-1 0,1 1-90,2 0 0,1 0 90,2 0-91,-2 0 1,0 0 90,-1 1 90,-1-1-90,-1 0 90,-1 0 0,-1 0 0,-1 0-1,-2 0 1,-1 0 0,-3 1-90,0 1 0,3-1-90,-2 2 0,2 3 0,-3 6-90,-3 7 90,-2 1-90,-3 3-270,-2-3-90,-1 2-180,-1 0-89,0 1-91,-1 0-89,-1 0-181,0 1-269,-1-2-3778,-1 0 5037,-1 4 0,2-11 0,-1 2 0</inkml:trace>
</inkml:ink>
</file>

<file path=ppt/ink/ink13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6:24.46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 211 9062,'-1'-31'2788,"0"2"-2158,0 11-180,1 0 179,0 0-719,0-4-899,0 1-1710,1-2 2699,3 6 0,-3 9 0,3 3 0</inkml:trace>
</inkml:ink>
</file>

<file path=ppt/ink/ink13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6:24.90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84 9961,'16'26'3778,"-2"-3"-2878,-4-12-271,0-2-89,2-3-180,2-3-90,2-5-180,2-4 0,-2-1-90,-1-3 89,-3 1-89,0-1 0,0-1 90,0-1-90,0 1 0,-2 1-269,0 0-181,2-2 0,-2 2 90,2-2 360,-2 12 90,-1 3 90,0 7 0,1 0 90,3 0-90,3-3 0,3-1-90,10-8-90,-8-1 90,5-5-90,-12 0 0,0-2 90,-1-1-1,-2-2 91,-1-2-90,-1 1 0,-3 0-90,-4-4 90,-6 0-90,-3 1 0,-4 4 0,0 7 0,-6 1 0,-2 4 0,1 3 0,2 4 0,6 2 90,2 1-90,2 3 0,2 1 0,2 2-90,2 2-180,1 2-89,2 1-181,0 1-180,2 1-89,0-1-361,1 2-1168,0-2-1260,0 0 3598,0 0 0,-2-10 0,-2-2 0</inkml:trace>
</inkml:ink>
</file>

<file path=ppt/ink/ink13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14.99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93 10861,'24'-8'360,"3"-1"-1080,2 0-809,9-3-859,8 0 2388,6-2 0,4 0 0,1-1 0</inkml:trace>
</inkml:ink>
</file>

<file path=ppt/ink/ink13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26.01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6 0 10771,'-8'11'4317,"3"-10"-4137,2 39 0,4-19 90,1 3-90,0 1 0,0-1 0,1 2 269,8 25-179,4-7-90,2 9 0,7-9-90,-8-20 0,13 9 0,-3-13-90,-1-3 90,-2-7 0,-1-9-90,-6-1 0,6-6 90,-8-2-90,0-4 0,-1-2-90,-1-5 90,0-2-90,-2-4 90,0 0 0,-3-3-90,-1 2 90,0 0 0,-2 1 0,0 2-90,-1 1 90,0 3-90,-1 1 270,1-1 0,0 21 90,-1-2-90,0 23-1,-2-4 91,1 4-90,-1 1 90,0 2 0,1 2-90,0 0 0,0 1-90,0 2 0,0-2 0,0 2 0,0-3 89,0 11-179,-1-9 90,0 7-90,0-14-90,0-2-179,-1-1-361,1-2-90,0 3-269,0-1-3419,0 2 4408,2-4 0,6-18 0,2-6 0</inkml:trace>
</inkml:ink>
</file>

<file path=ppt/ink/ink1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8:11.21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23 11131,'22'-14'4947,"0"5"-4138,-9 9 1,1 5 89,-2 5-179,-1 2 90,2 6-91,-1 2 1,1 6-181,0 3 1,0 3-90,-1 4-90,0 2-91,0 0-89,-2 1 0,-2-1 0,-1-1-90,-3-3-90,-2-2-90,-3 0-270,-3-3 1,-2 1-181,-2-3-90,-3-2-179,-2-2-181,-3-3-89,-1-3-90,-3-2-451,1-3-1888,-2-4-2338,2-2 5846,0-5 0,-3-4 0,1-3 0</inkml:trace>
</inkml:ink>
</file>

<file path=ppt/ink/ink13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26.25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22 0 14279,'-6'32'1529,"-2"-3"-1079,1-12-90,-1 1-1,1 2-89,-1 0 0,0 3-90,-1 1 0,0 2-90,0 0 0,0 1-180,0 0 0,0-1-180,-1 0-90,0 0-180,0-1-89,-1-1-181,1-2-89,-1-2-91,1-2-1438,-1-1-1170,0-4 3598,0-2 0,5-6 0,1-1 0</inkml:trace>
</inkml:ink>
</file>

<file path=ppt/ink/ink13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26.41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 82 13020,'-2'-26'3598,"1"0"-6477,1 9-449,9 8 3328,1 5 0,15 10 0,0 2 0</inkml:trace>
</inkml:ink>
</file>

<file path=ppt/ink/ink13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26.55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11400,'23'13'5397,"-3"-2"-8545,-6-5 3148,-4 1 0,-4-4 0,-2 0 0</inkml:trace>
</inkml:ink>
</file>

<file path=ppt/ink/ink13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16.54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5 176 11041,'-5'10'3418,"2"-5"-2969,6 34-179,0-14 90,0 3-90,1 2 90,0 3-90,0 0-1,0 2-89,-1 0 90,1 0-180,0-1 90,-2-1 0,2-1 0,-2-2-90,1-2 90,-1-3-90,-1 0 0,1-4 269,-1-2 541,0 4 449,0-3-809,-2 3-540,-5-16 0,0-6-90,-4-15-90,3-2-90,0-7 90,0-3-90,0-8 1,0-4 89,2-4-300,0-2 210,3-2 0,1-2 90,1 1 0,2 1 90,2-1-90,2 3-90,2 1 90,8-13 90,0 16 1,7-9-1,-4 22-90,1 4 180,0 5-90,1 4 0,-1 4 90,0 3-90,-2 4 90,0 3 300,-2 3-390,-1 2 90,-1 3 0,-2 2 0,-2 1 0,-3 8 0,-4 4 90,-2 1-90,-7 1 0,-2-7 90,-4 0-90,-2 1 0,-3-1 90,-1 0-90,-1-2 0,-1-1 90,1-2-90,0-1 0,1-2-270,-6 3-90,6-5-89,-3 3-811,9-6-359,-3 2-270,2 0 1889,-2 2 0,8-5 0,2 0 0</inkml:trace>
</inkml:ink>
</file>

<file path=ppt/ink/ink13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16.82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52 1 11041,'-26'16'2788,"0"2"-1978,3 3-91,-6 6 1,-2 5-768,-2 4 588,0 3-1,1 3 1,3 1-90,4 3-90,3 1-1,4-2-89,5 1 90,5-3-90,4 0 0,5 0-3932,3-1 3842,4 2-90,5 1 764,4-2-854,3 0 180,1-5-180,3-3 0,0-5-180,2-4-89,-1-2-721,11 1 181,-9-8-91,6-1-179,-13-8-1577,-1-4-42,4-3 1658,-6-2 1040,3-3 0,-13 1 0,-2 1 0</inkml:trace>
</inkml:ink>
</file>

<file path=ppt/ink/ink13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17.44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2 15178,'28'-1'630,"1"0"-450,0 3-90,3-1 0,2 2-90,1-1-180,0 2-90,-2-1-270,-4 0-89,-1 0-1,-4 0 0,-3 0-1169,-4 0 1799,0 0 0,-10-1 0,1 0 0</inkml:trace>
</inkml:ink>
</file>

<file path=ppt/ink/ink13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17.64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16258,'1'26'1349,"0"2"-1079,1-7 0,2 4-90,-1 2-1,1 2-89,0 2 180,6 29-180,-5-21 0,4 21-180,-5-29-180,0-3-89,-1 0-91,0-4-90,0 0-90,0-3 1,-1-2-630,0-2-6207,1 2 7466,2-6 0,-3-1 0,2-8 0</inkml:trace>
</inkml:ink>
</file>

<file path=ppt/ink/ink13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17.97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06 9512,'25'-17'3238,"-2"6"-2699,-8 14-179,-2 4 90,-1 3-90,-4 1 89,1 1-89,0 2-90,1 1 0,1 1 0,-2 0-90,1 0 0,0 1-90,-1-1 89,-1-1-89,1-1 450,-2-1 629,1 2-89,0-1-1,2 0-719,1-10-180,0-11-3482,-1-5 3482,0-13-90,-4 7 0,2-8-90,-3 6 0,-1-1 0,0 0 0,0-1 3392,0 1-3392,-1 1 0,-1 1-270,0 3-810,1-6-988,-1 3-2250,-1-3-2248,-4 14 6566,3 8 0,-4 5 0,5 3 0</inkml:trace>
</inkml:ink>
</file>

<file path=ppt/ink/ink13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18.43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37 13379,'25'14'1979,"0"-3"-1619,-6-9-270,3-3 0,-4-1 0,0-3 0,-5 0 0,-1-1 0,1-2-90,-2 0 90,0-3-90,-2 1 90,0-3-90,-2 2 0,0-2 0,-2-4 90,-4 0 0,-6-1 89,-9 5 1,-8 8 0,1 5 0,-1 5 0,6 2 0,0 2 0,1 2 0,1 2 0,2 1-90,1 1 89,3 2-89,1 1 0,3 0 0,1-1 0,2 1 0,3 1 0,2-1-90,1 1 90,3-1-90,2 0-90,2-2-180,1-1-90,1-2-89,2-1-181,0-2-89,0-1-1,2-2-90,-2-2-269,1-2-90,-1-2-1080,0-1-989,1-3 3238,0-1 0,3-5 0,1-1 0</inkml:trace>
</inkml:ink>
</file>

<file path=ppt/ink/ink13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18.69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0 0 15988,'-1'25'2069,"0"1"-1440,-1-5-89,0 3 90,0 2-181,1 2 1,1 3-90,-1 1 0,2 3-90,0-1-1,1 2-89,0-1 0,-1 0 0,1 0-90,-1-1 0,1-2-180,-1-1-90,1-4-180,-1 0 1,0-3-181,0-1-1529,1 5-180,-1-3 2249,2 1 0,8-19 0,3-8 0</inkml:trace>
</inkml:ink>
</file>

<file path=ppt/ink/ink1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8:11.35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0 13559,'25'9'5217,"-3"-1"-6206,-7-3 989,-2-1 0,-5-1 0,-2-2 0</inkml:trace>
</inkml:ink>
</file>

<file path=ppt/ink/ink13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19.20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14009,'3'35'1529,"1"-2"-1169,-2-12 0,0 2-90,1 1-91,0 1 1,0 0-90,0 0-3302,1 1 3302,-1-1 0,1 1-147,-1-2-213,0-1-360,1 7-269,0-10-91,0 11 990,0-13 0,-2-4 0,-1-7 0</inkml:trace>
</inkml:ink>
</file>

<file path=ppt/ink/ink13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19.50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93 9871,'17'-13'3328,"0"7"-2878,-2 17-90,-1 4 0,-1-2-90,1 2 89,1 2-89,1 1 0,0 1 0,1 1-90,0-1 0,0 0-90,0 0 90,-2-2-90,0-2 0,-3-1 89,0-1 271,-2-2 630,-1-1-91,3 1-269,-1-3-361,3-3-179,0-9-90,-3-5 0,-2-4 0,-3-2-90,0-1 0,-1-4 0,-1-1 90,-1-2-90,0 0 0,-3-1-90,1 1 0,-2 0-90,-1 1-180,0 1-89,-2 1-91,-1 3-90,-1 1-89,-1 3-91,-1 2-719,0 1 1529,-3 1 0,6 4 0,-1 0 0</inkml:trace>
</inkml:ink>
</file>

<file path=ppt/ink/ink13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19.78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2 10411,'5'26'3508,"-2"0"-2788,-3-3-451,1 3 91,1-4-90,3 0 0,1-6-90,2 0 0,1-1 0,2 0-90,1-2 90,0-1-1,-1-2-89,1-2 180,0-1-90,6-3 0,0-4-180,0-2 90,-2-6 0,-7-1-90,0-2 90,-3-3-90,-1 0 0,-2-2 0,-2-1 0,-1 0-90,-3-1-90,-1 0-90,-3 1 0,-1 0-179,-2 2-1,-1 1-90,0 2 90,-1 2-89,0 1-541,1 2-89,-4 0 1169,1 2 0,4 1 0,3 3 0</inkml:trace>
</inkml:ink>
</file>

<file path=ppt/ink/ink13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20.11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9961,'28'10'2339,"-3"1"-1709,-15-3-1,0 1-89,0 2 0,-1 2-91,0 1 1,0 1-90,-2 0 0,0 1-90,0 0-1,-2 0-89,0-2 180,-1 0 0,2 3 629,-2 0 900,1 2-629,0-3-1260,-4-18-180,3-6 180,-2-12-180,4-3 180,2 3-90,1-2 0,3-1 0,1 1 0,2 1 90,0 1-90,0 3 90,-1 1-90,1 5 180,-1 1 0,1 4-90,5 3 90,-6 3-90,5 4 180,-7 3-90,0 2 0,0 3 0,-1 1 0,0 3-90,-1 1 90,-1 1-90,0 1 0,-2 2-180,0-1-90,-1 0 0,0 1-270,-2-1-89,0-1-181,-1-1-1079,-1-1-719,0 6-4678,0-2 7286,0 2 0,-1-10 0,1-6 0</inkml:trace>
</inkml:ink>
</file>

<file path=ppt/ink/ink13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20.27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30 13649,'29'-15'-1709,"0"3"-2878,-4 10 4587,1 2 0,-11 0 0,-3 1 0</inkml:trace>
</inkml:ink>
</file>

<file path=ppt/ink/ink13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20.72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19 0 11400,'-23'7'1799,"2"2"-1439,10 1 0,-1 2-90,1 3 90,1-1-90,2 3-91,0 0 1,2 1 0,1 1-90,2-1 0,2 0 180,3 9-180,2-6-90,2 6 90,1-9 0,2-2-90,1-1 90,2-2-90,-1-2 90,1-3-90,0-2-90,6-3 90,-4-3-90,5-3 90,-7-2-90,1-4 90,-1-1 0,-1-3-90,0 0 90,-1-1 0,1-4-90,-3 0 180,-4-3 90,-8 11 0,-3 7 90,-4 13 89,8 5-269,5 6 90,1-4-90,4 1 90,0-7-90,1 1 90,1-2 0,1 0 90,-1-3-90,7 1 89,0-6-179,6-3-90,-7-4 90,-1-5 0,-6 0-90,-2-2 0,0-2 0,-2 0-270,-1-2-89,-2-6-1,-1 6-270,-2-6 1,-2 9-181,0 0-989,-2 1-1529,-4-2 3328,-1 0 0,3 5 0,1 2 0</inkml:trace>
</inkml:ink>
</file>

<file path=ppt/ink/ink13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20.96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7 11311,'22'23'2158,"-4"-2"-1618,-11-9-90,-1 1-90,0 1 89,1 0-179,0 1 90,-1-1-90,2 1-90,-1-1 0,0-1 89,0-1 451,-1 0 359,2 1-269,0-2-450,5-1-90,-1-9-180,4-8-90,-5-3 89,0-4-89,-3 1-89,0-1-91,0-1-90,0-1-180,-2-1-180,0 1-89,-1 1-1260,-1 0-630,0-4-3327,-3 0 5936,0-4 0,-1 11 0,0 3 0</inkml:trace>
</inkml:ink>
</file>

<file path=ppt/ink/ink13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21.11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12120,'14'28'2339,"-3"-3"-1800,-7-10-89,-1-1-90,-1 2-90,0 1 0,0-1-90,0 2-1,0 0-179,0 1-179,-1-1-631,0 0-809,0 6-1799,-1-1 3418,-1 2 0,1-12 0,-1-5 0</inkml:trace>
</inkml:ink>
</file>

<file path=ppt/ink/ink13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21.26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4 172 9332,'-8'-28'4137,"2"6"-3507,0 4-90,2 5 179,-1 1-809,-2-5-539,-2 2-451,-2-2-2608,-1 4 3688,-1 4 0,6 4 0,1 2 0</inkml:trace>
</inkml:ink>
</file>

<file path=ppt/ink/ink13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21.60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7173,'26'6'4048,"-5"1"-3149,-3 3-179,-4 2 89,-1 1-179,-1 3-90,0 3-1,0 2-89,0 2 0,-2 2-90,0 2-1,-1 0-89,-2 2 0,-1 0-90,-2-2 0,-1 1 0,-2-2-90,-2-1 0,-2 0 0,-3-1-1,0-2 1,-3-2 0,-1-2 0,0-1-90,-1-4 90,-1-2 0,-3-2-180,0-7 0,0-6 0,6-9 90,6-1-90,6-3 90,3 4 0,2-1-90,2 0 90,2 1 0,1 2-89,2 0 178,0 2-178,1 2 89,0 1 0,-1 2 89,1 1-89,-1 3 0,0 1 0,0 2 0,-1 1-89,-1 1-91,0 2-90,-2 1-180,-1 2-90,-1 0-89,-1 0-721,-2 1-269,0 6-539,-1 0 2158,-1 4 0,-2-10 0,-2-2 0</inkml:trace>
</inkml:ink>
</file>

<file path=ppt/ink/ink1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8:12.03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77 11580,'23'12'3958,"-5"0"-2968,-8 9-271,-4 2 181,1 3-271,-1 6 1,0 1-90,0 5-1,0 1 1,0 2 90,0 0-181,-1-2 1,0-2 0,0-3-90,0-1-1,-1-4-89,0-1-90,-1-4 1709,2 12-810,-2-10-449,-2 5-630,-5-27 0,-1-7-90,-2-16-180,3-1 0,-1-7-449,2-26 359,2 6 0,2-22 90,4 15-269,10-29 359,-2 20-1483,9-17 1393,-2 29-2840,1 3 3020,4 4-270,12-6-806,-8 16 896,8-3 0,-11 21-359,8 4 1149,-9 6-969,15 8 3237,-19 6-2878,4 5 1551,-12 1-1551,-2 2 90,-3 2-90,-4 9 0,-5-4 90,-6 7 0,-4-8 0,-3 1 0,-5 0 0,-3-1-90,-1-1 0,-2-3-90,2-2-179,-2-2-91,1-1-90,0-3 0,2-2-179,1-2-1350,3-1-1979,-4-3 4048,5-2 0,4-1 0,6-1 0</inkml:trace>
</inkml:ink>
</file>

<file path=ppt/ink/ink13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21.82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89 1 9602,'19'9'3238,"-3"2"-2339,-6 1-89,-1 3-1,-1 3-89,-1 2-91,-1 2-89,-1 1 0,0 1-180,-2 2-1,-1 0-89,-1 1-90,-1 0 0,-1-1 0,-2 0 0,-2 1-90,-2-2 0,-2 1-90,-2-3-180,-1 0-90,0-4-180,-2-1-89,0-3-901,-7 3 361,5-7-2879,-5 2 3958,5-9 0,8-2 0,-1-2 0</inkml:trace>
</inkml:ink>
</file>

<file path=ppt/ink/ink13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21.96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1 8342,'29'-4'1889,"-3"1"-1439,-8 1-180,-1 1 0,0 0-270,0 1-180,-1 0-1889,0 1 2069,4 0 0,-10 0 0,1 0 0</inkml:trace>
</inkml:ink>
</file>

<file path=ppt/ink/ink13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22.09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13649,'32'10'1170,"-6"-2"-1440,-2-8-90,-7 1-1619,0-1-2878,6 1 4857,-4 0 0,-4-1 0,-6 1 0</inkml:trace>
</inkml:ink>
</file>

<file path=ppt/ink/ink13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6:19.57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55 7803,'28'-8'1439,"-2"1"-6560,5-1 5391,-7 2 1229,8-2-1139,13 0-450,-16 4-90,19-1-360,-19 4-719,1 2 1039,2 1 220,1 1 0,5 1 0,2 0 0</inkml:trace>
</inkml:ink>
</file>

<file path=ppt/ink/ink13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6:20.98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3 640 9961,'-28'3'2519,"13"-7"-2249,16-2-180,14-7 0,0 6 90,3 0-91,-4 1 1,2-1 0,2 1 0,1-1 0,1 0 0,3-1-90,3 0 90,22-7-90,44-12-397,-13 5 352,-23 6 0,-1 2 135,16-4-180,8-1-608,2 0 608,2 1-750,3-1 840,-22 6 0,2 0-581,-15 3 1,0 0 580,17-3 0,0 0 0,-18 4 0,-1 1 0,1-1 0,0 0 0,0 1 0,1-1 45,0 0 0,-1 1-45,2 0 0,-1-1 0,-1 1 0,1 0 0,0 0 0,1 0 0,-1 0 0,0 0 45,0 0 0,1 1-45,0 0 0,0-1-45,-2 1 0,3 0-170,21-2 0,0-1 215,-17 3 0,-1 0 0,17-2 0,-2 1 0,27-3-90,-2 1 90,-1 1 0,0 1 0,-3 1-1225,0 1 1225,-2 0 0,-6 2-64,-3 0 64,-7 2 0,0 0-45,-24 2 0,1 0 45,25-1 0,21 2 0,-34 1 0,-2 1 866,-2 1-866,-5 0 0,-2 1 0,-5 1 0,-1 0 0,-1 0 0,-2 2 0,-1-1 0,-4 2 0,-3-2 802,-3 1-802,10 3 0,-10-3 0,6 3 0,-14-4 2341,-3 0-2341,-1-1 1167,-1 0-1167,-3 0 89,0-1-89,-3-1 0,4 2 0,-2-1 0,4 1-450,-5-1-3777,0 1 4227,-10 4 0,1-5 0,-7 1 0</inkml:trace>
</inkml:ink>
</file>

<file path=ppt/ink/ink13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6:21.28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2 300 9512,'-11'16'4497,"11"-4"-4137,16-2-90,8-4-1,1-2 1,3 1-90,4-1 0,1 0 0,3-2-90,0 1 90,1-2 0,0-1 0,-1-2 90,-1-1-1,-1-1 1,-2-2 0,-1-3 0,-4-1 0,-1-2 0,-3-2-91,-2-1 1,-2-3 0,-3-1-90,-1-3 90,-4 1-180,-1-1 90,-3 1 0,-2-1 0,0 1-90,-2 1 0,-1 1-720,0 2-809,-2-4-809,-3 2-5038,-5 2 7376,-5 8 0,5 5 0,0 4 0</inkml:trace>
</inkml:ink>
</file>

<file path=ppt/ink/ink13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6:29.35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5 1 10951,'-25'3'3238,"15"1"-3058,45 4 0,-2-2-4252,30 1 4162,-16-4 0,7 1 599,7 0-509,1 0-90,2 0 0,1 0 0,-1 0 0,0-1 0,-6 0-90,-3-1 90,-6-1 0,-6 0 629,24-1-449,-29 0 270,26-2-360,-41 0-90,5-1 0,-13 0 90,-1 0-360,2-1 1914,-1-1-1734,2-3 0,-9 4 0,-2 0 0</inkml:trace>
</inkml:ink>
</file>

<file path=ppt/ink/ink13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6:32.15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3 408 9871,'0'8'4948,"0"-9"-4679,5 39 1,-2-19 0,-1 2 0,0 1-90,1 0-90,-1 0 90,0 0-90,0-1 0,0-1 0,-1-1-1,0-1 91,1-1 270,-2 4 719,2-1-539,-2 3-450,-5-14-90,-4-10-180,-2-11 0,0-7-90,-2-14 0,3 5 90,-4-17 0,7 7-90,1-4 1,1-23 179,4 14-778,2-16 778,4 22-90,2 2-202,2 2 292,3 3-90,2 3 90,3 4 0,2 2 0,13 0-90,-6 8 0,10 1-270,-11 11-179,0 4 672,-1 3-762,1 3 35,-3 3-485,-1 3-180,-2 2-990,-4 2 2249,-3 1 0,-6-5 0,-3-1 0</inkml:trace>
</inkml:ink>
</file>

<file path=ppt/ink/ink13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6:32.67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12570,'34'5'899,"1"-1"-629,-3-3-180,4-1 90,5 2-90,1-1 0,2 0 0,-2 0-90,-2 1 0,-4-1-90,-3 1-90,-3-1 0,-2 1 0,-4-1-90,-2 0 180,-2 0-179,-3-1 89,6 1 90,-2-2 0,4 0 90,-3-3 270,-4 1 179,-2-2 181,-2 0-360,-15 7 0,0 0 89,-14 8-89,2 0 0,0 2-90,-1 1 90,2 1 0,0 0 0,3 1-90,1 1 89,1-1 91,3 0 0,2 6-270,4 1 90,1-1-90,3-3 90,1-8-90,1 0 0,5 0-1,4-4 1,5-3-90,-3-4-90,-2-5 1,-4-3-1,-1-1 90,1-3-90,-1 0 0,-1-2 90,-1 0-90,-1 1 90,0 1-90,-2 2 0,2-2 270,0 3-90,-3 12 0,-2 5 0,-5 17-3482,2 1 3482,-1-2-90,1-1 0,1-5-180,-1 0-720,1 6 1,0 1-1,2 5 3213,-2-5-4832,3-3-1978,4-9 4497,1-10 0,-2-1 0,-2-6 0</inkml:trace>
</inkml:ink>
</file>

<file path=ppt/ink/ink13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6:32.88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23 10771,'20'-15'5487,"-4"8"-4588,-5 15-539,-5 11-4342,-2 0 4252,-1 3 770,-1-3-771,0 12-89,-1-6-90,2 8 0,-3-9-90,2 0 0,-2 0 2942,1 9-3301,-1-10-91,0 6-539,0-12 179,-1 5-1079,1-1 1889,0 2 0,0-11 0,0-4 0</inkml:trace>
</inkml:ink>
</file>

<file path=ppt/ink/ink1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8:12.20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88 1 14369,'2'28'2698,"-3"-1"-2068,-11-8 0,0 1-181,-2 3-89,1 2 0,2 1 0,0 2-180,2 0-3303,2 1 3663,8 56-630,3-40-344,6 40 74,2-57-185,0-2 5,3-2-180,0-3-179,2-2 2948,0-4-3218,2-4 14,-1-3-1364,0-4-1199,3-5 3718,-2-3 0,6-8 0,0-2 0</inkml:trace>
</inkml:ink>
</file>

<file path=ppt/ink/ink13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6:33.31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27 72 10051,'12'-21'2429,"-4"0"-1889,-11 8-1,-4 1-179,-8 8 180,1 7-1,-1 7-89,6 5 0,4 6-270,5 5 0,2-3 0,4 1-3392,0-5 3391,2 0-89,0 1 0,0-1 0,0 1 0,-1-1-90,0-1 90,-1-1 3572,-1-2-3392,0 4-90,-4-2-90,-5 3 90,-6-6-180,-6-7 0,-3-6-90,3-4-90,1-4-90,5-1 0,2-2-90,-1 0 90,2-2-359,1-1 89,2-5 90,1-1 180,2-4 1,2 3 89,1 1-180,-6 5-360,-3 8-449,-3 7-360,2 10 180,7 0-630,5 0 1979,7-4 0,-5-3 0,1-3 0</inkml:trace>
</inkml:ink>
</file>

<file path=ppt/ink/ink13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6:33.57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33 7713,'26'-9'1889,"-1"1"-1350,-8 2 1,0 0 0,-1-1-91,0 0 451,6-5-450,-5 2 89,2-1-179,-7 3 270,-1 1-181,1-4-89,-2 1 180,-4-3-90,-12 7 89,-6 5 1,-5 9 0,3 6-91,4 3-269,5 3 0,6-3 0,3 0-90,2-4 0,2 0 0,2 0 0,1 0-90,1 0 90,1 0-270,0-2-90,1 1-180,0-2-89,0 0-91,-2-2-899,0-1-720,3 2 2249,-2-2 0,-3-1 0,-4-3 0</inkml:trace>
</inkml:ink>
</file>

<file path=ppt/ink/ink13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6:49.23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24 7083,'25'-3'-540,"-1"1"540,-8-2 0,5-3 0,0-1 0</inkml:trace>
</inkml:ink>
</file>

<file path=ppt/ink/ink13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6:49.64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6 54 10501,'-19'-13'4677,"2"1"-3237,7 3-1081,1 2-359,12 0 90,3 3-90,15 2 90,5 2 0,11 1-90,11 0-656,11 1 836,9 1-1297,11 1 1207,7 1 0,8 1-90,3 0 89,-1-1-1300,0 1 1301,-3-2 0,-8 0-770,-4-1 770,-10 0-90,-3-2 90,-8 0-15,-3-1-75,-9-1 90,9 0 0,-17 0 826,3-1-1006,-18 1-90,-5-1 714,-1 1-4222,-2-3 2138,-14-2-2318,-3 2 4026,-15-1 0,-9 3 0,-3 0 0</inkml:trace>
</inkml:ink>
</file>

<file path=ppt/ink/ink13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7:11.29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 102 13829,'-7'19'2519,"5"-4"-6232,60-18 3982,-14-1-89,34-3-245,-3-3 0,0 0 155,12-1-484,-8 0 1,-2 1 393,-10 0 90,-1 1-418,17-2 328,-24 3 1076,8-1-1076,-29 4 1118,-6 1-1387,-4 0 2810,-3 0-2991,-4 2 719,-3-1-1888,3 2-406,-5 2 1035,-10 4-899,-5 0-539,-14 3 2428,-1-1 0,-5 0 0,-5 2 0</inkml:trace>
</inkml:ink>
</file>

<file path=ppt/ink/ink13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7:11.57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15 142 9332,'-29'10'2878,"4"-1"-1978,10-4 809,2 0-270,-3 0 0,2 0-989,11-2-91,9-1 1,18-5-90,8 0 0,11-3-613,9-1 523,9-2-803,3-1 803,4 0-1063,6-1 973,2-1-90,0 0 90,-2 0-90,-7 1 90,-3 0-90,-3 0 0,-8 2 0,-6 1-90,-8 0-90,-5 3-179,-6-1 336,-2 2-607,-5 0-415,-3-1 1045,0 1 0,-10 1 0,0 1 0</inkml:trace>
</inkml:ink>
</file>

<file path=ppt/ink/ink13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7:13.98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7 0 11940,'-8'11'3418,"3"-12"-2968,5 43-90,1-22 0,1 2-1,-1 3 1,0 1-90,0 1 719,1 38-629,-1-15-180,-1 18-90,1-29-646,-1-13 556,0-1 90,0 0 0,0-3-90,0 0 0,0 6-90,0-8-269,0 13-181,0-11-450,0 3-5920,0-3 6910,-3-21 0,-1-9 0,-3-21 0</inkml:trace>
</inkml:ink>
</file>

<file path=ppt/ink/ink13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7:14.28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1 88 8612,'-23'-8'5937,"2"1"-3599,6 2-1978,13-3 0,5 5 0,15-2-90,3 3-1,5 1 1,5 0-90,4-1 0,6 0 0,1 0-307,4 0 217,0 0 90,-1-1-90,-4 1 180,12-1-91,-17 0-89,8 0 90,-20 0-90,-3 1 90,-2 1-90,-2-1-270,3-1-5667,-4 0-1401,-7-3 7248,-8 5 0,-7-2 0,1 6 0</inkml:trace>
</inkml:ink>
</file>

<file path=ppt/ink/ink13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7:14.99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0 9152,'17'24'2518,"-1"-1"-1888,-3-3 0,1 2-181,0 2 1,1 0-180,-1 1 0,0 1-90,-1 0 90,-2 1-181,-1-1 1,-2-1 0,-3-1 0,-2-2 0,-3 0 0,-1-1-90,-3-1 90,-1 0-90,-3-2 90,-1-1 0,-2-2 90,0-1 0,-1-2 90,0-2 269,0-2-89,-2-2-180,0-3-90,-1-5-90,9-10-90,6 0 90,6-5-90,3 4 0,3 0 0,3-2 0,1-1 0,3 0 0,1-1 0,2 0 0,0 0-90,0 0 90,1 0 0,0 1 0,-1 0 0,0 1 0,-1 0 0,-2 1 0,-1 1 0,-2 1 90,-1 1 0,-3 1 0,0 1 90,-2 1-90,2-2-1,-1 2 181,1 6 0,-6 7 0,-4 12 0,-5 6 0,0 3-90,2 4-90,2-7 0,1 0-1,0-8 1,1 0 0,2 0-90,-1 0 90,2-2 0,1 0 0,1 0-90,1-2 90,1 0 0,0-2-90,1-1 90,1-2 0,6 1 0,2-5-90,-1 0 90,1-5 0,-8-1-90,1-2 90,0-1-90,-1-2 90,1-2-90,-1 0 180,4-7-90,-4 4 0,1-4-1,-5 6 271,-1 1 0,1-4-90,0 1-90,1-2-180,-2 2 90,0 12-90,-4 6 90,-1 12 0,-4 7-90,1 3 0,0-3 90,1 0-270,0 1-450,0-6-269,0 12-361,0-5-179,2 4-90,-1-3-1619,2-4-540,3-5 3688,1-10 0,7-11 0,1-8 0</inkml:trace>
</inkml:ink>
</file>

<file path=ppt/ink/ink13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7:15.29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269 10141,'30'-25'2879,"-2"3"-2430,-12 12 1,0 2-90,-4 2 0,3-1-1,0 0-89,2 0 0,-1 0-90,1-1 90,-1 0-90,0 0-90,-1-1 0,-1-1 90,1 1-90,-2-2-90,0 0 89,-2 0 1,-1 0 0,-2-1-90,-1-3 90,-5-1 180,-6-1 0,-12 7 180,-1 6-180,-5 7-1,3 5 91,-2 3-90,-1 5 0,0 1 90,3 3-90,1 2-1,2 1 181,2 1 0,3 1-90,3 0-1,2 0 1,4-1 0,2 0-90,2 0-90,4 0 90,2 0-90,3-1-90,1-2 89,0-1-89,2-3-180,-1-3 0,2-1-179,-1-2-1,0-3-810,0 0-719,3-2 1799,-2-2 0,-3-2 0,-4-1 0</inkml:trace>
</inkml:ink>
</file>

<file path=ppt/ink/ink1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8:12.74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02 9152,'12'-22'4317,"0"0"-1618,-4 10-1620,1 10-539,-4 12-90,0 10-91,-5 6 1,0-4 0,0 5 450,0 47-721,1-31-202,1 35 203,-1-47-90,0-2 0,-1-3-90,1-2-89,-1-3-1,0-2-180,0 4-1709,0-4 1709,3-11 180,-1-8 203,1-15-202,-2-3 89,1-1-90,-1-2 180,0-2 0,0-13 180,0 9 89,0-10 1,0 11 0,0 0 360,1-10-270,0 9-1,1-8-89,0 13-90,0 0-90,1 1 90,2 2-90,0 1 0,6-6-90,-2 8 0,4-4 90,-3 9-90,1 2 0,-1 2 0,6 1 0,-1 3-90,2 4 90,-3 6 90,-6 4-90,-4 5 0,-7 3 0,-1-3 0,-3 2 0,1-6 0,0 0 0,0 0 0,0 6 0,1 1 0,5 7 0,2-5 0,4 0 90,2-6-180,0 2 90,1 0 90,0 0-90,-2 0 90,0-2 0,-2 0 269,-1 0-89,-4 7 0,-2-7 0,-4 6 90,-3-8-90,-2 0-91,-3 0 1,-2-2-90,-2-1 90,1 0-90,-2-1-90,1-1-270,1-1-89,0-1-1530,-4 0-450,1-2-1079,-2-4-3418,8-4 6836,6-10 0,5 6 0,3-2 0</inkml:trace>
</inkml:ink>
</file>

<file path=ppt/ink/ink13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7:18.93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4 1 9961,'0'29'2159,"0"-1"-1529,-1-7-181,-1 3 91,1 1-180,0 2-90,-1 0 90,1 1-91,0 0 1,-1 1-90,1-1 0,0 0 0,0-1-90,0 0 0,0-1 90,0-2-180,0 0 90,0-2-180,-1-2-90,1-2-270,0 4-899,-1-3-990,-2 0 360,-1-16-539,0-5 2518,0-13 0,0-6 0,1-3 0</inkml:trace>
</inkml:ink>
</file>

<file path=ppt/ink/ink13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7:19.19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209 9422,'-1'-32'3867,"4"5"-3417,8 21-90,0 5 0,4 8-90,-3 1 179,2 2-179,1 1 0,2 2 0,1 0 0,2 2-90,1 0 0,0 0-1,-1 0 91,0-1-90,-2 0 0,0-2 90,-1-1 0,-2-1 90,-2-1 809,-1-1-360,3 1-179,-1-3-180,3-4-270,-1-10-90,-5-3 0,-1-6 0,-5 0-1,1-4-89,-2-2 0,0-2 0,-1 0-179,0-2-1,-1 1-90,-1 1-180,1 2-180,-2 2-1169,0 2-359,-2-4-541,-2 4 2699,-2 1 0,1 10 0,1 4 0</inkml:trace>
</inkml:ink>
</file>

<file path=ppt/ink/ink13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7:20.26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9 239 9602,'25'5'3238,"0"-5"-2968,-7-6-1,-2-2-89,-2-3 0,-5 1 0,-1 0 90,-1-1-90,0-4-180,-3 1 90,-4-1-90,-8 8 90,-3 5 90,-5 6-90,1 4-1,-1 2 181,-1 3 720,2 1-720,-13 31-1,15-20-89,-7 20 0,18-25 0,3 0 90,3 0-90,2 1 0,4 0-90,2-2 90,4 1-90,1-3 0,2 0-1,2-3 1,0-3 0,0-1 0,1-4-90,0-2 0,1-3 90,0-3-90,1-3 0,1-2 0,0-5 90,-1-2-90,-1-2 0,-1-2 0,-2-3-3392,-2-1 3392,-2-2 0,-1-1 0,1-12 0,-5 10 0,-1-8-90,-6 15 90,-3 1 3392,-2 2-3482,-1 1 90,-3 2-90,-2 1 0,-1 3 0,-1 2-89,-5 2 179,-2 6 0,1 3-90,2 6 90,6 2 0,0 3 0,2 3 0,1 3-90,3 2 90,0 2 0,2 2 0,2 2 0,0 2 0,2 2 0,0 1 90,1-2-90,-1 1 90,0-1-90,-2-1 90,-1 10-90,-2-12 89,-2 7-89,-2-13 0,-3-3 90,-1-2-90,-2-1 0,-2-4 90,-1-1 0,-1-4 0,0-2-90,-7-3 90,5-3-90,-5-3 0,7-2 90,1-1-180,1-2-180,-1-6-269,4 3 89,2-11 0,6 9 0,3-4 1,4 4-1,1 0 0,4 0 90,1 0 1,3-1 89,2 0-90,3 1 180,2-1-90,2 0 90,4 0 90,1-1 0,4 0 1,0-1-91,17-9 180,-11 7-326,10-6 415,-15 7 1,-3 0 90,-3 1 90,-3 1-90,-4 2 0,-2 0 90,-4 1-90,-2 1 596,-3-1-327,-11 3-269,-7 4-90,-6 5 90,-3 5-90,4 2 0,0 2 0,-1 1 0,2 1 0,-1 1 90,3 0-90,1 0 0,2 0 89,1 1 1,1 3-90,5 0 0,5 2-270,6-5-89,8-5 89,-1-6-90,2-5 180,-5-2-90,1-2 90,0-2 0,-2 0 0,1-1 90,-4 1 0,1 0-90,-2 2 1439,1-2-629,-6 13-90,0 2-361,-4 15 1,1-4 270,6 6-270,0-7-90,4 4-90,0-5 90,2-2-90,0-1-1,2-1 1,0-2 0,2-1-90,-1-3 90,0-2-90,0-2 0,0-2 0,1-4-90,-1-2-179,2-4 89,-2-4-90,1-6 90,-1-5 0,0-6 90,-2-3 0,-1-2 180,4-17 90,-7 16 90,4-11-90,-8 24 0,-1 1-90,-1 4 89,0 3 631,0-1-630,-2 18 0,0 8-90,-2 16-90,1 5 90,0-3-90,1 3 0,1 2-180,0 2-90,1 2-180,0-1-90,-1-1-179,1 0-91,-2-3-89,1-1-91,-2-3-269,0-3-180,-2-1-5307,0-3 6746,-3 2 0,2-10 0,-2 1 0</inkml:trace>
</inkml:ink>
</file>

<file path=ppt/ink/ink13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7:20.51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52 10141,'11'-30'1439,"1"5"-989,1 14 0,1 0-90,5-1-1,1 1 91,3 1 0,2 0-90,-2 2 0,1 1 89,-2 1 1,0 2-90,-1 1 90,-2 0-91,-1 3 181,-1 0-90,-2 3 0,-1 1-91,-1 2 91,-2 2 0,0 1-180,-2 2 0,0 1-91,-2 2 1,0 1-90,-2 2 90,1 0-90,-2 1-180,-1 0-90,1 0-90,-2-1-179,0-1-901,0 0-269,0 5-180,0-2 1799,0 3 0,-1-10 0,-1-5 0</inkml:trace>
</inkml:ink>
</file>

<file path=ppt/ink/ink13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7:20.65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242 9152,'0'-29'3778,"2"2"-2789,-2 9-179,1 0-181,0 1 361,-1 0-451,0-7-808,0 3-1710,0-5 1979,0 3 0,0 11 0,0 3 0</inkml:trace>
</inkml:ink>
</file>

<file path=ppt/ink/ink13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7:21.21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88 9602,'9'21'2698,"-1"-1"-1978,-2-7-91,1 0 1,0-1-1,0 2-179,3-1 0,-1 1-90,2-1 0,0 0-1,-1-2-89,1-1-90,0-1 0,1-2-90,0 0 90,0-1 0,0-2-90,6-1 0,2-5-90,-2-1 90,1-5-90,-6-1 0,0-3 0,0-2 0,0-4 0,0-1 0,0-2 0,-1-1 0,-1 2-270,7-20 180,-10 15 90,3-14-90,-12 23 0,-7 4 90,-4 7 180,0 7 180,2 8 89,6 5-89,7 0-180,7-3-90,6-7-90,3-5 90,3-5-90,-6-2 0,-1 0 0,-3 1 90,0-1-180,-1-1 180,1 0-90,-1-1 0,-1 0 0,1-1 0,-2 1 0,0-2 0,-1 2-90,1-5 90,-3 2-90,-4-4 90,-8 6 0,-9 2 0,-7 9 0,3 2 0,-2 3 0,6 0 0,1 3 0,1 0 90,1 3 0,2 1 0,1 0 90,3 2 0,1 0 0,3 1-1,3 1-89,2 1 90,2 2-90,3 0-90,2 1 0,10 7-90,-4-6-270,8 4 1,-6-10-91,0-2-180,-1-2-179,0-1-1,0-3-359,-1-1-3059,-1-2 4228,4-2 0,-10-1 0,2-1 0</inkml:trace>
</inkml:ink>
</file>

<file path=ppt/ink/ink13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9:15.63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15 1 8432,'-25'19'2429,"2"2"-7550,3-4 6021,-9 16 868,6-7-598,-21 46-901,25-36 861,-7 25-950,21-35 90,5 8 89,9 4-179,3-1 3302,7-4-3392,-1-12 0,4-3 90,2-1-90,2-3 0,1-3-90,1-1 180,-2-4-90,1-1 90,-2-4-90,0-2 269,11-6-179,-8-1 0,6-7 90,-12 1 0,-1-2 90,-2-2-91,-2 0-89,-3 0 0,-2 1 0,-2 1 0,-2 1 90,-1 1-90,-2-1-90,-5 1-90,-7 7 90,-5 7-90,-2 12 0,5 4 90,6 5-90,5-4 0,5 1 0,2-6 90,3 1-90,2-1 90,2-1-90,1-2 90,1-1 89,1-1 1,-2-2 360,0-2-270,6-2 0,-7-3-90,4-2-1,-8-3 91,-1-3-180,-2-3 90,0-2-90,-3-2 0,-1-2-90,-3 0 90,0-1 0,-5-10-90,1 8-90,-4-8-180,-1 11-90,-1 2-89,-1 0-181,-1 1 0,-1 2-179,0 0-1,-1 2-89,1 1-181,0 2-988,2 0-2250,-3 0 4318,4-1 0,2 4 0,3 0 0</inkml:trace>
</inkml:ink>
</file>

<file path=ppt/ink/ink13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9:16.03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39 8972,'43'37'4767,"-6"-4"-3418,-19-11-719,-4-6 0,4 6 89,-6-8-179,0 0 0,0 0 449,4 3-539,-4-5 0,1 2 899,-3-5 0,0 1 180,1-2-719,4-2-361,-3-6-269,1-11 0,-5-2-90,1-6 0,-3 2 0,0-2-90,-1-2 90,1 0-90,0-1 90,-1 1-90,0-1-90,0 2-180,-1 0 90,0 1-180,-1 2-539,0 2-270,0-3-271,-1 0-808,2-2 449,-1 0 629,2 4 631,2 4 269,5 6 90,0 6 180,2 6 180,-4 2 0,1 3 0,-2 2 0,0 1-90,0 0-180,-2 1-360,1-1-1349,-2 0 1799,0-2 0,-2-5 0,-2-2 0</inkml:trace>
</inkml:ink>
</file>

<file path=ppt/ink/ink13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9:16.26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14099,'1'31'2788,"1"-3"-2338,0-9-180,2 2-180,2 2-720,0 1-629,0 1-720,0-1-4497,-2-2 6476,-2-1 0,-1-11 0,-2-2 0</inkml:trace>
</inkml:ink>
</file>

<file path=ppt/ink/ink13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9:16.47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3 120 10591,'-1'-28'2608,"-1"3"-2248,0 7-1889,-1 2 1529,1-1 0,0 8 0,1 2 0</inkml:trace>
</inkml:ink>
</file>

<file path=ppt/ink/ink1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8:12.93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55 22 10231,'30'-12'3958,"-3"3"-1440,-2 12-1528,-6 3 89,5 9-89,-9 2-1,0 6-89,-2 6-91,-2 3 1,-1 7-181,-2 2-89,-3 2-90,-2-1-90,-3 3-1,-3-1-89,-3 1-180,-4-2-90,-3 3-549,-4-3 99,-4 2-179,-3-4-271,-3-2-269,-3-4-90,-3-3-271,-2-3-448,-3-4-1890,0-4-2788,-1-4 6656,0-4 0,-4-2 0,-1-2 0</inkml:trace>
</inkml:ink>
</file>

<file path=ppt/ink/ink13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9:16.80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6 1 9152,'21'31'3508,"-2"0"-2519,-6-6-89,-2 2-181,0 2 1,-2 1-90,0 1-91,-3 0-89,-1 0-90,-2-2-90,-2 1-1,-2-3-89,-2 2 0,-2-1 180,-18 32-270,9-27-90,-13 21 0,15-38-90,0-3-180,1-3-90,-3-3 91,2-7 89,0-6 90,6-10 0,5 0 180,3-2-90,3 4 90,0 1 0,2 0 0,0 1-1,1 1-89,1 1 90,1 1-90,0 2 180,2 1 0,6 2-180,2 3 90,1 1-90,-1 3 0,-5 1 90,0 2-90,1 0 0,-1 2-270,1 0 0,0 1-269,-1 0-181,-1 1-179,0-1-271,-2 1-359,0-2-4767,-1 0 6296,4 2 0,-8-5 0,1 0 0</inkml:trace>
</inkml:ink>
</file>

<file path=ppt/ink/ink13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9:16.94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46 10231,'26'-14'720,"-1"2"-2789,-4 4 2069,0 2 0,-10 3 0,-3 0 0</inkml:trace>
</inkml:ink>
</file>

<file path=ppt/ink/ink13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9:17.07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24 9512,'18'15'1079,"0"-2"-899,-2-11-360,2-1 0,2-1-270,2-2-269,3-1-361,1-3 271,3-2 809,-1-1 0,4-4 0,0 0 0</inkml:trace>
</inkml:ink>
</file>

<file path=ppt/ink/ink13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9:17.24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3 14369,'24'-3'4317,"-6"8"-3777,-17 18-90,0-2-90,-1 4-91,1-4 1,0 1 180,1 37-630,0-25-90,1 27-90,-1-36-179,-1 0-181,-1-1-179,1-2-181,-1-2-3507,0-2 4587,0 4 0,0-12 0,0 1 0</inkml:trace>
</inkml:ink>
</file>

<file path=ppt/ink/ink13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9:27.98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26 8072,'8'-24'2249,"0"0"-1529,-4 10-181,0-2-179,1 0-270,-1 2-90,1-1 180,3 12-90,-1 7-90,1 9 90,-3 6 0,1-2 0,0 2-90,1 3 90,0 3 0,1 2 0,1 3-360,-1 1-90,1 3-360,0 2-1079,-1 3-539,0 2 2338,-2-3 0,0 4 0,-1-2 0</inkml:trace>
</inkml:ink>
</file>

<file path=ppt/ink/ink13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9:28.73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0 11041,'16'4'629,"-1"7"-539,-10 8 90,0 6-450,0-4-89,-1 5-541,0 1-629,0 4 0,-1 1 1529,-1-2 0,0 5 0,-1-1 0</inkml:trace>
</inkml:ink>
</file>

<file path=ppt/ink/ink13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9:29.50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20 52 8792,'-30'2'1349,"4"2"-899,14 3-90,0 1 0,1 1 89,1 2 1,3 0 180,0 2-271,3 7-89,3-4 0,3 4 0,4-7 0,1 1 0,2-3-90,2 0-1,0-2 91,1-2-90,6-2-90,1-6-90,0-2 90,-1-7 0,-6-2-90,-2-3 90,-1-2-90,-2-2-90,-2-2 0,-1 0-270,-2 0 90,-1 2-269,-3 0-1,-1 3-90,-2 1-269,-3 3-270,-2 2-540,-3 3-360,-3 4 2069,-3 2 0,-6 5 0,-3 3 0</inkml:trace>
</inkml:ink>
</file>

<file path=ppt/ink/ink13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6:17.26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60 12570,'9'-19'899,"2"3"-6379,5 9 5570,11-1 1409,8 3-1409,17 1-180,-11 3 0,4 2 0,-16 0 859,2 0-949,3 1 0,2 0-89,4 0-361,23 0 360,-11-1-180,16 1 91,-19-2-181,1 1-165,-1-1 75,0 0 0,-2 0-359,-3 0 359,-2 0 630,-5-1 0,3 0 0,-1 0 0</inkml:trace>
</inkml:ink>
</file>

<file path=ppt/ink/ink13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6:17.35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5914,'0'0'0</inkml:trace>
</inkml:ink>
</file>

<file path=ppt/ink/ink13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9:30.07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05 33 9691,'-20'14'1350,"2"1"-901,8-2-89,0 0-90,1 3 90,1 0 0,1 1-90,2-1 269,3 1-179,2 5-90,2-4 90,3 3-91,2-7 1,1-2 0,1-1 0,2-2-90,0-2 180,2-2-180,6-5-90,-3-1 0,4-6-1,-6-3-89,0-3 90,-1-2-90,-2-4 0,0-2-3482,-4-2 3303,-1 1-181,-4-1-90,-2 0-90,-4 1-179,-5 2-1,-4 1-2608,-5 2 270,-21 1 3058,6 7 0,-21 2 0,9 6 0</inkml:trace>
</inkml:ink>
</file>

<file path=ppt/ink/ink1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8:13.45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0 94 11760,'-31'5'7196,"23"0"-6566,40-2-1,19 0-2266,28-3 2267,7 1-91,11 0-1056,-41-1 0,2 0 742,3 1 0,2-1 0,7 1 0,3 0-557,2 0 0,1 0 512,7 0 0,1 0 0,0 1 0,0-1 0,1 1 0,0 0-780,0 0 1,1 0 734,0 0 0,-1 1-45,0-1 0,-1 1 0,-7-1 0,-1-1 0,-2 1 0,-2-1-45,-6 0 0,-2 0-409,-1 0 0,0-1 409,-4 1 0,0-2 0,-3 1 0,-1-1 238,-3 0 0,-2 0-13,37-3 601,-9 0-512,-13-1 1456,-9 0-1635,-8 0 0,-9-1-90,-5-2-90,-6 1 2471,-5-2-2831,-5 0 80,-5 0-2149,-5-4-1529,-17-4-539,-2 3-2694,-13 1 7191,1 7 0,-8 0 0,-5 0 0</inkml:trace>
</inkml:ink>
</file>

<file path=ppt/ink/ink13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9:31.33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24 7803,'24'-14'-158,"-1"4"1,-14 10-1,0 2 1</inkml:trace>
</inkml:ink>
</file>

<file path=ppt/ink/ink13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9:33.31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9 9 6993,'-16'-4'0,"3"0"0</inkml:trace>
</inkml:ink>
</file>

<file path=ppt/ink/ink13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9:34.07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16 0 7263,'-24'3'1979,"2"0"-1350,2-1 1,4 0 269,0-1 181,-2 1-990,20-1 0,4 1 0,28-2-90,11 1 90,12 2-90,10 1-2668,10 3 2488,6 3-90,6 2-1351,1 2 811,-3 1-899,-4 1-270,-7-1 1979,-6-1 0,-9-2 0,-2-1 0</inkml:trace>
</inkml:ink>
</file>

<file path=ppt/ink/ink13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9:39.26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90 12660,'5'-19'270,"5"1"-2413,12 8 1603,2 2-3957,36-4 4497,-21 6 0,29-4 0,-24 4 0</inkml:trace>
</inkml:ink>
</file>

<file path=ppt/ink/ink13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9:40.03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24 5801,'10'-23'0</inkml:trace>
</inkml:ink>
</file>

<file path=ppt/ink/ink13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9:40.38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11131,'5'41'809,"-1"-8"-719,-3-10 0,1-6 0,0 1 0,0-1 0,-1 2 0,0-1-1079,0 1 1079,1-1-270,-1 0 0,0 0-540,0-1-269,0 5-2159,-1-2 3148,-1 3 0,0-12 0,-1-4 0</inkml:trace>
</inkml:ink>
</file>

<file path=ppt/ink/ink13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9:40.57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25 0 8162,'-22'16'990,"3"1"-900,7-2 90,2 1-180,3-2 180,-1 1-180,1 2-90,1 1-270,-1 1-720,0 1 361,0 0 719,1 1 0,2-10 0,1-2 0</inkml:trace>
</inkml:ink>
</file>

<file path=ppt/ink/ink13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9:40.73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55 10141,'27'-6'990,"-2"0"-721,-8 1-179,3 0 90,0 0-90,2 0 0,1 1-90,1 0-270,0 1-179,2 1-361,1 0-629,0 1-90,0 0 1529,0 0 0,4-1 0,2-1 0</inkml:trace>
</inkml:ink>
</file>

<file path=ppt/ink/ink13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9:45.21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3 1 13110,'-7'40'359,"1"-2"-179,9-14-180,1 3-180,0 3-179,1 2-181,-1 2 540,-4 49 0,-2-35 0,-5 36 0</inkml:trace>
</inkml:ink>
</file>

<file path=ppt/ink/ink13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9:45.81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9 21 9961,'-25'-9'3508,"2"1"-3418,24 6 180,2 0-360,42 8-90,-13-2-180,23 5 1,-18-3-91,1 2-180,0 0-89,-3 0-91,0 0-629,-3-2 0,-1 0 1439,-2-2 0,3-1 0,-2-1 0</inkml:trace>
</inkml:ink>
</file>

<file path=ppt/ink/ink1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19.22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14279,'8'17'2339,"1"-3"-7640,11-10 5571,-1-2 0,5-1 118,35 0-298,-19-1 744,27 0-924,-26-1-90,-2-1-270,1 1-1169,13-2 630,-13 0 2246,7 0-3686,-18 1 2928,4 0 1,-18 0 0,3 1 0</inkml:trace>
</inkml:ink>
</file>

<file path=ppt/ink/ink13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9:46.36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83 8162,'10'-22'3149,"-1"3"-2700,0 6-359,0 14 0,-1 2 90,-1 11 0,-2 1 0,1 1 0,0 2 0,2 2 0,0 3-1,1 0-89,2 1 0,-1 1 90,1-1-90,1 0-90,-2-1 90,1-2 0,-2-3 0,0-1 90,-2-2 719,0-1-269,2 0 0,-2-3-450,4-5 0,-4-10-270,0-14-90,-4 0-90,-1-6 0,-2 6-90,1-1-90,0 0 91,-1-1-91,1 1-90,-1 1-629,1 1-180,1-5 89,1 1 811,5-2-271,1 7 450,6 3-180,-3 6 181,9 1 179,-1 4 90,6 2 90,-5 2 0,0 1 89,-6 0 91,1 0 0,-1 0 0,2 0 90,-1 0-90,2 0-1,-1-1 1,0 0 0,0-1-90,0-1 0,0-1 0,0 0 0,1-2-90,0-1 90,0-2-90,-2 0 89,-1-1-89,-1 0 0,-3-2 90,-1 1 90,-1-6 0,-5 0 0,-5-3 0,-11 5-90,-2 4-1,-6 4 1,5 4 0,-2 2-90,0 3 0,0 1 90,1 2-90,2 2 0,1 2-90,2 1 180,3 0-180,2 2 90,3 1 0,2 1 0,4 1 0,3 1-90,4 2 0,2 0-180,4 2 0,4-1-180,2-1-90,3 1-89,2-3-91,1-1-1079,18 4 180,-12-9-270,14 1 1799,-16-9 0,3-4 0,2-2 0</inkml:trace>
</inkml:ink>
</file>

<file path=ppt/ink/ink13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9:46.48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35 7982,'21'-20'2159,"-1"1"-1709,-6 6 0,0 0-180,1 1-1,0 1-89,1 1 0,1 0-90,0 2-90,-1 1-180,1 2-180,0 1-89,-1 2-1710,0 2 2159,3 2 0,-10-1 0,2 1 0</inkml:trace>
</inkml:ink>
</file>

<file path=ppt/ink/ink13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9:46.84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228 10411,'9'5'2429,"-7"-1"-2429,39-7 0,-17 1 0,4-1-90,1 0 0,2-1 0,0-1 0,1 0 90,-1-1-90,-2-1 90,0 1 0,-3-1-90,-2 0 90,-4 0 0,0 0 0,-4 1-90,-1 0 270,-1-1 0,-16 6 90,2 5 179,-13 8-269,8 6 90,4-1 0,4 0-90,5-3 90,3 0-90,4 1 0,4-1-1,2-1 1,4-2-90,1-2 90,0-3 90,0-2-90,0-4 0,-2-2-90,1-3 0,-2-4 0,-2-4 0,-2-3-90,-3-3 90,-4-2-90,-3-1 0,-3 0 0,-3-1 0,-4 0 0,-2 1 0,-3 1-180,-4 0 0,-4 2-270,-5 2 0,-4 2-179,-4 4-181,-3 3-269,-5 4-1170,-5 5-899,-9 4 3003,-6 4 0,-5 4 0,-3 2 0</inkml:trace>
</inkml:ink>
</file>

<file path=ppt/ink/ink13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9:55.37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76 6094,'11'-31'-68,"-3"4"1,-6 17-1,-1 3 1</inkml:trace>
</inkml:ink>
</file>

<file path=ppt/ink/ink13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03.06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0 237 9152,'-10'-24'3058,"3"2"-2338,6 4-1,2 0-179,0 1 179,2 0-359,1 13-90,1 7-180,0 10 90,-2 6 270,0 0-270,1 24 89,-2-13-179,1 18 90,-1-21-90,0 1 90,-1-1-90,1 0 0,-1-1 0,0 0 0,1-1 0,-2-2-90,1-1 90,-1-2 180,1-2 449,-1 5 1,0-2 89,-2 1-629,-6-11-90,0-14-90,-3-9-90,4-10 0,2-1 0,1-6 90,1-4-90,2-3 1,3-5-3393,1-3 3392,3-2-315,9-22 315,-2 19 90,6-12-90,-4 25 90,2 3 0,0 6-90,2 3 90,-1 6 0,0 4 3102,0 3-3102,-1 5 515,4 4-515,-6 4 0,3 4 0,-7 2 0,-2 2 0,-2 2 0,-2 1 0,-1 1 0,-3 2 90,-1 0-90,-3 2 0,-1 0 0,-3 1 0,-1-1 0,-2 0 0,-1-1 90,-1 0-180,-1-2 0,-1 0 0,0-1-90,-1-2 0,0-1-180,0-2 90,1-2-179,1 0-451,0-2-179,-4 0-1170,2-3-1529,-5-2 3778,12-8 0,9-6 0,10-4 0</inkml:trace>
</inkml:ink>
</file>

<file path=ppt/ink/ink13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03.27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3 36 8432,'30'-13'2249,"-3"2"-1080,-13 5 720,2 0-540,-4 8-719,-7 7-90,-8 5-91,-9 7 1,-3-1-90,-3 5 0,0 2-90,-1 2-90,2 0-1,2-1 1,4 0 0,2 0-90,3-1 0,2 0 0,4-1 0,3 2 0,2 0-90,3 0 90,3-1-180,2-1 0,1-1-270,3-1-90,1-2-269,2-1-91,0-3-449,2-3-270,0-2-1170,0-4-1348,0-2 4047,1-4 0,4-4 0,1-1 0</inkml:trace>
</inkml:ink>
</file>

<file path=ppt/ink/ink13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03.51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1 1 14009,'-25'7'6656,"10"4"-6476,18-5 0,8 3-180,7-5-180,-2 0-90,1-1-269,0 0-181,-1-1-1079,0 0-630,5 1-1618,-2-1 4047,3-1 0,-11-1 0,-3 0 0</inkml:trace>
</inkml:ink>
</file>

<file path=ppt/ink/ink13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03.83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12120,'22'9'2249,"-2"1"-1530,-12 1-89,0 1-90,0 3-1,1 3 1,-1 1-180,0 1 90,0 2-181,-1 0 1,0 1-90,0 0 90,0 0 0,-1 0-90,1-1 90,2 8-180,-2-8 269,0 3 631,-2-9 179,1 2-89,0-4-721,4-5-179,1-12-90,0-9 0,0-7 0,-2-1-90,1-3 90,1-2-90,0-2 0,-1-1-90,1 0 90,-1 0-90,-1 1-90,-1 3-180,0 1-89,-2 3-181,0 2-1259,-1 2 180,1-2-8122,-1 3 9365,7 7 1,-9 3-1,5 8 1</inkml:trace>
</inkml:ink>
</file>

<file path=ppt/ink/ink13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04.19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98 13559,'21'8'3508,"-1"0"-2878,-8 0-180,3 0-181,4-1 1,4-2-180,4-2 0,-6-3-90,0-2-3302,-7-2 3302,0-1 0,-1-1 90,5-7-90,-6 2 0,2-6 0,-6 6 90,-3-6 3392,-4 1-3392,-7-4 0,-4 8 90,-5 4 0,0 5 90,-2 3-91,-1 2 1,-1 3 0,0 1 0,-1 3-90,3 2 90,0 2-90,2 1 0,2 2 0,2 2 0,4 0 90,1 10-90,5-5-90,3 6 90,4-8-180,3 0-180,2-1-90,2 1-90,2-3-899,8 3 539,-4-6-179,5-1-270,-6-7-180,-1-4-1350,0-2-1798,1-5 4587,0-2 0,3-6 0,1-1 0</inkml:trace>
</inkml:ink>
</file>

<file path=ppt/ink/ink13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04.48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9 1 12840,'22'10'2968,"-3"2"-2069,-10 0 1,0 3-180,2 3-1,-1 3-269,2 3 90,-3 1-181,1 2-89,-3 1 0,-1 1 0,-1-1-90,-3 1-90,-1 0-180,-2 0 0,-2 1-270,-2 1-90,-1-1-179,-2 0-181,-2-3-179,-1 1-1800,-8 6-179,3-9-1979,-4 3 4947,4-12 0,-1-3 0,-1 0 0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3:39:27.10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85 131 11221,'9'-25'4767,"-2"2"-3598,-3 4-449,0 0-540,-1 1-90,-9 4-90,-6 4 90,-5 7-3482,-5 6 3392,3 0 0,-1 3 90,-3 1-90,1 3 0,-1 1 0,0 2 0,2 1 0,2 2 89,3 0-89,2 2 0,5 0 0,2 2 0,4 1 0,4 2 0,5 3 0,3 2 0,5 4 0,4 1-60,4 2-30,2 1 90,13 17 90,-10-15-180,6 10 90,-13-18 0,-3-2 0,-2-2 0,-3-3 90,-2-1-2248,-4-3 2427,-1-2 700,-6 5-789,-2-7 47,-6 2-47,-1-8 89,-5-2-89,-1-2 2618,-4-2-2708,-2-2 2337,-2-2-2337,-1-3 0,-2-1-90,-1-2 0,0 0-180,1-2 0,1-1-89,1 0-1,2 0-90,3 0-180,2 1-179,2 0-1170,3 0-360,1-4 1080,8 0-1080,4 1-899,10-1 3148,3 5 0,9-3 0,2 0 0</inkml:trace>
</inkml:ink>
</file>

<file path=ppt/ink/ink1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19.40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32 1 8342,'-26'11'3418,"2"0"-2428,3-2-181,3-1 1,3 0 719,1-1 360,1 1-1529,12-1-1,4-1-89,14-2-90,4-3 0,7-2 0,5 0-90,6-1-90,3 0-360,3-1 90,1 0-90,-1 0-179,-3 0-1,-2 0-360,-4 1-179,-1-1-180,-3 0-1440,-2 1-1618,-4-1 4317,-2 1 0,-12 1 0,-3 0 0</inkml:trace>
</inkml:ink>
</file>

<file path=ppt/ink/ink14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05.14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84 1 14369,'-20'22'2249,"2"4"-1620,10 1 1,0 6-91,0 3-887,1 4 797,1 2 1,1 2-40,3-2-50,1 0-180,1-2 90,1 0-91,1 0-89,1-2 0,1-1 90,0 13-90,0-14-180,1 8 0,-2-19-180,0-2 180,-1-3-539,0-2-1710,1 2-956,0-5 596,3-11-1438,0-6 4137,1-14 0,0-2 0,1-2 0</inkml:trace>
</inkml:ink>
</file>

<file path=ppt/ink/ink14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05.63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1 0 15988,'-5'24'1439,"0"-1"-1079,-2-9-90,-1 2 89,1 1-89,1 0-90,1 1 90,1 0-90,2 0 0,1 0-90,2 1 180,5 8 89,30 24-359,-15-21 90,23 10-90,-28-35 0,9-4 0,-6-4-90,6-4 1,-8-2 89,-1-4-90,-1 0 90,-1-2-90,-1 0 90,-3 0 0,-1 2-90,-2 0 90,-1 0-90,-7 0 90,-5 5 270,-4 10-91,4 10-89,7 6 90,5-1-180,6-3 180,0-4-180,2 0 90,2-2 0,0 0 0,2-2 0,-1-1 0,0-2 0,-1-2 0,0-2 0,-1-2 0,-1-2 0,0-3-90,-2-2 90,-2-1-90,-1-2 0,-3-1-90,-3-1 0,-3-7-180,-2 4 0,-4-4-90,-2 6-179,-2 1-1,-1 0-180,-2 3-89,-1 0-1,0 2-1349,-6-1 1,5 4-3329,-5-2 5487,8 3 0,4 2 0,3 0 0</inkml:trace>
</inkml:ink>
</file>

<file path=ppt/ink/ink14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05.88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0 9691,'26'10'3059,"-4"-1"-2250,-11 0-89,-1 1-4342,0 3 4252,-1 1-1,0 1 681,0 2-861,-2 0 1,1 1-90,-1 0-90,-1 1 89,1-2 3303,0 1-3392,-1-2-90,0-1 270,-1-1 269,2 3 451,-1-1 269,2 1-1169,2-9-270,-2-12-90,1-5 0,-3-8-180,-1 2 90,1-2-180,0-3-89,-1 1-1,1-1-180,0 0-89,-1 2-91,0 1-89,-1 0-181,0 3-1259,0 0 1170,3-3 0,-2 4-990,4-1 2159,-2 5 0,9-4 0,1 0 0</inkml:trace>
</inkml:ink>
</file>

<file path=ppt/ink/ink14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06.02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8882,'19'9'2788,"-3"0"-1888,-6-1-1,-1 1-89,0 2-91,-1 1 1,-1 0-90,0 3-91,0 1-89,-2 1-180,0 2 90,-1-1-180,-1 0 0,0-1-1,-2 1-89,1 0-539,-1-1-631,0 6-629,-2 0-6296,0 2 8005,0-4 0,1-10 0,0-3 0</inkml:trace>
</inkml:ink>
</file>

<file path=ppt/ink/ink14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06.19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1 173 9871,'-8'-21'4138,"1"2"-3059,2 6-269,-1 1-180,1 0 359,-1 0-449,-2-3-720,0 1-900,0-3-4766,1 4 5846,6 0 0,0 7 0,4 0 0</inkml:trace>
</inkml:ink>
</file>

<file path=ppt/ink/ink14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06.51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5 1 11670,'20'23'3238,"-2"0"-2338,-10-7-1,0 2-179,-2 2 0,0 1-181,-2 2 1,-1 0-90,-1 2-180,-1-1 89,-2 2-179,-1-2 90,-2 0-180,-2 0 90,-2 0-90,-2 0 0,-2-2 0,-1-1 0,-1-2-90,0-3 90,0-2-90,1-3 0,1-2-270,-3-2 0,1-5 180,1-7 0,7-5 0,7-3 90,3 0-90,3 3 90,2 0 0,2 1-90,1 0 90,1 2 0,1 1 90,1 3 0,0 0-90,7 3 90,-5 2 0,5 2-90,-7 1 90,0 2-90,0 2 0,0 1-360,4 6 0,-6-3-89,4 4-181,-8-5 0,0 0-89,-1 0-91,-1 0-1259,1 0-1708,0 3 3777,2-3 0,-4-2 0,-1-5 0</inkml:trace>
</inkml:ink>
</file>

<file path=ppt/ink/ink14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06.74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2 28 10141,'21'-16'4947,"5"4"-3867,-13 12-91,3 5 1,-5 4-91,-2 4 1,0 4-91,-2 2 1,-1 3-91,-1 2-89,-1 2-90,-1 1-91,-1 1-89,-2 1-90,-1 2 0,-1 0-90,-1 1 0,-2-1-90,-1-1-90,-2-1-90,0-2-180,-3-2-90,0-1-270,-3-3 91,1-2-91,-2-2 0,2-3-89,-1-2-91,1-2-989,0-2-1079,-2 0-5667,1-5 8545,0-3 0,7-2 0,3-2 0</inkml:trace>
</inkml:ink>
</file>

<file path=ppt/ink/ink14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06.92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7 12480,'36'-2'2249,"-4"-1"-1800,-13 2-179,2 1-270,2 0 0,0 0-270,0 0-179,-1 0-271,-1 1-179,-2-1-2070,-1 1 2969,3-1 0,-12 1 0,3 0 0</inkml:trace>
</inkml:ink>
</file>

<file path=ppt/ink/ink14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3:07.02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0 10411,'2'21'989,"1"-5"-1168,12-9-271,-2-2-1169,2 0-180,2-2 1799,-1 0 0,-6-1 0,-3-1 0</inkml:trace>
</inkml:ink>
</file>

<file path=ppt/ink/ink14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9:59.48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7 156 7713,'1'-28'2158,"-1"3"-2248,-1 7 90,-6 11 0,1 6 90,-5 11-90,2 6 90,1 4 90,0 2-90,4 2 180,3 0-180,4-1 0,2-5 0,2-2-90,0-6 90,3-2-90,0 0 90,1-1-90,1-1 90,0-1 90,7-1 89,-1-1-89,7-4-90,-8-3 270,0-3-180,-6-1 0,-1-3-90,-1-2 90,-1-2-90,-2-2 90,0-2-90,-3 1-1,-1-2 1,-2 1-90,-1-1 90,-2 0-90,-1 0 0,-2 2 90,-2 0-90,-2 3-90,-1 2-90,-2 3-539,-9 1 359,4 4-270,-7 4 1,7 5-990,-2 2-270,0 4 1889,0 2 0,-1 5 0,0 0 0</inkml:trace>
</inkml:ink>
</file>

<file path=ppt/ink/ink1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20.60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87 359 10051,'-12'-18'4588,"1"1"-4139,6 20 1,2 5-270,4 16 90,2-3-3572,0 3 3662,1 5-91,0 5-179,1 0 0,-1-1 90,-1-11 90,-1 9-180,1-8 0,-1 5 3482,-1-11-3122,-1 5 89,1-2 1,-2 2-90,-2-5-270,-7-10-90,-2-9 0,-5-14-180,5-4 180,1-8-90,4 3 0,0-6-90,2-3 90,1-2-90,2-6 90,2-2 0,2-4-90,2 0 90,4-2 0,3 1-90,2 3 90,1 3 0,3 6-90,11-7 90,-6 14 0,9-3 0,-10 18-90,0 4 90,0 4 0,-2 3 0,0 4 0,6 6 0,-7 2 0,5 3 0,-6 7 0,-5-4 0,0 5 0,-7-5 0,-3 7 0,-3-5 0,-3 5 0,-2-6 90,-2-1-90,-3 0 0,-1-1 0,-1 0 0,-1-1 0,-1-1 0,-1-1 0,1 0 0,-1-1 0,2-2 0,0 1-90,1-2-90,1 0 0,1 0-450,-1 0-89,-3 1 719,0 1 0,-16 18 0,-1 4 0</inkml:trace>
</inkml:ink>
</file>

<file path=ppt/ink/ink14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5:00:02.96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1 257 9781,'-24'-13'2699,"3"-1"-2519,15-1 0,6 1-90,10-3 0,6 1 0,9-2-90,9-1 89,9-1-178,8-1-1160,7 3 799,3 0-1135,4 4-304,1 1-539,-1 4 2428,0 2 0,-3 2 0,-2 0 0</inkml:trace>
</inkml:ink>
</file>

<file path=ppt/ink/ink14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9:18.63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0 12480,'2'35'2428,"0"-3"-1798,-2-11 0,1 1-91,0 2-89,0 1-90,1 1 0,1 0-180,0-1 0,1 1-1,0 0-89,0-1 0,1-1-180,0 0-179,-1-1-181,1-2-90,-2-1 0,0-3-1079,0-1-2878,0 2 4497,-3-3 0,1-4 0,-3-5 0</inkml:trace>
</inkml:ink>
</file>

<file path=ppt/ink/ink14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9:18.91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 256 9152,'-1'-25'4857,"3"12"-4317,5 14-1,3 9-89,-1 1-90,2 1 0,3 2 0,1 1-91,3 1 1,1 2 0,3-2 0,0 2-90,0-2-90,1-1 90,0 0-90,-1-1 89,-2-3 91,0 0 0,-4-2 90,0-1 270,-2-1 89,2-2-179,0-7-270,0-7-90,-6-3 0,-4-9-180,-4 1 179,-2-4-179,-1-2 90,-1-3-90,-1-1 90,-1-1-90,-1 0 90,0 1-270,0 3 0,0 1-179,-1 3-91,0 1-180,0 2-269,0 0 89,0 4-1079,0 2 1889,-1 0 0,3 8 0,0-1 0</inkml:trace>
</inkml:ink>
</file>

<file path=ppt/ink/ink14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9:19.20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43 10681,'8'33'3328,"-3"-4"-2339,-1-10 1,0 0-540,4-1-91,0-5-89,3-2 0,-1-4 0,2-2-90,1 0 0,1-2 90,0 0-1,8-3-89,-5-1 0,4-3 0,-7 0 0,-1-3-90,0-1 90,-2-2-90,-1-2 90,-1-1 0,-3 0-90,-1-1 179,-2-1-179,-2-6 0,-3 0-270,-7-3 1,-1 7-541,-2 5-270,-4 5-269,-2 3-270,-6 3 0,2 5-270,3 4 1799,4 2 0,8-4 0,3 0 0</inkml:trace>
</inkml:ink>
</file>

<file path=ppt/ink/ink14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9:19.55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10771,'24'13'2968,"-4"-2"-2428,-10 2 89,-4-1-89,-1 1-90,1 1-90,-2 0 0,1 1-91,-1 0 1,-1 1 0,1-2 90,-1 1 0,1 5 359,0-2 541,0 3-451,0-3-629,1-15-180,1-7 90,2-12-90,0-3 90,-1 1-90,2 0 90,0 0-90,1 0 90,0 1-90,-1 0 90,1 3-90,-2 2 0,1 1 0,2 0-90,2 4 90,2 3 0,1 7-90,-4 4-90,-1 4 0,-4-1-90,0 2-90,1 1-269,-1 2-91,1 1 1,-1 0-271,-1 2-269,0-1-180,0 0-1350,-1-1-1708,1-2 4497,-1 0 0,-2-7 0,-1-1 0</inkml:trace>
</inkml:ink>
</file>

<file path=ppt/ink/ink14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9:20.13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79 8522,'20'-21'1349,"1"2"-1169,-7 9-90,1 0 0,-4 4-90,1-1 180,1 1-270,-1-1 180,0 1-90,1-1 90,-1 1 0,1-1 90,-1 0 0,0 0 90,-1 0 449,-1 0 1,3-2-91,-2 0 91,1-2 359,-2 1-449,-9 11-360,-3 6-90,-6 7 90,0 2-90,3-2-1,0 0 1,0 2-90,2 0 90,1 1 90,1-1-90,2 2-90,2-2 90,1 1 0,3 0-90,1-1 89,2 0-89,2-2-90,1-1 90,1-2 0,1-2-90,0-2 90,0-3-90,7-1 0,-7-3 0,6-3 90,-8-4-90,-1-2 0,0-3 90,-1-3-90,-2-1 0,0-1 0,-3 0 0,0 1 0,-2 1 0,-1-3 0,-4 2 0,-4 1-90,-6 8 90,0 7 90,0 7-180,7 5 90,5 5 0,4-4 0,3 1 0,1-5 0,1 1 90,2-2-180,0-1 180,1 0 0,1-1-90,-1-2 360,6-1 0,-2-3-180,5-5 0,-5-6-91,-4-7-3481,-7-2 3482,-4 1-90,-5 1-90,-2 4-449,-8-5 89,2 6-180,-5-5-89,3 8 3121,0 1-3661,0 0-90,1 3-1350,-1-1 2699,2 1 0,4 2 0,3 1 0</inkml:trace>
</inkml:ink>
</file>

<file path=ppt/ink/ink14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9:20.42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96 9871,'18'20'2519,"-3"-1"-1799,-7-7-91,-2 0 91,1 0-91,0 2 1,1 0-90,0 0-1,0-1-89,0 0 0,-1-1-180,1-1 449,0 0 91,2 3 269,-1-1 91,2 1-361,1-6-449,-2-10-90,-1-5-90,0-12-90,-5-4-90,0 2 90,-1-2-270,0 6 0,-1-2-180,1 0 0,-1-1 0,1 1-89,0 1-721,-1 1-449,1-4-90,0 2-3508,0-3 5217,-1 3 0,0 10 0,-2 1 0</inkml:trace>
</inkml:ink>
</file>

<file path=ppt/ink/ink14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9:21.06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0 11490,'18'20'5038,"-5"3"-4589,-11 3-89,-2-2 0,-2 0-90,0-7-90,-1 0 0,1-1-91,-1 1-268,1-1-721,-1 6-539,0 0-900,1 2 2339,2-2 0,-1-11 0,2-4 0</inkml:trace>
</inkml:ink>
</file>

<file path=ppt/ink/ink14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9:21.21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1 139 9512,'-10'-20'2698,"1"2"-1978,1 3-451,-1 0-1438,0-2-1349,3-2 359,8 6 2159,3 0 0,1 8 0,-2 2 0</inkml:trace>
</inkml:ink>
</file>

<file path=ppt/ink/ink14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9:21.48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8 0 9062,'20'38'2968,"-3"-1"-2158,-8-7-181,-1 1 1,-2 1 0,-1 0-91,-2 0-89,-2-1 0,-1-2 0,-2-2 89,-2-1-89,-1-2-90,-1-1-90,-1-1-1,-1-2 1,0-2-90,-1-1-90,0-4 180,0-2-270,-3-2-90,1-7-90,0-5 0,5-10 90,7-8 90,3 3-90,3-1 90,1 5 0,0 2-90,2 0 0,27-6 0,-13 12 90,16-3-179,-21 14-91,-6 2-180,0 0 0,0 2-179,0 2-1,-1 0-270,1 1-179,-1 0-360,0 0-720,0 0-719,0-1 2878,-1-1 0,-5-5 0,-2-1 0</inkml:trace>
</inkml:ink>
</file>

<file path=ppt/ink/ink1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21.07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1 0 10411,'6'31'3238,"-2"-7"-2428,-6 1-181,1-5 1,-1 2-180,0 1-90,0 0 89,0 1-179,0 0 0,1-1-90,-1 1 0,2-1 0,-1 0-90,1-1 0,-1-2 0,1 0-1,0-3 1,0 5 90,-1-2 0,1 3-180,-1-19 0,3-20 0,-1-9 0,4-10 0,-1 9-539,-2 3-451,1 2-539,-3 3-360,-1 1-1529,-3 2 3418,0 3 0,1 5 0,0 2 0</inkml:trace>
</inkml:ink>
</file>

<file path=ppt/ink/ink14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9:21.62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84 8972,'23'-22'1259,"-2"3"-1349,-9 11-360,0 0-809,-1 1 180,1 0 1079,0 0 0,-6 4 0,-1 0 0</inkml:trace>
</inkml:ink>
</file>

<file path=ppt/ink/ink14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9:21.75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6 11221,'7'23'1619,"5"-6"-1619,5-14-270,3-2-270,-2-3-90,1 0-359,2-1-450,0-2-180,4-2 1619,-1-1 0,4-3 0,1 0 0</inkml:trace>
</inkml:ink>
</file>

<file path=ppt/ink/ink14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9:22.04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4 9 13020,'-20'12'1619,"2"-1"-1260,8-3 91,1 2-90,0 0 0,2 1 449,2 1-359,2 7-180,3-4 0,2 4-90,5-4 0,2-1-1,2 0-89,3-1 90,1-2-90,1-1 0,2-3-90,-1-1 90,1-4 0,-1-1 0,0-3 0,1-2 90,-2-3-90,-1-2 90,-1-2-90,-2-3 90,-2-1-90,-2-2-1,-2 1-89,-2 0 90,-4-7-1529,-34-16 720,16 16-181,-27-8-4497,24 30 900,-24 5 4497,14 2 0,-21 6 0,21-2 0</inkml:trace>
</inkml:ink>
</file>

<file path=ppt/ink/ink14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5:00:03.45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3 334 9332,'-21'-23'2878,"4"0"-2788,12 3 90,7 2-90,7-1 90,7 4-180,6-2 90,7 0-90,9-2-419,5 0 329,8 0-180,3 1-90,3 1-180,0 2-179,1 0-1557,-1 2 387,-1 1 1130,-2 0 0,-1 1 0,-1-1 0</inkml:trace>
</inkml:ink>
</file>

<file path=ppt/ink/ink14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9:42.85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3 296 9242,'-17'-18'2788,"3"1"-1708,6 7-271,-1-5-359,5 0-270,4-5 0,8 6-90,8 0-1,6 5-89,4 1 90,6 2 0,3 1-90,1 2 0,2 1-269,-1 2-91,-1 1-90,-1 0-90,-4 1 1,-3 1 89,-3-1-630,-5 1-898,1 0 1798,-17-6 0,-1 0 0,-15-7 90,-1 0 180,-2-2 270,-2-2 0,1 0 89,0 0 91,1 0 90,1 1-181,1 0-89,2 2 180,0 1 0,0 0-91,-1 7-89,3 6-180,2 15 0,7 2 0,1 6 0,0-5-90,1 3 0,1 2-1,0 1-89,0 3 90,0 1-180,1 1-89,-1 0-91,0 1-90,1-1 0,-1-1-180,0-1 1,0-2-91,0-2-179,0-1-91,1-2-539,-1-2 1439,1-4 0,-2-7 0,0-4 0</inkml:trace>
</inkml:ink>
</file>

<file path=ppt/ink/ink14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9:43.18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2 7713,'25'-1'1889,"-6"2"-1530,-6 9 1,-4 1 90,0 2-90,0 3 89,0 1-89,1 1 0,-1 2 0,1 1-90,1 1-1,0 1-89,0 0 90,0-1-90,-1-2 0,-1-2 0,0-1 180,-1-1 89,-1-3 901,-1-1-271,1 2-179,2-5-631,4-5-179,-3-7 90,1-8-90,-3-2-90,-1-3 90,1-2-90,-1-2 90,-1-1-90,0-1 0,-1-1-180,1 1 90,-2-1-180,0 1 1,0 1-91,-1 2-810,-1 1-449,1-3-360,0 3 1979,0-4 0,-1 12 0,-1 2 0</inkml:trace>
</inkml:ink>
</file>

<file path=ppt/ink/ink14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9:43.64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6 52 9961,'-14'16'1979,"6"-2"-1619,15 0-90,8-3-90,6-2 0,4-2-90,1-6 0,-1-4-90,-5-2 0,-3-4 0,-8 1 0,0-1 0,-2-5-90,-4-2 90,-6-4 0,-4 5 90,-6 3-90,0 7 89,-1 0-89,-2 3 90,0 1-90,0 2 0,0 2 90,1 1 270,1 2-180,-8 16-90,12-2-90,-3 9 90,16-8 0,4-4 0,3 0-90,3 1 0,3 0-90,2 0-90,3-1-90,1-1 270,29 6 0,7-2 0,-7-6 0,7 1 0,1 1 0</inkml:trace>
</inkml:ink>
</file>

<file path=ppt/ink/ink14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9:43.73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93 9781,'22'-23'1440,"-1"3"-1171,-11 13-89,3-2 90,1 2-180,2-1 90,1 2-90,0 1-180,0 1 0,0 2-180,0 1-90,-1 1-179,0 1-91,-1 2-2338,-1 0 2968,1 3 0,-7-3 0,1 1 0</inkml:trace>
</inkml:ink>
</file>

<file path=ppt/ink/ink14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5:00:04.41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2 344 8882,'-21'-24'1799,"10"-1"-1619,14 5-90,11-2 90,8 3-180,11-4 90,9 0-750,13-3 660,7 1-1089,10 1 999,5 1-360,1 4 0,-4 3-539,-24 7 0,0 0 89,22-2 900,18-1 0,-34 5 0,-2 0 0</inkml:trace>
</inkml:ink>
</file>

<file path=ppt/ink/ink14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5:00:04.83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376 8162,'1'-29'2069,"1"5"-1709,7-4-90,7 5-90,7-5 0,9 1-660,10-1 480,7 1-887,11 2 618,8 2-1411,8 1 331,5 2-181,3 2 1530,1 2 0,-34 7 0,1-1 0,1 1 0,0-1 0</inkml:trace>
</inkml:ink>
</file>

<file path=ppt/ink/ink1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21.71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92 16 16348,'-25'33'2158,"1"0"-1618,8-5-90,-2 3 0,1 2-91,0 2-89,1 1 0,1 1 0,3 0-90,1 1 0,3-2-90,1 0 0,3-2 0,3 0 0,1 0-1,3-1-89,1 0-89,3-2-91,3-2-90,1-2 0,1-1-180,3-3 0,1-2-89,2-4-91,0-3-89,2-3-1,0-5-180,0-2 91,1-4-1,-1-4 91,4-4-1,-1-4 181,2-4-1,0-4 180,1-3 0,-1-4 90,-1-2 90,1-4 91,-1-2 178,-1 0-89,-1-1 270,-2 3 0,-1-1 180,0 1-90,-3 4 179,-1 1-89,-2 3 180,-1 3-91,-1 2-89,-1 2-180,-2 2 0,0 3 180,-1 1 809,0 2-629,2 10-181,-3 7-179,-1 16 0,-5-2 0,-1 3 0,1-4-90,-1 1-90,-1 2 89,1 0-89,-1 0 0,1-1 0,-2 1 0,1-2 0,0-1-90,-1-2 180,1-2-90,-2 5 90,0-3-180,-3 0-180,-2-15 90,2-6-180,0-12 90,4-4 0,1-3 1,2-8-1,0-3 0,2-9 90,3-1 0,2-8-265,2 1 355,2 1 90,1 3 90,2 6-133,0 4 43,1 4 0,0 4 180,7 0 0,-5 12 269,5 0-269,0 15 443,-5 6-443,5 4 44,-6 6-134,1 3 180,9 18-180,-7-7-90,8 15 90,-9-12-90,-1 2-360,5 16 0,-6-11-270,3 10 1,-9-17-91,-1-3-270,-2 0-89,-1-2-180,-2-2-270,-1-4-3149,-2-1 4588,0 2 0,-2-12 0,1 2 0</inkml:trace>
</inkml:ink>
</file>

<file path=ppt/ink/ink14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5:00:13.70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84 231 9512,'-3'-27'3148,"0"1"-2698,2 25-361,-3 37-4250,1-6 4341,-2 25 0,2-30 769,1 1-769,-1 0-90,0-1 90,1 1 0,-1-1 0,1 9 3302,0-8-3392,1 5 0,-1-11-1,2-2 181,-1 5 180,0-2 270,-1 3 359,1-6-1079,-7-10-90,1-12 90,-4-8-180,3-9 0,3 1 90,-2-3-90,0-4 91,1-3-91,-1-3 90,2-2-90,1-1 90,0-2 0,2 0 90,2-1-90,1 1 90,2 1-90,1 2 0,3 1 90,2 3-90,2 2 0,2 3 90,2 3-90,2 3 0,9 1 90,-5 6 0,6 3 0,-9 8-90,0 3 90,-1 3 0,0 3 0,-1 2 0,-3 2 0,-1 2 0,-2 2 0,-3 0 90,-2 1-180,-4 7 180,-3-5-90,-2 6 0,-3-8 0,-2 1 90,-2 0-90,-4-1 0,-1 0 0,-3-1 90,-1-1-180,1-2 180,-2-1-90,2-2 0,0-1 0,1-1 90,-8 2-90,8-4-90,-6 3-450,11-4-449,-4 0-270,2 1 1259,-2-1 0,8-2 0,3 0 0</inkml:trace>
</inkml:ink>
</file>

<file path=ppt/ink/ink14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5:00:14.05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36 1 9691,'-15'23'1709,"1"0"-1169,3-2-90,0 2 0,-1 3-91,-1 2 1,2 1-90,0 0 0,1 0 0,2 1 0,1-1-1,1 0-89,2-1 0,2-2 0,2 0-90,1-1 90,2 0-90,2-2 0,2 2 0,3-2-90,2 0 90,1-2 0,2-2-90,1-1 90,0-2-90,0-1-90,0-3-180,0-2 0,-1-1-180,-1-1-899,0-2-1979,2-1 3328,0-3 0,-5-1 0,-3-1 0</inkml:trace>
</inkml:ink>
</file>

<file path=ppt/ink/ink14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5:00:15.26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11760,'5'36'1439,"-2"-1"-1079,-1-14 90,0 2-180,0 3 90,1 2-1,-1 1-89,1 3 0,-1 0 0,1 1-90,0-1 0,-1 0 0,1 0 0,0-2-90,-1-1-1,0-1 1,0-2 0,0 0 0,0-1 0,0-1-90,0-1 90,0-2-90,-1-1 90,1-2-90,0 5-90,0-2-629,0 3 719,0-4 0,-1-10 0,0-4 0</inkml:trace>
</inkml:ink>
</file>

<file path=ppt/ink/ink14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5:00:15.87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12840,'23'4'359,"0"-1"-269,-2-4-5660,0 1 5660,2-1 1337,1 1-1427,-1 0-1919,25 1 1919,-21-1 0,10 1 0,-29-1 0</inkml:trace>
</inkml:ink>
</file>

<file path=ppt/ink/ink14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5:00:25.59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56 7353,'1'-28'2338,"0"3"-1798,2 22 450,1 8-721,4 31-89,-2-10-3302,2 12 3392,-3-13 0,0 2-90,1 1 0,0 1 0,0 0-1,0 0 1,0 0 3392,-1-2-3392,0-1 0,0-2 0,-1-1-90,0 0 0,0-2 90,0-1-180,-1-2 180,0-1-90,1 3 89,-1-1 1,1 3 90,0-5-1169,-2 0-900,-3-4 1799,-3 0 0,0-7 0,0-2 0</inkml:trace>
</inkml:ink>
</file>

<file path=ppt/ink/ink14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5:00:26.08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36 8522,'9'26'1709,"-1"-2"-1259,-2-8 0,0 1-91,1 1 91,0 0-90,0 0-90,1 0 0,1 1 0,-1-2-91,1 1 1,0-1 90,0-1-90,0-1 0,-1-1 0,0-1 360,-1-2 539,1 2 270,0-1-180,1 1-719,3-7-360,-2-7 90,2-6-90,-2-4 0,-2-1 0,1-1 0,0-2 0,1-3 0,0-1 0,1-2 0,0-1 0,-1 1 0,-1 1 0,-1 0-1,0 1-89,0 0 90,-1 2 0,-1 1-90,0 2 90,-1 1-360,1-2-449,0 0-1260,0-1 1979,1 0 0,-4 9 0,-1 0 0</inkml:trace>
</inkml:ink>
</file>

<file path=ppt/ink/ink14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5:00:26.51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88 9691,'21'19'1620,"1"-2"-1261,-7-8-89,4-1 90,1-3 0,1 0-90,0-5-180,0-3 0,-4-2-1,-1-2 1,-5 0 0,-2-1-90,0-1 90,-1-1 90,1-5-90,-3-2-90,-3-4 90,-8 2 0,-8 4 90,-6 5 0,-1 6 90,0 5-90,4 4 89,-1 2-89,0 3 0,-1 2 0,2 2 0,1 2 0,2 0-90,1 1 0,3 0 90,1 1-90,3 0 0,1-1 0,2 1 0,2-1-1,1-1 1,2 2-90,2-1 90,1 0 0,2 0-90,1-1 180,13 11-270,-7-10-90,9 7-89,-10-13-1,1-2-180,-1-1-540,7 0-359,-5-3-450,10 0-2608,-3-4 4407,4-4 0,-12 1 0,-3-1 0</inkml:trace>
</inkml:ink>
</file>

<file path=ppt/ink/ink14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5:00:26.87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3 1 10861,'20'29'2069,"-2"0"-1530,-7-8-89,0 4 0,1 1-90,1 4-1,-1 2 1,1 2-90,-2-1 0,0 0-90,-3-2 0,0 1 0,-2-1-1,-2 1-89,-2-2 0,-1-1 0,-2-1 0,-2 0-90,-2 0 90,-1 0-270,-3-1-90,-1-2-89,-2 0-181,0-3-180,-2-1-269,-1-2-270,-1-1-990,-2-1-989,-2-2 3238,-1-3 0,-4 0 0,-2-2 0</inkml:trace>
</inkml:ink>
</file>

<file path=ppt/ink/ink14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5:00:28.37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15 41 10411,'-5'-26'1979,"-2"11"-1529,-2 16-270,-3 10 89,2 1-89,-1 5 0,3-3 0,-1 2-90,1 1 0,0 2 90,2-1-90,-1 2 0,2-1 0,1 0 0,1 0 0,1-2 0,1 1 0,1-1-1,2 0 1,1-1 0,1 0-90,0-1 90,3-1 0,0-2 0,2 0 0,0-2 0,3-1-90,0-1 90,1-3 0,8 0-90,2-4 90,1-1-90,-2-5 0,-6-1 0,0-1 0,-1-2 0,0-1 0,-2-1 90,-1 0-180,-2 0 90,-1 1 90,-1 0-180,1-4 0,-2 2 90,-8 6 0,3 8 0,-4 8 90,8 4 0,4-3 180,4-2 90,3-3-91,1-3-89,1-3 0,-1-5-90,-2-4 0,-4-5-90,-5-4 0,-6-1 0,-5 2 0,-3 2-180,-1 5-90,-1 1-89,-1 1-1,-1 1-90,-1 2-539,0 1-91,-6 1-89,0 1-270,-3 2 1439,3 3 0,7-2 0,5 1 0</inkml:trace>
</inkml:ink>
</file>

<file path=ppt/ink/ink14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5:00:28.67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16 10771,'31'-6'2069,"-2"6"-1799,-17 7-1,1 2 1,-4 0 90,-1-1-90,2 2 0,-1-1-90,1 2-1,-1-1-89,1 0 0,-1-1 90,0 0 360,2 3 449,0-2 541,1 3-721,1-6-539,-2-8-180,-1-8 0,-2-4 0,-4-4-90,-1 2 0,-1 0 90,-1-2-90,1 0 0,-1 0 0,0 0-450,0-6-450,0 1-1078,-1-4 1978,0 3 0,0 12 0,0 2 0</inkml:trace>
</inkml:ink>
</file>

<file path=ppt/ink/ink1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21.84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0 97 9961,'-9'-21'900,"8"3"-1350,12 7-90,6 2-809,0 3 180,3-1 1169,5 0 0,4-1 0,5-1 0</inkml:trace>
</inkml:ink>
</file>

<file path=ppt/ink/ink14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5:00:28.86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0 10231,'23'-7'4138,"-3"5"-3778,-2 10-91,-6 0 1,0 4 0,-4-3-90,-1 2 0,1 0-90,-1 2 0,-1 0 0,0 1 0,-1 1 0,0 1-90,-2 1-270,-1-1-360,0 0-539,-1 7-180,-1 1-1620,-3 5 2969,-1-6 0,2-10 0,0-5 0</inkml:trace>
</inkml:ink>
</file>

<file path=ppt/ink/ink14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5:00:29.02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9 111 8072,'-6'-26'3059,"0"3"-2700,-1 3-89,0 5-809,-3 2 539,0 5 0,4 4 0,0 2 0</inkml:trace>
</inkml:ink>
</file>

<file path=ppt/ink/ink14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5:00:29.37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8432,'25'8'1979,"-2"1"-1439,-10 0 89,2 2-179,-1 2-90,1 2 180,0 3-181,0 2 1,-2 1-90,-1 2 0,-1 0 0,-3 0 0,0 1-1,-3-1-89,-2 0 90,-1 0 0,-3-1-90,-1 0 0,-1 0 0,-2-2 0,-1-1 0,-2-1-1,1-2 1,-1-2 0,-1-1 180,0-4-180,-3 1-90,-2-6 0,0-3-90,4-8 0,5-7 0,9-4-90,1 1 90,6 1 0,-1 4 0,2 1 0,2 1 0,9-1-90,-6 3 90,7 1-270,-2 3 90,2 4 0,0 0-90,-2 3-89,-8 0-91,-1 2 90,-2 0 0,1 1-539,-3 0-91,4 5-269,-3 1-1349,0 3 2608,-2-1 0,-5-6 0,-1-2 0</inkml:trace>
</inkml:ink>
</file>

<file path=ppt/ink/ink14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5:00:29.99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1 0 9871,'-20'9'5847,"37"-7"-5757,-6-1-180,33-6-90,-16 3-270,0 0-89,1 1-181,-2 0-359,-1 1-1170,-1 0-899,-1 2 3148,-4 0 0,-8-1 0,-5 0 0</inkml:trace>
</inkml:ink>
</file>

<file path=ppt/ink/ink14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5:00:30.17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27 13649,'5'14'1439,"1"-3"-1169,16-14-180,-3 0 90,4-1-180,1 0-90,2 0-180,1 0-179,-1-1-91,1 1-270,-3 0-269,0 1-1080,-1-1-719,-2 1 2878,-3 0 0,-7 1 0,-5 1 0</inkml:trace>
</inkml:ink>
</file>

<file path=ppt/ink/ink14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5:00:30.86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89 9871,'3'-30'1799,"2"4"-1439,4 13-90,3 2 0,3 4 0,4 5-90,1 5-90,-3 3-1,-2 4 1,-5-1 0,-1 2 0,-1 1 0,0 3 90,-2 0-90,-1 2 90,-3 1 0,0 0 90,-3 0-90,-1 2 0,-2-1 89,-1 2-89,-3-1 0,0 0 90,-2-2 0,1 0 0,0-2 0,0-2 179,1-1 361,1-2-1,-3 3 1,1-1-90,-1 1 89,1-4-179,0 1-450,1-1-90,0 1-540,8 0-360,5 0-629,7-2 630,2 2-181,-3-1-89,0 1-91,-3-3-89,1 2-1349,-2 1-1260,0 1 3868,-1 0 0,-2-5 0,-2-2 0</inkml:trace>
</inkml:ink>
</file>

<file path=ppt/ink/ink14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5:00:30.99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13829,'1'22'0,"-1"-4"0</inkml:trace>
</inkml:ink>
</file>

<file path=ppt/ink/ink14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5:00:31.53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54 9242,'11'-22'2428,"1"3"-1798,4 11-180,4 4-270,4 6-90,-4 2 89,-2 3 91,-5 0 0,-2 1-90,0 2 0,-1 0 90,-1 1-90,-1 1 90,-1 0-91,-1 2 1,0-1 0,-3 2 90,1 0 0,-3 0 0,0 1-90,-1 0 0,-1 0-1,0 0 91,-3 7-90,1-6-90,-1 4 180,1-6-180,-2 4 90,2 0-90,-1 4 0,1-2 0,1-2-90,2 2 90,1-3-180,3 2-900,2-3-449,2 1-900,0 1-3597,-1 2 5936,-3 0 0,-2-8 0,-1-4 0</inkml:trace>
</inkml:ink>
</file>

<file path=ppt/ink/ink14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5:00:31.65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1 1 14369,'-2'26'-660,"-15"-4"0,-5-8 1</inkml:trace>
</inkml:ink>
</file>

<file path=ppt/ink/ink14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1:36.03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265 7623,'1'-25'2158,"1"1"-1528,2-1 0,0 1 719,6-13-629,-2 11-91,3-8-89,-4 15-180,0 2 269,0 3 631,2 1-991,5 8 91,-2 3 0,1 11-90,-6 4 0,-1 3-90,0 4-90,-2 2 89,1 2-89,-1 3 0,0 2 0,0 2 0,0 1 0,-1-1 0,0 2-90,0-1 90,0 0-180,0-1-90,0-1-180,0-1 1,0-2-181,0-1 0,-1-1-899,2 9 540,-2-10-1,1 4-2338,-1-11 3238,3 1 0,-3-9 0,1 1 0</inkml:trace>
</inkml:ink>
</file>

<file path=ppt/ink/ink1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22.01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0 8792,'23'8'4228,"-7"-1"-3419,-4 5 1,-5 1-91,-1 1-89,-1 4-90,-1 2-1,1 1-179,-1 2-90,0 0 0,0 2-90,-1 0 0,1 0-1,0 0-89,0 0-180,0-1-89,0 0-91,-1-2-180,0-1-90,0-3-1079,-1-1-719,2 3 2338,-1-5 0,0-3 0,-2-5 0</inkml:trace>
</inkml:ink>
</file>

<file path=ppt/ink/ink14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1:36.50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0 11490,'21'3'2339,"-3"6"-1979,-12 9 0,-1 2-1,-2-4 1,-1 2-90,-1 0 0,0 0 0,-1 0-90,0 1-90,0-1 90,0 0-1,-1-2 1,0 6 360,0-2 360,0 3-631,1-3-179,8-16-90,0-1 90,9-14-90,-1 0 0,5-1 0,4-1 0,2 1 0,2 1 0,0 0 0,1 3 0,-1 2 0,-1 2 0,-1 2-90,-3 3 90,-1 1 0,-1 2 90,-2 3-90,-2 1 0,-3 2 90,-3 0-90,-3 3 90,-3 0 0,-4 8-90,-3-3 90,-4 6-90,-3-5 90,-2-1-90,-3 2-90,-2-1-90,-1 0-90,-1-1-179,-1-1-271,1-1 0,0-2-809,-7 2 720,5-6-271,-5 1 91,8-7-1170,-1-2-719,2-4 2878,-2-2 0,-2-7 0,-1-2 0</inkml:trace>
</inkml:ink>
</file>

<file path=ppt/ink/ink14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1:36.67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96 8792,'8'-30'2429,"0"3"-1890,1 11 1,4-1-90,4 2-90,4 1-1,7 0-89,3 1 0,5 2-90,4 0 0,0 3-90,3 1 90,-1 1-90,-2 3 0,-2 1-90,-4 0-90,-3 2-180,-3 1 0,-4 0-720,4 2-539,-9 0 1529,4 3 0,-15-4 0,-1 2 0</inkml:trace>
</inkml:ink>
</file>

<file path=ppt/ink/ink14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1:37.06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2 277 10861,'-15'-7'3508,"9"0"-2879,25-3 1,15-1-90,12-1-1428,21-3 1338,10-2-2525,12 0 2524,8-1-314,-46 9 0,1 0-414,2 1 0,1-1 414,0 1 0,0 0-45,1 0 0,-1 0-45,0 1 0,-1 0 45,-1 0 0,-2 0 0,48-5 0,-8 1 0,-12 2 0,-10 0-366,-13 3 276,-10 0-89,-8 2-1,-7 0-180,-5 1-686,-2 0 327,-20 5 2594,-5 1-2864,-21 6-1,-7 1-89,-9 3-180,-7 3-328,-7 2-1382,-4 1 2879,-8 3 0,-15 3 0,-10 3 0</inkml:trace>
</inkml:ink>
</file>

<file path=ppt/ink/ink14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1:37.34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10771,'11'23'2698,"-1"-1"-2068,-3-5 0,0 1-91,0 2-89,0 1-90,0 2 0,1 0-1,-1 1-179,-1 2 90,0 1-90,-1 1-90,1 1 90,-3-1-90,1 1 0,-2-2 0,-1 1-90,0-2-90,-1 1-180,0-1-90,-1-2-90,0 0-89,0-4-631,0-1-1708,0 3 2878,1-5 0,6-16 0,3-8 0</inkml:trace>
</inkml:ink>
</file>

<file path=ppt/ink/ink14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1:37.62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 96 14009,'2'28'2249,"1"1"-1889,-4-9-1,3 1 1,3-6-90,3 0 0,1 1-90,3-2 0,2 1-1,2-3-89,1 0 0,1-2 90,1-2-180,1-2 90,-1-2 0,0-2-90,0-3 90,0-2-90,-2-4 0,0-2 90,-2-3-180,-3-2 180,-2-3-90,-3-2-90,-3 0 90,-3-3 0,-4 1 0,-4-2 0,-3-1 0,-5 2 0,-2 0 0,-4 3-90,-1 3 0,-3 1-270,0 3 1,1 3-811,-9 0 451,10 5-990,-5 0-270,6 5 1979,5 2 0,4-1 0,6 1 0</inkml:trace>
</inkml:ink>
</file>

<file path=ppt/ink/ink14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1:37.92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3 110 10051,'18'16'4408,"-6"1"-3419,-12 2 91,-2 2-1,2 2-539,4 2-181,3-5-89,3 0 0,2-7-90,2-1 0,3-1 0,1-1 0,1-1-90,1-3 0,1-1-90,-2-3 90,0-1-90,0-4 90,-2-1-90,1-3 0,-3-3 0,-1-2 0,-4-3 0,-1-2 0,-2-2 0,-4-1 0,-2-1-90,-5 0 90,-4-2 0,-3 1-90,-4-1 0,-4 2-180,-4 1-180,0 2 0,-4 2-89,1 3-91,-2 3-899,-10 0 629,10 3-89,-7 2-90,14 3-2160,3 2 3239,-2 1 0,11 0 0,-1 0 0</inkml:trace>
</inkml:ink>
</file>

<file path=ppt/ink/ink14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1:38.18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64 122 11670,'19'24'4408,"-4"0"-3149,-12-2-629,1 1-91,1-5-89,4 1 0,0-7-90,3 1-90,2-2-1,2 0-89,2-1 0,1-2 0,1-1-90,0-3-90,1-1 90,-1-3-90,-1-2 90,-1-2-90,0-4 90,-3-2-90,-2-3 0,-4-3 0,-3-2 0,-3-1 0,-4-3 0,-3-1-180,-6-2-90,-3-2-629,-18-9 89,4 10-540,-14-5 271,6 15-361,-4 3-1708,-8 3 3148,-32 3 0,10 4 0,-23 1 0</inkml:trace>
</inkml:ink>
</file>

<file path=ppt/ink/ink14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1:39.10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264 12300,'2'41'1889,"0"-3"-1349,0-15-1,0 2-89,1 0-90,-1 1 180,2 0-181,-1 0 1,1-2 0,0 1-90,0-1 90,2 7-181,-2-9 1,1 5 360,-1-6 90,0-2-181,-1 3-269,-5-15-180,-3-11 90,-4-11-90,0-10-90,1-1-359,-4-50 269,8 24-818,-1-40 818,10 38 0,5-2 0,3 3-90,13-17 180,-4 23 1,9-8-186,-8 27 185,1 5 0,1 6 0,7 3 90,-8 8 0,5 3 0,-11 8 624,5 8-624,-8 1 199,0 8-199,-8-3 0,-4 3 0,-3 0 0,-12 29 0,1-16-940,-12 21 940,4-25 0,-1 0-20,-2-2 20,0-1 0,-1-2-90,3-3-90,0-2-450,-5 3-359,1-3 269,2-2 308,4-5-1387,4-6 1804,3-1 1,3-2 0,3-3 0</inkml:trace>
</inkml:ink>
</file>

<file path=ppt/ink/ink14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1:39.34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47 1 11760,'-18'22'2159,"1"-1"-1529,1-4-181,0 2 1,0 2 0,2 1 0,0 1-180,3 1 89,2 0 1,2 0-90,2-1-90,2 1 0,3 0 0,2 0-90,3 2 89,2-1-89,2 1-90,3-1-90,1-1-179,0-1-91,1-1-90,0-2-90,0-2-89,0-2-181,0-1 1,0-4-91,0-1-89,0-3-1980,0-3 631,6-2 2338,-5-3 0,0 0 0,-9-2 0</inkml:trace>
</inkml:ink>
</file>

<file path=ppt/ink/ink14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1:39.70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2 0 11940,'-15'28'1529,"2"-1"-1079,9-8-90,0 1 90,1 2-91,1 0 1,1 1 90,2 0-90,0 1 0,2-1-91,1 1 1,2-2-270,2 2-180,1-1 0,3 1 90,1-2 1,2 0-1,-1-4 90,0-1-90,-1-2 90,0-3 0,1-1 0,1-4 90,-1-1-90,7-5 0,-5-2 0,4-3 0,-7-4 0,0-2 0,-1-2 0,-2-2-90,0 0 90,-3-1 0,-1 0-90,-2 1 90,0 1-90,-2-4 0,0 2 0,-4-3-360,-6 10-449,1 7-361,-3 9-539,4 5-2518,1 2 4317,2 1 0,1-7 0,2-2 0</inkml:trace>
</inkml:ink>
</file>

<file path=ppt/ink/ink1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22.60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66 9781,'10'-25'4228,"0"4"-2879,-1 6-539,2 6-1,-1 7-89,2 7-450,-2 9-90,-3 0 89,0 2-89,-2-2 0,-1 0 0,0 2 0,-1 0 0,0 1-90,-1 0 90,0 2-90,-1-1 0,0 0 0,-1 1-90,-1-1 90,0 0-90,1 0 90,-2 0 0,1-2-90,-1 6 0,0-3 89,1 5 271,-1-5 270,0-1-540,5-12-180,-1-6 180,4-15-180,-3-2 90,-1-2 0,0 3 0,0-3 0,1-2 90,0-1-90,-1-2 0,1 0 0,1-1-90,-1 1 180,1-1-180,0 1 90,0 1-90,1-1 180,0 2-180,1 1 90,-1 0 0,1 2 0,1 1 0,-1 2 0,1 2-90,-2 1 0,4-2 0,-1 2 0,3 1 180,-3 12-90,-4 6 0,-3 11-90,-2 2 90,1 4-90,1-3 90,3 1-90,1-4 90,2 1-90,0 1 0,1 1 90,0 0-90,0 0 0,-1 0 1,1 0 89,-3 0 0,0-2 0,-2 0 0,-2 6 89,-3-6-89,-2 4 90,-2-8-90,-3-1 90,-1-1-90,-3 0 0,-1-3 0,0 0-180,-1-2-89,1-2-721,-1-1 181,-5-3-91,5-2-179,-4-2-91,7-2-269,2-1-989,1-4-1350,2-2 3778,3-3 0,2 6 0,1 1 0</inkml:trace>
</inkml:ink>
</file>

<file path=ppt/ink/ink14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1:40.13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38 1 8072,'-24'9'1440,"2"2"-901,8 1-89,1 2 0,-1 3-90,3 2 89,0 1 1,2 1-180,2 2 0,2 0 0,1 1-91,1-1 1,3 1 0,1-1-90,2 1 90,2-1-90,2 1 0,2 0 0,1 0 0,2-2-90,-1-2 90,2-1 0,-2-3 0,1-1 0,-1-1-180,0-1-1170,3 1-628,-1-3-2070,4-1 3958,-2-7 0,-6-2 0,-2-2 0</inkml:trace>
</inkml:ink>
</file>

<file path=ppt/ink/ink14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1:40.40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9 9512,'21'-11'1888,"-3"4"-1438,0 16 90,-2 3 0,2 4-91,2 4 1,0 4 0,2 2-90,-2 2-1,-1 2 181,5 12-360,-10-9 90,3 8-90,-10-14 0,-3-1 0,-1-1-90,-4 1-1,-1-2 91,-3 1-90,-2 0 0,-3 0-90,-1-2 90,-10 8-270,4-8-90,-6 4-89,6-11-3483,1-2 3212,1-2-359,0-3-2609,1-2 3598,-4-2 0,10-2 0,-2-2 0</inkml:trace>
</inkml:ink>
</file>

<file path=ppt/ink/ink14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1:40.69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27 11490,'31'-9'1080,"-2"2"-900,-14 3-360,2 2-180,-1-1-809,0 2-1170,5 0 2339,-3 3 0,-4-1 0,-6 1 0</inkml:trace>
</inkml:ink>
</file>

<file path=ppt/ink/ink14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1:40.79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 1 9871,'-3'17'1170,"11"-3"-1530,11-12-180,7 0-899,-4-2 90,2-1 1349,2 0 0,5-2 0,2 0 0</inkml:trace>
</inkml:ink>
</file>

<file path=ppt/ink/ink14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1:41.20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0 12660,'16'17'2069,"4"-3"-1979,-2-9-180,4-3-270,-3-1-90,1 1-270,-1-1-179,0 1-1260,-1 1-629,-2-1 2788,-1 1 0,-6-1 0,-4 0 0</inkml:trace>
</inkml:ink>
</file>

<file path=ppt/ink/ink14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51:41.33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65 12840,'17'11'809,"-6"-2"-989,28-14-269,-11 0-91,3-1-90,1 0-449,2-2-540,1 0-180,2-2 1799,-1 0 0,1-3 0,1-1 0</inkml:trace>
</inkml:ink>
</file>

<file path=ppt/ink/ink14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5:01:48.10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9 88 13469,'-17'-8'2339,"6"7"-2069,10 15-90,4 5 90,0-1-1,0 3 1,1 4-90,0 3 0,1 4 0,0 1 0,-1 3 180,2 19-270,-1-13-232,1 16 232,-2-20 0,2 18 0,-2-15 0,1 11-90,-2-18 90,-1-3 0,0-1-90,0-3 90,0-2-90,-1-3 180,0-1 360,0-3 500,0 4 40,0-3-1080,-6-8 90,1-9-180,-4-13 90,3-5 0,1-2-90,-5-20 0,4 7 90,-3-15-90,3 7 0,1-2 90,0-4-90,1-2-442,2-1 442,2 0 90,2-1 0,1 2-90,3 1 90,8-16 0,-2 17 0,21-37 0,-15 45-90,13-15 90,-16 33 0,7 0-90,-6 8 90,5 1-90,-3 9 180,-5 3 352,2 5-442,-2 13 0,-7-5 0,0 19 0,-7-14 0,-3 7 0,-1-7 0,-1 0 0,-4 9-90,-1 7 0,1-6 90,0 6-90,7-16 90,5 3 0,3-7-90,5-3 90,2-4 0,1-1 0,10 5 0,-5-3-90,14 8 90,-15-7 0,12 8 0,-15-7 90,3 3 0,-10-5 720,0 11-540,-9-4 0,-2 5-1,-8-7 1,-1-4 0,-2-1-90,-2 0 0,-2-2 270,-18 4-450,13-5-1529,-26 4-450,24-8-1259,-9 0-6027,12-4 9265,2 0 0,10 0 0,2 0 0</inkml:trace>
</inkml:ink>
</file>

<file path=ppt/ink/ink14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0:03.986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33 251 952 0 0,'-1'-2'2142'0'0,"-33"-64"4402"0"0,33 64-6213 0 0,-1-3 97 0 0,-7-14 1098 0 0,6 16-907 0 0,2 12-401 0 0,-7 254 2823 0 0,20 375-267 0 0,-3-412-2431 0 0,-23-268-1118 0 0,-5-34 129 0 0,-19-145 0 0 0,16-83 177 0 0,21 240 396 0 0,2 0 0 0 0,10-70 0 0 0,-8 107 47 0 0,2 0 0 0 0,2 0-1 0 0,0 1 1 0 0,1 0-1 0 0,2 0 1 0 0,1 1 0 0 0,20-36-1 0 0,-24 49 11 0 0,1 1-1 0 0,0 1 1 0 0,1-1-1 0 0,0 1 1 0 0,0 1-1 0 0,1 0 0 0 0,0 0 1 0 0,1 1-1 0 0,0 0 1 0 0,17-9-1 0 0,-19 13 13 0 0,1 0 0 0 0,-1 0 0 0 0,1 1 0 0 0,0 0 0 0 0,0 1 1 0 0,0 0-1 0 0,0 0 0 0 0,0 1 0 0 0,1 1 0 0 0,-1 0 0 0 0,0 0 0 0 0,1 1 0 0 0,-1 0 0 0 0,12 3 0 0 0,-7 0 19 0 0,-1 1 1 0 0,0 0-1 0 0,0 1 1 0 0,-1 0 0 0 0,0 1-1 0 0,0 0 1 0 0,0 1-1 0 0,-1 1 1 0 0,0 0-1 0 0,10 11 1 0 0,-14-13 31 0 0,0 1 0 0 0,-1 0 0 0 0,0 1 0 0 0,0 0 0 0 0,-1 0 0 0 0,-1 0 0 0 0,1 0 1 0 0,-1 1-1 0 0,-1 0 0 0 0,0 0 0 0 0,0 1 0 0 0,-1-1 0 0 0,-1 1 0 0 0,3 15 0 0 0,-5-17-10 0 0,0 0 0 0 0,-1-1-1 0 0,0 1 1 0 0,0-1 0 0 0,-1 1 0 0 0,0-1-1 0 0,-1 0 1 0 0,0 1 0 0 0,0-1-1 0 0,-1-1 1 0 0,1 1 0 0 0,-2 0 0 0 0,1-1-1 0 0,-1 0 1 0 0,0 0 0 0 0,-1 0-1 0 0,0-1 1 0 0,-10 9 0 0 0,-1 1 25 0 0,-1-2-1 0 0,0 0 1 0 0,-1-1 0 0 0,-1-1 0 0 0,-37 17-1 0 0,32-19-51 0 0,-1-1-1 0 0,-1-1 0 0 0,0-1 1 0 0,0-1-1 0 0,0-2 0 0 0,-44 2 1 0 0,-26-7-3411 0 0,81-3 1188 0 0,13 2 1754 0 0</inkml:trace>
</inkml:ink>
</file>

<file path=ppt/ink/ink14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0:04.584"/>
    </inkml:context>
    <inkml:brush xml:id="br0">
      <inkml:brushProperty name="width" value="0.2" units="cm"/>
      <inkml:brushProperty name="height" value="0.2" units="cm"/>
    </inkml:brush>
  </inkml:definitions>
  <inkml:trace contextRef="#ctx0" brushRef="#br0">93 53 108 0 0,'-93'7'11699'0'0,"267"-25"-8548"0"0,-35 2-2686 0 0,-42 6-378 0 0,88-5-1750 0 0,-146 14-814 0 0,43 5 1 0 0,-54 1-1410 0 0</inkml:trace>
</inkml:ink>
</file>

<file path=ppt/ink/ink14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0:04.919"/>
    </inkml:context>
    <inkml:brush xml:id="br0">
      <inkml:brushProperty name="width" value="0.2" units="cm"/>
      <inkml:brushProperty name="height" value="0.2" units="cm"/>
    </inkml:brush>
  </inkml:definitions>
  <inkml:trace contextRef="#ctx0" brushRef="#br0">297 1 828 0 0,'-92'33'2651'0'0,"43"-17"-757"0"0,1 2-1 0 0,-47 26 1 0 0,94-44-1780 0 0,0 0 0 0 0,0 1 1 0 0,1-1-1 0 0,-1 1 1 0 0,0-1-1 0 0,0 1 0 0 0,0-1 1 0 0,1 1-1 0 0,-1 0 1 0 0,0-1-1 0 0,1 1 0 0 0,-1 0 1 0 0,1-1-1 0 0,-1 1 1 0 0,1 0-1 0 0,-1 0 1 0 0,0 1-1 0 0,1-2-61 0 0,0 1-1 0 0,0-1 1 0 0,0 0-1 0 0,1 1 1 0 0,-1-1-1 0 0,0 1 1 0 0,0-1 0 0 0,0 0-1 0 0,0 1 1 0 0,1-1-1 0 0,-1 0 1 0 0,0 1-1 0 0,0-1 1 0 0,1 0 0 0 0,-1 1-1 0 0,0-1 1 0 0,0 0-1 0 0,1 0 1 0 0,-1 1-1 0 0,0-1 1 0 0,1 0-1 0 0,-1 0 1 0 0,1 0 0 0 0,-1 1-1 0 0,0-1 1 0 0,1 0-1 0 0,-1 0 1 0 0,5 2 195 0 0,0-1-1 0 0,0 0 1 0 0,1 0-1 0 0,-1 0 1 0 0,6 0 0 0 0,132-3 2458 0 0,148-19 1 0 0,-116 5-1840 0 0,-136 12-690 0 0,-21 2-606 0 0,0 0 0 0 0,32 2 0 0 0</inkml:trace>
</inkml:ink>
</file>

<file path=ppt/ink/ink1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22.78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2 8882,'25'-1'4138,"-1"1"-2879,-2 3 0,1 3-90,-1 4-89,1 3-91,-2 3 1,-2 4-181,-1 1 1,-1 5-181,-1 0 1,-3 3-180,-1 0 0,-3 0-181,-1 1 1,-2 0-90,-3-1-90,-2 0-180,-1-2-180,-3 1-89,-2 0-271,-1 0-90,-2-1-179,-1-2-91,-2-2-89,-1-3-270,0-1-360,0-5-7196,0-1 8905,-3-2 0,8-5 0,-2-2 0</inkml:trace>
</inkml:ink>
</file>

<file path=ppt/ink/ink14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0:05.233"/>
    </inkml:context>
    <inkml:brush xml:id="br0">
      <inkml:brushProperty name="width" value="0.2" units="cm"/>
      <inkml:brushProperty name="height" value="0.2" units="cm"/>
    </inkml:brush>
  </inkml:definitions>
  <inkml:trace contextRef="#ctx0" brushRef="#br0">77 174 364 0 0,'65'-63'10043'0'0,"-68"66"-9594"0"0,-12 11-43 0 0,1 0 0 0 0,0 2 0 0 0,1 0 0 0 0,0 0 0 0 0,2 1 0 0 0,-17 32 0 0 0,22-38-285 0 0,2-1 0 0 0,0 1 0 0 0,0 0 0 0 0,1 0 0 0 0,0 0 0 0 0,1 1 0 0 0,0-1 0 0 0,1 0 0 0 0,0 1 0 0 0,1-1 1 0 0,0 1-1 0 0,1 0 0 0 0,4 22 0 0 0,-4-28-24 0 0,1 1 0 0 0,1-1 1 0 0,-1 0-1 0 0,1 1 0 0 0,0-1 1 0 0,1 0-1 0 0,-1-1 1 0 0,1 1-1 0 0,0-1 0 0 0,1 1 1 0 0,-1-1-1 0 0,1-1 0 0 0,0 1 1 0 0,11 7-1 0 0,-8-7 28 0 0,0 0 0 0 0,0-1 0 0 0,1 0 0 0 0,0 0 0 0 0,0-1 1 0 0,0 0-1 0 0,0-1 0 0 0,1 0 0 0 0,18 2 0 0 0,-15-4-2 0 0,-1 1 0 0 0,1-2 0 0 0,0 1 0 0 0,0-2 1 0 0,0 0-1 0 0,-1 0 0 0 0,1-1 0 0 0,-1-1 0 0 0,1 0 0 0 0,-1-1 0 0 0,-1 0 1 0 0,1-1-1 0 0,-1 0 0 0 0,0-1 0 0 0,0 0 0 0 0,10-9 0 0 0,-13 7-31 0 0,1-1 0 0 0,-1 0 0 0 0,-1-1 0 0 0,0 0 0 0 0,0 0 0 0 0,-1 0 0 0 0,0-1-1 0 0,-1 0 1 0 0,-1 0 0 0 0,0 0 0 0 0,0-1 0 0 0,-1 1 0 0 0,-1-1 0 0 0,0 0 0 0 0,-1 0 0 0 0,0 0 0 0 0,-1 0 0 0 0,-1 0-1 0 0,0 1 1 0 0,-5-26 0 0 0,4 26-192 0 0,-1 1 0 0 0,0 0 0 0 0,0-1 0 0 0,-1 1 0 0 0,-1 1 0 0 0,0-1 0 0 0,0 1 0 0 0,-1 0-1 0 0,-1 0 1 0 0,1 0 0 0 0,-2 1 0 0 0,1 0 0 0 0,-1 0 0 0 0,0 1 0 0 0,-1 0 0 0 0,0 1 0 0 0,0 0 0 0 0,-1 0 0 0 0,0 1 0 0 0,0 0-1 0 0,-1 0 1 0 0,1 2 0 0 0,-16-6 0 0 0,20 8-695 0 0,0 1 1 0 0,-1-1-1 0 0,1 1 1 0 0,0 1-1 0 0,-9-1 0 0 0</inkml:trace>
</inkml:ink>
</file>

<file path=ppt/ink/ink14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0:05.614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0 512 0 0,'92'31'17127'0'0,"-86"-29"-16761"0"0,-1-1 1 0 0,0 1-1 0 0,1 0 0 0 0,-1 0 1 0 0,0 0-1 0 0,5 4 0 0 0</inkml:trace>
</inkml:ink>
</file>

<file path=ppt/ink/ink14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0:05.950"/>
    </inkml:context>
    <inkml:brush xml:id="br0">
      <inkml:brushProperty name="width" value="0.2" units="cm"/>
      <inkml:brushProperty name="height" value="0.2" units="cm"/>
    </inkml:brush>
  </inkml:definitions>
  <inkml:trace contextRef="#ctx0" brushRef="#br0">2 28 2008 0 0,'7'-5'915'0'0,"1"1"1"0"0,0 1-1 0 0,0 0 0 0 0,0 0 1 0 0,0 0-1 0 0,0 1 0 0 0,1 0 0 0 0,12-1 1 0 0,-20 4-851 0 0,0-1 1 0 0,-1 0 0 0 0,1 0-1 0 0,0 0 1 0 0,0 1 0 0 0,-1-1-1 0 0,1 0 1 0 0,0 1 0 0 0,0-1 0 0 0,-1 0-1 0 0,1 1 1 0 0,-1-1 0 0 0,1 1-1 0 0,0-1 1 0 0,-1 1 0 0 0,1-1-1 0 0,-1 1 1 0 0,1 0 0 0 0,-1-1 0 0 0,1 1-1 0 0,-1 0 1 0 0,0-1 0 0 0,1 1-1 0 0,-1 0 1 0 0,0 0 0 0 0,1-1-1 0 0,-1 1 1 0 0,0 0 0 0 0,0 1 0 0 0,2 23 1047 0 0,-5-7-621 0 0,-1 0 1 0 0,0 0 0 0 0,-2-1-1 0 0,-12 29 1 0 0,2-4-7 0 0,4-10-220 0 0,2 1 0 0 0,1 0-1 0 0,1 1 1 0 0,2-1-1 0 0,-3 63 1 0 0,9-83-221 0 0,1 1 1 0 0,-1-1 0 0 0,2 1-1 0 0,0-1 1 0 0,1 0 0 0 0,0 0-1 0 0,1 0 1 0 0,0 0 0 0 0,1 0-1 0 0,1-1 1 0 0,0 0 0 0 0,0 0 0 0 0,1-1-1 0 0,1 0 1 0 0,0 0 0 0 0,0 0-1 0 0,18 16 1 0 0,-13-16 14 0 0,0-1 1 0 0,0-1-1 0 0,1 0 0 0 0,1 0 0 0 0,-1-2 0 0 0,1 0 1 0 0,0 0-1 0 0,1-1 0 0 0,28 6 0 0 0,-34-10 24 0 0,1 0-1 0 0,-1-1 0 0 0,1 0 0 0 0,-1 0 0 0 0,1-1 0 0 0,-1-1 0 0 0,1 1 0 0 0,-1-2 1 0 0,1 0-1 0 0,-1 0 0 0 0,0 0 0 0 0,1-2 0 0 0,-1 1 0 0 0,-1-1 0 0 0,1-1 0 0 0,11-6 1 0 0,-18 9-52 0 0,1-1 0 0 0,-1 1 0 0 0,0-1 1 0 0,1 0-1 0 0,-1 0 0 0 0,0 0 0 0 0,-1 0 1 0 0,1 0-1 0 0,-1-1 0 0 0,1 1 1 0 0,-1-1-1 0 0,0 0 0 0 0,0 1 0 0 0,0-1 1 0 0,-1 0-1 0 0,0 0 0 0 0,1 0 0 0 0,-1 0 1 0 0,-1 0-1 0 0,1-1 0 0 0,-1 1 1 0 0,1 0-1 0 0,-1-6 0 0 0,-1 3-14 0 0,-1 1 0 0 0,1 0 0 0 0,-1 0 1 0 0,0 0-1 0 0,0 0 0 0 0,0 0 0 0 0,-1 0 0 0 0,0 1 0 0 0,0-1 0 0 0,-1 1 0 0 0,1 0 0 0 0,-1 0 0 0 0,0 0 0 0 0,-1 0 1 0 0,-5-4-1 0 0,-2-1-183 0 0,-1 0 1 0 0,0 1-1 0 0,0 1 1 0 0,-1 0-1 0 0,1 0 1 0 0,-2 2-1 0 0,1 0 1 0 0,-1 0 0 0 0,-30-6-1 0 0,-17 4-3714 0 0,-1 8-3671 0 0</inkml:trace>
</inkml:ink>
</file>

<file path=ppt/ink/ink14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0:06.519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58 952 0 0,'14'-58'10071'0'0,"-12"67"-9579"0"0,0 0 1 0 0,0 0-1 0 0,-2 0 0 0 0,1 0 1 0 0,-1 1-1 0 0,0-1 0 0 0,-1 0 1 0 0,-3 17-1 0 0,1 8 412 0 0,2 49 30 0 0,3 1 0 0 0,4-1-1 0 0,3-1 1 0 0,4 1 0 0 0,37 127 0 0 0,-40-174-1697 0 0,11 39-935 0 0,-6-41-1951 0 0</inkml:trace>
</inkml:ink>
</file>

<file path=ppt/ink/ink14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0:06.907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1 2340 0 0,'3'2'4398'0'0,"6"2"-3456"0"0,0 0 0 0 0,1-1 1 0 0,-1 0-1 0 0,1 0 0 0 0,-1-1 0 0 0,1 0 0 0 0,16 0 1 0 0,80-1 1324 0 0,-60-2-1432 0 0,236-7 1369 0 0,-98-5-4578 0 0,-164 9-1891 0 0</inkml:trace>
</inkml:ink>
</file>

<file path=ppt/ink/ink14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0:07.230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428 1412 0 0,'3'-1'1500'0'0,"-1"1"-1193"0"0,1 0 0 0 0,0 0 1 0 0,-1 0-1 0 0,1 0 1 0 0,0 1-1 0 0,-1-1 1 0 0,1 1-1 0 0,-1 0 0 0 0,1-1 1 0 0,-1 1-1 0 0,1 0 1 0 0,-1 0-1 0 0,0 1 0 0 0,1-1 1 0 0,-1 0-1 0 0,0 1 1 0 0,4 3-1 0 0,-2-1 90 0 0,0 1 0 0 0,1 0 1 0 0,-2 0-1 0 0,1 0 0 0 0,0 0 0 0 0,-1 1 0 0 0,3 6 0 0 0,37 101 3608 0 0,-28-71-3028 0 0,76 290 3768 0 0,-91-332-4698 0 0,0 1 0 0 0,1 0 0 0 0,-1 1 0 0 0,0-1-1 0 0,0 0 1 0 0,0 0 0 0 0,0 0 0 0 0,0 0 0 0 0,0 0 0 0 0,0 0-1 0 0,0 0 1 0 0,0 0 0 0 0,-1 0 0 0 0,1 0 0 0 0,0 0 0 0 0,0 0 0 0 0,-1 1-1 0 0,0-2-20 0 0,1 0 0 0 0,0 1 0 0 0,-1-1-1 0 0,1 0 1 0 0,-1 1 0 0 0,1-1 0 0 0,0 0-1 0 0,-1 0 1 0 0,1 0 0 0 0,-1 0 0 0 0,1 1 0 0 0,-1-1-1 0 0,1 0 1 0 0,-1 0 0 0 0,1 0 0 0 0,0 0-1 0 0,-1 0 1 0 0,1 0 0 0 0,-1 0 0 0 0,1 0-1 0 0,-1 0 1 0 0,1 0 0 0 0,-1 0 0 0 0,1-1-1 0 0,-1 1 1 0 0,-2-1 20 0 0,0-1-1 0 0,0 1 1 0 0,1-1-1 0 0,-1 1 1 0 0,0-1-1 0 0,1 0 1 0 0,0 0-1 0 0,-1 0 1 0 0,1 0-1 0 0,-3-3 1 0 0,-2-7-66 0 0,-1 0 0 0 0,2-1 0 0 0,-1 0 0 0 0,2 0 0 0 0,0 0 0 0 0,0 0 0 0 0,1-1 0 0 0,1 0 0 0 0,0 0 0 0 0,-1-17 0 0 0,1-18-471 0 0,5-79 0 0 0,0 87 266 0 0,3 0 0 0 0,1 1-1 0 0,2 0 1 0 0,2 0 0 0 0,1 1 0 0 0,23-51-1 0 0,-23 66 135 0 0,0 1-1 0 0,1 0 1 0 0,2 1-1 0 0,0 1 0 0 0,1 0 1 0 0,2 1-1 0 0,0 1 1 0 0,0 0-1 0 0,2 1 0 0 0,0 1 1 0 0,29-19-1 0 0,-38 30 63 0 0,0 0 0 0 0,1 1 0 0 0,-1 0 0 0 0,1 1 0 0 0,0 0 0 0 0,1 0 0 0 0,-1 1 0 0 0,1 1-1 0 0,-1 0 1 0 0,1 0 0 0 0,0 2 0 0 0,-1-1 0 0 0,1 1 0 0 0,20 3 0 0 0,-24-2 22 0 0,0 1 0 0 0,-1 0 0 0 0,1 1 0 0 0,-1-1 0 0 0,1 1-1 0 0,-1 1 1 0 0,0-1 0 0 0,-1 1 0 0 0,1 1 0 0 0,0-1 0 0 0,-1 1 0 0 0,0 0 0 0 0,0 0 0 0 0,-1 1 0 0 0,0 0-1 0 0,1 0 1 0 0,-2 0 0 0 0,1 1 0 0 0,-1-1 0 0 0,0 1 0 0 0,0 0 0 0 0,4 14 0 0 0,-6-15 50 0 0,0 0 1 0 0,0 0-1 0 0,-1 1 1 0 0,0-1-1 0 0,0 1 1 0 0,-1-1-1 0 0,1 1 1 0 0,-1-1-1 0 0,-1 0 1 0 0,1 1-1 0 0,-1-1 1 0 0,0 1-1 0 0,-4 9 1 0 0,1-6 32 0 0,0-1 0 0 0,0 1 1 0 0,-1-1-1 0 0,0 0 0 0 0,-1-1 0 0 0,0 1 1 0 0,-14 14-1 0 0,5-8 23 0 0,-1-1 0 0 0,0 0 1 0 0,-1-1-1 0 0,-1-1 0 0 0,0-1 0 0 0,0 0 0 0 0,-35 13 1 0 0,-43 8-177 0 0,34-21-4277 0 0</inkml:trace>
</inkml:ink>
</file>

<file path=ppt/ink/ink14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0:07.584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18 2696 0 0,'5'0'3768'0'0,"180"-8"3091"0"0,8-1-5607 0 0,-29 12-3135 0 0,-57 6-4610 0 0,-84-6 2698 0 0</inkml:trace>
</inkml:ink>
</file>

<file path=ppt/ink/ink14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0:07.914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11 1 2004 0 0,'-110'59'13877'0'0,"127"-55"-12522"0"0,-15-4-1463 0 0,24 3 764 0 0,1-1 0 0 0,0-2 0 0 0,30-2-1 0 0,-11-1-229 0 0,12 2-174 0 0,64-2 637 0 0,-42 2-3035 0 0,-76 1 1171 0 0,6 1-291 0 0</inkml:trace>
</inkml:ink>
</file>

<file path=ppt/ink/ink14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0:08.235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14 38 1028 0 0,'0'-4'531'0'0,"1"1"236"0"0,-1-1 1 0 0,1 1-1 0 0,-1-1 0 0 0,0 0 1 0 0,0 1-1 0 0,0-1 0 0 0,-2-4 0 0 0,-12 12 607 0 0,8 0-1135 0 0,1-1 1 0 0,0 1-1 0 0,0 0 0 0 0,1 1 1 0 0,-1-1-1 0 0,1 1 0 0 0,0 0 1 0 0,0 0-1 0 0,-5 8 0 0 0,1 2 206 0 0,-1 1-1 0 0,-6 18 0 0 0,12-25-303 0 0,0-1 1 0 0,0 1-1 0 0,1 0 0 0 0,0 1 0 0 0,1-1 0 0 0,-1 0 1 0 0,2 0-1 0 0,0 1 0 0 0,0-1 0 0 0,0 0 1 0 0,1 1-1 0 0,1-1 0 0 0,-1 0 0 0 0,2 0 0 0 0,-1 0 1 0 0,1 0-1 0 0,1 0 0 0 0,-1-1 0 0 0,1 1 0 0 0,1-1 1 0 0,0 0-1 0 0,0 0 0 0 0,0-1 0 0 0,1 1 1 0 0,0-1-1 0 0,1-1 0 0 0,-1 1 0 0 0,1-1 0 0 0,14 9 1 0 0,-10-8-47 0 0,-1-2 1 0 0,1 1-1 0 0,1-2 1 0 0,-1 1 0 0 0,1-2-1 0 0,-1 1 1 0 0,1-2 0 0 0,0 1-1 0 0,0-2 1 0 0,0 1-1 0 0,1-2 1 0 0,-1 0 0 0 0,17-2-1 0 0,-21 2-53 0 0,0-2 0 0 0,0 1 0 0 0,-1-1 0 0 0,1 0 0 0 0,-1 0-1 0 0,1-1 1 0 0,-1 0 0 0 0,0-1 0 0 0,0 0 0 0 0,0 0 0 0 0,0 0 0 0 0,-1-1-1 0 0,0 0 1 0 0,1 0 0 0 0,-2 0 0 0 0,1-1 0 0 0,-1 0 0 0 0,0 0 0 0 0,0 0-1 0 0,-1-1 1 0 0,7-11 0 0 0,-9 12-18 0 0,0-1 1 0 0,1 1-1 0 0,-2-1 0 0 0,1 1 0 0 0,-1-1 1 0 0,0 0-1 0 0,-1 0 0 0 0,1 1 0 0 0,-1-1 1 0 0,-1 0-1 0 0,1 0 0 0 0,-1 1 0 0 0,-1-1 1 0 0,1 0-1 0 0,-1 1 0 0 0,0-1 1 0 0,0 1-1 0 0,-1-1 0 0 0,0 1 0 0 0,0 0 1 0 0,0 0-1 0 0,-1 1 0 0 0,-5-7 0 0 0,2 2-524 0 0,-2 0 0 0 0,1 0-1 0 0,-1 1 1 0 0,-19-15-1 0 0,18 17-1396 0 0,0 0 0 0 0,-1 0 0 0 0,0 1 0 0 0,-17-8 0 0 0</inkml:trace>
</inkml:ink>
</file>

<file path=ppt/ink/ink14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0:08.606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0 636 0 0,'177'22'19189'0'0,"-163"-21"-18512"0"0,-11 0-619 0 0,14-1-1024 0 0</inkml:trace>
</inkml:ink>
</file>

<file path=ppt/ink/ink1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22.95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22 8252,'25'-5'3328,"1"1"-2518,-1 1-180,2 0-181,0 1-89,0 1-90,0-1-180,0 1-360,-1 1-180,-1-1-89,-1 2-181,-1 0-90,-3 1 810,6 3 0,-14-2 0,3 2 0</inkml:trace>
</inkml:ink>
</file>

<file path=ppt/ink/ink14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0:08.915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41 100 80 0 0,'51'-19'6222'0'0,"-49"19"-6066"0"0,-1-1-1 0 0,1 1 1 0 0,0-1 0 0 0,-1 1-1 0 0,1 0 1 0 0,0 0 0 0 0,0 0-1 0 0,-1 0 1 0 0,1 0 0 0 0,0 0-1 0 0,0 0 1 0 0,-1 1 0 0 0,1-1-1 0 0,2 1 1 0 0,2 1 249 0 0,0-1-78 0 0,0 0 0 0 0,0 1-1 0 0,0 0 1 0 0,0 0 0 0 0,0 1-1 0 0,-1-1 1 0 0,1 1 0 0 0,-1 1 0 0 0,0-1-1 0 0,0 1 1 0 0,0-1 0 0 0,0 2-1 0 0,-1-1 1 0 0,1 0 0 0 0,-1 1 0 0 0,0 0-1 0 0,-1 0 1 0 0,1 0 0 0 0,3 6-1 0 0,5 11 380 0 0,-2 1-1 0 0,0-1 0 0 0,9 31 0 0 0,-6-13-115 0 0,-2 1 0 0 0,-1 0 0 0 0,7 76 0 0 0,-16-95-931 0 0,0 1 0 0 0,-2-1 0 0 0,0 1-1 0 0,-1-1 1 0 0,-2 0 0 0 0,0 0 0 0 0,-1 0 0 0 0,-15 39-1 0 0,18-56-129 0 0,0-1-1 0 0,0 0 0 0 0,-1 1 1 0 0,1-1-1 0 0,-1 0 1 0 0,0-1-1 0 0,0 1 0 0 0,0 0 1 0 0,0-1-1 0 0,-5 4 0 0 0</inkml:trace>
  <inkml:trace contextRef="#ctx0" brushRef="#br0" timeOffset="1">445 22 716 0 0,'11'-22'4502'0'0,"-113"109"-988"0"0,40-32-2586 0 0,44-39-694 0 0,-220 193 2598 0 0,233-204-2564 0 0,0 0 1 0 0,1 0 0 0 0,-1 0-1 0 0,1 1 1 0 0,0-1-1 0 0,-4 10 1 0 0,8-14-203 0 0,0 0 1 0 0,-1 0-1 0 0,1 0 0 0 0,0 0 1 0 0,0 0-1 0 0,0 0 0 0 0,0 0 1 0 0,0 0-1 0 0,0 0 0 0 0,0 0 1 0 0,1 1-1 0 0,-1-1 0 0 0,0 0 1 0 0,1 0-1 0 0,-1 0 0 0 0,0 0 1 0 0,1 0-1 0 0,-1 0 0 0 0,1-1 1 0 0,0 1-1 0 0,-1 0 0 0 0,1 0 1 0 0,0 0-1 0 0,-1 0 0 0 0,1-1 1 0 0,0 1-1 0 0,0 0 0 0 0,0-1 1 0 0,0 1-1 0 0,0 0 0 0 0,0-1 1 0 0,-1 1-1 0 0,1-1 0 0 0,0 0 1 0 0,2 1-1 0 0,3 2 199 0 0,0 0-1 0 0,1-1 1 0 0,13 3-1 0 0,46 4 530 0 0,1-3 1 0 0,1-3-1 0 0,69-6 0 0 0,-59 1-388 0 0,367-18 1199 0 0,-439 19-2136 0 0,-4 1 424 0 0,-1 0 0 0 0,0-1 1 0 0,0 1-1 0 0,0 0 1 0 0,0 0-1 0 0,1 0 0 0 0,-1 0 1 0 0,0 0-1 0 0,0 0 0 0 0,0 1 1 0 0,0-1-1 0 0,0 0 0 0 0,1 1 1 0 0,-1-1-1 0 0,1 1 1 0 0</inkml:trace>
</inkml:ink>
</file>

<file path=ppt/ink/ink14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0:10.465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1 932 0 0,'20'7'3666'0'0,"-16"-6"-3239"0"0,-1 0 0 0 0,1 0-1 0 0,0 0 1 0 0,-1 1 0 0 0,1 0-1 0 0,-1-1 1 0 0,0 1 0 0 0,1 0-1 0 0,-1 1 1 0 0,0-1 0 0 0,0 0-1 0 0,0 1 1 0 0,4 5 0 0 0,-5-5-351 0 0,0 0 1 0 0,0 0-1 0 0,0 1 1 0 0,-1-1 0 0 0,1 1-1 0 0,-1 0 1 0 0,0-1 0 0 0,0 1-1 0 0,0 0 1 0 0,0 0-1 0 0,-1 0 1 0 0,0 0 0 0 0,1 0-1 0 0,-1-1 1 0 0,-1 1-1 0 0,1 0 1 0 0,-1 0 0 0 0,1 0-1 0 0,-1 0 1 0 0,0 0 0 0 0,-3 6-1 0 0,-12 39-1886 0 0,3-16-2170 0 0,5-12-83 0 0</inkml:trace>
</inkml:ink>
</file>

<file path=ppt/ink/ink14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0:11.139"/>
    </inkml:context>
    <inkml:brush xml:id="br0">
      <inkml:brushProperty name="width" value="0.2" units="cm"/>
      <inkml:brushProperty name="height" value="0.2" units="cm"/>
    </inkml:brush>
  </inkml:definitions>
  <inkml:trace contextRef="#ctx0" brushRef="#br0">41 44 1500 0 0,'2'-9'3189'0'0,"-2"6"-2732"0"0,1 1 0 0 0,0-1 0 0 0,-1 1-1 0 0,1 0 1 0 0,0-1 0 0 0,0 1 0 0 0,0 0 0 0 0,0-1-1 0 0,4-3 915 0 0,0 0-390 0 0,-4 7-900 0 0,-1 0-1 0 0,1 0 1 0 0,-1 0 0 0 0,1 0-1 0 0,-1 0 1 0 0,1 0-1 0 0,-1 0 1 0 0,1 0-1 0 0,-1 0 1 0 0,0 0 0 0 0,0 0-1 0 0,0 0 1 0 0,0 0-1 0 0,0 0 1 0 0,0 0-1 0 0,0 0 1 0 0,0 0-1 0 0,0 0 1 0 0,0 2 0 0 0,-3 24 494 0 0,-42 118-1979 0 0,28-95-3728 0 0</inkml:trace>
</inkml:ink>
</file>

<file path=ppt/ink/ink14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0:11.930"/>
    </inkml:context>
    <inkml:brush xml:id="br0">
      <inkml:brushProperty name="width" value="0.2" units="cm"/>
      <inkml:brushProperty name="height" value="0.2" units="cm"/>
    </inkml:brush>
  </inkml:definitions>
  <inkml:trace contextRef="#ctx0" brushRef="#br0">7 139 968 0 0,'-3'-19'2333'0'0,"1"0"-1"0"0,0-20 0 0 0,2 36-2023 0 0,0 3-275 0 0,0 0-1 0 0,0-1 1 0 0,0 1-1 0 0,0 0 0 0 0,1-1 1 0 0,-1 1-1 0 0,0 0 1 0 0,0 0-1 0 0,0-1 1 0 0,0 1-1 0 0,0 0 1 0 0,0-1-1 0 0,0 1 1 0 0,1 0-1 0 0,-1-1 1 0 0,0 1-1 0 0,0 0 1 0 0,0 0-1 0 0,1-1 0 0 0,-1 1 1 0 0,0 0-1 0 0,0 0 1 0 0,1 0-1 0 0,-1-1 1 0 0,0 1-1 0 0,0 0 1 0 0,1 0-1 0 0,-1 0 1 0 0,0 0-1 0 0,1 0 1 0 0,-1 0-1 0 0,0-1 1 0 0,0 1-1 0 0,1 0 1 0 0,6 6 192 0 0,0 0 0 0 0,-1 0 1 0 0,0 0-1 0 0,0 1 1 0 0,-1-1-1 0 0,0 1 1 0 0,0 1-1 0 0,0-1 1 0 0,5 13-1 0 0,31 80 1202 0 0,-37-88-1273 0 0,27 86 1148 0 0,-14-41 1279 0 0,-17-55-2122 0 0,0-2-430 0 0,0 1-1 0 0,0-1 1 0 0,0 0-1 0 0,0 1 1 0 0,0-1-1 0 0,0 0 0 0 0,0 0 1 0 0,-1 1-1 0 0,1-1 1 0 0,0 0-1 0 0,0 0 1 0 0,0 1-1 0 0,-1-1 1 0 0,1 0-1 0 0,0 0 0 0 0,0 0 1 0 0,0 1-1 0 0,-1-1 1 0 0,1 0-1 0 0,0 0 1 0 0,0 0-1 0 0,-1 0 1 0 0,1 0-1 0 0,0 1 1 0 0,0-1-1 0 0,-1 0 0 0 0,1 0 1 0 0,0 0-1 0 0,-1 0 1 0 0,1 0-1 0 0,0 0 1 0 0,-1 0-1 0 0,1 0 1 0 0,0 0-1 0 0,-1 0 0 0 0,-6-9 263 0 0,-1-17-176 0 0,8 10-143 0 0,1 1 1 0 0,0-1-1 0 0,1 1 0 0 0,0 0 1 0 0,1 0-1 0 0,1 0 1 0 0,10-24-1 0 0,-8 20-24 0 0,0 0-15 0 0,1 1-1 0 0,1 0 1 0 0,1 0-1 0 0,14-21 0 0 0,-18 31 36 0 0,1-1-1 0 0,0 2 0 0 0,0-1 0 0 0,1 1 0 0 0,0-1 1 0 0,1 2-1 0 0,0-1 0 0 0,0 1 0 0 0,0 1 0 0 0,11-7 1 0 0,-15 10 17 0 0,-1 1 0 0 0,1 0 1 0 0,0-1-1 0 0,0 1 0 0 0,0 0 1 0 0,-1 1-1 0 0,1-1 1 0 0,0 1-1 0 0,0-1 0 0 0,0 1 1 0 0,0 1-1 0 0,0-1 0 0 0,0 0 1 0 0,8 3-1 0 0,-7-1 3 0 0,1 0 0 0 0,-1 0 0 0 0,1 1-1 0 0,-1 0 1 0 0,0 0 0 0 0,0 0 0 0 0,0 1 0 0 0,-1-1-1 0 0,6 6 1 0 0,1 3 50 0 0,-1 0-1 0 0,0 1 0 0 0,-1 0 1 0 0,0 0-1 0 0,-1 1 0 0 0,10 22 1 0 0,-1 5 68 0 0,-1 2 0 0 0,-2 0 0 0 0,-2 1 1 0 0,-2 0-1 0 0,-2 1 0 0 0,-2 0 0 0 0,1 74 1 0 0,-1-70-5635 0 0</inkml:trace>
</inkml:ink>
</file>

<file path=ppt/ink/ink14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0:12.294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60 260 0 0,'3'-1'2675'0'0,"45"-12"4224"0"0,-23 5-5519 0 0,37-5 0 0 0,-60 12-1366 0 0,200-21 1979 0 0,-102 20-3681 0 0,0 11-4732 0 0,-77-5 2331 0 0</inkml:trace>
</inkml:ink>
</file>

<file path=ppt/ink/ink14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0:12.668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04 0 1172 0 0,'-103'63'11781'0'0,"136"-62"-10225"0"0,8-1-1338 0 0,132-16-2731 0 0,-58-1-3307 0 0,-74 10 1830 0 0</inkml:trace>
</inkml:ink>
</file>

<file path=ppt/ink/ink14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0:12.999"/>
    </inkml:context>
    <inkml:brush xml:id="br0">
      <inkml:brushProperty name="width" value="0.2" units="cm"/>
      <inkml:brushProperty name="height" value="0.2" units="cm"/>
    </inkml:brush>
  </inkml:definitions>
  <inkml:trace contextRef="#ctx0" brushRef="#br0">79 126 1844 0 0,'-72'-66'9260'0'0,"72"66"-9202"0"0,-1-1 1 0 0,1 1-1 0 0,-1-1 1 0 0,1 1-1 0 0,-1-1 0 0 0,1 1 1 0 0,-1-1-1 0 0,1 0 1 0 0,-1 1-1 0 0,1-1 1 0 0,0 0-1 0 0,0 1 1 0 0,-1-1-1 0 0,1 0 1 0 0,0 1-1 0 0,0-1 1 0 0,0 0-1 0 0,-1 0 0 0 0,1 1 1 0 0,0-1-1 0 0,0 0 1 0 0,0 0-1 0 0,1 1 1 0 0,-1-1-1 0 0,0 0 1 0 0,0 0-1 0 0,0 0 1 0 0,1 0-16 0 0,0 0 1 0 0,0-1-1 0 0,0 1 1 0 0,0 0-1 0 0,0 0 1 0 0,0 0-1 0 0,0 0 1 0 0,0 1 0 0 0,0-1-1 0 0,0 0 1 0 0,1 0-1 0 0,-1 1 1 0 0,2-2-1 0 0,4 0 40 0 0,0-1 1 0 0,1 1-1 0 0,14-2 0 0 0,118-11 324 0 0,-121 14-291 0 0,0 1-1 0 0,0 1 0 0 0,0 1 0 0 0,-1 1 1 0 0,27 6-1 0 0,-40-7 18 0 0,-1-1-1 0 0,0 1 1 0 0,0 0 0 0 0,0 0-1 0 0,-1 0 1 0 0,1 1-1 0 0,0 0 1 0 0,-1-1 0 0 0,1 1-1 0 0,-1 0 1 0 0,0 1 0 0 0,0-1-1 0 0,0 1 1 0 0,-1-1 0 0 0,1 1-1 0 0,-1 0 1 0 0,0 0 0 0 0,0 0-1 0 0,0 0 1 0 0,2 8-1 0 0,1 6 401 0 0,-1 0 0 0 0,-1 0 0 0 0,2 32 0 0 0,-3-19-131 0 0,18 243 1580 0 0,-12-146-1512 0 0,-1-42-212 0 0,1 12-2090 0 0,-6-36-5284 0 0</inkml:trace>
  <inkml:trace contextRef="#ctx0" brushRef="#br0" timeOffset="1">232 654 2084 0 0,'-32'-9'6787'0'0,"8"-1"-3674"0"0,33 0-1816 0 0,-2 7-1052 0 0,1 0 1 0 0,-1 0 0 0 0,1 1 0 0 0,-1 0 0 0 0,1 1 0 0 0,0 0-1 0 0,13-1 1 0 0,7-1 243 0 0,223-31 2632 0 0,-9 1-999 0 0,-63 4-2685 0 0</inkml:trace>
</inkml:ink>
</file>

<file path=ppt/ink/ink14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0:14.064"/>
    </inkml:context>
    <inkml:brush xml:id="br0">
      <inkml:brushProperty name="width" value="0.2" units="cm"/>
      <inkml:brushProperty name="height" value="0.2" units="cm"/>
    </inkml:brush>
  </inkml:definitions>
  <inkml:trace contextRef="#ctx0" brushRef="#br0">76 14 956 0 0,'32'-13'5715'0'0,"-28"13"-4965"0"0,0 0-568 0 0,-1 0 1 0 0,1 0-1 0 0,-1 1 1 0 0,0-1-1 0 0,1 1 1 0 0,-1 0-1 0 0,4 2 1 0 0,-5-3-127 0 0,-1 1 0 0 0,0-1 0 0 0,0 1 1 0 0,0 0-1 0 0,0-1 0 0 0,0 1 0 0 0,0 0 0 0 0,0 0 0 0 0,0 0 0 0 0,0 0 0 0 0,0 0 0 0 0,0 0 1 0 0,0 0-1 0 0,-1 0 0 0 0,1 0 0 0 0,0 1 0 0 0,-1-1 0 0 0,1 0 0 0 0,-1 0 0 0 0,1 1 1 0 0,-1-1-1 0 0,0 0 0 0 0,0 1 0 0 0,1-1 0 0 0,-1 0 0 0 0,0 2 0 0 0,-1 2-5 0 0,1-1 0 0 0,-1 0-1 0 0,0 0 1 0 0,0 0 0 0 0,0-1-1 0 0,-1 1 1 0 0,1 0 0 0 0,-1 0-1 0 0,0-1 1 0 0,0 1 0 0 0,-5 5-1 0 0,-33 36-182 0 0,31-35-120 0 0,-65 61-5092 0 0,55-55 2472 0 0</inkml:trace>
</inkml:ink>
</file>

<file path=ppt/ink/ink14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0:14.453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7 51 984 0 0,'14'-50'8562'0'0,"-11"59"-8197"0"0,0-1 0 0 0,-1 1 1 0 0,0 1-1 0 0,-1-1 0 0 0,1 0 1 0 0,-2 0-1 0 0,1 1 0 0 0,-2 10 1 0 0,2 19 436 0 0,1 39-286 0 0,-4-1 0 0 0,-23 149 0 0 0,13-134-3646 0 0,4-51-3475 0 0</inkml:trace>
</inkml:ink>
</file>

<file path=ppt/ink/ink14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0:14.783"/>
    </inkml:context>
    <inkml:brush xml:id="br0">
      <inkml:brushProperty name="width" value="0.2" units="cm"/>
      <inkml:brushProperty name="height" value="0.2" units="cm"/>
    </inkml:brush>
  </inkml:definitions>
  <inkml:trace contextRef="#ctx0" brushRef="#br0">259 21 4 0 0,'10'-4'670'0'0,"-1"1"-1"0"0,1 0 1 0 0,0 0-1 0 0,0 1 1 0 0,0 0-1 0 0,21-1 1 0 0,-28 3-510 0 0,0 0 0 0 0,1 0 0 0 0,-1 1 1 0 0,0-1-1 0 0,1 1 0 0 0,-1 0 0 0 0,0 0 0 0 0,0 0 1 0 0,0 0-1 0 0,0 0 0 0 0,4 3 0 0 0,-5-3-67 0 0,-1 0 0 0 0,1 1 0 0 0,-1-1-1 0 0,1 1 1 0 0,-1-1 0 0 0,0 1 0 0 0,1 0 0 0 0,-1 0-1 0 0,0-1 1 0 0,0 1 0 0 0,0 0 0 0 0,0 0 0 0 0,-1 0 0 0 0,1 0-1 0 0,0 0 1 0 0,-1 0 0 0 0,1 0 0 0 0,-1 0 0 0 0,0 3-1 0 0,0 0 18 0 0,0-1-1 0 0,-1 0 0 0 0,1 0 1 0 0,-1 0-1 0 0,0 0 1 0 0,-1 0-1 0 0,1 0 0 0 0,0 0 1 0 0,-1 0-1 0 0,0-1 0 0 0,0 1 1 0 0,0-1-1 0 0,-1 1 0 0 0,-5 5 1 0 0,-1 2 89 0 0,-1-1 1 0 0,-21 18 0 0 0,-3-4 11 0 0,0-1 1 0 0,-1-1-1 0 0,-2-2 0 0 0,0-2 1 0 0,-1-2-1 0 0,-62 20 0 0 0,80-32 41 0 0,21-1-94 0 0,-1-3-152 0 0,0 0 1 0 0,0 0 0 0 0,0 1 0 0 0,0-1-1 0 0,0 0 1 0 0,0 1 0 0 0,0-1 0 0 0,0 0-1 0 0,0 1 1 0 0,0-1 0 0 0,0 0-1 0 0,0 1 1 0 0,1-1 0 0 0,-1 0 0 0 0,0 1-1 0 0,0-1 1 0 0,0 0 0 0 0,0 0 0 0 0,0 1-1 0 0,1-1 1 0 0,-1 0 0 0 0,0 0-1 0 0,0 1 1 0 0,0-1 0 0 0,1 0 0 0 0,-1 0-1 0 0,0 0 1 0 0,1 1 0 0 0,-1-1 0 0 0,0 0-1 0 0,0 0 1 0 0,1 0 0 0 0,0 0 0 0 0,20 9 264 0 0,380 175 3851 0 0,-223-92-3525 0 0</inkml:trace>
</inkml:ink>
</file>

<file path=ppt/ink/ink1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23.07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10591,'11'17'1619,"1"-2"-1349,0-10 0,2-1-90,3 1 0,2-2-360,2 1-180,1-2-360,0-1-1169,1 0-719,-1-1 2608,1-1 0,3-1 0,1-1 0</inkml:trace>
</inkml:ink>
</file>

<file path=ppt/ink/ink14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0:15.733"/>
    </inkml:context>
    <inkml:brush xml:id="br0">
      <inkml:brushProperty name="width" value="0.2" units="cm"/>
      <inkml:brushProperty name="height" value="0.2" units="cm"/>
    </inkml:brush>
  </inkml:definitions>
  <inkml:trace contextRef="#ctx0" brushRef="#br0">35 14 940 0 0,'-35'9'10157'0'0,"54"-10"-9443"0"0,-19 1-713 0 0,110-12-250 0 0,142 2-1 0 0,-245 11-206 0 0,26 1-611 0 0,-6 2-3295 0 0,-9-1 1338 0 0</inkml:trace>
</inkml:ink>
</file>

<file path=ppt/ink/ink14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0:16.100"/>
    </inkml:context>
    <inkml:brush xml:id="br0">
      <inkml:brushProperty name="width" value="0.2" units="cm"/>
      <inkml:brushProperty name="height" value="0.2" units="cm"/>
    </inkml:brush>
  </inkml:definitions>
  <inkml:trace contextRef="#ctx0" brushRef="#br0">64 0 1264 0 0,'-14'8'2181'0'0,"1"1"-1"0"0,-20 16 1 0 0,32-25-2132 0 0,1 0 0 0 0,0 0 0 0 0,0 1 0 0 0,-1-1 1 0 0,1 0-1 0 0,0 0 0 0 0,0 1 0 0 0,0-1 0 0 0,0 0 0 0 0,-1 1 0 0 0,1-1 0 0 0,0 0 0 0 0,0 1 0 0 0,0-1 0 0 0,0 0 1 0 0,0 0-1 0 0,0 1 0 0 0,0-1 0 0 0,0 0 0 0 0,0 1 0 0 0,0-1 0 0 0,0 0 0 0 0,0 1 0 0 0,0-1 0 0 0,0 0 0 0 0,0 1 1 0 0,0-1-1 0 0,1 0 0 0 0,-1 1 0 0 0,0-1 0 0 0,0 0 0 0 0,0 1 0 0 0,0-1 0 0 0,1 0 0 0 0,-1 0 0 0 0,0 1 1 0 0,0-1-1 0 0,1 0 0 0 0,-1 0 0 0 0,0 0 0 0 0,0 1 0 0 0,1-1 0 0 0,-1 0 0 0 0,0 0 0 0 0,0 0 0 0 0,1 0 0 0 0,-1 1 1 0 0,0-1-1 0 0,1 0 0 0 0,-1 0 0 0 0,0 0 0 0 0,1 0 0 0 0,14 5 631 0 0,15-1-118 0 0,-1-2-1 0 0,1-1 1 0 0,-1-1 0 0 0,41-6 0 0 0,-8 1-202 0 0,-2 0-1555 0 0,-2-8-6360 0 0</inkml:trace>
</inkml:ink>
</file>

<file path=ppt/ink/ink14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0:19.080"/>
    </inkml:context>
    <inkml:brush xml:id="br0">
      <inkml:brushProperty name="width" value="0.2" units="cm"/>
      <inkml:brushProperty name="height" value="0.2" units="cm"/>
    </inkml:brush>
  </inkml:definitions>
  <inkml:trace contextRef="#ctx0" brushRef="#br0">245 82 1660 0 0,'48'-52'8434'0'0,"-48"52"-8388"0"0,0-1 1 0 0,1 1-1 0 0,-1-1 0 0 0,0 1 0 0 0,0 0 0 0 0,0-1 0 0 0,1 1 1 0 0,-1-1-1 0 0,0 1 0 0 0,0-1 0 0 0,0 1 0 0 0,0-1 1 0 0,0 1-1 0 0,0-1 0 0 0,0 1 0 0 0,0 0 0 0 0,0-1 0 0 0,0 1 1 0 0,0-1-1 0 0,0 1 0 0 0,0-1 0 0 0,0 1 0 0 0,0-1 1 0 0,0 1-1 0 0,-1-1 0 0 0,1 0 0 0 0,-18-2 220 0 0,1 0-1 0 0,-1 1 1 0 0,0 0-1 0 0,-18 2 1 0 0,-31-3 192 0 0,26 2-289 0 0,37 1-146 0 0,3-1-25 0 0,-1 1 1 0 0,1 0 0 0 0,-1-1 0 0 0,1 1 0 0 0,0 0 0 0 0,-1 0 0 0 0,1 0-1 0 0,-1 0 1 0 0,1 0 0 0 0,0 0 0 0 0,-1 0 0 0 0,-1 1 0 0 0,-1 0-3 0 0,-3 0-15 0 0,-11 10-9 0 0,15-3 25 0 0,2-6-1 0 0,-2 8-3 0 0,0 0 0 0 0,1 0 0 0 0,0 0 0 0 0,0 0 0 0 0,1 0 0 0 0,0 0 0 0 0,2 18 0 0 0,-2 8 36 0 0,-7 233 2186 0 0,37 378 1 0 0,-11-436 789 0 0,-18-209-2906 0 0,0 0 0 0 0,0 0 0 0 0,1 0-1 0 0,-1 1 1 0 0,1-1 0 0 0,-1 0 0 0 0,1 0 0 0 0,0 0 0 0 0,-1 0 0 0 0,1 0 0 0 0,0 0 0 0 0,0 0 0 0 0,1 0 0 0 0,-1 0 0 0 0,0-1 0 0 0,1 1 0 0 0,-1 0 0 0 0,1-1 0 0 0,-1 1 0 0 0,1-1 0 0 0,0 1 0 0 0,0-1 0 0 0,-1 0 0 0 0,1 0 0 0 0,0 0 0 0 0,0 0 0 0 0,4 1 0 0 0,2 0-173 0 0,0-1 1 0 0,1-1-1 0 0,-1 1 0 0 0,0-1 1 0 0,0 0-1 0 0,10-2 0 0 0,-2 0-364 0 0,16-1-2096 0 0,41-10-1 0 0,-6-5-3891 0 0</inkml:trace>
</inkml:ink>
</file>

<file path=ppt/ink/ink14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0:23.079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9 160 372 0 0,'0'0'1088'0'0,"0"-16"2010"0"0,1 9-2582 0 0,-2 1 1 0 0,1 0-1 0 0,-1-1 1 0 0,0 1-1 0 0,0 0 1 0 0,0 0 0 0 0,-5-10-1 0 0,6 14-180 0 0,-4-12 527 0 0,3 12-727 0 0,0 0 0 0 0,1 0 0 0 0,-1-1 0 0 0,1 1 0 0 0,-1 0 0 0 0,1 0 0 0 0,0 0 0 0 0,-1 0 0 0 0,1 0 1 0 0,1-4-1 0 0,-1 3-107 0 0,1 1-1 0 0,0-1 1 0 0,-1 1 0 0 0,1-1 0 0 0,0 1 0 0 0,0 0-1 0 0,1 0 1 0 0,-1-1 0 0 0,0 1 0 0 0,1 0 0 0 0,-1 0 0 0 0,1 0-1 0 0,0 1 1 0 0,-1-1 0 0 0,1 0 0 0 0,4-2 0 0 0,-4 3-11 0 0,2 0-16 0 0,0 1 4 0 0,0 0 0 0 0,0 0 0 0 0,1 1 0 0 0,-1-1 0 0 0,0 1 0 0 0,0 0 0 0 0,0 0 0 0 0,0 0 0 0 0,0 1 0 0 0,0 0 0 0 0,6 3 0 0 0,-2-1 22 0 0,0 1 0 0 0,-1 1-1 0 0,0 0 1 0 0,0 0 0 0 0,7 7-1 0 0,-2 1 36 0 0,0 1-1 0 0,-1 0 0 0 0,-1 1 0 0 0,16 32 0 0 0,-10-17 194 0 0,-3 1-1 0 0,0 0 1 0 0,-2 1-1 0 0,-2 1 1 0 0,7 40 0 0 0,-1 173 4017 0 0,-16-247-4254 0 0,1 0 0 0 0,-1 0 1 0 0,0-1-1 0 0,1 1 0 0 0,-1 0 0 0 0,0-1 1 0 0,1 1-1 0 0,-1 0 0 0 0,0-1 1 0 0,1 1-1 0 0,-1-1 0 0 0,1 1 1 0 0,-1-1-1 0 0,1 1 0 0 0,-1-1 0 0 0,1 1 1 0 0,0-1-1 0 0,-1-1 0 0 0,-2-14-47 0 0,1-1 0 0 0,1 0 0 0 0,1 0-1 0 0,0 1 1 0 0,1-1 0 0 0,1 0 0 0 0,1 1-1 0 0,0-1 1 0 0,1 1 0 0 0,10-25 0 0 0,-3 11-209 0 0,2 1 0 0 0,1 1 0 0 0,1 0 0 0 0,35-46 1 0 0,-39 58 144 0 0,2 1 1 0 0,0 1 0 0 0,16-14-1 0 0,-24 23 62 0 0,0 1 0 0 0,0 0 0 0 0,1 0 0 0 0,0 1 0 0 0,0-1 0 0 0,0 1 0 0 0,0 1 0 0 0,1-1 0 0 0,-1 1 0 0 0,1 0 0 0 0,11-2-1 0 0,-14 4 24 0 0,0 0-1 0 0,0 1 1 0 0,0-1-1 0 0,0 1 1 0 0,0 0-1 0 0,0 0 0 0 0,0 0 1 0 0,0 0-1 0 0,0 1 1 0 0,-1 0-1 0 0,1 0 0 0 0,-1 0 1 0 0,1 0-1 0 0,-1 0 1 0 0,0 1-1 0 0,0-1 0 0 0,4 4 1 0 0,2 3 79 0 0,-1 0 1 0 0,0 1-1 0 0,0 0 0 0 0,6 11 1 0 0,1 4 212 0 0,-2 1 1 0 0,-1 0-1 0 0,-1 1 1 0 0,-1 0-1 0 0,6 29 0 0 0,22 143 858 0 0,-36-186-1123 0 0,8 85-232 0 0,-9-77-3588 0 0</inkml:trace>
</inkml:ink>
</file>

<file path=ppt/ink/ink14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0:23.803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10 156 0 0,'4'-10'6251'0'0,"-3"12"-6045"0"0,1 0 1 0 0,-1 0 0 0 0,0 1 0 0 0,0-1-1 0 0,0 0 1 0 0,0 0 0 0 0,-1 1 0 0 0,1-1 0 0 0,0 0-1 0 0,-1 1 1 0 0,1 4 0 0 0,-1 35 1422 0 0,0-8-680 0 0,8 53 337 0 0,-4 2-1 0 0,-11 112 0 0 0,2-160-1478 0 0,0 1-1432 0 0</inkml:trace>
</inkml:ink>
</file>

<file path=ppt/ink/ink14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0:24.129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65 5 888 0 0,'40'-4'3232'0'0,"-39"4"-3153"0"0,1 0 0 0 0,-1 0 0 0 0,0 0-1 0 0,0 0 1 0 0,0 0 0 0 0,0 0-1 0 0,0 1 1 0 0,0-1 0 0 0,0 1 0 0 0,0-1-1 0 0,0 0 1 0 0,0 1 0 0 0,0 0 0 0 0,0-1-1 0 0,0 1 1 0 0,0 0 0 0 0,0-1 0 0 0,0 1-1 0 0,0 0 1 0 0,-1 0 0 0 0,1 0-1 0 0,0-1 1 0 0,-1 1 0 0 0,1 0 0 0 0,-1 0-1 0 0,1 0 1 0 0,-1 0 0 0 0,1 0 0 0 0,-1 0-1 0 0,1 0 1 0 0,-1 1 0 0 0,0 0-1 0 0,1 2 77 0 0,-1-1-1 0 0,0 0 0 0 0,0 0 0 0 0,0 0 0 0 0,0 0 1 0 0,0 0-1 0 0,-1 0 0 0 0,-1 6 0 0 0,0-2 7 0 0,-1-1 0 0 0,-1 1-1 0 0,1-1 1 0 0,-1 1 0 0 0,0-1 0 0 0,-1 0-1 0 0,0 0 1 0 0,-6 5 0 0 0,-48 42 529 0 0,38-36-449 0 0,-85 67 1575 0 0,104-83-1641 0 0,2 0-169 0 0,0 0-1 0 0,1-1 1 0 0,-1 1-1 0 0,0 0 1 0 0,1-1 0 0 0,-1 1-1 0 0,1-1 1 0 0,-1 1-1 0 0,1-1 1 0 0,-1 1-1 0 0,1-1 1 0 0,-1 1 0 0 0,1-1-1 0 0,-1 1 1 0 0,1-1-1 0 0,0 0 1 0 0,-1 1-1 0 0,1-1 1 0 0,0 0 0 0 0,-1 0-1 0 0,1 1 1 0 0,0-1-1 0 0,-1 0 1 0 0,1 0-1 0 0,1 0 1 0 0,15 5 66 0 0,33 11 453 0 0,-1 2 0 0 0,0 2 0 0 0,-2 2 0 0 0,-1 2 0 0 0,66 45-1 0 0,-90-52-511 0 0,-1 1 0 0 0,30 32-1 0 0,-48-39-1865 0 0</inkml:trace>
</inkml:ink>
</file>

<file path=ppt/ink/ink14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0:24.517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26 684 0 0,'3'-2'282'0'0,"-1"-1"0"0"0,0 1 0 0 0,1 0 0 0 0,0 0 0 0 0,-1 0 0 0 0,1 0 0 0 0,0 1 0 0 0,0-1 0 0 0,0 1 0 0 0,0-1 0 0 0,0 1 0 0 0,0 0-1 0 0,0 0 1 0 0,0 1 0 0 0,1-1 0 0 0,5 0 0 0 0,-5 1-113 0 0,0 0 1 0 0,1 1-1 0 0,-1 0 0 0 0,0 0 0 0 0,0 0 0 0 0,1 0 1 0 0,-1 0-1 0 0,0 1 0 0 0,0 0 0 0 0,0 0 0 0 0,-1 0 1 0 0,8 5-1 0 0,5 6 267 0 0,0 0 1 0 0,-1 1-1 0 0,-1 1 1 0 0,0 0-1 0 0,20 30 1 0 0,49 95 1107 0 0,-71-119-1342 0 0,163 336 2324 0 0,-140-272-1939 0 0,-5 2-1 0 0,27 123 1 0 0,-46-160-403 0 0,-3 2 0 0 0,-2-1 0 0 0,-2 1 1 0 0,-3 58-1 0 0,-2-90-144 0 0,0 27 109 0 0,-16 87 0 0 0,11-100-152 0 0,-3 0 0 0 0,-1 0 0 0 0,-1-1 0 0 0,-1-1 1 0 0,-3 0-1 0 0,-19 33 0 0 0,22-45-457 0 0,-2 0 0 0 0,0 0 0 0 0,-1-2 0 0 0,-1 0 0 0 0,-1-1 0 0 0,-1 0 0 0 0,0-1 0 0 0,-1-1 0 0 0,-36 21 0 0 0,37-26-962 0 0,-1 0 1 0 0,0-2-1 0 0,-24 8 1 0 0,-6-4-3456 0 0</inkml:trace>
</inkml:ink>
</file>

<file path=ppt/ink/ink14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0:25"/>
    </inkml:context>
    <inkml:brush xml:id="br0">
      <inkml:brushProperty name="width" value="0.2" units="cm"/>
      <inkml:brushProperty name="height" value="0.2" units="cm"/>
    </inkml:brush>
  </inkml:definitions>
  <inkml:trace contextRef="#ctx0" brushRef="#br0">208 1 556 0 0,'-2'1'1375'0'0,"-3"1"-1049"0"0,0 1 0 0 0,1 0 1 0 0,0 0-1 0 0,-1 0 0 0 0,1 0 1 0 0,0 1-1 0 0,1-1 0 0 0,-1 1 1 0 0,1 0-1 0 0,-1 0 0 0 0,1 1 0 0 0,0-1 1 0 0,-3 8-1 0 0,-5 10 606 0 0,-13 38 0 0 0,19-48-652 0 0,-20 65 643 0 0,2 1 0 0 0,4 1-1 0 0,3 0 1 0 0,4 1-1 0 0,3 1 1 0 0,4 149-1 0 0,9-167-649 0 0,2 0-1 0 0,4 0 0 0 0,1-1 0 0 0,4-1 0 0 0,2 0 0 0 0,3-1 0 0 0,3-1 1 0 0,2-1-1 0 0,2-1 0 0 0,3-1 0 0 0,3-2 0 0 0,2-1 0 0 0,2-2 0 0 0,2-2 1 0 0,81 80-1 0 0,-91-103-579 0 0,1-2 0 0 0,64 40 1 0 0,-70-51-1441 0 0,1 0 1 0 0,41 13 0 0 0,-33-17-2624 0 0</inkml:trace>
</inkml:ink>
</file>

<file path=ppt/ink/ink14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0:25.848"/>
    </inkml:context>
    <inkml:brush xml:id="br0">
      <inkml:brushProperty name="width" value="0.2" units="cm"/>
      <inkml:brushProperty name="height" value="0.2" units="cm"/>
    </inkml:brush>
  </inkml:definitions>
  <inkml:trace contextRef="#ctx0" brushRef="#br0">96 182 1484 0 0,'6'10'2430'0'0,"-3"-4"-2019"0"0,-2 0 1 0 0,1 0 0 0 0,-1 1 0 0 0,0-1 0 0 0,0 0-1 0 0,0 0 1 0 0,-1 1 0 0 0,-1 8 0 0 0,1-7-108 0 0,31 340 5236 0 0,-31-346-5518 0 0,19 127 749 0 0,-5-41-490 0 0,4 140 1 0 0,-17-226-386 0 0,-1 0-1 0 0,0 0 1 0 0,0 0 0 0 0,0 0 0 0 0,0 1-1 0 0,0-1 1 0 0,-1 0 0 0 0,1 0-1 0 0,0 0 1 0 0,-1 0 0 0 0,0 0 0 0 0,1 0-1 0 0,-1 0 1 0 0,0 0 0 0 0,0 0-1 0 0,0-1 1 0 0,0 1 0 0 0,-1 0-1 0 0,1 0 1 0 0,0-1 0 0 0,-1 1 0 0 0,1-1-1 0 0,-1 1 1 0 0,0-1 0 0 0,-1 1-1 0 0,2-1 34 0 0,0-1-1 0 0,0 0 0 0 0,1 0 0 0 0,-1 0 1 0 0,0 0-1 0 0,0 0 0 0 0,0 0 0 0 0,1-1 1 0 0,-1 1-1 0 0,0 0 0 0 0,0 0 0 0 0,1 0 0 0 0,-1-1 1 0 0,0 1-1 0 0,0 0 0 0 0,1-1 0 0 0,-1 1 1 0 0,0-1-1 0 0,1 1 0 0 0,-1-1 0 0 0,-1 0 1 0 0,-10-13-781 0 0,1 0 275 0 0,2 0 0 0 0,0-1 0 0 0,1 0 0 0 0,1-1 0 0 0,-7-18 0 0 0,-22-86-761 0 0,29 96 1122 0 0,-5-22 171 0 0,3 0 0 0 0,1-1-1 0 0,2 0 1 0 0,2 0-1 0 0,3 0 1 0 0,5-69-1 0 0,0 87 280 0 0,1 1-1 0 0,1-1 0 0 0,1 1 1 0 0,21-51-1 0 0,-19 60-50 0 0,0 0 0 0 0,2 1 1 0 0,0 0-1 0 0,0 1 0 0 0,2 0 0 0 0,0 1 0 0 0,23-21 1 0 0,-26 27-33 0 0,1 1 1 0 0,1 1-1 0 0,0 0 1 0 0,0 0-1 0 0,0 1 1 0 0,1 1-1 0 0,0 0 0 0 0,0 1 1 0 0,0 0-1 0 0,1 1 1 0 0,0 0-1 0 0,0 2 1 0 0,0-1-1 0 0,27 0 1 0 0,-28 3-29 0 0,-1 1 0 0 0,0 0 0 0 0,0 1-1 0 0,0 0 1 0 0,0 0 0 0 0,0 2 0 0 0,0 0 0 0 0,-1 0 0 0 0,1 1 0 0 0,-1 0 0 0 0,0 1 0 0 0,-1 0 0 0 0,0 0-1 0 0,0 1 1 0 0,0 1 0 0 0,-1 0 0 0 0,14 14 0 0 0,-19-17-34 0 0,0-1 0 0 0,-1 1 0 0 0,0-1 0 0 0,0 1 0 0 0,0 0 1 0 0,0 0-1 0 0,-1 0 0 0 0,0 1 0 0 0,0-1 0 0 0,0 0 0 0 0,0 1 0 0 0,-1-1 0 0 0,0 1 0 0 0,0 0 0 0 0,-1-1 0 0 0,0 1 0 0 0,0 0 1 0 0,0 0-1 0 0,0-1 0 0 0,-1 1 0 0 0,0 0 0 0 0,0-1 0 0 0,-4 9 0 0 0,2-4 27 0 0,-2-1 0 0 0,1 0 0 0 0,-2 0 0 0 0,1 0 0 0 0,-1 0 0 0 0,0-1 0 0 0,-1 0 0 0 0,0 0 0 0 0,0-1 0 0 0,0 0 0 0 0,-1 0 0 0 0,-11 7 0 0 0,-5 1 83 0 0,-1-1 1 0 0,0-1-1 0 0,0-1 0 0 0,-46 15 1 0 0,27-15-1003 0 0,0-1 0 0 0,-51 6 0 0 0,76-15-1738 0 0</inkml:trace>
</inkml:ink>
</file>

<file path=ppt/ink/ink14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0:26.236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17 820 0 0,'24'-16'6408'0'0,"-23"16"-6274"0"0,1 2 72 0 0,-1-1-1 0 0,1 1 0 0 0,-1-1 0 0 0,1 1 1 0 0,-1 0-1 0 0,0 0 0 0 0,0-1 0 0 0,0 1 1 0 0,0 0-1 0 0,0 0 0 0 0,0 0 0 0 0,0 0 0 0 0,-1 1 1 0 0,1 1-1 0 0,56 221 5103 0 0,-18 3-6262 0 0,-38-217 1416 0 0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3:39:27.57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441 9062,'25'-5'3778,"-3"4"-3239,-5 6-89,-6 4 90,-2 4-1,-3 0 1,-1 2-90,0 1 0,0 3-91,0 1 1,-1 1 0,1 0 0,-1 0-180,0 0 90,-1 0-91,0-1 1,0-2 180,-1-1 90,0 3 359,0-1-269,-1 3-360,-6-11-180,-3-11 0,-4-11 0,1-9-90,3-3 90,-1-6-90,1-7 0,0-5-289,3-4 290,1-3-1,3-2 0,2-1-492,4-2 492,3 1 90,4-1-90,2 4 90,3 5-346,2 5 346,1 6-90,3 3 90,0 6-90,1 5 357,-1 6-267,0 4-90,-1 4 90,-1 5 493,-1 4-493,-1 4 277,0 3-277,-3 4 0,-1 2 0,-3 2 90,-4 1-90,-2 0 90,-3 3 0,-3-2 90,-4 2-180,-2 0 179,-4 1-179,-3-1 90,-2 0-90,-4-2 90,-1-1-90,-2-2 0,-2-1-90,-1-3-90,1-1-89,0-2-1,1-2-90,1-1 90,3-2-180,1-2-809,2 0-4138,-2-1 4138,16-1 539,6-1 1,13 0-361,4-1 271,-4-1 809,3 1 0,-10-1 0,0 1 0</inkml:trace>
</inkml:ink>
</file>

<file path=ppt/ink/ink1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39.68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0 104 17247,'-7'25'1529,"1"1"-1079,3-7 989,-7 68-1349,6-48-90,-5 49-270,8-56-89,0-9-541,0 5 90,0-5-719,1-2-1979,-1 4 2069,-1-21 720,1-11 269,-1-13 180,2-6 90,0 4 270,0-3 180,1 1 90,-1-1 89,1 1 1,0 2-90,0 2-90,1 2 180,-1 2 359,2-2 1,2 5 179,4 6-449,5 11-90,0 6-1,2 4-89,-1 0 90,2 1-180,2 1 89,2 0 1,0 1-90,2-1-90,-1 1 90,0-1-90,0-1 0,-1-1 0,-1-2-1,-2 0 91,-1-3 90,-1 1 180,-3-2 449,0-1 1,2-1-181,-1-2-269,3-4-270,-3-9-90,-4-3-1,-2-6-89,-3 1 90,-1-3-90,-1-4 0,0-3 0,0-2 90,0-3-90,0-1 0,0 2 0,0 1 0,1-8 0,-1 12-90,0-7 0,-1 14-630,0 2-719,1-4-540,-1 2-630,0-3 91,3 5 719,5 7 0,5 6 989,6 7 91,-4 2 89,3 2 180,-5 0 0,2 0-89,7 5 449,-5-3 89,6 3 181,-8-4 0,0 0 90,0 1 90,0-1-1,1 0-89,1-1 90,0 0 0,1-1-90,1-1-91,1 0 1,1 0 0,10 0-270,-6-1-90,7 1-360,-11-1-179,-1-1-181,-2 1 1,-2-2-1170,-2 1-1529,1 2 3508,-7 4 0,0-5 0,-8 1 0</inkml:trace>
</inkml:ink>
</file>

<file path=ppt/ink/ink15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0:26.582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82 18 244 0 0,'8'-4'515'0'0,"30"-8"1879"0"0,-37 11-2241 0 0,1 1 0 0 0,0 0 0 0 0,-1 0 0 0 0,1 0 0 0 0,0 0 0 0 0,0 0 0 0 0,-1 0 0 0 0,1 0 0 0 0,0 1 0 0 0,-1-1 0 0 0,1 0 0 0 0,0 1 0 0 0,-1 0 1 0 0,1-1-1 0 0,-1 1 0 0 0,1 0 0 0 0,-1 0 0 0 0,1 0 0 0 0,1 1 0 0 0,-2-1-72 0 0,-1 1 0 0 0,0-1 0 0 0,1 1 0 0 0,-1-1 0 0 0,0 0 0 0 0,0 1 0 0 0,0-1 0 0 0,0 1 0 0 0,0-1 0 0 0,0 0 0 0 0,0 1 0 0 0,0-1 0 0 0,0 1 0 0 0,-1-1 0 0 0,1 0 0 0 0,-1 1 0 0 0,1-1 0 0 0,-1 0 0 0 0,1 1 0 0 0,-1-1 0 0 0,0 0 0 0 0,-1 2 0 0 0,-6 9 261 0 0,-1-1-1 0 0,0-1 1 0 0,-1 0-1 0 0,0 0 1 0 0,-18 14-1 0 0,-62 36 638 0 0,69-48-413 0 0,-1 0 1 0 0,-26 9-1 0 0,47-21-444 0 0,1 1-114 0 0,1 0 0 0 0,-1-1 1 0 0,1 1-1 0 0,-1 0 0 0 0,1-1 0 0 0,-1 1 0 0 0,1-1 1 0 0,0 1-1 0 0,-1-1 0 0 0,1 1 0 0 0,0-1 1 0 0,-1 0-1 0 0,1 1 0 0 0,0-1 0 0 0,0 0 1 0 0,0 1-1 0 0,-1-1 0 0 0,2 0 0 0 0,22 7 71 0 0,-16-5-41 0 0,35 13 207 0 0,-1 2 0 0 0,0 2 0 0 0,-1 2 0 0 0,56 38 1 0 0,-75-44-88 0 0,41 26-5543 0 0</inkml:trace>
</inkml:ink>
</file>

<file path=ppt/ink/ink15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0:27.033"/>
    </inkml:context>
    <inkml:brush xml:id="br0">
      <inkml:brushProperty name="width" value="0.2" units="cm"/>
      <inkml:brushProperty name="height" value="0.2" units="cm"/>
    </inkml:brush>
  </inkml:definitions>
  <inkml:trace contextRef="#ctx0" brushRef="#br0">242 22 1588 0 0,'0'-1'156'0'0,"0"-1"-1"0"0,-1 1 1 0 0,1 0 0 0 0,-1 0-1 0 0,1 0 1 0 0,-1 0 0 0 0,0 0-1 0 0,1 0 1 0 0,-1 0 0 0 0,0 0-1 0 0,0 0 1 0 0,0 0 0 0 0,1 0-1 0 0,-1 0 1 0 0,0 0 0 0 0,0 1-1 0 0,0-1 1 0 0,-1 0 0 0 0,1 1-1 0 0,0-1 1 0 0,0 1-1 0 0,0-1 1 0 0,-3 0 0 0 0,2 1-3 0 0,0 0 1 0 0,0 0-1 0 0,0 1 1 0 0,0-1-1 0 0,0 0 1 0 0,0 1-1 0 0,0-1 1 0 0,0 1-1 0 0,0 0 1 0 0,0 0-1 0 0,0-1 1 0 0,-4 4-1 0 0,-3 2 255 0 0,0 0 1 0 0,1 1-1 0 0,0 1 0 0 0,-10 9 1 0 0,4 0-61 0 0,-1 0 0 0 0,2 1 1 0 0,0 1-1 0 0,2 0 0 0 0,0 1 0 0 0,1 0 0 0 0,0 1 1 0 0,2-1-1 0 0,1 2 0 0 0,0-1 0 0 0,2 1 0 0 0,0 0 1 0 0,2 0-1 0 0,-2 33 0 0 0,5-33-222 0 0,0-1 1 0 0,2 1-1 0 0,0 0 0 0 0,2-1 0 0 0,0 1 1 0 0,1-1-1 0 0,2 0 0 0 0,0-1 1 0 0,1 1-1 0 0,1-1 0 0 0,0-1 0 0 0,2 0 1 0 0,0 0-1 0 0,28 33 0 0 0,-25-36-369 0 0,0-1 1 0 0,1-1-1 0 0,0 0 0 0 0,1-1 0 0 0,27 17 1 0 0,-35-25-359 0 0,0-1-1 0 0,1 1 1 0 0,-1-2 0 0 0,1 1 0 0 0,0-1 0 0 0,0-1 0 0 0,0 1 0 0 0,0-1 0 0 0,0-1 0 0 0,0 0 0 0 0,1 0 0 0 0,-1-1-1 0 0,0 0 1 0 0,16-3 0 0 0,1-3-3000 0 0</inkml:trace>
</inkml:ink>
</file>

<file path=ppt/ink/ink15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0:27.421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34 1684 0 0,'2'-3'101'0'0,"-1"0"303"0"0,1 1 1 0 0,-1-1-1 0 0,1 0 0 0 0,0 0 0 0 0,0 1 0 0 0,0-1 0 0 0,0 1 0 0 0,0 0 0 0 0,0 0 0 0 0,4-3 1 0 0,-5 6-233 0 0,0-1 1 0 0,1 1-1 0 0,-1 0 1 0 0,0 0 0 0 0,0 0-1 0 0,0 0 1 0 0,0 1 0 0 0,0-1-1 0 0,-1 0 1 0 0,1 0-1 0 0,0 1 1 0 0,0-1 0 0 0,-1 0-1 0 0,1 1 1 0 0,0 1 58 0 0,4 12 585 0 0,0 1 0 0 0,-1-1 0 0 0,3 28 0 0 0,3 9 365 0 0,48 251 2344 0 0,-34-97-4210 0 0,-23-192 63 0 0,4 34-1581 0 0,1-17-3684 0 0</inkml:trace>
</inkml:ink>
</file>

<file path=ppt/ink/ink15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0:27.805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65 1656 0 0,'11'-7'5107'0'0,"11"1"-3732"0"0,0 0-1 0 0,1 2 1 0 0,-1 1-1 0 0,35-1 1 0 0,7-2-168 0 0,247-19 1374 0 0,-179 22-6374 0 0</inkml:trace>
</inkml:ink>
</file>

<file path=ppt/ink/ink15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0:28.129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364 2076 0 0,'12'-14'4611'0'0,"-11"14"-4447"0"0,0-1 1 0 0,-1 1 0 0 0,1 0-1 0 0,0-1 1 0 0,0 1 0 0 0,0 0-1 0 0,-1 0 1 0 0,1 0-1 0 0,0 0 1 0 0,0 0 0 0 0,1 0-1 0 0,1 3 143 0 0,0 1 0 0 0,0 0 0 0 0,0 0 0 0 0,0-1 0 0 0,-1 2 0 0 0,0-1 1 0 0,0 0-1 0 0,0 0 0 0 0,1 6 0 0 0,12 47 1473 0 0,-11-38-1278 0 0,63 290 3951 0 0,-58-255-3753 0 0,-3 0 0 0 0,-1 80 0 0 0,-5-133-685 0 0,0-1 0 0 0,0 1 0 0 0,0 0 0 0 0,0 0 0 0 0,0-1 0 0 0,0 1 0 0 0,0 0 0 0 0,0-1 0 0 0,-1 1 0 0 0,1 0 0 0 0,0-1 0 0 0,0 1 0 0 0,-1 0 0 0 0,1-1 0 0 0,-1 1 0 0 0,1-1 0 0 0,0 1 0 0 0,-1-1 0 0 0,1 1 0 0 0,-1-1 0 0 0,1 1 0 0 0,-1-1 0 0 0,1 1 0 0 0,-1-1 0 0 0,0 1 0 0 0,1-1 0 0 0,-1 0 0 0 0,0 1 0 0 0,1-1 0 0 0,-1 0 0 0 0,0 0 0 0 0,1 0 0 0 0,-1 1 0 0 0,0-1 0 0 0,1 0 0 0 0,-1 0 0 0 0,0 0 0 0 0,0 0 0 0 0,-1 0 3 0 0,0 0 1 0 0,-1 0-1 0 0,1-1 1 0 0,0 1-1 0 0,0-1 0 0 0,0 1 1 0 0,0-1-1 0 0,0 0 1 0 0,0 1-1 0 0,-2-3 0 0 0,0 0-53 0 0,-1-1-1 0 0,1 1 0 0 0,1-1 0 0 0,-1 0 1 0 0,0-1-1 0 0,1 1 0 0 0,0-1 0 0 0,0 1 1 0 0,0-1-1 0 0,-3-9 0 0 0,-2-5-353 0 0,-7-29 0 0 0,13 40 301 0 0,-6-24-325 0 0,1-1 1 0 0,2 0-1 0 0,2 0 1 0 0,1 0-1 0 0,2-47 1 0 0,3 38-34 0 0,2 1-1 0 0,2-1 1 0 0,22-75 0 0 0,-20 90 257 0 0,2-1 0 0 0,0 2 0 0 0,2 0 0 0 0,31-48 0 0 0,-35 62 135 0 0,-1 1 0 0 0,1 0 0 0 0,1 1 0 0 0,0 0 0 0 0,0 0 0 0 0,1 1 0 0 0,0 0 0 0 0,1 1 0 0 0,0 1 0 0 0,0 0 0 0 0,1 0 0 0 0,15-5 0 0 0,-21 10 32 0 0,0 0 1 0 0,0 0-1 0 0,0 1 1 0 0,0 0 0 0 0,0 0-1 0 0,1 1 1 0 0,-1 0-1 0 0,0 1 1 0 0,1-1-1 0 0,-1 1 1 0 0,0 0 0 0 0,0 1-1 0 0,0 0 1 0 0,0 0-1 0 0,13 7 1 0 0,-15-7 15 0 0,0 1 1 0 0,0 0-1 0 0,0 0 1 0 0,0 1-1 0 0,0-1 1 0 0,-1 1-1 0 0,0 0 0 0 0,0 1 1 0 0,0-1-1 0 0,0 1 1 0 0,-1-1-1 0 0,1 1 1 0 0,-1 0-1 0 0,0 1 0 0 0,-1-1 1 0 0,1 0-1 0 0,-1 1 1 0 0,0-1-1 0 0,2 12 1 0 0,-4-10 11 0 0,1-1 0 0 0,-1 1 0 0 0,0 0 1 0 0,-1-1-1 0 0,0 1 0 0 0,0-1 1 0 0,0 1-1 0 0,-1-1 0 0 0,0 0 1 0 0,0 1-1 0 0,0-1 0 0 0,-6 9 0 0 0,-3 4 40 0 0,0-2 0 0 0,-21 27 0 0 0,18-28-65 0 0,-1 0 0 0 0,-1-1 0 0 0,0-1 0 0 0,-20 14-1 0 0,-37 20-2839 0 0,55-39 518 0 0</inkml:trace>
  <inkml:trace contextRef="#ctx0" brushRef="#br0" timeOffset="1">849 1 1456 0 0,'8'1'451'0'0,"1"0"0"0"0,0 1 0 0 0,-1 0-1 0 0,1 1 1 0 0,-1 0 0 0 0,0 0 0 0 0,1 1 0 0 0,-2 0 0 0 0,1 0-1 0 0,0 1 1 0 0,-1 0 0 0 0,0 0 0 0 0,0 1 0 0 0,-1 0-1 0 0,1 0 1 0 0,-1 1 0 0 0,9 12 0 0 0,-1 2 320 0 0,0 0-1 0 0,-2 2 1 0 0,-1-1-1 0 0,0 1 1 0 0,7 27 0 0 0,31 125 2270 0 0,-49-173-3003 0 0,9 33 442 0 0,-2 0 1 0 0,-2 1-1 0 0,-1-1 1 0 0,-1 51-1 0 0,-4-68-349 0 0,-1 0-1 0 0,0-1 0 0 0,-1 1 0 0 0,-1 0 0 0 0,0-1 1 0 0,-2 0-1 0 0,0 0 0 0 0,-1 0 0 0 0,0-1 0 0 0,-17 26 1 0 0,10-23-114 0 0,0 0 0 0 0,-1-2 0 0 0,0 0 1 0 0,-2 0-1 0 0,0-2 0 0 0,-33 24 0 0 0,35-29-692 0 0,-1 0 0 0 0,0-2 0 0 0,0 0 0 0 0,-1 0-1 0 0,0-1 1 0 0,-1-2 0 0 0,1 1 0 0 0,-36 4 0 0 0,45-9-953 0 0,0-1 1 0 0,0 1 0 0 0,-14-3-1 0 0</inkml:trace>
</inkml:ink>
</file>

<file path=ppt/ink/ink15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0:34.046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49 360 0 0,'1'-2'1245'0'0,"1"-3"-757"0"0,1 1 0 0 0,-1 0 0 0 0,0 0-1 0 0,1 1 1 0 0,0-1 0 0 0,0 1 0 0 0,5-6-1 0 0,-7 8-391 0 0,1 0-1 0 0,-1 0 1 0 0,1 0-1 0 0,0 0 0 0 0,-1 0 1 0 0,1 0-1 0 0,0 0 1 0 0,-1 1-1 0 0,1-1 0 0 0,0 1 1 0 0,0-1-1 0 0,0 1 0 0 0,-1 0 1 0 0,1-1-1 0 0,0 1 1 0 0,0 0-1 0 0,0 0 0 0 0,0 0 1 0 0,0 1-1 0 0,-1-1 1 0 0,1 0-1 0 0,0 1 0 0 0,0-1 1 0 0,2 2-1 0 0,7 3 191 0 0,0 0-1 0 0,-1 1 1 0 0,0 0-1 0 0,0 0 1 0 0,-1 1-1 0 0,0 1 1 0 0,0 0-1 0 0,11 12 1 0 0,-8-5 56 0 0,0 0-1 0 0,-1 1 1 0 0,-1 0 0 0 0,13 28 0 0 0,-6-4 410 0 0,-2 1 1 0 0,-2 1 0 0 0,15 78 0 0 0,-26-94 671 0 0,-4-21-522 0 0,-5-13-710 0 0,6 4-208 0 0,-1 0 1 0 0,1 0-1 0 0,0 1 1 0 0,0-1-1 0 0,1 0 0 0 0,-1 0 1 0 0,1 0-1 0 0,0 0 1 0 0,0 0-1 0 0,0 0 1 0 0,1 0-1 0 0,0-6 1 0 0,14-48-590 0 0,-15 57 596 0 0,7-20-254 0 0,1-1 1 0 0,1 2-1 0 0,1-1 1 0 0,25-37-1 0 0,-26 45 173 0 0,1 0-1 0 0,1 1 0 0 0,0 0 1 0 0,0 0-1 0 0,1 1 0 0 0,1 1 1 0 0,24-17-1 0 0,-31 24 86 0 0,-1 0 0 0 0,1 0 0 0 0,0 1 0 0 0,0-1 0 0 0,0 2 0 0 0,0-1 0 0 0,0 0 0 0 0,0 1 0 0 0,0 0 1 0 0,0 1-1 0 0,1-1 0 0 0,-1 1 0 0 0,0 1 0 0 0,0-1 0 0 0,1 1 0 0 0,-1 0 0 0 0,0 0 0 0 0,0 1 0 0 0,0 0 0 0 0,0 0 0 0 0,0 0 0 0 0,6 4 0 0 0,-2 0 116 0 0,0 0-1 0 0,-1 1 1 0 0,0 0-1 0 0,0 1 1 0 0,0 0 0 0 0,-1 0-1 0 0,0 1 1 0 0,-1 0-1 0 0,0 0 1 0 0,-1 1-1 0 0,7 11 1 0 0,3 10 104 0 0,-1 0-1 0 0,-2 2 1 0 0,-1-1 0 0 0,-1 2 0 0 0,8 45-1 0 0,-5 31-2066 0 0,-14-104 1136 0 0,2 16-726 0 0</inkml:trace>
</inkml:ink>
</file>

<file path=ppt/ink/ink15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0:34.420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107 2376 0 0,'2'-1'6337'0'0,"15"-7"-5568"0"0,1 0 0 0 0,0 2 0 0 0,0 0 0 0 0,0 2 0 0 0,32-5 0 0 0,1-1-414 0 0,32-4-1031 0 0,-9 2-1629 0 0,-58 9 396 0 0,1-2 1 0 0,22-9-1 0 0,-22 7-662 0 0</inkml:trace>
</inkml:ink>
</file>

<file path=ppt/ink/ink15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0:34.762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51 1712 0 0,'1'-2'944'0'0,"26"-42"6410"0"0,-27 44-7239 0 0,1 0 1 0 0,-1 1 0 0 0,1-1 0 0 0,3 3 810 0 0,-3-2-810 0 0,-1 0 0 0 0,1-1 0 0 0,-1 1 0 0 0,1 1-1 0 0,10 52 979 0 0,-2 1 0 0 0,-2 0 0 0 0,-1 71 0 0 0,-13-28-3145 0 0,-2-35-5771 0 0</inkml:trace>
  <inkml:trace contextRef="#ctx0" brushRef="#br0" timeOffset="1">482 1 932 0 0,'2'1'1428'0'0,"-1"-1"-1317"0"0,-1 1 0 0 0,1-1 0 0 0,0 1 0 0 0,0-1 0 0 0,-1 1 0 0 0,1-1-1 0 0,0 1 1 0 0,-1-1 0 0 0,1 1 0 0 0,-1-1 0 0 0,1 1 0 0 0,0 0 0 0 0,-1-1 0 0 0,1 1 0 0 0,-1 0-1 0 0,0 0 1 0 0,1-1 0 0 0,-1 1 0 0 0,0 0 0 0 0,1 0 0 0 0,-1 0 0 0 0,0-1 0 0 0,0 1 0 0 0,0 0-1 0 0,0 0 1 0 0,1 0 0 0 0,-1 0 0 0 0,0-1 0 0 0,-1 1 0 0 0,1 0 0 0 0,0 0 0 0 0,0 0 0 0 0,0 0-1 0 0,0 0 1 0 0,-1-1 0 0 0,1 1 0 0 0,-1 1 0 0 0,-1 1 78 0 0,0 0 1 0 0,0 0-1 0 0,-1 0 0 0 0,1 0 1 0 0,-1-1-1 0 0,0 1 0 0 0,0-1 1 0 0,-5 4-1 0 0,-20 11 794 0 0,-42 18 0 0 0,44-22-651 0 0,0 0-1 0 0,-25 18 0 0 0,50-31-288 0 0,0 1 0 0 0,-1 0-1 0 0,1 0 1 0 0,0 0 0 0 0,-1 0-1 0 0,1 0 1 0 0,0 0 0 0 0,0 1-1 0 0,0-1 1 0 0,0 0-1 0 0,0 1 1 0 0,0-1 0 0 0,0 1-1 0 0,0-1 1 0 0,1 0 0 0 0,-1 1-1 0 0,1 0 1 0 0,-1-1 0 0 0,1 1-1 0 0,-1-1 1 0 0,1 1 0 0 0,0 0-1 0 0,0-1 1 0 0,0 1 0 0 0,0 0-1 0 0,0-1 1 0 0,0 1-1 0 0,0 0 1 0 0,0-1 0 0 0,1 1-1 0 0,-1-1 1 0 0,1 1 0 0 0,-1 0-1 0 0,1-1 1 0 0,0 1 0 0 0,-1-1-1 0 0,1 0 1 0 0,0 1 0 0 0,0-1-1 0 0,2 3 1 0 0,4 4 202 0 0,1 0 0 0 0,0-1 0 0 0,0 0 1 0 0,1 0-1 0 0,9 6 0 0 0,-7-5 29 0 0,41 29 813 0 0,194 154 1592 0 0,-229-175-6046 0 0</inkml:trace>
</inkml:ink>
</file>

<file path=ppt/ink/ink15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1:21.293"/>
    </inkml:context>
    <inkml:brush xml:id="br0">
      <inkml:brushProperty name="width" value="0.2" units="cm"/>
      <inkml:brushProperty name="height" value="0.2" units="cm"/>
    </inkml:brush>
  </inkml:definitions>
  <inkml:trace contextRef="#ctx0" brushRef="#br0">4 1 24 0 0,'0'23'-8'0'0,"-4"-2"-4"0"0</inkml:trace>
</inkml:ink>
</file>

<file path=ppt/ink/ink15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1:30.092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20 108 1184 0 0,'7'-7'835'0'0,"-1"0"0"0"0,0 0 0 0 0,0-1-1 0 0,-1 0 1 0 0,0 0 0 0 0,-1 0 0 0 0,1 0 0 0 0,5-20 1096 0 0,-13 29-1661 0 0,-2 1-195 0 0,1 1-1 0 0,0-1 1 0 0,0 1-1 0 0,0 0 1 0 0,0 0-1 0 0,0 0 0 0 0,1 0 1 0 0,0 1-1 0 0,-1 0 1 0 0,1-1-1 0 0,0 1 1 0 0,-2 5-1 0 0,-32 60 518 0 0,28-51-452 0 0,-4 7 51 0 0,1 1 0 0 0,2 0-1 0 0,0 1 1 0 0,2 0-1 0 0,0 0 1 0 0,-4 42 0 0 0,11-59-104 0 0,1 1 0 0 0,0-1 0 0 0,0 0 0 0 0,1 1 0 0 0,1-1 0 0 0,0 0 0 0 0,0 0 0 0 0,7 20 0 0 0,-5-23-24 0 0,0 1 0 0 0,0-1 1 0 0,0 0-1 0 0,1 0 0 0 0,0 0 1 0 0,1-1-1 0 0,-1 1 0 0 0,1-1 0 0 0,0-1 1 0 0,1 1-1 0 0,-1-1 0 0 0,12 7 1 0 0,-10-8-25 0 0,-1 0 0 0 0,1 0 1 0 0,1-1-1 0 0,-1 1 1 0 0,0-2-1 0 0,1 1 0 0 0,0-1 1 0 0,-1-1-1 0 0,1 0 0 0 0,0 0 1 0 0,0 0-1 0 0,0-1 1 0 0,0-1-1 0 0,0 1 0 0 0,0-1 1 0 0,-1-1-1 0 0,1 0 0 0 0,0 0 1 0 0,-1-1-1 0 0,0 0 1 0 0,1 0-1 0 0,-1-1 0 0 0,0 0 1 0 0,-1 0-1 0 0,1-1 0 0 0,-1 0 1 0 0,0 0-1 0 0,0-1 1 0 0,0 0-1 0 0,-1 0 0 0 0,0-1 1 0 0,0 0-1 0 0,6-10 0 0 0,-5 6-15 0 0,-1 0 0 0 0,-1-1 0 0 0,0 0 0 0 0,-1 0-1 0 0,0-1 1 0 0,0 1 0 0 0,-2-1 0 0 0,0 0-1 0 0,0 0 1 0 0,0-14 0 0 0,-2 9 41 0 0,-1 1 0 0 0,-1 0 0 0 0,0 0 0 0 0,-1 0 1 0 0,-1 1-1 0 0,-1-1 0 0 0,-9-23 0 0 0,8 25-91 0 0,-2 0-1 0 0,1 0 1 0 0,-2 1-1 0 0,0 0 1 0 0,-1 1-1 0 0,0 0 1 0 0,-21-21 0 0 0,21 26-150 0 0,1 0-1 0 0,-1 0 1 0 0,0 1 0 0 0,-1 0 0 0 0,0 1 0 0 0,0 0 0 0 0,0 1 0 0 0,-1 0 0 0 0,1 1 0 0 0,-22-5 0 0 0,27 8-384 0 0,1 0 0 0 0,-1 0-1 0 0,0 0 1 0 0,0 1 0 0 0,0-1 0 0 0,1 2 0 0 0,-1-1 0 0 0,0 0-1 0 0,0 1 1 0 0,0 0 0 0 0,1 1 0 0 0,-1-1 0 0 0,1 1 0 0 0,-1 0-1 0 0,-5 3 1 0 0</inkml:trace>
</inkml:ink>
</file>

<file path=ppt/ink/ink1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39.81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42 1 7892,'-49'32'4768,"8"-3"-3689,10-5-359,12-4-271,18-8-269,14 4-360,1-6-179,12-1-91,-7-7-180,2-1-89,3-1-181,0-1-1798,15-5 899,-9-1 1799,11-5 0,-11-2 0,1 0 0</inkml:trace>
</inkml:ink>
</file>

<file path=ppt/ink/ink15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1:30.454"/>
    </inkml:context>
    <inkml:brush xml:id="br0">
      <inkml:brushProperty name="width" value="0.2" units="cm"/>
      <inkml:brushProperty name="height" value="0.2" units="cm"/>
    </inkml:brush>
  </inkml:definitions>
  <inkml:trace contextRef="#ctx0" brushRef="#br0">60 0 508 0 0,'-5'89'7551'0'0,"-1"-51"-5918"0"0,-15 55-1 0 0,5-4-794 0 0,10-55-2509 0 0,0-2-3342 0 0</inkml:trace>
</inkml:ink>
</file>

<file path=ppt/ink/ink15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1:30.792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135 1624 0 0,'15'-31'6594'0'0,"3"7"-3976"0"0,-14 20-2490 0 0,0 0 1 0 0,0 1-1 0 0,0 0 0 0 0,1 0 1 0 0,0 0-1 0 0,-1 0 0 0 0,1 1 1 0 0,0 0-1 0 0,0 0 0 0 0,6-1 1 0 0,21-6 282 0 0,66-7 1 0 0,-23 4-16 0 0,-32 9-77 0 0,22-4 555 0 0,-62 7-740 0 0,1 0 5 0 0,-2 0-71 0 0,0 0-1 0 0,0 0 0 0 0,0 1 0 0 0,0-1 1 0 0,-1 0-1 0 0,1 1 0 0 0,0-1 1 0 0,0 1-1 0 0,-1 0 0 0 0,1 0 0 0 0,0-1 1 0 0,-1 1-1 0 0,1 0 0 0 0,0 0 1 0 0,-1 0-1 0 0,0 1 0 0 0,1-1 0 0 0,-1 0 1 0 0,0 1-1 0 0,1-1 0 0 0,-1 0 1 0 0,0 1-1 0 0,0 0 0 0 0,0-1 0 0 0,0 1 1 0 0,-1-1-1 0 0,1 1 0 0 0,0 0 0 0 0,-1 0 1 0 0,1-1-1 0 0,-1 1 0 0 0,1 3 1 0 0,2 19 484 0 0,-2 0 1 0 0,0 0 0 0 0,-1 0 0 0 0,-5 25 0 0 0,1 51 178 0 0,25 175-47 0 0,-4-158-4860 0 0,-14-96 2136 0 0</inkml:trace>
</inkml:ink>
</file>

<file path=ppt/ink/ink15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1:31.177"/>
    </inkml:context>
    <inkml:brush xml:id="br0">
      <inkml:brushProperty name="width" value="0.2" units="cm"/>
      <inkml:brushProperty name="height" value="0.2" units="cm"/>
    </inkml:brush>
  </inkml:definitions>
  <inkml:trace contextRef="#ctx0" brushRef="#br0">42 135 908 0 0,'-7'-2'1216'0'0,"5"2"-860"0"0,0-1 0 0 0,0 1 0 0 0,-24-17 5336 0 0,25 15-5336 0 0,-1-2 0 0 0,2 3-288 0 0,0 1 0 0 0,1-1 1 0 0,-1 0-1 0 0,0 0 1 0 0,1 0-1 0 0,-1 0 0 0 0,1 0 1 0 0,-1 1-1 0 0,1-1 1 0 0,-1 0-1 0 0,1 1 1 0 0,-1-1-1 0 0,1 0 0 0 0,0 1 1 0 0,-1-1-1 0 0,1 0 1 0 0,1 0 100 0 0,2-2-27 0 0,1-1 0 0 0,0 1 0 0 0,-1 0 0 0 0,1 0 0 0 0,0 1 0 0 0,0-1 0 0 0,0 1 0 0 0,7-1 0 0 0,42-11 369 0 0,24 0-257 0 0,17-4-1866 0 0,-33 3-3196 0 0,-36 8 661 0 0</inkml:trace>
</inkml:ink>
</file>

<file path=ppt/ink/ink15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1:31.533"/>
    </inkml:context>
    <inkml:brush xml:id="br0">
      <inkml:brushProperty name="width" value="0.2" units="cm"/>
      <inkml:brushProperty name="height" value="0.2" units="cm"/>
    </inkml:brush>
  </inkml:definitions>
  <inkml:trace contextRef="#ctx0" brushRef="#br0">270 164 1148 0 0,'0'-3'1383'0'0,"1"-2"-1019"0"0,0 1 1 0 0,0-1-1 0 0,0 0 1 0 0,1 0-1 0 0,0 1 0 0 0,0-1 1 0 0,0 1-1 0 0,0-1 1 0 0,1 1-1 0 0,0 0 1 0 0,0 0-1 0 0,0 0 1 0 0,0 1-1 0 0,0-1 0 0 0,1 1 1 0 0,0-1-1 0 0,7-4 1 0 0,5-2 133 0 0,1 1-1 0 0,0 1 1 0 0,26-10 0 0 0,-17 8-113 0 0,-9 4-17 0 0,1 1-1 0 0,1 0 1 0 0,-1 2 0 0 0,1 0-1 0 0,-1 1 1 0 0,1 1-1 0 0,23 1 1 0 0,-37 0-289 0 0,0 1 0 0 0,-1 0 0 0 0,1 0 0 0 0,0 0 0 0 0,-1 0 0 0 0,0 0-1 0 0,1 1 1 0 0,-1 0 0 0 0,0 0 0 0 0,1 0 0 0 0,-1 1 0 0 0,-1-1 0 0 0,1 1 0 0 0,0 0 0 0 0,4 5 0 0 0,-3-2 121 0 0,1 1 0 0 0,-1 1 0 0 0,-1-1 0 0 0,0 1 0 0 0,0 0 1 0 0,0 0-1 0 0,-1 0 0 0 0,0 0 0 0 0,3 17 0 0 0,0 9 456 0 0,1 40 0 0 0,-5-52-420 0 0,0-7-112 0 0,7 85 570 0 0,-4 1 0 0 0,-8 110-1 0 0,2-194-599 0 0,-1-1 0 0 0,-1 1 0 0 0,-1-1 1 0 0,0 0-1 0 0,-1 0 0 0 0,-1 0 0 0 0,-13 26 0 0 0,13-33-10 0 0,0 1 0 0 0,-1-1 0 0 0,0 0-1 0 0,0-1 1 0 0,-1 1 0 0 0,0-1 0 0 0,0-1 0 0 0,-1 0 0 0 0,0 0 0 0 0,0-1 0 0 0,-1 0 0 0 0,-15 7 0 0 0,2-3 90 0 0,0-2 0 0 0,-1 0-1 0 0,0-2 1 0 0,0-1 0 0 0,-1 0 0 0 0,1-2 0 0 0,-50 0 0 0 0,-76-12-365 0 0,50-3-4049 0 0,-1-1-5859 0 0</inkml:trace>
</inkml:ink>
</file>

<file path=ppt/ink/ink15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6:56.577"/>
    </inkml:context>
    <inkml:brush xml:id="br0">
      <inkml:brushProperty name="width" value="0.2" units="cm"/>
      <inkml:brushProperty name="height" value="0.2" units="cm"/>
    </inkml:brush>
  </inkml:definitions>
  <inkml:trace contextRef="#ctx0" brushRef="#br0">718 160 492 0 0,'3'-16'1324'0'0,"19"-38"1096"0"0,-21 52-2216 0 0,2-13 239 0 0,-2 13-296 0 0,0 0 0 0 0,-1 0 0 0 0,1 0 0 0 0,-1 0 1 0 0,1 1-1 0 0,-1-1 0 0 0,0 0 0 0 0,0 0 0 0 0,0 0 0 0 0,0 0 0 0 0,-1-3 1 0 0,1 3 138 0 0,-5-11 1112 0 0,3 8-1249 0 0,-10-22 2432 0 0,13 40-2348 0 0,103 810 5236 0 0,-99-465-4416 0 0,-5-354-1024 0 0,0 0 0 0 0,0 0 0 0 0,0-1 0 0 0,-1 1 0 0 0,0 0 0 0 0,1-1 0 0 0,-1 1 0 0 0,0-1 0 0 0,-1 1 0 0 0,1-1 0 0 0,-1 0 0 0 0,1 1 0 0 0,-1-1 0 0 0,0 0 1 0 0,0 0-1 0 0,-4 4 0 0 0,5-7-29 0 0,1 0 1 0 0,-1 1 0 0 0,1-1 0 0 0,-1 0 0 0 0,1 0 0 0 0,-1 0-1 0 0,1 1 1 0 0,-1-1 0 0 0,1 0 0 0 0,-1 0 0 0 0,1 0-1 0 0,-1 0 1 0 0,1 0 0 0 0,-1 0 0 0 0,1 0 0 0 0,-1 0-1 0 0,1 0 1 0 0,-1-1 0 0 0,1 1 0 0 0,-1 0 0 0 0,1 0-1 0 0,-1 0 1 0 0,1 0 0 0 0,-1-1 0 0 0,1 1 0 0 0,0 0 0 0 0,-1-1-1 0 0,1 1 1 0 0,-1 0 0 0 0,1-1 0 0 0,0 1 0 0 0,-1-1-1 0 0,-10-10-223 0 0,6 3 12 0 0,1 0 1 0 0,-1 0-1 0 0,2-1 1 0 0,-1 1-1 0 0,1-1 1 0 0,1 0-1 0 0,-2-10 1 0 0,-7-67-964 0 0,9 59 867 0 0,-2-79-637 0 0,5 78 693 0 0,-2 0 0 0 0,0-1 0 0 0,-2 1 0 0 0,-13-54 0 0 0,15 79 249 0 0,0 0-1 0 0,0 0 0 0 0,0 1 1 0 0,-1-1-1 0 0,1 1 1 0 0,-1-1-1 0 0,1 1 1 0 0,-1-1-1 0 0,0 1 0 0 0,0 0 1 0 0,0 0-1 0 0,0-1 1 0 0,0 2-1 0 0,0-1 1 0 0,-1 0-1 0 0,1 0 1 0 0,-1 1-1 0 0,1-1 0 0 0,-1 1 1 0 0,0 0-1 0 0,1 0 1 0 0,-1 0-1 0 0,0 0 1 0 0,0 0-1 0 0,0 1 0 0 0,0-1 1 0 0,0 1-1 0 0,0 0 1 0 0,0 0-1 0 0,0 0 1 0 0,1 0-1 0 0,-1 0 0 0 0,0 1 1 0 0,-5 0-1 0 0,-7 3 138 0 0,-1 1 0 0 0,0 0 0 0 0,1 1-1 0 0,-27 14 1 0 0,-16 13 239 0 0,1 2 0 0 0,1 2 0 0 0,3 4 0 0 0,1 1 0 0 0,2 3 0 0 0,-74 84 0 0 0,107-110-751 0 0,1 1 0 0 0,0 0 0 0 0,-21 38 0 0 0</inkml:trace>
</inkml:ink>
</file>

<file path=ppt/ink/ink15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6:56.952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78 1116 0 0,'301'-49'8880'0'0,"1"21"-8859"0"0,-288 27-1589 0 0,-1 2 0 0 0,27 3 0 0 0,-26-1-1341 0 0</inkml:trace>
</inkml:ink>
</file>

<file path=ppt/ink/ink15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6:57.300"/>
    </inkml:context>
    <inkml:brush xml:id="br0">
      <inkml:brushProperty name="width" value="0.2" units="cm"/>
      <inkml:brushProperty name="height" value="0.2" units="cm"/>
    </inkml:brush>
  </inkml:definitions>
  <inkml:trace contextRef="#ctx0" brushRef="#br0">63 1 1624 0 0,'-63'60'9462'0'0,"68"-58"-8484"0"0,-5-1-953 0 0,0-1-1 0 0,0 0 1 0 0,1 1-1 0 0,-1-1 1 0 0,0 0-1 0 0,0 0 1 0 0,1 0-1 0 0,-1 1 1 0 0,0-1 0 0 0,1 0-1 0 0,-1 0 1 0 0,0 0-1 0 0,1 1 1 0 0,-1-1-1 0 0,0 0 1 0 0,1 0-1 0 0,-1 0 1 0 0,0 0 0 0 0,1 0-1 0 0,-1 0 1 0 0,0 0-1 0 0,1 0 1 0 0,-1 0-1 0 0,0 0 1 0 0,1 0-1 0 0,-1 0 1 0 0,1 0 0 0 0,-1 0-1 0 0,0 0 1 0 0,1-1-1 0 0,101-9 1369 0 0,85-4-4295 0 0,-148 12-1852 0 0</inkml:trace>
</inkml:ink>
</file>

<file path=ppt/ink/ink15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6:57.661"/>
    </inkml:context>
    <inkml:brush xml:id="br0">
      <inkml:brushProperty name="width" value="0.2" units="cm"/>
      <inkml:brushProperty name="height" value="0.2" units="cm"/>
    </inkml:brush>
  </inkml:definitions>
  <inkml:trace contextRef="#ctx0" brushRef="#br0">447 174 756 0 0,'18'-43'2224'0'0,"-10"24"-1039"0"0,-1 0 0 0 0,0 0 0 0 0,5-26 0 0 0,-12 44-1144 0 0,0 0 0 0 0,0 0 0 0 0,1 0 0 0 0,-1 1 0 0 0,0-1 0 0 0,0 0 0 0 0,0 0 0 0 0,0 0 0 0 0,0 0 0 0 0,0 0 0 0 0,-1 0 0 0 0,1 0 0 0 0,0 0 0 0 0,0 1 0 0 0,-1-1 0 0 0,1 0 0 0 0,0 0 0 0 0,-1 0 0 0 0,1 1 0 0 0,-1-1 0 0 0,1 0 0 0 0,-1 0 0 0 0,1 1 0 0 0,-1-1 0 0 0,0 0 0 0 0,1 1 0 0 0,-1-1 0 0 0,0 1 0 0 0,1-1 0 0 0,-1 1 0 0 0,0-1-1 0 0,0 1 1 0 0,0-1 0 0 0,0 1 0 0 0,-1-1 0 0 0,0 1 31 0 0,-1-1 0 0 0,1 1 0 0 0,-1 0-1 0 0,1 0 1 0 0,-1 0 0 0 0,1 0-1 0 0,-1 0 1 0 0,1 1 0 0 0,-1-1 0 0 0,-3 2-1 0 0,-5 3 98 0 0,-1 0 0 0 0,1 0 0 0 0,0 1 0 0 0,1 0 0 0 0,-1 1 0 0 0,1 1 0 0 0,-11 10 0 0 0,-60 65 491 0 0,70-69-568 0 0,-27 29 276 0 0,3 1-1 0 0,-50 84 1 0 0,67-96-233 0 0,1 1 1 0 0,2 1-1 0 0,1 0 0 0 0,2 1 1 0 0,-10 43-1 0 0,20-64-76 0 0,-1 0 0 0 0,2 0 0 0 0,0 0-1 0 0,1 1 1 0 0,0-1 0 0 0,1 0 0 0 0,0 0-1 0 0,2 0 1 0 0,-1 0 0 0 0,2 0 0 0 0,0 0-1 0 0,0 0 1 0 0,2-1 0 0 0,-1 0 0 0 0,11 15-1 0 0,-8-14 20 0 0,1-1 0 0 0,1 0 0 0 0,1 0 0 0 0,0-2 0 0 0,0 1 0 0 0,1-1 0 0 0,0-1 0 0 0,1 0 0 0 0,0-1 0 0 0,1 0 0 0 0,0-1 0 0 0,0-1 0 0 0,19 8 0 0 0,-6-6 35 0 0,-1 0-1 0 0,2-2 1 0 0,-1-1-1 0 0,0-1 1 0 0,1-1-1 0 0,0-2 1 0 0,32-1-1 0 0,-43-1 0 0 0,1-2 0 0 0,-1 0-1 0 0,1 0 1 0 0,-1-2 0 0 0,0 0 0 0 0,0-1-1 0 0,-1-1 1 0 0,1-1 0 0 0,-1 0 0 0 0,0-1-1 0 0,-1 0 1 0 0,22-17 0 0 0,-31 21-64 0 0,-1-1 0 0 0,1 0 0 0 0,-1-1 1 0 0,-1 1-1 0 0,1-1 0 0 0,-1 0 0 0 0,0 0 0 0 0,0 0 1 0 0,0-1-1 0 0,-1 1 0 0 0,0-1 0 0 0,0 0 0 0 0,2-12 1 0 0,-4 14-29 0 0,0 0 1 0 0,0-1 0 0 0,-1 1-1 0 0,0 0 1 0 0,0-1 0 0 0,0 1-1 0 0,-1 0 1 0 0,0 0 0 0 0,0-1-1 0 0,0 1 1 0 0,-1 0 0 0 0,1 0-1 0 0,-1 0 1 0 0,0 0-1 0 0,-1 0 1 0 0,1 1 0 0 0,-1-1-1 0 0,0 1 1 0 0,-6-7 0 0 0,-3-2 14 0 0,-1 1-1 0 0,0 0 1 0 0,-1 1 0 0 0,0 1 0 0 0,-1 0 0 0 0,0 1 0 0 0,-1 0 0 0 0,0 1 0 0 0,0 1-1 0 0,-19-6 1 0 0,13 7-481 0 0,0 0-1 0 0,0 1 0 0 0,0 1 1 0 0,-1 1-1 0 0,1 1 0 0 0,-1 1 1 0 0,-34 2-1 0 0,47 1-461 0 0,0-1 1 0 0,0 2-1 0 0,-18 6 0 0 0,-7 7-4517 0 0</inkml:trace>
</inkml:ink>
</file>

<file path=ppt/ink/ink15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6:58.797"/>
    </inkml:context>
    <inkml:brush xml:id="br0">
      <inkml:brushProperty name="width" value="0.2" units="cm"/>
      <inkml:brushProperty name="height" value="0.2" units="cm"/>
    </inkml:brush>
  </inkml:definitions>
  <inkml:trace contextRef="#ctx0" brushRef="#br0">358 150 196 0 0,'0'-12'915'0'0,"-3"-58"2834"0"0,3 65-3473 0 0,-1 0-1 0 0,1 0 1 0 0,-1 0 0 0 0,-1 0-1 0 0,1 1 1 0 0,-1-1-1 0 0,0 1 1 0 0,0-1 0 0 0,0 1-1 0 0,0-1 1 0 0,-4-4-1 0 0,4 8-210 0 0,0 1 0 0 0,1-1 0 0 0,-1 0 0 0 0,0 0 0 0 0,0 1 0 0 0,0-1 0 0 0,0 1 0 0 0,0-1 0 0 0,0 1 0 0 0,1 0 0 0 0,-1 0 0 0 0,0 0 0 0 0,0 0 0 0 0,0 0 0 0 0,0 0 0 0 0,0 0-1 0 0,0 1 1 0 0,0-1 0 0 0,0 1 0 0 0,0 0 0 0 0,-1 0 0 0 0,-12 6 189 0 0,1 0 0 0 0,1 1-1 0 0,0 0 1 0 0,0 1 0 0 0,0 1 0 0 0,-13 13-1 0 0,2 1 218 0 0,-37 47 0 0 0,49-55-356 0 0,0 1-1 0 0,1 0 1 0 0,1 1-1 0 0,1 0 0 0 0,1 0 1 0 0,0 1-1 0 0,1 0 0 0 0,1 0 1 0 0,-5 32-1 0 0,9-35-68 0 0,0 0 0 0 0,2-1-1 0 0,0 1 1 0 0,0 0 0 0 0,2 0 0 0 0,0-1 0 0 0,1 1 0 0 0,0-1 0 0 0,1 0-1 0 0,1 0 1 0 0,0 0 0 0 0,14 25 0 0 0,-7-19-114 0 0,1 0-1 0 0,1-1 1 0 0,0-1 0 0 0,2 0 0 0 0,0-1-1 0 0,2 0 1 0 0,0-1 0 0 0,0-2-1 0 0,39 26 1 0 0,-38-30-998 0 0,0 0 0 0 0,0-2 0 0 0,1 0 0 0 0,0-1 0 0 0,1-1 0 0 0,39 8 0 0 0,-31-11-2439 0 0</inkml:trace>
</inkml:ink>
</file>

<file path=ppt/ink/ink15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6:59.198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267 1304 0 0,'0'-15'694'0'0,"1"1"-1"0"0,1-1 1 0 0,0 0 0 0 0,1 1-1 0 0,1-1 1 0 0,0 1 0 0 0,1 0 0 0 0,12-24-1 0 0,-12 29-573 0 0,-1 1-1 0 0,1 0 1 0 0,0 0-1 0 0,1 1 1 0 0,0 0-1 0 0,0 0 1 0 0,1 0-1 0 0,0 1 1 0 0,0 0-1 0 0,0 0 1 0 0,1 0-1 0 0,-1 1 1 0 0,1 1-1 0 0,1-1 1 0 0,9-3 0 0 0,-15 7-93 0 0,0 0 0 0 0,0 0 1 0 0,0 0-1 0 0,0 1 0 0 0,1-1 1 0 0,-1 1-1 0 0,0 0 0 0 0,0 0 1 0 0,1 0-1 0 0,-1 0 1 0 0,0 0-1 0 0,1 1 0 0 0,-1-1 1 0 0,0 1-1 0 0,0 0 0 0 0,0 0 1 0 0,0 0-1 0 0,0 1 1 0 0,0-1-1 0 0,0 1 0 0 0,0-1 1 0 0,0 1-1 0 0,-1 0 0 0 0,1 0 1 0 0,-1 1-1 0 0,4 2 0 0 0,-3-1 6 0 0,0 0 0 0 0,-1 0 0 0 0,1 0-1 0 0,-1 0 1 0 0,0 1 0 0 0,0-1 0 0 0,0 0-1 0 0,-1 1 1 0 0,1-1 0 0 0,-1 1 0 0 0,0 0-1 0 0,-1-1 1 0 0,1 1 0 0 0,-1 0-1 0 0,0 0 1 0 0,0-1 0 0 0,-1 9 0 0 0,-4 9 142 0 0,0 0 0 0 0,-2-1 0 0 0,-1 0 0 0 0,0 0 0 0 0,-20 35 0 0 0,-66 92 923 0 0,82-130-977 0 0,-44 73 991 0 0,56-91-1081 0 0,0 1 1 0 0,0 0-1 0 0,0 0 1 0 0,0 0-1 0 0,0-1 1 0 0,0 1-1 0 0,0 0 1 0 0,0 0-1 0 0,0 0 1 0 0,0-1-1 0 0,0 1 1 0 0,1 0-1 0 0,-1 0 1 0 0,0-1-1 0 0,1 1 1 0 0,-1 0-1 0 0,0 0 1 0 0,1-1-1 0 0,-1 1 1 0 0,1 0-1 0 0,-1-1 1 0 0,1 1-1 0 0,-1-1 1 0 0,1 1-1 0 0,-1 0 1 0 0,1-1-1 0 0,0 1 1 0 0,-1-1-1 0 0,1 0 1 0 0,0 1-1 0 0,0-1 1 0 0,-1 1-1 0 0,1-1 1 0 0,0 0-1 0 0,0 0 1 0 0,-1 0-1 0 0,1 1 1 0 0,0-1-1 0 0,0 0 1 0 0,0 0-1 0 0,-1 0 1 0 0,1 0-1 0 0,0 0 1 0 0,1-1-1 0 0,47-1 259 0 0,-1-3-1 0 0,56-14 1 0 0,69-7-698 0 0,36 22-8624 0 0,-191 2 6879 0 0,-1 0-305 0 0</inkml:trace>
</inkml:ink>
</file>

<file path=ppt/ink/ink1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40.17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37 10321,'22'-23'4318,"-1"9"-3149,-13 19-629,0 11-1,-6 2-89,-1 5 0,-2-5-90,0 2-1,0 2 1,-1 0-90,0 1 0,-1-1-90,1 1 0,-1-2 0,1-1-90,-1-1 0,0-2 179,1-1 181,-1 4 450,0-2-361,1 3-449,6-14-90,5-7 0,3-9 0,3-3 0,-2 4-180,50-10 180,-36 14 0,36-4 90,-50 15 0,-1 2 0,-2 2 0,-1 0 0,-2 2 0,-1 0-90,-2 1 90,-4 7 0,-1-5-90,-3 4 0,-1-7 0,-2 0-360,-1-1 0,-2-2-269,-1 0-91,-2-3-89,-1-1-181,-1-2 1,-1-2-181,0-2-269,-2-2-90,0-2-1079,0-3-1350,1-3 3958,0-3 0,-1-5 0,-1-3 0</inkml:trace>
</inkml:ink>
</file>

<file path=ppt/ink/ink15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6:59.894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194 392 0 0,'2'-10'1055'0'0,"1"1"-1"0"0,0 0 1 0 0,1 0-1 0 0,0 0 1 0 0,0 0-1 0 0,8-10 1080 0 0,-12 19-2109 0 0,0 0 0 0 0,1 0-1 0 0,-1 1 1 0 0,0-1-1 0 0,0 0 1 0 0,0 0-1 0 0,0 0 1 0 0,1 1 0 0 0,-1-1-1 0 0,0 0 1 0 0,0 0-1 0 0,1 0 1 0 0,-1 0-1 0 0,0 0 1 0 0,0 0-1 0 0,1 0 1 0 0,-1 1 0 0 0,0-1-1 0 0,0 0 1 0 0,1 0-1 0 0,-1 0 1 0 0,0 0-1 0 0,0 0 1 0 0,1 0-1 0 0,-1 0 1 0 0,0 0 0 0 0,0 0-1 0 0,1 0 1 0 0,-1-1-1 0 0,0 1 1 0 0,0 0-1 0 0,1 0 1 0 0,-1 0-1 0 0,1 0 5 0 0,-1 0-1 0 0,0 0 1 0 0,1-1-1 0 0,-1 1 0 0 0,1 0 1 0 0,-1 0-1 0 0,1 0 0 0 0,-1 0 1 0 0,1 0-1 0 0,-1 0 1 0 0,1 0-1 0 0,-1 0 0 0 0,1 0 1 0 0,-1 1-1 0 0,1-1 0 0 0,-1 0 1 0 0,0 0-1 0 0,1 0 1 0 0,-1 0-1 0 0,1 1 0 0 0,-1-1 1 0 0,0 0-1 0 0,1 1 0 0 0,-1-1 1 0 0,1 0-1 0 0,-1 0 1 0 0,0 1-1 0 0,1-1 0 0 0,-1 1 1 0 0,7 13 490 0 0,0 0 1 0 0,-1 0 0 0 0,-1 0 0 0 0,0 1 0 0 0,4 29-1 0 0,0-8 70 0 0,27 96 764 0 0,-35-130-1224 0 0,1-3-346 0 0,0-1 112 0 0,0 0 0 0 0,0 0 1 0 0,0 0-1 0 0,0 0 0 0 0,0 0 0 0 0,-1 0 0 0 0,1-1 0 0 0,-1 1 0 0 0,1-1 0 0 0,-1 1 1 0 0,0-1-1 0 0,1-3 0 0 0,12-41-1092 0 0,-8 22 725 0 0,62-177-1226 0 0,-53 176 2636 0 0,-10 59 381 0 0,-3-26-1184 0 0,0-1 0 0 0,0 1-1 0 0,1-1 1 0 0,0 0 0 0 0,0 0-1 0 0,1 0 1 0 0,-1-1 0 0 0,1 1-1 0 0,1-1 1 0 0,-1 0 0 0 0,1 0-1 0 0,0-1 1 0 0,0 1 0 0 0,0-1-1 0 0,0 0 1 0 0,1 0 0 0 0,0-1-1 0 0,0 1 1 0 0,0-1 0 0 0,0-1-1 0 0,0 1 1 0 0,1-1 0 0 0,8 2-1 0 0,-2-1-53 0 0,0 0-1 0 0,0-1 1 0 0,0 0 0 0 0,0-1-1 0 0,1-1 1 0 0,-1 0-1 0 0,0-1 1 0 0,1 0-1 0 0,-1-1 1 0 0,24-7 0 0 0,-20 3-38 0 0,0-1 0 0 0,-1 0 0 0 0,1-2 0 0 0,28-19 0 0 0,51-50-12 0 0,-9 6-262 0 0,-85 71 217 0 0,-1 0 0 0 0,1-1-1 0 0,0 1 1 0 0,0 0 0 0 0,0 0 0 0 0,0 0 0 0 0,-1 0 0 0 0,1 0 0 0 0,0 1 0 0 0,1-1-1 0 0,-1 0 1 0 0,0 1 0 0 0,0 0 0 0 0,3-1 0 0 0,-4 1 17 0 0,0 0 0 0 0,0 1 0 0 0,0-1 0 0 0,0 0-1 0 0,0 1 1 0 0,0-1 0 0 0,0 0 0 0 0,-1 1 0 0 0,1-1 0 0 0,0 1 0 0 0,0 0 0 0 0,0-1 0 0 0,-1 1 0 0 0,1-1 0 0 0,0 1 0 0 0,-1 0-1 0 0,1 0 1 0 0,-1-1 0 0 0,1 1 0 0 0,-1 0 0 0 0,1 0 0 0 0,-1 0 0 0 0,1 0 0 0 0,-1-1 0 0 0,0 1 0 0 0,1 0 0 0 0,-1 0 0 0 0,0 0 0 0 0,0 0-1 0 0,0 0 1 0 0,0 1 0 0 0,1 3 52 0 0,4 12 115 0 0,-1 1 0 0 0,2 22 1 0 0,2 11 40 0 0,-2-22-63 0 0,-1-4-166 0 0,9 26-1 0 0,-12-44-173 0 0,1 0-1 0 0,0 0 0 0 0,0-1 0 0 0,0 0 1 0 0,1 0-1 0 0,0 0 0 0 0,0 0 0 0 0,8 8 0 0 0,-10-11 12 0 0,1-1-1 0 0,0 0 1 0 0,0 0-1 0 0,0-1 1 0 0,0 1-1 0 0,0-1 1 0 0,0 1-1 0 0,0-1 1 0 0,0 0-1 0 0,1 0 1 0 0,-1 0-1 0 0,0-1 1 0 0,1 1-1 0 0,-1-1 1 0 0,0 0-1 0 0,1 0 1 0 0,-1 0-1 0 0,0 0 0 0 0,1 0 1 0 0,-1-1-1 0 0,1 0 1 0 0,-1 1-1 0 0,4-3 1 0 0,5-1-287 0 0,0-1 0 0 0,0 0 0 0 0,-1-1 0 0 0,22-14 0 0 0,14-13 1796 0 0,44-39-1 0 0,-89 71-1197 0 0,0 0 0 0 0,-1 0 0 0 0,1 0 0 0 0,0 0 0 0 0,0 0 0 0 0,-1 1 0 0 0,1-1 0 0 0,0 1 0 0 0,0-1 0 0 0,0 1 0 0 0,0 0 0 0 0,0-1 0 0 0,0 1 0 0 0,0 0 0 0 0,0 0 0 0 0,0 1 0 0 0,2-1 0 0 0,-2 1-221 0 0,0-1 161 0 0,0 0-1 0 0,-1 1 1 0 0,1-1 0 0 0,-1 1-1 0 0,1 0 1 0 0,-1-1-1 0 0,1 1 1 0 0,-1 0-1 0 0,0 0 1 0 0,1 0-1 0 0,-1 0 1 0 0,0 0-1 0 0,0 0 1 0 0,0 0 0 0 0,0 1-1 0 0,0-1 1 0 0,2 2-1 0 0,12 25 497 0 0,-12-23-442 0 0,2 6-25 0 0,-1 1 0 0 0,0-1 0 0 0,0 1 0 0 0,-1 0-1 0 0,0 0 1 0 0,1 18 0 0 0,-1 73-5959 0 0,-3-83 2812 0 0</inkml:trace>
</inkml:ink>
</file>

<file path=ppt/ink/ink15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7:00.270"/>
    </inkml:context>
    <inkml:brush xml:id="br0">
      <inkml:brushProperty name="width" value="0.2" units="cm"/>
      <inkml:brushProperty name="height" value="0.2" units="cm"/>
    </inkml:brush>
  </inkml:definitions>
  <inkml:trace contextRef="#ctx0" brushRef="#br0">71 242 108 0 0,'-9'-92'5037'0'0,"-4"-29"-879"0"0,13 119-4110 0 0,-1 0 0 0 0,0 0 0 0 0,1-1 0 0 0,-1 1 0 0 0,0 0 0 0 0,0 0 1 0 0,0 0-1 0 0,-3-4 0 0 0,3 6-97 0 0,1 0 0 0 0,0-1 0 0 0,-1 1 0 0 0,1-1 1 0 0,-1 1-1 0 0,1 0 0 0 0,0-1 0 0 0,-1 1 0 0 0,1 0 0 0 0,-1-1 0 0 0,1 1 1 0 0,-1 0-1 0 0,1 0 0 0 0,-1 0 0 0 0,1-1 0 0 0,-1 1 0 0 0,0 0 0 0 0,1 0 1 0 0,-1 0-1 0 0,1 0 0 0 0,-1 0 0 0 0,1 0 0 0 0,-1 0 0 0 0,1 0 1 0 0,-1 0-1 0 0,0 0 0 0 0,1 0 0 0 0,-1 1 0 0 0,1-1 0 0 0,-1 0 0 0 0,1 0 1 0 0,-1 0-1 0 0,1 1 0 0 0,-1-1 0 0 0,1 0 0 0 0,-1 1 0 0 0,1-1 0 0 0,0 0 1 0 0,-1 1-1 0 0,1-1 0 0 0,-1 0 0 0 0,1 1 0 0 0,0-1 0 0 0,-1 1 1 0 0,1 0-1 0 0,-17 19-3156 0 0</inkml:trace>
</inkml:ink>
</file>

<file path=ppt/ink/ink15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7:00.618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24 1432 0 0,'15'7'1459'0'0,"-1"1"1"0"0,-1 1-1 0 0,20 16 0 0 0,-21-15-808 0 0,-1 1 0 0 0,-1 0 0 0 0,0 0 0 0 0,-1 1-1 0 0,0 0 1 0 0,13 25 0 0 0,-4-3 300 0 0,-1 0 1 0 0,-1 1-1 0 0,17 61 0 0 0,-20-54 1335 0 0,-1-57-2505 0 0,18-28-1 0 0,-20 26 101 0 0,1 2 0 0 0,16-19 0 0 0,-9 15-36 0 0,27-21 1 0 0,-38 34 116 0 0,0 1 0 0 0,1 1 0 0 0,-1-1 0 0 0,1 1 0 0 0,0 1-1 0 0,0-1 1 0 0,12-3 0 0 0,-16 7 25 0 0,0-1-1 0 0,0 1 1 0 0,0 0-1 0 0,0 0 1 0 0,0 0-1 0 0,0 1 1 0 0,0-1-1 0 0,0 1 1 0 0,0 0-1 0 0,5 2 1 0 0,39 16-50 0 0,-41-16 58 0 0,19 9-76 0 0,-4-1 125 0 0,0-1 1 0 0,0-2 0 0 0,0 0-1 0 0,36 7 1 0 0,-53-14-51 0 0,0 0-1 0 0,1 0 1 0 0,0-1-1 0 0,-1 0 1 0 0,1 0-1 0 0,-1 0 1 0 0,1-1-1 0 0,-1 0 1 0 0,1 0-1 0 0,-1 0 1 0 0,0-1-1 0 0,1 0 1 0 0,-1 0-1 0 0,0 0 1 0 0,0 0-1 0 0,0-1 1 0 0,-1 0-1 0 0,1 0 1 0 0,-1 0-1 0 0,1-1 1 0 0,-1 1-1 0 0,0-1 1 0 0,0 0-1 0 0,6-9 1 0 0,-5 5-148 0 0,0-1 0 0 0,0 1 0 0 0,-1-1 1 0 0,0 0-1 0 0,0-1 0 0 0,-1 1 1 0 0,2-13-1 0 0,8-70-602 0 0,-6 34 169 0 0,-7 56 527 0 0,2 3-59 0 0,0 1 118 0 0,1 0 1 0 0,-1 0-1 0 0,0 0 1 0 0,0 1-1 0 0,0-1 1 0 0,-1 1-1 0 0,1-1 1 0 0,0 1-1 0 0,-1 0 1 0 0,2 4-1 0 0,14 40 270 0 0,-8-21 5 0 0,14 27 354 0 0,-16-38-433 0 0,1 1 0 0 0,-2-1-1 0 0,0 1 1 0 0,-1 1 0 0 0,-1-1-1 0 0,0 1 1 0 0,2 27 0 0 0,-7-39-139 0 0,0 1-1 0 0,0-1 1 0 0,0 0 0 0 0,-1 0-1 0 0,1 0 1 0 0,-1 0 0 0 0,-1 0 0 0 0,1-1-1 0 0,0 1 1 0 0,-1 0 0 0 0,0-1-1 0 0,0 0 1 0 0,-1 0 0 0 0,1 0 0 0 0,-1 0-1 0 0,0 0 1 0 0,0-1 0 0 0,-5 4-1 0 0,-8 5-980 0 0,0 0 0 0 0,0-1 0 0 0,-26 11 0 0 0,-2-3-5767 0 0</inkml:trace>
</inkml:ink>
</file>

<file path=ppt/ink/ink15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7:01.514"/>
    </inkml:context>
    <inkml:brush xml:id="br0">
      <inkml:brushProperty name="width" value="0.2" units="cm"/>
      <inkml:brushProperty name="height" value="0.2" units="cm"/>
    </inkml:brush>
  </inkml:definitions>
  <inkml:trace contextRef="#ctx0" brushRef="#br0">32 10 996 0 0,'3'-10'4069'0'0,"-2"10"-4031"0"0,4 5 256 0 0,0-1 0 0 0,0 1-1 0 0,-1 0 1 0 0,1 0 0 0 0,-1 0 0 0 0,0 1-1 0 0,0-1 1 0 0,-1 1 0 0 0,0 0 0 0 0,0 0-1 0 0,3 7 1 0 0,25 77 1610 0 0,-30-87-1854 0 0,19 65 1190 0 0,11 75 0 0 0,-26-108-981 0 0,-1 0 0 0 0,-2 0-1 0 0,-2 0 1 0 0,-4 43 0 0 0,-1-44-200 0 0,-1-1 0 0 0,-2 0 0 0 0,-1 0-1 0 0,-1-1 1 0 0,-18 38 0 0 0,17-47-944 0 0,-2 1 0 0 0,0-2 1 0 0,-1 0-1 0 0,-21 23 0 0 0,10-21-3575 0 0</inkml:trace>
</inkml:ink>
</file>

<file path=ppt/ink/ink15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7:07.310"/>
    </inkml:context>
    <inkml:brush xml:id="br0">
      <inkml:brushProperty name="width" value="0.2" units="cm"/>
      <inkml:brushProperty name="height" value="0.2" units="cm"/>
    </inkml:brush>
  </inkml:definitions>
  <inkml:trace contextRef="#ctx0" brushRef="#br0">214 57 700 0 0,'-9'-32'5383'0'0,"9"30"-5171"0"0,-1 1 1 0 0,1-1-1 0 0,-1 0 0 0 0,0 1 0 0 0,0-1 0 0 0,0 1 0 0 0,0-1 0 0 0,0 1 1 0 0,0 0-1 0 0,0-1 0 0 0,-1 1 0 0 0,1 0 0 0 0,0 0 0 0 0,-4-3 1 0 0,4 4-167 0 0,0 0 0 0 0,0 0 1 0 0,-1-1-1 0 0,1 1 1 0 0,0 0-1 0 0,0 0 1 0 0,0 0-1 0 0,-1 0 1 0 0,1 0-1 0 0,0 1 1 0 0,0-1-1 0 0,-1 0 1 0 0,1 1-1 0 0,0-1 1 0 0,0 0-1 0 0,0 1 1 0 0,-2 1-1 0 0,-21 13 226 0 0,15-9-182 0 0,-7 5-46 0 0,0 1 0 0 0,1 1-1 0 0,-14 14 1 0 0,22-21-667 0 0,1 1 0 0 0,1 0 0 0 0,-1 0 1 0 0,1 1-1 0 0,0 0 0 0 0,1 0 0 0 0,0 0 1 0 0,-6 15-1 0 0,7-11-2007 0 0</inkml:trace>
</inkml:ink>
</file>

<file path=ppt/ink/ink15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7:08.729"/>
    </inkml:context>
    <inkml:brush xml:id="br0">
      <inkml:brushProperty name="width" value="0.2" units="cm"/>
      <inkml:brushProperty name="height" value="0.2" units="cm"/>
    </inkml:brush>
  </inkml:definitions>
  <inkml:trace contextRef="#ctx0" brushRef="#br0">401 113 420 0 0,'-1'-20'2453'0'0,"1"5"-1122"0"0,0 1 0 0 0,3-22 394 0 0,-3 35-1672 0 0,1 1-1 0 0,-1-1 1 0 0,0 0-1 0 0,1 1 1 0 0,-1-1-1 0 0,0 0 1 0 0,0 0-1 0 0,0 1 1 0 0,1-1-1 0 0,-1 0 1 0 0,0 0-1 0 0,0 1 1 0 0,0-1-1 0 0,0 0 1 0 0,0 0-1 0 0,0 1 1 0 0,-1-2-1 0 0,3-11 586 0 0,0 12-452 0 0,4 8-135 0 0,-3 1 165 0 0,1 1-1 0 0,-1 0 1 0 0,-1 0 0 0 0,0 0-1 0 0,0 0 1 0 0,-1 0-1 0 0,1 10 1 0 0,-1-11-88 0 0,27 215 1968 0 0,12 132 3 0 0,-36-290-1865 0 0,-3-28-1394 0 0,8 44 1 0 0,-4-119-4407 0 0,0-47 3343 0 0,-9-40 3878 0 0,4 120-1459 0 0,0 1 0 0 0,-1 0 0 0 0,0-1 0 0 0,0 1 0 0 0,0 0 0 0 0,-3-7 0 0 0,4 10-147 0 0,-1 0 0 0 0,1 0 1 0 0,-1 0-1 0 0,0 0 0 0 0,0 0 0 0 0,1 0 1 0 0,-1 0-1 0 0,0 0 0 0 0,0 0 1 0 0,0 0-1 0 0,0 0 0 0 0,0 1 0 0 0,0-1 1 0 0,0 0-1 0 0,0 1 0 0 0,0-1 0 0 0,-1 0 1 0 0,1 1-1 0 0,0 0 0 0 0,0-1 1 0 0,0 1-1 0 0,-1 0 0 0 0,1-1 0 0 0,0 1 1 0 0,-1 0-1 0 0,1 0 0 0 0,0 0 0 0 0,0 0 1 0 0,-1 0-1 0 0,-1 1 0 0 0,-21 5 287 0 0,1 0-1 0 0,-1 2 1 0 0,1 1-1 0 0,1 0 1 0 0,-1 2-1 0 0,2 1 1 0 0,-36 24 0 0 0,12-3-29 0 0,1 3 0 0 0,-54 55 0 0 0,48-33-400 0 0,23-17-3490 0 0</inkml:trace>
</inkml:ink>
</file>

<file path=ppt/ink/ink15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7:09.080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99 1 464 0 0,'2'1'1241'0'0,"1"1"-999"0"0,0 1-1 0 0,0-1 0 0 0,0 1 0 0 0,0 0 0 0 0,0-1 0 0 0,-1 1 0 0 0,0 0 0 0 0,1 1 0 0 0,-1-1 0 0 0,0 0 0 0 0,-1 1 0 0 0,1-1 0 0 0,-1 1 0 0 0,1 0 1 0 0,-1-1-1 0 0,0 1 0 0 0,0 0 0 0 0,-1 0 0 0 0,1 0 0 0 0,-1-1 0 0 0,0 5 0 0 0,1 14 552 0 0,-1 0-1 0 0,-5 32 1 0 0,4-46-532 0 0,-5 40 716 0 0,-3 0 0 0 0,-17 52 0 0 0,-39 94 514 0 0,18-59-873 0 0,42-120-623 0 0,-15 45-367 0 0,2 1-1 0 0,-19 120 1 0 0,36-172-442 0 0,1 0 1 0 0,0 0-1 0 0,0 0 0 0 0,1 0 1 0 0,1 10-1 0 0</inkml:trace>
</inkml:ink>
</file>

<file path=ppt/ink/ink15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7:09.412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21 864 0 0,'7'-4'480'0'0,"0"1"1"0"0,1 0-1 0 0,0 1 1 0 0,0-1-1 0 0,0 1 1 0 0,0 1-1 0 0,0 0 0 0 0,0 0 1 0 0,0 0-1 0 0,0 1 1 0 0,0 0-1 0 0,0 1 0 0 0,0 0 1 0 0,12 3-1 0 0,-14-2-355 0 0,0-1 0 0 0,-1 2-1 0 0,1-1 1 0 0,-1 0 0 0 0,0 1 0 0 0,0 0-1 0 0,0 1 1 0 0,0-1 0 0 0,0 1 0 0 0,-1 0-1 0 0,1 0 1 0 0,-1 0 0 0 0,0 0 0 0 0,-1 1-1 0 0,1 0 1 0 0,-1 0 0 0 0,0 0-1 0 0,0 0 1 0 0,0 0 0 0 0,3 11 0 0 0,-3-7-7 0 0,0 2 1 0 0,-1-1-1 0 0,-1 0 1 0 0,0 0-1 0 0,0 1 1 0 0,-1-1-1 0 0,0 0 1 0 0,-1 1 0 0 0,0-1-1 0 0,0 0 1 0 0,-1 0-1 0 0,-1 0 1 0 0,1 0-1 0 0,-2 0 1 0 0,-6 14-1 0 0,-8 11 408 0 0,-1 0-1 0 0,-41 56 0 0 0,20-33 790 0 0,37-54-1214 0 0,2-3 94 0 0,0 1 0 0 0,0-1 0 0 0,0 1 0 0 0,0 0 0 0 0,0 0 0 0 0,0 0 0 0 0,0 0 0 0 0,1-1 0 0 0,-1 4 0 0 0,1-5-166 0 0,0 1-1 0 0,0-1 0 0 0,1 1 0 0 0,-1-1 0 0 0,1 1 0 0 0,-1-1 0 0 0,0 1 1 0 0,1-1-1 0 0,-1 1 0 0 0,1-1 0 0 0,-1 1 0 0 0,1-1 0 0 0,-1 0 1 0 0,1 0-1 0 0,-1 1 0 0 0,1-1 0 0 0,0 0 0 0 0,-1 0 0 0 0,1 1 1 0 0,-1-1-1 0 0,1 0 0 0 0,0 0 0 0 0,-1 0 0 0 0,1 0 0 0 0,0 0 1 0 0,-1 0-1 0 0,1 0 0 0 0,-1 0 0 0 0,1 0 0 0 0,0 0 0 0 0,-1 0 1 0 0,2-1-1 0 0,18 0 304 0 0,-1-1 1 0 0,36-9-1 0 0,-21 4-13 0 0,183-43 744 0 0,-157 39-3588 0 0,-45 11-239 0 0</inkml:trace>
</inkml:ink>
</file>

<file path=ppt/ink/ink15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7:09.750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64 756 0 0,'11'-5'4493'0'0,"24"-13"-301"0"0,-25 14-3715 0 0,1 0 1 0 0,0 0 0 0 0,15-3 0 0 0,86-11 214 0 0,-94 16-2077 0 0,-1 1 0 0 0,0 1 0 0 0,1 1 0 0 0,26 4 0 0 0,-31-2-1330 0 0</inkml:trace>
  <inkml:trace contextRef="#ctx0" brushRef="#br0" timeOffset="1">110 282 580 0 0,'-30'27'7420'0'0,"24"-17"-5789"0"0,10-10-1007 0 0,26 0-94 0 0,1-2 0 0 0,-1-1 0 0 0,31-7 0 0 0,-15 3-311 0 0,83-11-1021 0 0,-7 1-5507 0 0,-94 14 3230 0 0</inkml:trace>
</inkml:ink>
</file>

<file path=ppt/ink/ink15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7:10.392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59 340 1620 0 0,'-18'-25'2526'0'0,"-27"-44"1"0"0,38 56-2015 0 0,1-1 1 0 0,0 0 0 0 0,0 0 0 0 0,1 0 0 0 0,-4-23 0 0 0,8 33-452 0 0,1-1 1 0 0,0 0 0 0 0,0 0-1 0 0,0 0 1 0 0,0 0-1 0 0,1 0 1 0 0,0 0 0 0 0,0 0-1 0 0,0 1 1 0 0,1-1 0 0 0,0 0-1 0 0,-1 1 1 0 0,2-1 0 0 0,-1 1-1 0 0,0 0 1 0 0,1 0 0 0 0,0 0-1 0 0,0 0 1 0 0,0 0 0 0 0,0 0-1 0 0,1 1 1 0 0,-1 0 0 0 0,1 0-1 0 0,0 0 1 0 0,0 0 0 0 0,5-2-1 0 0,-3 1-32 0 0,0 1 0 0 0,0 0-1 0 0,0 0 1 0 0,0 1 0 0 0,1-1 0 0 0,-1 2-1 0 0,1-1 1 0 0,0 1 0 0 0,-1 0 0 0 0,1 0-1 0 0,0 1 1 0 0,0-1 0 0 0,0 2 0 0 0,-1-1-1 0 0,1 1 1 0 0,0 0 0 0 0,0 0 0 0 0,8 4-1 0 0,-8-2 0 0 0,0 0 0 0 0,0 1-1 0 0,0-1 1 0 0,0 2-1 0 0,-1-1 1 0 0,0 1-1 0 0,0 0 1 0 0,0 0-1 0 0,-1 0 1 0 0,1 1 0 0 0,-1 0-1 0 0,-1 0 1 0 0,1 1-1 0 0,-1-1 1 0 0,0 1-1 0 0,0 0 1 0 0,4 13 0 0 0,-5-10 49 0 0,0 0-1 0 0,0 1 1 0 0,-1-1 0 0 0,-1 1 0 0 0,0-1 0 0 0,0 1 0 0 0,-1-1 0 0 0,0 1 0 0 0,-1 0 0 0 0,0-1 0 0 0,-1 1 0 0 0,-5 16 0 0 0,-14 33 351 0 0,13-43-314 0 0,2 1 0 0 0,0 0 0 0 0,1 1 0 0 0,-3 21 0 0 0,8-38-103 0 0,0 0 0 0 0,0 0 0 0 0,1 0 0 0 0,-1 0 0 0 0,1 0 1 0 0,-1 0-1 0 0,1 0 0 0 0,0 0 0 0 0,0 0 0 0 0,0 0 0 0 0,0-1 1 0 0,0 1-1 0 0,0 0 0 0 0,0 0 0 0 0,1-1 0 0 0,-1 1 0 0 0,1-1 1 0 0,-1 1-1 0 0,3 0 0 0 0,32 24 58 0 0,-33-25-65 0 0,45 26 80 0 0,37 24-93 0 0,-76-45 52 0 0,-1 0-1 0 0,1 1 1 0 0,-2 0-1 0 0,1 0 0 0 0,-1 1 1 0 0,13 17-1 0 0,-19-23 33 0 0,0 0 0 0 0,1 0 0 0 0,-1 0 0 0 0,0 1 0 0 0,0-1 1 0 0,-1 0-1 0 0,1 1 0 0 0,0-1 0 0 0,-1 0 0 0 0,1 1 0 0 0,-1-1 0 0 0,0 1 0 0 0,0-1 0 0 0,0 1 0 0 0,0-1 0 0 0,0 0 0 0 0,0 1 0 0 0,-1-1 0 0 0,-1 5 0 0 0,1-3 32 0 0,-1-1-1 0 0,0 1 1 0 0,0 0 0 0 0,-1-1 0 0 0,1 0-1 0 0,-1 0 1 0 0,1 1 0 0 0,-1-2 0 0 0,0 1-1 0 0,-7 5 1 0 0,-3 1 131 0 0,-1-1 0 0 0,0 0 0 0 0,-1-1-1 0 0,0-1 1 0 0,-16 5 0 0 0,-14 3-37 0 0,0-2-1 0 0,-1-3 1 0 0,0-1 0 0 0,0-2 0 0 0,-1-3-1 0 0,-61-2 1 0 0,79-6-1778 0 0,28 5 1466 0 0,0 0 0 0 0,0 0 1 0 0,1 0-1 0 0,-1 0 0 0 0,0 0 1 0 0,0 0-1 0 0,0 0 0 0 0,1-1 0 0 0,-1 1 1 0 0,0 0-1 0 0,0-1 0 0 0,0 1 1 0 0,1 0-1 0 0,-1-1 0 0 0,0 1 1 0 0,1-1-1 0 0,-1 1 0 0 0,0-1 1 0 0,1 1-1 0 0,-1-1 0 0 0,1 0 1 0 0,-1 1-1 0 0,1-1 0 0 0,-1 0 1 0 0,1 1-1 0 0,-1-1 0 0 0,1 0 0 0 0,0 0 1 0 0,-1 0-1 0 0,1 1 0 0 0,0-1 1 0 0,0-1-1 0 0,2-3-471 0 0,0 1-1 0 0,1 0 1 0 0,0 0 0 0 0,0 1-1 0 0,0-1 1 0 0,1 1 0 0 0,-1-1-1 0 0,1 1 1 0 0,0 0 0 0 0,0 0-1 0 0,0 1 1 0 0,6-4-1 0 0,-2 1-790 0 0,11-8-2679 0 0</inkml:trace>
</inkml:ink>
</file>

<file path=ppt/ink/ink1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40.33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70 10321,'26'-16'2609,"-2"2"-1980,-9 8-179,2 0 0,0 0-90,-1 1-91,0 0-89,-1 2 0,1 0 0,-1 0-810,5 1-899,0 2-1799,2 2 3328,-3 2 0,-9-1 0,-3-1 0</inkml:trace>
</inkml:ink>
</file>

<file path=ppt/ink/ink15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7:13.163"/>
    </inkml:context>
    <inkml:brush xml:id="br0">
      <inkml:brushProperty name="width" value="0.2" units="cm"/>
      <inkml:brushProperty name="height" value="0.2" units="cm"/>
    </inkml:brush>
  </inkml:definitions>
  <inkml:trace contextRef="#ctx0" brushRef="#br0">24 495 1104 0 0,'-4'-8'567'0'0,"0"-1"0"0"0,1 0 0 0 0,0 0 0 0 0,0 0 0 0 0,1 0 0 0 0,1 0 0 0 0,-1-1 0 0 0,1 1 0 0 0,1 0 0 0 0,0-1 0 0 0,0 1 0 0 0,3-16 0 0 0,-2 20-449 0 0,0-1 1 0 0,1 1-1 0 0,-1 0 0 0 0,1-1 0 0 0,0 1 0 0 0,1 0 0 0 0,0 0 0 0 0,-1 1 1 0 0,1-1-1 0 0,1 1 0 0 0,-1-1 0 0 0,1 1 0 0 0,-1 0 0 0 0,1 0 0 0 0,0 0 1 0 0,1 1-1 0 0,-1 0 0 0 0,1-1 0 0 0,-1 1 0 0 0,1 1 0 0 0,10-5 0 0 0,-7 6-53 0 0,0 0 0 0 0,-1 0-1 0 0,1 0 1 0 0,0 1 0 0 0,0 1-1 0 0,0-1 1 0 0,0 1 0 0 0,0 1-1 0 0,-1-1 1 0 0,1 1 0 0 0,10 4-1 0 0,5 2 45 0 0,76 24 1798 0 0,-96-32-1832 0 0,0 0-1 0 0,0-1 1 0 0,0 1-1 0 0,0 0 1 0 0,0-1-1 0 0,-1 0 1 0 0,1 0 0 0 0,0 0-1 0 0,0 0 1 0 0,-1 0-1 0 0,1-1 1 0 0,0 1-1 0 0,-1-1 1 0 0,0 1 0 0 0,1-1-1 0 0,2-3 1 0 0,-1 2-25 0 0,8-7 57 0 0,0 0-1 0 0,-1-1 1 0 0,0-1-1 0 0,15-21 0 0 0,33-58 48 0 0,-22 33-102 0 0,-1 3-213 0 0,-35 54 142 0 0,1-1 9 0 0,-2 1-47 0 0,0 1-1 0 0,1 0 1 0 0,-1-1-1 0 0,0 1 0 0 0,0 0 1 0 0,1 0-1 0 0,-1-1 0 0 0,0 1 1 0 0,0 0-1 0 0,1-1 1 0 0,-1 1-1 0 0,0 0 0 0 0,1 0 1 0 0,-1 0-1 0 0,1-1 1 0 0,-1 1-1 0 0,0 0 0 0 0,1 0 1 0 0,-1 0-1 0 0,0 0 0 0 0,1 0 1 0 0,-1 0-1 0 0,1 0 1 0 0,0 0-1 0 0,1 1-355 0 0,1 0 0 0 0,0 0 1 0 0,-1 1-1 0 0,1-1 0 0 0,-1 1 0 0 0,1 0 1 0 0,-1-1-1 0 0,0 1 0 0 0,0 0 0 0 0,0 0 0 0 0,0 1 1 0 0,0-1-1 0 0,0 0 0 0 0,-1 1 0 0 0,3 4 1 0 0</inkml:trace>
</inkml:ink>
</file>

<file path=ppt/ink/ink15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7:13.913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0 1060 0 0,'2'3'1126'0'0,"4"7"-426"0"0,0 0 0 0 0,-1 1 0 0 0,0 0 0 0 0,-1 0 1 0 0,0 0-1 0 0,4 18 0 0 0,9 79 1442 0 0,-11-61-1385 0 0,8 42 334 0 0,17 142 957 0 0,-30-225-1713 0 0,-1 1 1 0 0,0 0 0 0 0,0-1 0 0 0,-1 1 0 0 0,-1 7 0 0 0,2-12-117 0 0,-6-3 32 0 0,5 1-242 0 0,1 0 1 0 0,-1 0 0 0 0,0 0-1 0 0,0 0 1 0 0,1 0-1 0 0,-1 0 1 0 0,0 0 0 0 0,0 0-1 0 0,1 0 1 0 0,-1-1 0 0 0,0 1-1 0 0,1 0 1 0 0,-1 0-1 0 0,0-1 1 0 0,1 1 0 0 0,-1 0-1 0 0,0-1 1 0 0,-5-5 10 0 0,1 0 0 0 0,0-1 0 0 0,0 1 0 0 0,1-1 0 0 0,0 0 0 0 0,0 0 0 0 0,1 0 0 0 0,0-1 0 0 0,0 1 0 0 0,0-1 0 0 0,1 1 0 0 0,0-1 0 0 0,1 0 0 0 0,0 0 0 0 0,0-12 0 0 0,0-5-41 0 0,1 0 0 0 0,2 0 0 0 0,8-45 0 0 0,-7 54-10 0 0,1 1 1 0 0,1-1-1 0 0,13-28 1 0 0,-16 39 15 0 0,0 0 0 0 0,1 0 0 0 0,0 1 1 0 0,0-1-1 0 0,0 1 0 0 0,0-1 1 0 0,1 1-1 0 0,0 0 0 0 0,-1 0 1 0 0,2 1-1 0 0,-1-1 0 0 0,0 1 0 0 0,1 0 1 0 0,7-4-1 0 0,-6 5-13 0 0,22-1-32 0 0,-19 6 53 0 0,-4-1-3 0 0,10 3 4 0 0,0 1-1 0 0,0 0 0 0 0,-1 0 0 0 0,1 2 1 0 0,15 10-1 0 0,-18-10 25 0 0,0-1 0 0 0,0 0 0 0 0,1-1 0 0 0,0 0 0 0 0,0-1 0 0 0,21 5 0 0 0,-26-8-11 0 0,1-1 1 0 0,0 0-1 0 0,-1-1 1 0 0,1 1-1 0 0,-1-2 1 0 0,1 1 0 0 0,0-1-1 0 0,-1-1 1 0 0,12-2-1 0 0,-15 2-77 0 0,0 0 1 0 0,0 0-1 0 0,0-1 0 0 0,0 0 0 0 0,-1 0 1 0 0,1 0-1 0 0,-1 0 0 0 0,0 0 0 0 0,0-1 1 0 0,0 0-1 0 0,0 0 0 0 0,0 0 0 0 0,-1 0 1 0 0,0-1-1 0 0,5-7 0 0 0,4-12-117 0 0,-1 0 0 0 0,-1 0 1 0 0,-1-1-1 0 0,11-51 0 0 0,-15 64 224 0 0,-1 19 519 0 0,0 18 62 0 0,-2-5-381 0 0,1-1 0 0 0,1 0 0 0 0,0 0 0 0 0,1 0 0 0 0,1 0 0 0 0,11 22 0 0 0,3-1-15 0 0,38 60 1 0 0,-53-91-582 0 0,1-1 1 0 0,0 0-1 0 0,1-1 1 0 0,-1 1-1 0 0,1-1 0 0 0,1 0 1 0 0,-1-1-1 0 0,1 0 1 0 0,0 0-1 0 0,10 5 1 0 0,-17-10 246 0 0,1-1 1 0 0,-1 1 0 0 0,0-1 0 0 0,0 1 0 0 0,1-1-1 0 0,-1 0 1 0 0,0 1 0 0 0,1-1 0 0 0,-1 0-1 0 0,0 0 1 0 0,0 0 0 0 0,1 0 0 0 0,1 0 0 0 0,1 0-190 0 0,-3 0 212 0 0,0 0 0 0 0,1 1 1 0 0,-1-1-1 0 0,0 0 0 0 0,0 0 0 0 0,1-1 1 0 0,-1 1-1 0 0,0 0 0 0 0,0 0 0 0 0,1-1 1 0 0,-1 1-1 0 0,0 0 0 0 0,0-1 0 0 0,0 0 0 0 0,1 1 1 0 0,-1-1-1 0 0,0 0 0 0 0,1 0 0 0 0,2-2-211 0 0,3-1 131 0 0,1-1-1 0 0,-1-1 1 0 0,0 1-1 0 0,-1-1 1 0 0,1-1-1 0 0,-1 1 1 0 0,0-1-1 0 0,-1 0 1 0 0,0 0-1 0 0,0-1 1 0 0,5-9-1 0 0,25-32 4943 0 0,-30 53-3997 0 0,-5-4-759 0 0,0 0 0 0 0,0 0-1 0 0,1 0 1 0 0,-1 1 0 0 0,0-1 0 0 0,1 0-1 0 0,-1 0 1 0 0,0 0 0 0 0,0 0 0 0 0,1 0-1 0 0,-1 1 1 0 0,0-1 0 0 0,0 0 0 0 0,1 0-1 0 0,-1 0 1 0 0,0 1 0 0 0,0-1 0 0 0,0 0-1 0 0,0 0 1 0 0,1 0 0 0 0,-1 1 0 0 0,0-1-1 0 0,0 0 1 0 0,0 1 0 0 0,0-1 0 0 0,0 0-1 0 0,0 0 1 0 0,0 1 0 0 0,1-1 0 0 0,-1 0-1 0 0,0 1 1 0 0,0-1 0 0 0,0 0 0 0 0,0 0-1 0 0,0 1 1 0 0,0-1 0 0 0,-1 0 0 0 0,1 1-1 0 0,0-1 1 0 0,-2 24 209 0 0,1-1-1 0 0,0 1 1 0 0,2-1-1 0 0,1 0 1 0 0,8 41-1 0 0,-3-20-1752 0 0,-7-44 1514 0 0,6 35-2896 0 0</inkml:trace>
</inkml:ink>
</file>

<file path=ppt/ink/ink15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7:14.301"/>
    </inkml:context>
    <inkml:brush xml:id="br0">
      <inkml:brushProperty name="width" value="0.2" units="cm"/>
      <inkml:brushProperty name="height" value="0.2" units="cm"/>
    </inkml:brush>
  </inkml:definitions>
  <inkml:trace contextRef="#ctx0" brushRef="#br0">97 136 1068 0 0,'-7'-15'1248'0'0,"0"-1"1"0"0,-2 1-1 0 0,0 0 1 0 0,0 1-1 0 0,-2 0 0 0 0,-12-14 1 0 0,3 12-515 0 0,18 14-758 0 0,17 9-3002 0 0,-13-6 2761 0 0,0 0 0 0 0,0 0 1 0 0,0 0-1 0 0,0-1 0 0 0,0 1 0 0 0,0-1 0 0 0,1 1 0 0 0,1-1 1 0 0,4 1-369 0 0,15 2-1438 0 0</inkml:trace>
</inkml:ink>
</file>

<file path=ppt/ink/ink15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7:14.629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0 268 0 0,'11'11'1033'0'0,"0"-1"-1"0"0,-1 2 0 0 0,0-1 1 0 0,-1 1-1 0 0,0 1 1 0 0,-1 0-1 0 0,8 16 1 0 0,-11-19-461 0 0,-1 1 0 0 0,0 0 0 0 0,-1 0 0 0 0,0 0 0 0 0,-1 0 0 0 0,0 0 0 0 0,-1 1 0 0 0,0-1 1 0 0,0 0-1 0 0,-3 16 0 0 0,0 32 4195 0 0,25-77-4346 0 0,-6 4-427 0 0,0 1 0 0 0,2 0 0 0 0,-1 1 0 0 0,2 1 0 0 0,23-9 0 0 0,-8 6-48 0 0,0 1 0 0 0,46-10 1 0 0,-69 20 43 0 0,-1 1-1 0 0,1 0 1 0 0,0 1 0 0 0,0 1 0 0 0,0 0 0 0 0,0 0-1 0 0,0 1 1 0 0,0 0 0 0 0,-1 1 0 0 0,1 1-1 0 0,14 5 1 0 0,-20-6-43 0 0,-1 0-1 0 0,0 0 1 0 0,0 1-1 0 0,0 0 1 0 0,0 0-1 0 0,0 0 1 0 0,-1 1-1 0 0,1 0 1 0 0,-1 0 0 0 0,0 0-1 0 0,0 0 1 0 0,-1 0-1 0 0,1 1 1 0 0,-1 0-1 0 0,0 0 1 0 0,0 0-1 0 0,0 0 1 0 0,-1 0-1 0 0,0 0 1 0 0,0 1-1 0 0,0-1 1 0 0,-1 1-1 0 0,0-1 1 0 0,0 1-1 0 0,0 6 1 0 0,0-4-763 0 0,1 23-2005 0 0</inkml:trace>
</inkml:ink>
</file>

<file path=ppt/ink/ink15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8:38.371"/>
    </inkml:context>
    <inkml:brush xml:id="br0">
      <inkml:brushProperty name="width" value="0.2" units="cm"/>
      <inkml:brushProperty name="height" value="0.2" units="cm"/>
    </inkml:brush>
  </inkml:definitions>
  <inkml:trace contextRef="#ctx0" brushRef="#br0">28 309 1308 0 0,'0'-1'249'0'0,"-3"-5"546"0"0,1 1 0 0 0,-1 0 0 0 0,1 0 0 0 0,-1 1 0 0 0,-5-7 0 0 0,7 11-740 0 0,1 1-1 0 0,-1-1 1 0 0,1 0-1 0 0,-1 1 1 0 0,1-1-1 0 0,0 1 1 0 0,-1-1-1 0 0,1 1 1 0 0,0-1-1 0 0,-1 0 1 0 0,1 1-1 0 0,0-1 1 0 0,-1 1-1 0 0,1 0 1 0 0,0-1-1 0 0,0 1 1 0 0,0-1-1 0 0,0 1 1 0 0,0-1-1 0 0,0 1 1 0 0,-1-1-1 0 0,1 1 0 0 0,0 0 1 0 0,0-1-1 0 0,1 1 1 0 0,-1-1-1 0 0,0 1 1 0 0,0-1-1 0 0,0 2 1 0 0,3 18 480 0 0,-3-19-503 0 0,9 51 1382 0 0,20 63 0 0 0,-8-38-644 0 0,36 144 701 0 0,24 103-306 0 0,-64-249-903 0 0,-1-13 593 0 0,11 106-1 0 0,-29-144 464 0 0,2-22-1018 0 0,-4-4-92 0 0,-1-2-248 0 0,0 0 1 0 0,0-1-1 0 0,0 0 1 0 0,1 1-1 0 0,-1-2 1 0 0,1 1-1 0 0,0 0 1 0 0,1-1-1 0 0,-5-9 1 0 0,-26-64-807 0 0,27 61 687 0 0,-12-37-373 0 0,2-1 0 0 0,2 0 0 0 0,3-1 0 0 0,3 0 1 0 0,-5-94-1 0 0,14 83 256 0 0,2 1 0 0 0,2 0 0 0 0,4 0 0 0 0,26-105 0 0 0,-22 128 163 0 0,2 0 0 0 0,27-58-1 0 0,-31 82 72 0 0,0 1-1 0 0,1 1 0 0 0,0 0 0 0 0,2 0 0 0 0,0 1 0 0 0,1 1 0 0 0,22-20 0 0 0,-31 31 29 0 0,2 0-1 0 0,-1 1 0 0 0,0 0 0 0 0,1 0 0 0 0,0 0 1 0 0,0 1-1 0 0,0 0 0 0 0,0 0 0 0 0,0 0 0 0 0,1 1 0 0 0,-1 1 1 0 0,1-1-1 0 0,-1 1 0 0 0,1 0 0 0 0,0 1 0 0 0,-1 0 1 0 0,1 0-1 0 0,0 0 0 0 0,0 1 0 0 0,10 3 0 0 0,-11-2 29 0 0,0 0 0 0 0,-1 1 0 0 0,1 0-1 0 0,-1 0 1 0 0,0 0 0 0 0,0 1 0 0 0,0 0 0 0 0,0 0-1 0 0,-1 1 1 0 0,1-1 0 0 0,-1 1 0 0 0,0 1 0 0 0,-1-1-1 0 0,1 0 1 0 0,-1 1 0 0 0,0 0 0 0 0,-1 0-1 0 0,1 0 1 0 0,-1 1 0 0 0,0-1 0 0 0,-1 1 0 0 0,3 10-1 0 0,-3-7 26 0 0,-1 0-1 0 0,0 0 0 0 0,0 1 0 0 0,-1-1 1 0 0,0 0-1 0 0,-1 1 0 0 0,0-1 0 0 0,-1 0 0 0 0,0 0 1 0 0,0 0-1 0 0,-1 0 0 0 0,-1 0 0 0 0,0-1 1 0 0,0 1-1 0 0,-9 13 0 0 0,1-4 23 0 0,0 1-1 0 0,-2-2 1 0 0,0 1 0 0 0,-2-2 0 0 0,-32 30 0 0 0,25-28-202 0 0,-2 0 0 0 0,0-2 1 0 0,-28 15-1 0 0,37-24-1115 0 0,-1 0 0 0 0,0-1 0 0 0,-24 7 0 0 0,17-10-3642 0 0</inkml:trace>
</inkml:ink>
</file>

<file path=ppt/ink/ink15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8:38.699"/>
    </inkml:context>
    <inkml:brush xml:id="br0">
      <inkml:brushProperty name="width" value="0.2" units="cm"/>
      <inkml:brushProperty name="height" value="0.2" units="cm"/>
    </inkml:brush>
  </inkml:definitions>
  <inkml:trace contextRef="#ctx0" brushRef="#br0">314 1 940 0 0,'-1'1'1730'0'0,"-51"63"3295"0"0,-90 133-1319 0 0,123-167-3261 0 0,1 1 0 0 0,2 1-1 0 0,2 0 1 0 0,-21 64 0 0 0,30-77-238 0 0,1 0 0 0 0,1 0 1 0 0,1 1-1 0 0,0 0 1 0 0,2-1-1 0 0,0 1 0 0 0,1 0 1 0 0,1-1-1 0 0,1 1 1 0 0,1-1-1 0 0,11 34 1 0 0,-7-32-94 0 0,0-1 0 0 0,2 0 0 0 0,1-1 0 0 0,0 0 0 0 0,1-1 0 0 0,1 0 0 0 0,1-1 1 0 0,1 0-1 0 0,0-1 0 0 0,22 18 0 0 0,11 4-341 0 0,56 35 0 0 0,5-10-6308 0 0</inkml:trace>
</inkml:ink>
</file>

<file path=ppt/ink/ink15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8:43.336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168 1600 0 0,'11'-22'1528'0'0,"-2"1"-332"0"0,2 2 53 0 0,-3 1-221 0 0,-1 1-112 0 0,1 3-148 0 0,-1-2-96 0 0,-1 5-156 0 0,-1 1-108 0 0,1 2 212 0 0,3-3 152 0 0</inkml:trace>
</inkml:ink>
</file>

<file path=ppt/ink/ink15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8:43.755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2 2228 0 0,'15'-2'1216'0'0,"0"4"-232"0"0,0 2 20 0 0</inkml:trace>
</inkml:ink>
</file>

<file path=ppt/ink/ink15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8:44.587"/>
    </inkml:context>
    <inkml:brush xml:id="br0">
      <inkml:brushProperty name="width" value="0.2" units="cm"/>
      <inkml:brushProperty name="height" value="0.2" units="cm"/>
    </inkml:brush>
  </inkml:definitions>
  <inkml:trace contextRef="#ctx0" brushRef="#br0">535 42 1536 0 0,'-2'-16'2255'0'0,"-4"-6"1018"0"0,6 22-3225 0 0,-1-1 1 0 0,1 1-1 0 0,-1 0 0 0 0,0-1 1 0 0,1 1-1 0 0,-1 0 0 0 0,1-1 0 0 0,-1 1 1 0 0,0 0-1 0 0,1 0 0 0 0,-1 0 1 0 0,0 0-1 0 0,1-1 0 0 0,-1 1 1 0 0,0 0-1 0 0,0 0 0 0 0,1 0 1 0 0,-1 0-1 0 0,0 1 0 0 0,1-1 1 0 0,-1 0-1 0 0,0 0 0 0 0,1 0 1 0 0,-1 0-1 0 0,0 1 0 0 0,1-1 0 0 0,-1 0 1 0 0,1 1-1 0 0,-2 0 0 0 0,-2 1 98 0 0,0 1-1 0 0,1-1 1 0 0,-1 1-1 0 0,1 0 1 0 0,-1 0-1 0 0,1 0 1 0 0,0 1-1 0 0,0-1 1 0 0,1 1-1 0 0,-3 4 1 0 0,0-1 55 0 0,-159 250 3169 0 0,24 16-1856 0 0,91-174-1264 0 0,-19 38-244 0 0,25-46-3130 0 0</inkml:trace>
</inkml:ink>
</file>

<file path=ppt/ink/ink15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8:44.972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17 276 0 0,'21'-16'6372'0'0,"-20"16"-6248"0"0,2 2 228 0 0,0 0-1 0 0,0 0 1 0 0,0 0 0 0 0,-1 1-1 0 0,1-1 1 0 0,-1 1-1 0 0,4 4 1 0 0,-5-6-308 0 0,227 275 6942 0 0,-29-22-5393 0 0,-83-72-5726 0 0,-93-150 51 0 0</inkml:trace>
</inkml:ink>
</file>

<file path=ppt/ink/ink1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40.62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9242,'28'-1'4587,"-6"1"-3777,0 1-91,-5 2-89,0 1 0,0 3-181,0 2 1,-1 2-90,-2 3 0,-1 2-181,-2 1 91,-2 3-90,-3 1-90,-2 1 0,-3 1 90,-3 1-90,-3 1 0,-3 0-90,-2 0 90,-2 0 0,-2-1 90,0-2-90,1-1 90,1-3-1,1-2 181,0 0 180,2-4 629,0 0 91,0 1-631,8 0-89,5-2-360,12-1 90,1-6-180,3 1 89,-3-4-89,1 1-90,1 0 0,0-1-179,1 0-181,-1 0-270,-1 0-989,-1 0-720,6 0 2339,5 1 0,-11-1 0,0 1 0</inkml:trace>
</inkml:ink>
</file>

<file path=ppt/ink/ink15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8:45.369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7 1348 0 0,'7'-2'414'0'0,"0"0"-1"0"0,1 1 1 0 0,-1 0-1 0 0,1 1 1 0 0,-1 0-1 0 0,1 0 1 0 0,-1 0-1 0 0,1 1 0 0 0,-1 0 1 0 0,1 1-1 0 0,-1-1 1 0 0,0 2-1 0 0,0-1 1 0 0,0 1-1 0 0,0 0 1 0 0,0 0-1 0 0,10 7 1 0 0,-1 1 50 0 0,-2 0 0 0 0,1 1 0 0 0,-2 1 0 0 0,0 0 0 0 0,0 0 1 0 0,-1 2-1 0 0,13 20 0 0 0,-7-7 201 0 0,-1 1 0 0 0,-2 0 1 0 0,15 40-1 0 0,-22-47-379 0 0,-1 1 0 0 0,-1 1 1 0 0,-1-1-1 0 0,-1 1 0 0 0,-1 0 0 0 0,-1 0 1 0 0,-2 0-1 0 0,0 0 0 0 0,-4 32 1 0 0,0-35-358 0 0,0-1 1 0 0,-1 0 0 0 0,-1 0 0 0 0,-13 30-1 0 0,12-34-569 0 0,-2-1 0 0 0,1 0 0 0 0,-2 0 1 0 0,0-1-1 0 0,-22 24 0 0 0,4-16-5231 0 0,11-12 4697 0 0</inkml:trace>
  <inkml:trace contextRef="#ctx0" brushRef="#br0" timeOffset="1">808 222 1036 0 0,'52'-20'4422'0'0,"93"-23"0"0"0,58 2-1756 0 0,-189 39-2526 0 0,107-17 129 0 0,-98 16-1571 0 0,0 2 0 0 0,0 1 0 0 0,28 2 0 0 0</inkml:trace>
</inkml:ink>
</file>

<file path=ppt/ink/ink15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8:45.684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03 12 1696 0 0,'-102'75'11621'0'0,"102"-75"-11576"0"0,0 0 0 0 0,0 0 0 0 0,0 0-1 0 0,1 0 1 0 0,13 2 777 0 0,22-2-37 0 0,0-2-1 0 0,-1-2 1 0 0,38-8-1 0 0,6-1-249 0 0,121-18 169 0 0,-115 16-3473 0 0,-26 4-2558 0 0</inkml:trace>
</inkml:ink>
</file>

<file path=ppt/ink/ink15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8:46.181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90 231 1200 0 0,'11'-9'2793'0'0,"-8"9"-2589"0"0,0 0 0 0 0,0 1 1 0 0,0 0-1 0 0,0-1 0 0 0,0 1 0 0 0,0 1 0 0 0,0-1 1 0 0,-1 0-1 0 0,1 0 0 0 0,0 1 0 0 0,-1 0 0 0 0,1 0 0 0 0,-1-1 1 0 0,1 1-1 0 0,1 3 0 0 0,0-2-21 0 0,0 1 0 0 0,0-1 0 0 0,0-1 0 0 0,0 1 0 0 0,1 0 0 0 0,4 1 0 0 0,-1 0-45 0 0,1-1 0 0 0,0 0 0 0 0,0-1-1 0 0,0 0 1 0 0,0 0 0 0 0,0-1-1 0 0,0 0 1 0 0,0-1 0 0 0,0 0-1 0 0,1 0 1 0 0,-1-1 0 0 0,0 0 0 0 0,0 0-1 0 0,0-1 1 0 0,0 0 0 0 0,16-7-1 0 0,-16 4-94 0 0,0 0 1 0 0,0-1-1 0 0,0 0 0 0 0,-1 0 0 0 0,0 0 0 0 0,12-14 0 0 0,-16 15-29 0 0,0 0 0 0 0,0 0 0 0 0,-1 0 0 0 0,0-1 0 0 0,0 1-1 0 0,0-1 1 0 0,0 1 0 0 0,-1-1 0 0 0,0 0 0 0 0,-1 0 0 0 0,1 0 0 0 0,-1 0 0 0 0,1-10-1 0 0,-2 10-11 0 0,0 1-1 0 0,0-1 0 0 0,0 0 1 0 0,-1 0-1 0 0,0 1 0 0 0,0-1 1 0 0,0 0-1 0 0,-1 1 0 0 0,0-1 1 0 0,0 1-1 0 0,0 0 0 0 0,-1 0 1 0 0,1 0-1 0 0,-7-9 0 0 0,6 11 8 0 0,0 0 0 0 0,0 0-1 0 0,0 0 1 0 0,-1 1 0 0 0,1-1-1 0 0,-1 1 1 0 0,1-1 0 0 0,-1 1 0 0 0,0 0-1 0 0,0 1 1 0 0,0-1 0 0 0,0 1-1 0 0,0 0 1 0 0,0 0 0 0 0,0 0 0 0 0,-1 0-1 0 0,1 1 1 0 0,0-1 0 0 0,-1 1-1 0 0,-6 1 1 0 0,-5 1 92 0 0,1 1 0 0 0,-1 0 0 0 0,1 1-1 0 0,0 1 1 0 0,1 0 0 0 0,-1 1 0 0 0,1 0 0 0 0,0 2 0 0 0,-17 11 0 0 0,0 2 384 0 0,1 2 0 0 0,-47 47 0 0 0,60-54-229 0 0,1 2 0 0 0,1 0 0 0 0,1 0 0 0 0,1 2 0 0 0,0 0 0 0 0,-14 30 0 0 0,22-39-115 0 0,1 0 1 0 0,0 1-1 0 0,0 0 0 0 0,1 0 0 0 0,0 0 1 0 0,1 0-1 0 0,1 0 0 0 0,0 0 1 0 0,0 1-1 0 0,2-1 0 0 0,-1 0 0 0 0,2 1 1 0 0,-1-1-1 0 0,4 12 0 0 0,-1-11-27 0 0,1 0 0 0 0,-1-1 0 0 0,2 0 0 0 0,0 0-1 0 0,0 0 1 0 0,1-1 0 0 0,1 0 0 0 0,-1 0 0 0 0,2-1-1 0 0,0 0 1 0 0,0 0 0 0 0,11 8 0 0 0,-6-7-32 0 0,0-2-1 0 0,0 1 1 0 0,1-2-1 0 0,0 0 1 0 0,0-1 0 0 0,1 0-1 0 0,0-1 1 0 0,30 7-1 0 0,-25-9-337 0 0,1-1 0 0 0,0 0 0 0 0,0-2 0 0 0,1-1 0 0 0,-1 0 0 0 0,34-6-1 0 0,-36 3-505 0 0,-1-1-1 0 0,0-1 0 0 0,0-1 0 0 0,-1-1 0 0 0,1 0 0 0 0,-2-1 0 0 0,25-15 0 0 0,-2-5-3234 0 0,-5-3-1876 0 0</inkml:trace>
</inkml:ink>
</file>

<file path=ppt/ink/ink15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8:46.573"/>
    </inkml:context>
    <inkml:brush xml:id="br0">
      <inkml:brushProperty name="width" value="0.2" units="cm"/>
      <inkml:brushProperty name="height" value="0.2" units="cm"/>
    </inkml:brush>
  </inkml:definitions>
  <inkml:trace contextRef="#ctx0" brushRef="#br0">27 82 2252 0 0,'-20'-7'5998'0'0,"20"7"-5947"0"0,-1-1-1 0 0,1 1 1 0 0,0 0 0 0 0,-1 0 0 0 0,1 0-1 0 0,0 0 1 0 0,-1 0 0 0 0,1 0 0 0 0,0-1-1 0 0,0 1 1 0 0,-1 0 0 0 0,1 0-1 0 0,0 0 1 0 0,0-1 0 0 0,-1 1 0 0 0,1 0-1 0 0,0 0 1 0 0,0-1 0 0 0,0 1 0 0 0,-1 0-1 0 0,1-1 1 0 0,0 1 0 0 0,0 0 0 0 0,0 0-1 0 0,0-1 1 0 0,0 1 0 0 0,0 0 0 0 0,-1-1-1 0 0,1 1 1 0 0,0 0 0 0 0,0-1 0 0 0,0 1-1 0 0,0 0 1 0 0,0-1 0 0 0,0 1 0 0 0,0 0-1 0 0,1-1 1 0 0,-1 1 0 0 0,0 0 0 0 0,0-1-1 0 0,0 1 1 0 0,0 0 0 0 0,0 0 0 0 0,0-1-1 0 0,1 1 1 0 0,-1 0 0 0 0,0-1-1 0 0,0 1 1 0 0,0 0 0 0 0,1 0 0 0 0,-1-1-1 0 0,0 1 1 0 0,0 0 0 0 0,1 0 0 0 0,-1 0-1 0 0,0-1 1 0 0,1 1 0 0 0,-1 0 0 0 0,0 0-1 0 0,0 0 1 0 0,1 0 0 0 0,-1 0 0 0 0,0 0-1 0 0,1 0 1 0 0,-1 0 0 0 0,0 0 0 0 0,1 0-1 0 0,-1 0 1 0 0,24-9-37 0 0,-1 2 0 0 0,1 2 0 0 0,1 0 0 0 0,46-4 0 0 0,25-4-3679 0 0,-66 7 1124 0 0,-2 1-670 0 0</inkml:trace>
</inkml:ink>
</file>

<file path=ppt/ink/ink15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8:46.895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58 49 596 0 0,'11'-11'1535'0'0,"-7"6"-778"0"0,0 0 1 0 0,0 1-1 0 0,1 0 1 0 0,-1 0-1 0 0,10-6 1 0 0,-12 9-597 0 0,0 0 0 0 0,0 0 0 0 0,0 1 0 0 0,0-1 1 0 0,0 0-1 0 0,1 1 0 0 0,-1 0 0 0 0,0-1 0 0 0,0 1 1 0 0,1 0-1 0 0,-1 0 0 0 0,0 0 0 0 0,1 1 0 0 0,-1-1 1 0 0,0 0-1 0 0,0 1 0 0 0,0-1 0 0 0,1 1 0 0 0,1 1 1 0 0,1 1 55 0 0,0-1 1 0 0,-1 1-1 0 0,1 0 0 0 0,-1 0 1 0 0,0 0-1 0 0,0 0 1 0 0,0 1-1 0 0,-1 0 1 0 0,1 0-1 0 0,-1 0 1 0 0,4 6-1 0 0,4 7 671 0 0,12 28 0 0 0,-18-34-618 0 0,40 94 1983 0 0,47 163 0 0 0,-67-188-1835 0 0,17 83 496 0 0,-41-161-995 0 0,-11-17-1935 0 0,8 12 1842 0 0,1 1 0 0 0,-1-1 0 0 0,0 0 0 0 0,1 0 1 0 0,0 0-1 0 0,-2-5 0 0 0,0-2-116 0 0,0 1 1 0 0,0 0-1 0 0,-1-1 1 0 0,0 1 0 0 0,-1 0-1 0 0,0 1 1 0 0,-9-13-1 0 0,11 17 237 0 0,0 1-1 0 0,0-1 1 0 0,-1 1-1 0 0,1 0 1 0 0,-1 0-1 0 0,0 0 1 0 0,1 0-1 0 0,-1 1 1 0 0,-1-1-1 0 0,1 1 1 0 0,0 0-1 0 0,0 1 0 0 0,-1-1 1 0 0,1 1-1 0 0,-1-1 1 0 0,0 1-1 0 0,-8 0 1 0 0,-3 1 71 0 0,0 1 0 0 0,-1 0 0 0 0,1 2 0 0 0,0 0 0 0 0,0 1 0 0 0,0 0 0 0 0,1 1 0 0 0,-30 14 0 0 0,26-10 89 0 0,1 2 1 0 0,0-1-1 0 0,1 2 1 0 0,0 1-1 0 0,0 0 1 0 0,-22 24-1 0 0,29-26-74 0 0,1 1 0 0 0,0 0 0 0 0,1 1 0 0 0,0 0 0 0 0,1 0 0 0 0,0 0 0 0 0,-5 18 0 0 0,-2 24-3472 0 0</inkml:trace>
</inkml:ink>
</file>

<file path=ppt/ink/ink15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8:47.484"/>
    </inkml:context>
    <inkml:brush xml:id="br0">
      <inkml:brushProperty name="width" value="0.2" units="cm"/>
      <inkml:brushProperty name="height" value="0.2" units="cm"/>
    </inkml:brush>
  </inkml:definitions>
  <inkml:trace contextRef="#ctx0" brushRef="#br0">433 0 188 0 0,'2'3'6422'0'0,"2"5"-5897"0"0,-1 1 1 0 0,0 0 0 0 0,0 0-1 0 0,-1 1 1 0 0,0-1-1 0 0,-1 0 1 0 0,1 1-1 0 0,-2 13 1 0 0,6 26 764 0 0,69 367 4016 0 0,-68-369-5058 0 0,-6-31 145 0 0,2 0 0 0 0,5 19 1 0 0,-25-104-1736 0 0,14 52 1089 0 0,-1 0 0 0 0,0 0 0 0 0,-2 0 0 0 0,0 1 1 0 0,-14-29-1 0 0,18 42 232 0 0,0 1 0 0 0,0-1-1 0 0,-1 0 1 0 0,1 1 0 0 0,-1 0 0 0 0,1-1 0 0 0,-1 1 0 0 0,0 0 0 0 0,0 0-1 0 0,0 1 1 0 0,0-1 0 0 0,0 1 0 0 0,-1-1 0 0 0,1 1 0 0 0,0 0 0 0 0,-1 0-1 0 0,1 0 1 0 0,0 1 0 0 0,-1-1 0 0 0,1 1 0 0 0,-1 0 0 0 0,1 0-1 0 0,-1 0 1 0 0,1 1 0 0 0,-1-1 0 0 0,1 1 0 0 0,-1-1 0 0 0,-4 3 0 0 0,-7 1 19 0 0,0 2 0 0 0,0 0 1 0 0,0 0-1 0 0,-24 16 0 0 0,16-8 96 0 0,1 1-1 0 0,1 1 0 0 0,0 1 0 0 0,2 1 0 0 0,0 1 1 0 0,1 1-1 0 0,-17 22 0 0 0,12-9-154 0 0,1 1 1 0 0,2 1-1 0 0,-31 74 1 0 0,43-95-316 0 0</inkml:trace>
</inkml:ink>
</file>

<file path=ppt/ink/ink15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8:47.921"/>
    </inkml:context>
    <inkml:brush xml:id="br0">
      <inkml:brushProperty name="width" value="0.2" units="cm"/>
      <inkml:brushProperty name="height" value="0.2" units="cm"/>
    </inkml:brush>
  </inkml:definitions>
  <inkml:trace contextRef="#ctx0" brushRef="#br0">211 4 704 0 0,'16'-4'5758'0'0,"-15"7"-5471"0"0,-1 1 0 0 0,1-1 0 0 0,-1 0 0 0 0,0 1 0 0 0,0-1 0 0 0,0 0 0 0 0,-1 0 0 0 0,1 1 0 0 0,-1-1 0 0 0,0 0 0 0 0,0 0 0 0 0,-2 5 0 0 0,-21 44 1407 0 0,7-19-851 0 0,-46 133 997 0 0,-33 72-3888 0 0,94-233 1111 0 0,-1 0-1 0 0,0-1 0 0 0,1 1 0 0 0,-2 0 0 0 0,-4 5 0 0 0</inkml:trace>
</inkml:ink>
</file>

<file path=ppt/ink/ink15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8:48.315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42 760 0 0,'0'-1'276'0'0,"2"-21"3006"0"0,-2 21-3129 0 0,8-15 3214 0 0,-7 16-3214 0 0,0 0 0 0 0,1-1 0 0 0,7 1 320 0 0,-1 0 0 0 0,1 1 0 0 0,0 0 0 0 0,-1 0 0 0 0,1 1 0 0 0,-1 0-1 0 0,1 1 1 0 0,-1 0 0 0 0,8 4 0 0 0,77 41 1152 0 0,-77-38-1353 0 0,182 107 1244 0 0,-145-81-2752 0 0,77 67 1 0 0,-119-92-1095 0 0,-1 1-1 0 0,10 14 1 0 0</inkml:trace>
</inkml:ink>
</file>

<file path=ppt/ink/ink15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8:48.654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75 989 1184 0 0,'-162'50'10018'0'0,"149"-48"-8618"0"0,19-5-579 0 0,20-8-272 0 0,998-275 2911 0 0,424-12-1541 0 0,-623 137-1201 0 0,-8-22-10 0 0,-466 95-612 0 0,-289 78-3615 0 0,-115 33-787 0 0,-76 23 1 0 0,95-35 2484 0 0,-42 14-2697 0 0</inkml:trace>
</inkml:ink>
</file>

<file path=ppt/ink/ink15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8:49.048"/>
    </inkml:context>
    <inkml:brush xml:id="br0">
      <inkml:brushProperty name="width" value="0.2" units="cm"/>
      <inkml:brushProperty name="height" value="0.2" units="cm"/>
    </inkml:brush>
  </inkml:definitions>
  <inkml:trace contextRef="#ctx0" brushRef="#br0">3 90 828 0 0,'-2'-90'9982'0'0,"4"106"-8828"0"0,0-1-574 0 0,39 241 4576 0 0,33 269-2970 0 0,-67-472-2067 0 0,-3-26 79 0 0,0 26 0 0 0,-4-50-183 0 0,-27-19-2978 0 0,-13-7-3891 0 0,22 16 3423 0 0</inkml:trace>
</inkml:ink>
</file>

<file path=ppt/ink/ink1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42.41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85 215 12390,'7'31'1439,"-2"-5"-1079,-4-3 0,-1-1 89,0 0-89,0 3 0,-1 1 90,0 0-90,-1 1-1,0-1-89,0 1 720,-4 20-721,3-17-89,-4 15 0,4-24 90,-1-3 0,0-1 270,1-3-91,-2 4 1,-1-4-360,-6-3-90,1-15 0,0-3-90,4-11 90,3 0-180,2-5 90,1-6-90,1-5 90,2-7-476,3-6 476,3-5 1,4-4-1,2 1 0,4 3 0,16-17 90,-6 20-563,12-10 563,-11 27-90,1 5 0,-2 6 90,0 4 187,-2 6-276,-2 4-1,-4 4-90,1 4 581,-3 3-581,-2 4 90,-3 3 1,-3 3-181,-4 10 90,-4-2 0,-11 20 90,-2-15-90,-20 22 90,9-21 90,-20 15 0,16-21-90,-7 3 180,12-12 90,0-2 180,3-2-90,2-1-1,2-1 271,2-2-180,-3 2 360,4-1-361,4 6 1,7-3 90,7 4 0,3-2-1,3 1-89,3 2-90,1 2 0,3 1 90,10 10-180,-7-6-90,7 8-1,-10-9-268,1 1-1,-2-1-630,7 9 180,-7-7 1,3 4-91,-9-9-89,-1-1-91,-1 0-179,-2-1-270,1-2-3059,-2 0 4408,2 1 0,-5-8 0,1 2 0</inkml:trace>
</inkml:ink>
</file>

<file path=ppt/ink/ink15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8:49.382"/>
    </inkml:context>
    <inkml:brush xml:id="br0">
      <inkml:brushProperty name="width" value="0.2" units="cm"/>
      <inkml:brushProperty name="height" value="0.2" units="cm"/>
    </inkml:brush>
  </inkml:definitions>
  <inkml:trace contextRef="#ctx0" brushRef="#br0">7 49 304 0 0,'-2'-2'1967'0'0,"2"1"-1829"0"0,-1 0 0 0 0,1 1 1 0 0,-1-1-1 0 0,1 0 0 0 0,-1 0 0 0 0,1 1 1 0 0,0-1-1 0 0,0 0 0 0 0,-1 0 0 0 0,1 0 1 0 0,0 0-1 0 0,0 1 0 0 0,0-1 0 0 0,0 0 1 0 0,0 0-1 0 0,0 0 0 0 0,0 0 0 0 0,0 0 1 0 0,0 1-1 0 0,0-1 0 0 0,0 0 0 0 0,0 0 1 0 0,1 0-1 0 0,-1 0 0 0 0,0 1 0 0 0,1-1 1 0 0,0-1-1 0 0,0 0 51 0 0,1 1 0 0 0,-1 0 0 0 0,1-1 0 0 0,-1 1 0 0 0,1 0 0 0 0,0 0 0 0 0,-1 0-1 0 0,1 0 1 0 0,0 0 0 0 0,0 1 0 0 0,3-2 0 0 0,6-1 307 0 0,0 1-1 0 0,0 1 1 0 0,18-1 0 0 0,22 2 990 0 0,93 12 0 0 0,47 22 83 0 0,-181-32-1495 0 0,102 20 439 0 0,-2 5 0 0 0,-1 4 0 0 0,-1 6 0 0 0,130 63 0 0 0,-115-33-3288 0 0</inkml:trace>
</inkml:ink>
</file>

<file path=ppt/ink/ink15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8:49.753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18 148 0 0,'23'-15'6396'0'0,"-15"13"-5644"0"0,-7 1-610 0 0,0 1 1 0 0,0 0 0 0 0,1 0 0 0 0,-1 0-1 0 0,0 1 1 0 0,0-1 0 0 0,0 0 0 0 0,0 0 0 0 0,0 1-1 0 0,0-1 1 0 0,0 0 0 0 0,0 1 0 0 0,0-1-1 0 0,0 1 1 0 0,0-1 0 0 0,0 1 0 0 0,0 0-1 0 0,0 0 1 0 0,0-1 0 0 0,0 1 0 0 0,0 0 0 0 0,-1 0-1 0 0,1 0 1 0 0,0 0 0 0 0,-1-1 0 0 0,2 3-1 0 0,14 24 1321 0 0,-1 1 0 0 0,-1 0 0 0 0,-2 1 0 0 0,14 48 0 0 0,-3-12-508 0 0,2 6-232 0 0,-4 0 0 0 0,15 89 0 0 0,-22-57-2383 0 0,-9 1-3493 0 0</inkml:trace>
</inkml:ink>
</file>

<file path=ppt/ink/ink15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8:50.096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1 2228 0 0,'19'40'9885'0'0,"-6"-20"-7312"0"0,-3-1-1451 0 0</inkml:trace>
</inkml:ink>
</file>

<file path=ppt/ink/ink15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8:50.484"/>
    </inkml:context>
    <inkml:brush xml:id="br0">
      <inkml:brushProperty name="width" value="0.2" units="cm"/>
      <inkml:brushProperty name="height" value="0.2" units="cm"/>
    </inkml:brush>
  </inkml:definitions>
  <inkml:trace contextRef="#ctx0" brushRef="#br0">22 203 168 0 0,'-21'-23'7662'0'0,"20"19"-7279"0"0,1 2-163 0 0,0 0 0 0 0,0 0 0 0 0,0 0 0 0 0,1 0 0 0 0,-1 0 0 0 0,0 0 0 0 0,1 0 0 0 0,-1 1 0 0 0,1-1 0 0 0,0 0 0 0 0,0 0 0 0 0,0 0 0 0 0,0 1 0 0 0,1-3 0 0 0,3-3-26 0 0,0 1 0 0 0,0 1 0 0 0,1-1 0 0 0,0 1 0 0 0,0 0 0 0 0,0 0 0 0 0,10-6 0 0 0,12-4-33 0 0,0 1-1 0 0,1 2 1 0 0,1 1 0 0 0,50-13-1 0 0,-50 18-1170 0 0,0 0 0 0 0,45-1 0 0 0,-68 7 97 0 0,0 0-1 0 0,0 0 1 0 0,-1 1 0 0 0,11 2-1 0 0,3 2-2953 0 0</inkml:trace>
</inkml:ink>
</file>

<file path=ppt/ink/ink15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8:50.814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47 4 788 0 0,'-35'24'2724'0'0,"13"-10"-192"0"0,1 1 0 0 0,1 1-1 0 0,-29 28 1469 0 0,49-44-3955 0 0,0 1 0 0 0,0-1-1 0 0,0 0 1 0 0,0 1 0 0 0,0-1-1 0 0,0 0 1 0 0,0 1 0 0 0,0-1-1 0 0,0 0 1 0 0,0 0 0 0 0,0 1-1 0 0,0-1 1 0 0,0 0 0 0 0,0 1-1 0 0,1-1 1 0 0,-1 0-1 0 0,0 0 1 0 0,0 1 0 0 0,0-1-1 0 0,0 0 1 0 0,1 0 0 0 0,-1 1-1 0 0,0-1 1 0 0,0 0 0 0 0,0 0-1 0 0,1 1 1 0 0,-1-1 0 0 0,0 0-1 0 0,0 0 1 0 0,1 0 0 0 0,-1 0-1 0 0,0 1 1 0 0,0-1 0 0 0,1 0-1 0 0,-1 0 1 0 0,0 0 0 0 0,1 0-1 0 0,-1 0 1 0 0,0 0 0 0 0,0 0-1 0 0,1 0 1 0 0,0 0 0 0 0,101-12 1965 0 0,187-49 0 0 0,-240 49-1787 0 0,16-4 31 0 0,32-8-4582 0 0</inkml:trace>
</inkml:ink>
</file>

<file path=ppt/ink/ink15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8:52.331"/>
    </inkml:context>
    <inkml:brush xml:id="br0">
      <inkml:brushProperty name="width" value="0.2" units="cm"/>
      <inkml:brushProperty name="height" value="0.2" units="cm"/>
    </inkml:brush>
  </inkml:definitions>
  <inkml:trace contextRef="#ctx0" brushRef="#br0">336 320 1052 0 0,'-10'7'4378'0'0,"10"-7"-4351"0"0,-1 1 351 0 0,0-1-351 0 0,1 0 0 0 0,0 1-1 0 0,0-1 1 0 0,0 0 0 0 0,0 0 0 0 0,0 0 0 0 0,0 0 0 0 0,0 0 0 0 0,0 1 0 0 0,0-1 0 0 0,0 0 0 0 0,0 0 0 0 0,0 0 0 0 0,0 0 0 0 0,0 1 0 0 0,0-1 0 0 0,0 0 0 0 0,0 0 0 0 0,0 0 0 0 0,0 0-1 0 0,0 0 1 0 0,1 2 351 0 0,-1-2-351 0 0,1 0 0 0 0,-1 0-1 0 0,0 0 1 0 0,0 1 0 0 0,0-1 0 0 0,0 0 0 0 0,0 0 0 0 0,1 0 0 0 0,-1 0 0 0 0,0 0 0 0 0,0 0 0 0 0,0 0 0 0 0,0 0 0 0 0,0 0 0 0 0,1 0 0 0 0,-1 0 0 0 0,0 0 0 0 0,0 0 0 0 0,23 0 737 0 0,30-8-230 0 0,-32 3-412 0 0,1-1 0 0 0,-1-1 0 0 0,0 0-1 0 0,0-2 1 0 0,-1 0 0 0 0,-1-2-1 0 0,20-12 1 0 0,-32 18-112 0 0,0 0-1 0 0,0 0 1 0 0,0-1 0 0 0,-1 0-1 0 0,0 0 1 0 0,0 0 0 0 0,0-1-1 0 0,-1 0 1 0 0,0 0 0 0 0,0-1-1 0 0,-1 1 1 0 0,0-1 0 0 0,0 0-1 0 0,-1 0 1 0 0,0 0 0 0 0,-1-1 0 0 0,1 1-1 0 0,-1-1 1 0 0,-1 1 0 0 0,1-15-1 0 0,-2 20-15 0 0,0 0-1 0 0,0-1 0 0 0,0 1 1 0 0,-1-1-1 0 0,1 1 0 0 0,-1-1 1 0 0,0 1-1 0 0,0 0 0 0 0,0 0 1 0 0,0-1-1 0 0,-1 1 0 0 0,1 0 1 0 0,-1 0-1 0 0,0 0 0 0 0,0 0 1 0 0,0 1-1 0 0,0-1 0 0 0,0 0 1 0 0,-1 1-1 0 0,1 0 0 0 0,-1-1 1 0 0,0 1-1 0 0,0 0 1 0 0,1 0-1 0 0,-1 1 0 0 0,0-1 1 0 0,-1 1-1 0 0,1-1 0 0 0,0 1 1 0 0,0 0-1 0 0,-1 0 0 0 0,1 0 1 0 0,0 1-1 0 0,-1-1 0 0 0,-6 1 1 0 0,-3-1 24 0 0,0 1 0 0 0,0 1 0 0 0,0 0 0 0 0,0 1 0 0 0,0 0 0 0 0,1 1 0 0 0,-1 0 0 0 0,-15 7 0 0 0,-1 3 125 0 0,0 1 0 0 0,1 2 0 0 0,0 0 0 0 0,1 2-1 0 0,-45 40 1 0 0,42-30 75 0 0,1 1-1 0 0,1 2 0 0 0,2 1 0 0 0,-27 40 0 0 0,40-51-58 0 0,0 0-1 0 0,2 1 0 0 0,0 1 0 0 0,1 0 0 0 0,2 0 0 0 0,0 0 0 0 0,-6 35 0 0 0,12-46-49 0 0,1 0 0 0 0,0 1 0 0 0,0-1-1 0 0,1 0 1 0 0,1 0 0 0 0,0 0 0 0 0,1 0 0 0 0,0 0-1 0 0,1 0 1 0 0,0 0 0 0 0,1-1 0 0 0,0 1-1 0 0,1-1 1 0 0,0 0 0 0 0,1 0 0 0 0,0-1 0 0 0,9 11-1 0 0,-3-6 0 0 0,0-2 0 0 0,1 1 0 0 0,1-2-1 0 0,0 0 1 0 0,0 0 0 0 0,1-2 0 0 0,1 0 0 0 0,0 0-1 0 0,0-2 1 0 0,1 0 0 0 0,0-1 0 0 0,0 0-1 0 0,28 6 1 0 0,-21-8-60 0 0,-1-1-1 0 0,1-1 0 0 0,1 0 1 0 0,-1-2-1 0 0,0-1 1 0 0,0-1-1 0 0,0-1 0 0 0,0-2 1 0 0,44-10-1 0 0,-52 9-523 0 0,0-1 0 0 0,29-14-1 0 0,-39 16-499 0 0,0 1-1 0 0,0-1 1 0 0,0-1-1 0 0,0 1 1 0 0,5-7-1 0 0</inkml:trace>
</inkml:ink>
</file>

<file path=ppt/ink/ink15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8:58.017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0 52 1480 0 0,'-9'7'6756'0'0,"9"-5"-6629"0"0,2 0 16 0 0,0-1 1 0 0,0 1 0 0 0,1-1-1 0 0,-1 1 1 0 0,0-1 0 0 0,1 0-1 0 0,-1 0 1 0 0,1 0 0 0 0,0 0-1 0 0,-1-1 1 0 0,1 1 0 0 0,0-1-1 0 0,-1 1 1 0 0,5-1-1 0 0,43-1 808 0 0,63-12 227 0 0,180-45 1 0 0,-289 57-1612 0 0,0 0 0 0 0,0 0 0 0 0,0 1-1 0 0,0-1 1 0 0,0 1 0 0 0,0 0 0 0 0,6 1 0 0 0</inkml:trace>
</inkml:ink>
</file>

<file path=ppt/ink/ink15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8:59.735"/>
    </inkml:context>
    <inkml:brush xml:id="br0">
      <inkml:brushProperty name="width" value="0.2" units="cm"/>
      <inkml:brushProperty name="height" value="0.2" units="cm"/>
    </inkml:brush>
  </inkml:definitions>
  <inkml:trace contextRef="#ctx0" brushRef="#br0">30 179 364 0 0,'-8'-10'4065'0'0,"5"4"-3551"0"0,0 1-1 0 0,0-1 1 0 0,0 0-1 0 0,1 0 1 0 0,0 0-1 0 0,0 0 1 0 0,-1-13-1 0 0,3 16-462 0 0,0 0-1 0 0,0-1 0 0 0,0 1 1 0 0,1 0-1 0 0,-1 0 0 0 0,1 0 1 0 0,0-1-1 0 0,0 1 0 0 0,0 0 1 0 0,0 0-1 0 0,1 1 0 0 0,-1-1 1 0 0,1 0-1 0 0,0 0 0 0 0,0 1 1 0 0,0-1-1 0 0,0 1 0 0 0,4-4 1 0 0,1 0-8 0 0,0 1 0 0 0,1 0 1 0 0,0 0-1 0 0,0 0 0 0 0,0 1 1 0 0,1 1-1 0 0,0-1 1 0 0,-1 1-1 0 0,1 1 0 0 0,0-1 1 0 0,0 2-1 0 0,1-1 1 0 0,15 0-1 0 0,-19 2-29 0 0,-1 0 0 0 0,1 1 0 0 0,0-1 0 0 0,-1 1 0 0 0,1 0 0 0 0,-1 0 0 0 0,0 1 0 0 0,1 0 0 0 0,-1 0 0 0 0,0 0 0 0 0,0 0 0 0 0,0 1 0 0 0,0 0 0 0 0,-1 0 0 0 0,1 0 0 0 0,-1 0 0 0 0,0 1 0 0 0,0 0 0 0 0,0 0 0 0 0,0 0 0 0 0,-1 0 0 0 0,1 1 0 0 0,-1-1 0 0 0,0 1 0 0 0,-1 0 0 0 0,1 0 0 0 0,-1 0 0 0 0,0 0 0 0 0,0 1 0 0 0,0-1 0 0 0,-1 0 0 0 0,0 1 0 0 0,0-1 0 0 0,0 1 0 0 0,-1-1 0 0 0,0 1 0 0 0,0-1 0 0 0,0 1 0 0 0,-1-1 0 0 0,0 1 0 0 0,0-1 0 0 0,-2 7 0 0 0,-3 5 96 0 0,-1-1 0 0 0,0 1 0 0 0,-2-1 1 0 0,-17 26-1 0 0,12-21 4 0 0,-15 32 0 0 0,29-52-101 0 0,-1 1-1 0 0,1 0 0 0 0,0 0 0 0 0,-1-1 1 0 0,1 1-1 0 0,0 0 0 0 0,0-1 0 0 0,0 1 1 0 0,1 0-1 0 0,-1-1 0 0 0,0 1 0 0 0,1 0 1 0 0,-1-1-1 0 0,1 1 0 0 0,-1 0 0 0 0,1-1 1 0 0,0 1-1 0 0,-1-1 0 0 0,1 1 0 0 0,0-1 1 0 0,0 1-1 0 0,0-1 0 0 0,0 0 0 0 0,1 0 1 0 0,-1 1-1 0 0,0-1 0 0 0,0 0 0 0 0,1 0 1 0 0,-1 0-1 0 0,1 0 0 0 0,1 0 0 0 0,8 7 96 0 0,1-1 0 0 0,25 10 0 0 0,-19-9-49 0 0,8 6 72 0 0,0 0 1 0 0,45 35-1 0 0,-70-48-69 0 0,1 0-1 0 0,-1 0 1 0 0,0 0-1 0 0,1 0 1 0 0,-1 0-1 0 0,0 0 1 0 0,0 0-1 0 0,0 1 1 0 0,0-1-1 0 0,0 0 1 0 0,-1 1-1 0 0,1-1 1 0 0,0 1-1 0 0,0-1 1 0 0,-1 1-1 0 0,1-1 1 0 0,-1 1 0 0 0,0-1-1 0 0,1 1 1 0 0,-1 2-1 0 0,0-3-12 0 0,-1 1 0 0 0,1 0 0 0 0,-1-1 0 0 0,0 1 0 0 0,1-1 1 0 0,-1 0-1 0 0,0 1 0 0 0,0-1 0 0 0,0 0 0 0 0,0 1 0 0 0,0-1 0 0 0,-1 0 0 0 0,1 0 0 0 0,0 0 0 0 0,0 0 0 0 0,-1 0 0 0 0,1 0 0 0 0,0 0 0 0 0,-1-1 1 0 0,1 1-1 0 0,-3 1 0 0 0,-17 6 154 0 0,-1-1 0 0 0,0-1 1 0 0,0-1-1 0 0,-1 0 0 0 0,-35 1 1 0 0,15-1-73 0 0,-7-1-253 0 0,-16 4-2791 0 0,19 7-4723 0 0</inkml:trace>
</inkml:ink>
</file>

<file path=ppt/ink/ink15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9:01.430"/>
    </inkml:context>
    <inkml:brush xml:id="br0">
      <inkml:brushProperty name="width" value="0.2" units="cm"/>
      <inkml:brushProperty name="height" value="0.2" units="cm"/>
    </inkml:brush>
  </inkml:definitions>
  <inkml:trace contextRef="#ctx0" brushRef="#br0">49 157 268 0 0,'0'-13'6917'0'0,"-1"8"-6708"0"0,1 0 0 0 0,0 0 0 0 0,0 0 0 0 0,1 1 0 0 0,0-1 0 0 0,0 0 0 0 0,0 0 0 0 0,0 1 0 0 0,0-1-1 0 0,1 0 1 0 0,0 1 0 0 0,0 0 0 0 0,1-1 0 0 0,-1 1 0 0 0,1 0 0 0 0,0 0 0 0 0,0 0 0 0 0,0 1 0 0 0,0-1 0 0 0,1 1-1 0 0,-1 0 1 0 0,1 0 0 0 0,5-4 0 0 0,-2 2-184 0 0,-1 1 0 0 0,1 0-1 0 0,0 0 1 0 0,0 0 0 0 0,1 1-1 0 0,-1 0 1 0 0,1 0 0 0 0,-1 1-1 0 0,1 0 1 0 0,0 0 0 0 0,0 1-1 0 0,0 0 1 0 0,0 1-1 0 0,13 0 1 0 0,-14 0-3 0 0,0 1 0 0 0,0 1 0 0 0,-1-1 0 0 0,1 1 0 0 0,0 1 0 0 0,-1-1 0 0 0,0 1 0 0 0,1 0 0 0 0,-1 0 0 0 0,0 1-1 0 0,-1 0 1 0 0,1 0 0 0 0,-1 0 0 0 0,0 0 0 0 0,0 1 0 0 0,0 0 0 0 0,0 0 0 0 0,-1 1 0 0 0,7 10 0 0 0,-6-8 21 0 0,-1 1 0 0 0,-1-1-1 0 0,1 1 1 0 0,-1 0 0 0 0,-1 0 0 0 0,0 1 0 0 0,0-1 0 0 0,-1 0-1 0 0,0 1 1 0 0,0-1 0 0 0,-1 1 0 0 0,0-1 0 0 0,-1 1 0 0 0,0-1-1 0 0,-3 11 1 0 0,-4 9 145 0 0,-1-1 0 0 0,-2-1 0 0 0,-21 40 0 0 0,11-22-74 0 0,18-40-98 0 0,-8 18 112 0 0,11-23-122 0 0,-1 1-1 0 0,1 0 0 0 0,0-1 1 0 0,-1 1-1 0 0,1 0 0 0 0,0-1 1 0 0,0 1-1 0 0,0 0 0 0 0,0 0 1 0 0,0-1-1 0 0,0 1 0 0 0,0 0 1 0 0,0 0-1 0 0,0-1 0 0 0,0 1 1 0 0,0 0-1 0 0,0-1 0 0 0,0 1 1 0 0,0 0-1 0 0,1 0 0 0 0,-1-1 1 0 0,0 1-1 0 0,1 0 0 0 0,-1-1 1 0 0,1 2-1 0 0,11 6 18 0 0,1-1 1 0 0,0 0-1 0 0,1-1 0 0 0,27 9 0 0 0,-20-7-32 0 0,32 15 0 0 0,-35-14 11 0 0,-1 1 0 0 0,-1 1 1 0 0,0 1-1 0 0,0 0 0 0 0,25 26 0 0 0,-37-33 46 0 0,0-1 0 0 0,-1 1-1 0 0,1 1 1 0 0,-1-1 0 0 0,0 0 0 0 0,0 1 0 0 0,-1-1 0 0 0,0 1-1 0 0,3 11 1 0 0,-4-12 41 0 0,-1-1-1 0 0,1 1 0 0 0,-1-1 1 0 0,0 1-1 0 0,-1 0 1 0 0,1-1-1 0 0,-1 1 1 0 0,0-1-1 0 0,0 1 0 0 0,0-1 1 0 0,-1 0-1 0 0,1 1 1 0 0,-1-1-1 0 0,-4 7 1 0 0,-1-1 90 0 0,0-1 1 0 0,0 0-1 0 0,-1 0 1 0 0,0-1-1 0 0,-1 0 1 0 0,0 0-1 0 0,0-1 1 0 0,-1 0-1 0 0,1-1 1 0 0,-2 0-1 0 0,-17 8 1 0 0,0-2 149 0 0,0-1 0 0 0,-1-2 1 0 0,-40 8-1 0 0,31-11-85 0 0,0-1 0 0 0,0-1 0 0 0,-69-3 0 0 0,78-4-1492 0 0,-31-5-1 0 0</inkml:trace>
</inkml:ink>
</file>

<file path=ppt/ink/ink15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9:04.029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5 272 0 0,'6'-5'8625'0'0,"1"109"-6230"0"0,-4-93-2303 0 0,0-1 0 0 0,1 0-1 0 0,0 0 1 0 0,0 0 0 0 0,1 0 0 0 0,0-1 0 0 0,1 0 0 0 0,0 0 0 0 0,1 0 0 0 0,0-1 0 0 0,0 0 0 0 0,1 0 0 0 0,0 0 0 0 0,0-1 0 0 0,1-1-1 0 0,0 0 1 0 0,0 0 0 0 0,0 0 0 0 0,1-1 0 0 0,-1 0 0 0 0,1-1 0 0 0,15 4 0 0 0,-22-7-74 0 0,0 0 0 0 0,0-1 0 0 0,0 0 0 0 0,0 1 0 0 0,0-1 0 0 0,0 0 0 0 0,0 0 1 0 0,0 0-1 0 0,0-1 0 0 0,0 1 0 0 0,0-1 0 0 0,0 0 0 0 0,0 0 0 0 0,0 0 0 0 0,0 0 0 0 0,-1 0 0 0 0,6-3 0 0 0,-4 1-14 0 0,0-1 0 0 0,0 1-1 0 0,0-1 1 0 0,-1 1-1 0 0,0-1 1 0 0,1-1 0 0 0,-1 1-1 0 0,0 0 1 0 0,3-8 0 0 0,2-7 102 0 0,0-1 0 0 0,-1 0 1 0 0,-2 0-1 0 0,4-21 0 0 0,-9 40-92 0 0,3-13 402 0 0,-1-1 0 0 0,0-23 0 0 0,-2 35-252 0 0,-1 4-154 0 0,0-1-1 0 0,1 0 0 0 0,-1 1 0 0 0,0-1 0 0 0,0 1 0 0 0,0-1 1 0 0,1 1-1 0 0,-1-1 0 0 0,0 1 0 0 0,1-1 0 0 0,-1 1 0 0 0,0 0 0 0 0,1-1 1 0 0,-1 1-1 0 0,1 0 0 0 0,-1-1 0 0 0,1 1 0 0 0,-1 0 0 0 0,1 0 1 0 0,-1 0-1 0 0,1 0 0 0 0,0-1 0 0 0,0 1 0 0 0,-1 0 0 0 0,1 0 0 0 0,0 1 1 0 0,-6 24 124 0 0,5 3-51 0 0,0 0 0 0 0,2 0-1 0 0,2-1 1 0 0,7 40-1 0 0,0 4-218 0 0,0 73-2392 0 0,-13-48-3676 0 0,0-56 956 0 0</inkml:trace>
</inkml:ink>
</file>

<file path=ppt/ink/ink1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42.58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15 12030,'21'-20'3868,"-2"2"-2969,-5 10-179,0-1-180,3 0-91,1 1-179,1 0-90,2 1-270,-1 0-90,2 1-269,-1 1-91,0 1-180,0 1-269,-1 1-91,-2 2-179,-1 0-5037,-2 2 6296,2 4 0,-10-4 0,1 3 0</inkml:trace>
</inkml:ink>
</file>

<file path=ppt/ink/ink15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9:04.580"/>
    </inkml:context>
    <inkml:brush xml:id="br0">
      <inkml:brushProperty name="width" value="0.2" units="cm"/>
      <inkml:brushProperty name="height" value="0.2" units="cm"/>
    </inkml:brush>
  </inkml:definitions>
  <inkml:trace contextRef="#ctx0" brushRef="#br0">267 959 872 0 0,'-66'27'2148'0'0,"38"-17"-1253"0"0,0 1-1 0 0,1 1 1 0 0,0 1 0 0 0,-37 27 0 0 0,62-39-816 0 0,0 0 57 0 0,0 1 0 0 0,0-1-1 0 0,-1 1 1 0 0,2 0 0 0 0,-1 0 0 0 0,0 0 0 0 0,0 0 0 0 0,1 0 0 0 0,-1 0 0 0 0,1 0 0 0 0,-1 0 0 0 0,-1 4 0 0 0,3-5-94 0 0,0 0 1 0 0,0 0 0 0 0,0 0 0 0 0,0-1 0 0 0,1 1 0 0 0,-1 0 0 0 0,0 0-1 0 0,0-1 1 0 0,1 1 0 0 0,-1 0 0 0 0,0 0 0 0 0,1-1 0 0 0,-1 1 0 0 0,0 0 0 0 0,1-1-1 0 0,-1 1 1 0 0,1 0 0 0 0,-1-1 0 0 0,1 1 0 0 0,0-1 0 0 0,-1 1 0 0 0,1-1 0 0 0,0 1-1 0 0,-1-1 1 0 0,2 1 0 0 0,18 8 439 0 0,-6-7-248 0 0,0 1-1 0 0,0-2 1 0 0,1 0-1 0 0,20-1 0 0 0,62-10 342 0 0,-68 6-424 0 0,565-97 1449 0 0,0-35-560 0 0,-477 108-850 0 0,1453-361 2481 0 0,-1401 346-2324 0 0,447-119 988 0 0,218-54-7 0 0,-794 206-1309 0 0,-2 0-244 0 0,0 1 0 0 0,0 2 0 0 0,54-2 0 0 0,-90 9 123 0 0,-1 0-1 0 0,1-1 1 0 0,0 1-1 0 0,-1 1 1 0 0,1-1-1 0 0,0 0 1 0 0,-1 0-1 0 0,1 0 1 0 0,0 1-1 0 0,-1-1 1 0 0,1 1-1 0 0,0 0 1 0 0,-1-1-1 0 0,1 1 1 0 0,-1 0-1 0 0,0 0 1 0 0,1 0-1 0 0,1 2 1 0 0,-2-3 18 0 0,-1 1 0 0 0,0 0 1 0 0,1 0-1 0 0,-1 0 0 0 0,0 0 1 0 0,0 0-1 0 0,1 0 1 0 0,-1 0-1 0 0,0 0 0 0 0,0 0 1 0 0,0 0-1 0 0,0-1 0 0 0,-1 1 1 0 0,1 0-1 0 0,0 0 1 0 0,0 0-1 0 0,0 0 0 0 0,-1 0 1 0 0,1 0-1 0 0,0 0 1 0 0,-1 0-1 0 0,1-1 0 0 0,-2 2 1 0 0,-2 5-478 0 0,-1 0 1 0 0,0 0 0 0 0,-1-1 0 0 0,0 0 0 0 0,-10 9 0 0 0,-70 48-5148 0 0,29-28 676 0 0</inkml:trace>
</inkml:ink>
</file>

<file path=ppt/ink/ink15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9:05.066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00 5 1480 0 0,'-4'-1'1519'0'0,"-1"0"-1132"0"0,1 0 0 0 0,0 0 1 0 0,-1 1-1 0 0,1 0 0 0 0,-1-1 0 0 0,1 1 0 0 0,-1 1 1 0 0,1-1-1 0 0,-6 2 0 0 0,8-2-284 0 0,0 1-1 0 0,0 0 1 0 0,0 0-1 0 0,0 0 1 0 0,0 0 0 0 0,0 1-1 0 0,0-1 1 0 0,1 0-1 0 0,-1 1 1 0 0,0-1 0 0 0,1 1-1 0 0,-1 0 1 0 0,1-1-1 0 0,-1 1 1 0 0,1 0 0 0 0,0 0-1 0 0,0 0 1 0 0,0 0-1 0 0,0 0 1 0 0,0 0 0 0 0,-1 4-1 0 0,-1 6 174 0 0,1-1 1 0 0,0 1-1 0 0,0 0 0 0 0,1 0 1 0 0,1 0-1 0 0,0 0 0 0 0,1 0 1 0 0,0-1-1 0 0,4 18 0 0 0,4 9 206 0 0,21 55 0 0 0,-23-75-364 0 0,1 0 0 0 0,0-1 0 0 0,2 0 0 0 0,22 31 0 0 0,-25-39-61 0 0,0-1 0 0 0,0 1 1 0 0,0-2-1 0 0,1 1 1 0 0,1-1-1 0 0,-1 0 0 0 0,1-1 1 0 0,0 0-1 0 0,0 0 1 0 0,13 4-1 0 0,-17-8-31 0 0,0 0-1 0 0,0-1 1 0 0,1 0 0 0 0,-1 0-1 0 0,1 0 1 0 0,-1-1-1 0 0,1 0 1 0 0,-1 0 0 0 0,1 0-1 0 0,-1-1 1 0 0,0 1 0 0 0,6-3-1 0 0,-2 1 0 0 0,-1-1-1 0 0,1 0 1 0 0,-1-1 0 0 0,0 0-1 0 0,0 0 1 0 0,13-10-1 0 0,-5 2 10 0 0,-1-2-1 0 0,0 0 0 0 0,-1 0 1 0 0,0-2-1 0 0,19-26 0 0 0,-16 13 41 0 0,0-1 0 0 0,13-34 0 0 0,20-35 1334 0 0,-42 82-1199 0 0,-3 9 323 0 0,-6 26 40 0 0,-15 373 1772 0 0,12-225-3474 0 0,3-161 913 0 0,1 85-2520 0 0,4-45-308 0 0,7-5-3401 0 0</inkml:trace>
</inkml:ink>
</file>

<file path=ppt/ink/ink15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9:05.454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19 2300 0 0,'2'-2'345'0'0,"0"0"-1"0"0,0 1 1 0 0,0-1 0 0 0,0 1-1 0 0,1-1 1 0 0,-1 1-1 0 0,0 0 1 0 0,1-1 0 0 0,-1 1-1 0 0,1 0 1 0 0,-1 1-1 0 0,1-1 1 0 0,3 0 0 0 0,-5 1-203 0 0,0 0 0 0 0,1 0 0 0 0,-1 0 0 0 0,0 1 1 0 0,0-1-1 0 0,1 1 0 0 0,-1-1 0 0 0,0 1 0 0 0,0-1 0 0 0,1 1 1 0 0,-1 0-1 0 0,0-1 0 0 0,0 1 0 0 0,0 0 0 0 0,0 0 0 0 0,0 0 1 0 0,0 0-1 0 0,0 0 0 0 0,-1 0 0 0 0,1 0 0 0 0,0 0 0 0 0,0 0 1 0 0,-1 0-1 0 0,1 0 0 0 0,-1 1 0 0 0,1-1 0 0 0,-1 0 1 0 0,1 2-1 0 0,5 15 975 0 0,-1 0 0 0 0,6 38-1 0 0,-4-14-310 0 0,49 293 484 0 0,-50-253-3565 0 0,-6-8-4049 0 0,-2-43 633 0 0</inkml:trace>
</inkml:ink>
</file>

<file path=ppt/ink/ink15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39:05.801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1 124 0 0,'10'10'19183'0'0,"-6"-11"-18912"0"0</inkml:trace>
</inkml:ink>
</file>

<file path=ppt/ink/ink15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2:35.700"/>
    </inkml:context>
    <inkml:brush xml:id="br0">
      <inkml:brushProperty name="width" value="0.2" units="cm"/>
      <inkml:brushProperty name="height" value="0.2" units="cm"/>
    </inkml:brush>
  </inkml:definitions>
  <inkml:trace contextRef="#ctx0" brushRef="#br0">296 119 152 0 0,'1'-5'410'0'0,"-2"-1"1"0"0,1 1-1 0 0,-1 0 1 0 0,1-1-1 0 0,-2 1 1 0 0,1 0-1 0 0,0 0 0 0 0,-1 0 1 0 0,0 0-1 0 0,0 0 1 0 0,-1 0-1 0 0,0 0 0 0 0,1 0 1 0 0,-1 1-1 0 0,-1 0 1 0 0,1-1-1 0 0,-1 1 1 0 0,1 1-1 0 0,-6-5 0 0 0,6 6-310 0 0,-1-1 0 0 0,0 1-1 0 0,0 0 1 0 0,0 0-1 0 0,0 1 1 0 0,0-1 0 0 0,0 1-1 0 0,0 0 1 0 0,-1 0-1 0 0,1 0 1 0 0,0 1 0 0 0,-1-1-1 0 0,1 1 1 0 0,-1 0-1 0 0,1 0 1 0 0,0 1 0 0 0,-1-1-1 0 0,1 1 1 0 0,0 0-1 0 0,-1 0 1 0 0,1 1 0 0 0,0-1-1 0 0,0 1 1 0 0,-4 2-1 0 0,-2 1 29 0 0,0 1 0 0 0,0 0 0 0 0,0 1 1 0 0,1 0-1 0 0,0 0 0 0 0,1 1 0 0 0,0 0 0 0 0,0 1 0 0 0,0 0 0 0 0,1 0 0 0 0,1 0 0 0 0,-7 12 0 0 0,9-14-68 0 0,0 1-1 0 0,1-1 1 0 0,0 1 0 0 0,0 0-1 0 0,1 0 1 0 0,0 0 0 0 0,0 0-1 0 0,1 1 1 0 0,0-1 0 0 0,0 1-1 0 0,1-1 1 0 0,0 0 0 0 0,0 1 0 0 0,1-1-1 0 0,1 0 1 0 0,-1 1 0 0 0,4 9-1 0 0,-3-14-34 0 0,0 0 0 0 0,0 0 1 0 0,0 0-1 0 0,1 0 0 0 0,0 0 0 0 0,0 0 0 0 0,0-1 0 0 0,0 1 0 0 0,0-1 1 0 0,1 0-1 0 0,-1 0 0 0 0,1 0 0 0 0,0 0 0 0 0,0-1 0 0 0,7 4 0 0 0,-10-6-20 0 0,0 1 1 0 0,0-1-1 0 0,0 0 0 0 0,0 1 0 0 0,1-1 0 0 0,-1 0 1 0 0,0 0-1 0 0,0 1 0 0 0,0-1 0 0 0,0 0 0 0 0,1 0 1 0 0,-1-1-1 0 0,0 1 0 0 0,0 0 0 0 0,0 0 0 0 0,2-1 1 0 0,-1 1 11 0 0,1 0-13 0 0,1-1 0 0 0,-1 1 0 0 0,0-1 1 0 0,0 0-1 0 0,0 1 0 0 0,-1-1 0 0 0,1 0 1 0 0,0-1-1 0 0,0 1 0 0 0,0 0 0 0 0,-1-1 1 0 0,1 0-1 0 0,-1 1 0 0 0,1-1 1 0 0,-1 0-1 0 0,0-1 0 0 0,1 1 0 0 0,-1 0 1 0 0,0 0-1 0 0,-1-1 0 0 0,1 1 0 0 0,0-1 1 0 0,-1 0-1 0 0,3-4 0 0 0,1-5-50 0 0,-1 0 1 0 0,0-1-1 0 0,0 1 0 0 0,1-15 0 0 0,-5 27 46 0 0,5-33-62 0 0,5-19-187 0 0,-9 50 288 0 0,0 4-8 0 0,-1 0 0 0 0,1 0-1 0 0,0 0 1 0 0,-1 0 0 0 0,1 0 0 0 0,-1 0-1 0 0,0 0 1 0 0,0 0 0 0 0,0 0 0 0 0,0 3 0 0 0,1 21 198 0 0,1 1 1 0 0,2-1 0 0 0,0 0 0 0 0,16 48 0 0 0,47 95-930 0 0,-61-155-95 0 0,2 0-1 0 0,15 23 1 0 0,-18-31-420 0 0,24 22-3647 0 0</inkml:trace>
</inkml:ink>
</file>

<file path=ppt/ink/ink15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2:36.033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3 1 1484 0 0,'5'0'333'0'0,"-1"0"-1"0"0,1 0 1 0 0,0 0 0 0 0,0 1-1 0 0,-1 0 1 0 0,1 0 0 0 0,0 0-1 0 0,-1 1 1 0 0,1-1 0 0 0,-1 1-1 0 0,0 0 1 0 0,0 0 0 0 0,1 1-1 0 0,-1-1 1 0 0,-1 1 0 0 0,1 0-1 0 0,0 0 1 0 0,-1 0-1 0 0,1 1 1 0 0,-1-1 0 0 0,0 1-1 0 0,0 0 1 0 0,-1 0 0 0 0,4 5-1 0 0,3 7 209 0 0,0 0-1 0 0,-1 1 0 0 0,-1 0 1 0 0,10 34-1 0 0,-10-21-275 0 0,0 0 0 0 0,-3 1 1 0 0,0 0-1 0 0,-2 0 0 0 0,-1 0 1 0 0,-2 0-1 0 0,0 0 0 0 0,-3-1 1 0 0,0 1-1 0 0,-2-1 0 0 0,-1 1 1 0 0,-13 32-1 0 0,8-33-1013 0 0,0-1 0 0 0,-26 42-1 0 0,22-46-1555 0 0,-1 0-1 0 0,-36 40 0 0 0</inkml:trace>
</inkml:ink>
</file>

<file path=ppt/ink/ink15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2:37.033"/>
    </inkml:context>
    <inkml:brush xml:id="br0">
      <inkml:brushProperty name="width" value="0.2" units="cm"/>
      <inkml:brushProperty name="height" value="0.2" units="cm"/>
    </inkml:brush>
  </inkml:definitions>
  <inkml:trace contextRef="#ctx0" brushRef="#br0">71 32 1028 0 0,'-70'26'8511'0'0,"82"-22"-7846"0"0,-12-3-717 0 0,21-1 344 0 0,1 0 1 0 0,-1-2 0 0 0,34-6-1 0 0,-18 2-123 0 0,69-10 111 0 0,-29 3-128 0 0,122-4 0 0 0,-194 17-96 0 0,-1 0 1 0 0,0 0-1 0 0,1 1 1 0 0,-1 0-1 0 0,1 0 0 0 0,-1 0 1 0 0,0 0-1 0 0,8 4 0 0 0,-11-5-27 0 0,0 1 0 0 0,0 0 0 0 0,-1-1 0 0 0,1 1 0 0 0,0-1 0 0 0,0 1 0 0 0,-1 0-1 0 0,1 0 1 0 0,-1-1 0 0 0,1 1 0 0 0,-1 0 0 0 0,1 0 0 0 0,-1 0 0 0 0,1 0 0 0 0,-1 0-1 0 0,0 0 1 0 0,1 0 0 0 0,-1 0 0 0 0,0-1 0 0 0,0 1 0 0 0,0 0 0 0 0,0 0 0 0 0,0 0-1 0 0,0 0 1 0 0,0 0 0 0 0,0 0 0 0 0,0 0 0 0 0,0 0 0 0 0,-1 2 0 0 0,-10 26 468 0 0,10-28-451 0 0,-27 52 771 0 0,-53 76 0 0 0,28-48-235 0 0,-2 0-1 0 0,-32 56 176 0 0,75-114-636 0 0,0 0 0 0 0,2 0 0 0 0,0 1 0 0 0,-7 30 1 0 0,16-51-78 0 0,0 1 0 0 0,1-1 0 0 0,-1 1 0 0 0,1-1 0 0 0,0 1 0 0 0,-1-1 0 0 0,2 1 0 0 0,-1-1 0 0 0,0 1 0 0 0,1-1 1 0 0,-1 1-1 0 0,1-1 0 0 0,0 1 0 0 0,0-1 0 0 0,1 0 0 0 0,-1 1 0 0 0,1-1 0 0 0,-1 0 0 0 0,1 0 0 0 0,0 0 0 0 0,0 0 0 0 0,1 0 1 0 0,-1-1-1 0 0,0 1 0 0 0,1-1 0 0 0,0 1 0 0 0,-1-1 0 0 0,1 0 0 0 0,0 0 0 0 0,0 0 0 0 0,0-1 0 0 0,1 1 0 0 0,4 1 0 0 0,10 4 101 0 0,1-1-1 0 0,0-1 0 0 0,1-1 0 0 0,35 4 0 0 0,-38-6-117 0 0,151 9 291 0 0,-62-6-561 0 0,-102-5-73 0 0,0 0-135 0 0,6 0 268 0 0</inkml:trace>
</inkml:ink>
</file>

<file path=ppt/ink/ink15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2:37.405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3 29 548 0 0,'-12'-8'14555'0'0,"12"8"-14469"0"0,1-1-54 0 0,0 0-1 0 0,0 1 0 0 0,0-1 1 0 0,0 1-1 0 0,0-1 1 0 0,0 1-1 0 0,0-1 0 0 0,0 1 1 0 0,0 0-1 0 0,0 0 0 0 0,0-1 1 0 0,1 1-1 0 0,-1 0 1 0 0,0 0-1 0 0,0 0 0 0 0,2 0 1 0 0,1 0 50 0 0,27-5-209 0 0,0 0 1 0 0,48 1-1 0 0,-63 4-1572 0 0,0 1 1 0 0,1 1-1 0 0,23 5 1 0 0</inkml:trace>
</inkml:ink>
</file>

<file path=ppt/ink/ink15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2:37.749"/>
    </inkml:context>
    <inkml:brush xml:id="br0">
      <inkml:brushProperty name="width" value="0.2" units="cm"/>
      <inkml:brushProperty name="height" value="0.2" units="cm"/>
    </inkml:brush>
  </inkml:definitions>
  <inkml:trace contextRef="#ctx0" brushRef="#br0">52 0 888 0 0,'-29'25'6966'0'0,"7"1"-2632"0"0,28-26-3584 0 0,1 1-1 0 0,-1-1 1 0 0,14-1 0 0 0,116-19 2012 0 0,-32 3-2960 0 0,-35 13-4011 0 0</inkml:trace>
</inkml:ink>
</file>

<file path=ppt/ink/ink15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3:27.481"/>
    </inkml:context>
    <inkml:brush xml:id="br0">
      <inkml:brushProperty name="width" value="0.2" units="cm"/>
      <inkml:brushProperty name="height" value="0.2" units="cm"/>
    </inkml:brush>
  </inkml:definitions>
  <inkml:trace contextRef="#ctx0" brushRef="#br0">37 162 1348 0 0,'-3'-1'2043'0'0,"-30"1"3183"0"0,50 3-5203 0 0,319 10 1168 0 0,-210-13-1041 0 0,1269-13 838 0 0,-360-5-399 0 0,-169 6-425 0 0,-300 1-180 0 0,175-7 15 0 0,4-25-46 0 0,-438 23 77 0 0,378 6 109 0 0,-600 14 110 0 0,18 1 82 0 0,-13 1 1450 0 0,116-13-1 0 0,-203 11-1959 0 0,-53-16-9389 0 0,29 12 5751 0 0</inkml:trace>
</inkml:ink>
</file>

<file path=ppt/ink/ink1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42.71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5 0 9512,'-23'16'2518,"3"-3"-1259,9-5-179,-1 1-451,4 0-898,11-1-271,10-3-270,7-6-89,4-3-1260,-5-1-809,1-1 2968,3-3 0,2-2 0,3-2 0</inkml:trace>
</inkml:ink>
</file>

<file path=ppt/ink/ink15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3:29.280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2 33 200 0 0,'0'0'1340'0'0,"-9"-33"3926"0"0,7 56-4645 0 0,2-1 0 0 0,2 24 0 0 0,20 167 2254 0 0,-18-157-2409 0 0,-3-31-72 0 0,10 49 0 0 0,-10-51-1185 0 0</inkml:trace>
</inkml:ink>
</file>

<file path=ppt/ink/ink15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3:31.533"/>
    </inkml:context>
    <inkml:brush xml:id="br0">
      <inkml:brushProperty name="width" value="0.2" units="cm"/>
      <inkml:brushProperty name="height" value="0.2" units="cm"/>
    </inkml:brush>
  </inkml:definitions>
  <inkml:trace contextRef="#ctx0" brushRef="#br0">5 2944 96 0 0,'-4'-11'6781'0'0,"4"12"-6697"0"0,1 0 1 0 0,0 0 0 0 0,0 1 0 0 0,-1-1 0 0 0,1 0-1 0 0,0 0 1 0 0,0 0 0 0 0,0 0 0 0 0,0 0-1 0 0,1 0 1 0 0,0 0 0 0 0,8 4 121 0 0,0-2-1 0 0,0 1 0 0 0,0-2 1 0 0,1 1-1 0 0,-1-1 1 0 0,0-1-1 0 0,1 0 1 0 0,19 0-1 0 0,3-2 19 0 0,57-10-1 0 0,-15-2-146 0 0,-1-4 0 0 0,-1-2 0 0 0,0-4 0 0 0,-2-3 0 0 0,91-46 0 0 0,-106 39-29 0 0,0-2 1 0 0,-3-2 0 0 0,77-69 0 0 0,130-152 38 0 0,-199 194-63 0 0,162-188 21 0 0,-33 35-48 0 0,139-179 30 0 0,-35 40-34 0 0,-213 266 23 0 0,187-201 13 0 0,-180 205-33 0 0,118-92-1 0 0,-135 126 7 0 0,3 2-1 0 0,2 4 1 0 0,122-55 0 0 0,-130 72-2 0 0,1 4-1 0 0,2 2 1 0 0,0 4 0 0 0,120-17 0 0 0,-150 32-9 0 0,-1 2 1 0 0,1 2-1 0 0,0 2 1 0 0,60 11 0 0 0,159 45-1 0 0,-197-42 28 0 0,91 26-1 0 0,213 88 0 0 0,-235-70 4 0 0,-3 5 0 0 0,176 120 0 0 0,-40 14 261 0 0,-144-104-58 0 0,-37-25-154 0 0,84 92-1 0 0,-11-9 101 0 0,344 285-137 0 0,-350-316 184 0 0,-39-34-72 0 0,29 19 69 0 0,-28-24-119 0 0,-52-36 31 0 0,1-2-1 0 0,3-4 0 0 0,1-2 1 0 0,2-3-1 0 0,102 38 0 0 0,-110-52-48 0 0,120 38 262 0 0,-137-48-192 0 0,-22-6-24 0 0,0-1 1 0 0,0 0-1 0 0,31 2 1 0 0,38-9 121 0 0,-15-1-82 0 0,-43 0-1900 0 0</inkml:trace>
</inkml:ink>
</file>

<file path=ppt/ink/ink15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4:02.124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59 892 0 0,'6'8'8546'0'0,"-4"-10"-8491"0"0,1-1 1 0 0,-1 0-1 0 0,0 1 1 0 0,0-1 0 0 0,0 0-1 0 0,0-1 1 0 0,0 1-1 0 0,0 0 1 0 0,-1 0 0 0 0,2-5-1 0 0,6-14 105 0 0,-8 21-123 0 0,2-3-81 0 0,0 2-7 0 0,3 10 166 0 0,-1 9 153 0 0,-1 0 0 0 0,0 1-1 0 0,-1 0 1 0 0,-1-1 0 0 0,0 19 0 0 0,-2-27-166 0 0,2 33 414 0 0,2 24 132 0 0,3-25 2898 0 0,-19-67-2845 0 0,-1-50-430 0 0,5 17-274 0 0,7 53-21 0 0,1 3-2 0 0,-1 0 1 0 0,1 0 0 0 0,-1-1 0 0 0,0 1-1 0 0,0 1 1 0 0,0-1 0 0 0,0 0 0 0 0,-2-4-1 0 0,-10 15 6 0 0,11-5 18 0 0,0 1 0 0 0,0 0 0 0 0,0-1 0 0 0,0 1 0 0 0,1 0 1 0 0,0 0-1 0 0,-1-1 0 0 0,2 1 0 0 0,-1 0 0 0 0,0 0 0 0 0,1 0 0 0 0,-1 7 1 0 0,8 46-2992 0 0,0-22-4417 0 0</inkml:trace>
</inkml:ink>
</file>

<file path=ppt/ink/ink15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4:04.225"/>
    </inkml:context>
    <inkml:brush xml:id="br0">
      <inkml:brushProperty name="width" value="0.2" units="cm"/>
      <inkml:brushProperty name="height" value="0.2" units="cm"/>
    </inkml:brush>
  </inkml:definitions>
  <inkml:trace contextRef="#ctx0" brushRef="#br0">60 36 172 0 0,'0'0'1303'0'0,"8"-25"996"0"0,2 16-1450 0 0,-10 8-830 0 0,0 1 0 0 0,0 0-1 0 0,1 0 1 0 0,-1 0 0 0 0,0 0 0 0 0,0 0 0 0 0,0 0 0 0 0,0 0 0 0 0,0 0 0 0 0,1 0 0 0 0,-1 0 0 0 0,0 0 0 0 0,0 0 0 0 0,0 0 0 0 0,0 0 0 0 0,1 0 0 0 0,-1 0 0 0 0,0 0 0 0 0,0 0 0 0 0,0 0-1 0 0,0 0 1 0 0,0 0 0 0 0,1 0 0 0 0,-1 0 0 0 0,0 0 0 0 0,0 0 0 0 0,0 1 0 0 0,0-1 0 0 0,0 0 0 0 0,1 0 0 0 0,-1 0 0 0 0,0 0 0 0 0,0 0 0 0 0,0 0 0 0 0,0 0 0 0 0,0 1 0 0 0,0-1-1 0 0,0 0 1 0 0,0 0 0 0 0,3 33 621 0 0,-1-4-88 0 0,9 52 0 0 0,0 3-118 0 0,-1 3-179 0 0,2 65 118 0 0,-12-86-141 0 0,-4 130 532 0 0,-3-104-371 0 0,-10 83 122 0 0,-7-5-98 0 0,21-113-319 0 0,5 74 0 0 0,3 102 633 0 0,-5-220-689 0 0,-12 157 511 0 0,4-101-534 0 0,7-53-14 0 0,-12 242 96 0 0,-2-34-65 0 0,11-188-14 0 0,2-15-19 0 0,-7 33 0 0 0,8-47 0 0 0,-1 1 0 0 0,2 0 0 0 0,-1-1 0 0 0,1 1 0 0 0,1 9 0 0 0,-1-8 4 0 0,-4 173 489 0 0,-3-88 162 0 0,8-85-640 0 0,-2 0 1 0 0,1 0-1 0 0,-1 0 1 0 0,-3 11-1 0 0</inkml:trace>
</inkml:ink>
</file>

<file path=ppt/ink/ink15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4:05.244"/>
    </inkml:context>
    <inkml:brush xml:id="br0">
      <inkml:brushProperty name="width" value="0.2" units="cm"/>
      <inkml:brushProperty name="height" value="0.2" units="cm"/>
    </inkml:brush>
  </inkml:definitions>
  <inkml:trace contextRef="#ctx0" brushRef="#br0">9 106 712 0 0,'0'-3'969'0'0,"-8"-88"5290"0"0,8 90-6050 0 0,1-10 215 0 0,8 20-270 0 0,0 1 1 0 0,-1 0-1 0 0,0 0 1 0 0,-1 0-1 0 0,0 1 1 0 0,7 15-1 0 0,-4-8-60 0 0,46 74 271 0 0,30 54-544 0 0,-46-72-5146 0 0</inkml:trace>
</inkml:ink>
</file>

<file path=ppt/ink/ink15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4:05.579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15 1292 0 0,'1'-2'1040'0'0,"0"1"-900"0"0,0 0 0 0 0,-1 0 1 0 0,1 0-1 0 0,0 0 0 0 0,0 1 0 0 0,0-1 0 0 0,-1 0 0 0 0,1 0 0 0 0,0 1 0 0 0,0-1 0 0 0,0 1 0 0 0,0-1 1 0 0,0 1-1 0 0,0-1 0 0 0,1 1 0 0 0,-1 0 0 0 0,0-1 0 0 0,0 1 0 0 0,0 0 0 0 0,0 0 0 0 0,0 0 1 0 0,3 0-1 0 0,-2 0 7 0 0,0 1 0 0 0,1-1 0 0 0,-1 1 0 0 0,0 0 0 0 0,0 0 0 0 0,1 0 0 0 0,-1 0 0 0 0,0 0 0 0 0,0 0 0 0 0,3 4 0 0 0,6 5 106 0 0,0 0-1 0 0,-1 1 0 0 0,10 14 0 0 0,-6-8 162 0 0,35 44 229 0 0,49 80 0 0 0,-69-90-1191 0 0,-15-12-4154 0 0,-10-26 2475 0 0</inkml:trace>
</inkml:ink>
</file>

<file path=ppt/ink/ink15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4:05.968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4 784 0 0,'1'-1'114'0'0,"0"1"1"0"0,-1 0-1 0 0,1-1 0 0 0,0 1 0 0 0,-1 0 0 0 0,1-1 1 0 0,0 1-1 0 0,0 0 0 0 0,0 0 0 0 0,-1 0 1 0 0,1 0-1 0 0,0-1 0 0 0,0 1 0 0 0,-1 0 0 0 0,1 1 1 0 0,0-1-1 0 0,0 0 0 0 0,0 0 0 0 0,-1 0 1 0 0,1 0-1 0 0,0 0 0 0 0,0 1 0 0 0,-1-1 1 0 0,1 0-1 0 0,0 1 0 0 0,0-1 0 0 0,-1 1 0 0 0,1-1 1 0 0,-1 1-1 0 0,1-1 0 0 0,0 1 0 0 0,-1-1 1 0 0,1 1-1 0 0,-1-1 0 0 0,1 1 0 0 0,-1 0 0 0 0,1-1 1 0 0,-1 1-1 0 0,1 1 0 0 0,21 34 1081 0 0,-18-28-802 0 0,22 39 467 0 0,134 255 608 0 0,-144-259-2648 0 0,-8-11-2865 0 0,-6-21 2405 0 0</inkml:trace>
</inkml:ink>
</file>

<file path=ppt/ink/ink15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4:06.344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183 164 0 0,'1'-2'351'0'0,"-1"0"1"0"0,1 0-1 0 0,0 0 1 0 0,0 0-1 0 0,0 0 0 0 0,0 0 1 0 0,0 1-1 0 0,1-1 0 0 0,-1 0 1 0 0,3-2-1 0 0,-4 4-284 0 0,1-1 1 0 0,-1 1-1 0 0,0 0 0 0 0,1 0 0 0 0,-1 0 0 0 0,0 0 0 0 0,1 0 0 0 0,-1-1 1 0 0,1 1-1 0 0,-1 0 0 0 0,0 0 0 0 0,1 0 0 0 0,-1 0 0 0 0,1 0 0 0 0,-1 0 1 0 0,0 0-1 0 0,1 0 0 0 0,-1 0 0 0 0,0 1 0 0 0,1-1 0 0 0,-1 0 0 0 0,1 0 1 0 0,-1 0-1 0 0,12 13 350 0 0,23 52 1213 0 0,50 134 0 0 0,-36-77-1224 0 0,29 72-714 0 0,-75-186 524 0 0</inkml:trace>
  <inkml:trace contextRef="#ctx0" brushRef="#br0" timeOffset="1">293 101 764 0 0,'7'-101'5925'0'0,"-4"103"-5632"0"0,-1-1-233 0 0,1 1 1 0 0,-1-1-1 0 0,0 1 1 0 0,0 0-1 0 0,0 0 0 0 0,0 0 1 0 0,0 0-1 0 0,0 0 1 0 0,0 1-1 0 0,-1-1 0 0 0,1 0 1 0 0,-1 1-1 0 0,2 3 1 0 0,16 42 502 0 0,-8-17-333 0 0,42 90 321 0 0,102 269-77 0 0,-147-355-1063 0 0,-8-33 263 0 0,1 0 0 0 0,-1 0 0 0 0,0 0 0 0 0,0 0 0 0 0,0 0 1 0 0,0 0-1 0 0,-1 0 0 0 0,1 0 0 0 0,0 0 0 0 0,-1 0 0 0 0,0-1 0 0 0,1 1 1 0 0,-1 0-1 0 0,0 0 0 0 0,-1 2 0 0 0</inkml:trace>
</inkml:ink>
</file>

<file path=ppt/ink/ink15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4:06.733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49 1352 0 0,'0'-49'4003'0'0,"0"51"-3575"0"0,24 113 1332 0 0,60 170 0 0 0,-82-278-1722 0 0,76 210 528 0 0,-18-52-264 0 0,-7-30-2066 0 0</inkml:trace>
</inkml:ink>
</file>

<file path=ppt/ink/ink15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4:07.113"/>
    </inkml:context>
    <inkml:brush xml:id="br0">
      <inkml:brushProperty name="width" value="0.2" units="cm"/>
      <inkml:brushProperty name="height" value="0.2" units="cm"/>
    </inkml:brush>
  </inkml:definitions>
  <inkml:trace contextRef="#ctx0" brushRef="#br0">7 262 1184 0 0,'-6'-66'4032'0'0,"18"71"-3367"0"0,-7 1-538 0 0,-1-1 0 0 0,1 1 0 0 0,-1 0 0 0 0,-1 0 0 0 0,1 0 0 0 0,-1 0 0 0 0,5 13 1 0 0,-2-5 29 0 0,82 169 1005 0 0,84 193-149 0 0,-160-348-1019 0 0,89 248-1019 0 0,-97-264 815 0 0,3 17-3695 0 0</inkml:trace>
  <inkml:trace contextRef="#ctx0" brushRef="#br0" timeOffset="1">309 47 348 0 0,'-4'-47'3924'0'0,"8"75"-2466"0"0,4 20-661 0 0,14 46 0 0 0,-17-73-665 0 0,36 117 718 0 0,61 136-1 0 0,-60-166-561 0 0,85 214-97 0 0,-120-300-771 0 0</inkml:trace>
</inkml:ink>
</file>

<file path=ppt/ink/ink1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43.03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2 46 8792,'21'-16'3238,"-3"4"-2518,-3 4-1,-1 3 451,0 1-541,9 3-179,-5 2-90,6 3 0,-6 3-91,-2 2 1,0 3-90,-2 1 0,-2 2-90,-1 2 90,-3 2-90,-2 0 0,-3 1 0,-3 1-90,-3-1 90,-4 3 0,-3-1-90,-3 1 0,-3-1 90,-2-1-90,-2-1 0,-2-2 90,0-2-90,-1-1 0,-1-1 90,1-2 179,1-2 1,2-1 0,2-1 90,2-2 270,1 0-1,-1 0-359,2-1-180,14-2-90,8-1-180,18-3-90,-4 0 0,2 1-89,-6 1-91,1-1-90,-1 1 0,0 0-89,1 0-1,-1 0-89,-1 0-91,0 0-5127,24-3 3509,-20-1 2428,19-3 0,-32 4 0,-2-1 0</inkml:trace>
</inkml:ink>
</file>

<file path=ppt/ink/ink15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4:07.476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3 61 436 0 0,'-5'-25'1334'0'0,"-1"-10"1299"0"0,4 84-1248 0 0,10 17-570 0 0,25 92 0 0 0,30 62-117 0 0,19 83-318 0 0,-79-289-533 0 0,0-4-189 0 0,-1 0 0 0 0,0 0 1 0 0,-1 0-1 0 0,0 0 0 0 0,-1 0 0 0 0,0 1 0 0 0,-1 13 1 0 0</inkml:trace>
</inkml:ink>
</file>

<file path=ppt/ink/ink15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4:07.807"/>
    </inkml:context>
    <inkml:brush xml:id="br0">
      <inkml:brushProperty name="width" value="0.2" units="cm"/>
      <inkml:brushProperty name="height" value="0.2" units="cm"/>
    </inkml:brush>
  </inkml:definitions>
  <inkml:trace contextRef="#ctx0" brushRef="#br0">7 321 228 0 0,'-6'-28'3565'0'0,"6"32"-3033"0"0,21 79 1060 0 0,34 83 0 0 0,43 81-992 0 0,-32-86-180 0 0,-49-119-1107 0 0,-2 1-1 0 0,-1 0 0 0 0,12 78 0 0 0,-26-105-994 0 0,0 0-10 0 0</inkml:trace>
  <inkml:trace contextRef="#ctx0" brushRef="#br0" timeOffset="1">262 0 408 0 0,'0'3'1614'0'0,"1"37"-723"0"0,3-1 1 0 0,1 1-1 0 0,1-1 1 0 0,22 69 0 0 0,69 150-455 0 0,-49-139-87 0 0,-19-44-451 0 0,50 143-3501 0 0,-72-190 2442 0 0</inkml:trace>
</inkml:ink>
</file>

<file path=ppt/ink/ink15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4:09.225"/>
    </inkml:context>
    <inkml:brush xml:id="br0">
      <inkml:brushProperty name="width" value="0.2" units="cm"/>
      <inkml:brushProperty name="height" value="0.2" units="cm"/>
    </inkml:brush>
  </inkml:definitions>
  <inkml:trace contextRef="#ctx0" brushRef="#br0">29 2 892 0 0,'-3'-1'1936'0'0,"3"1"-1876"0"0,-1 0 0 0 0,1 0 1 0 0,-1 0-1 0 0,0 0 1 0 0,1-1-1 0 0,-1 1 0 0 0,1 0 1 0 0,-1 0-1 0 0,1 0 1 0 0,-1 1-1 0 0,0-1 1 0 0,1 0-1 0 0,-1 0 0 0 0,1 0 1 0 0,-1 0-1 0 0,1 1 1 0 0,-1-1-1 0 0,1 0 0 0 0,-1 0 1 0 0,1 1-1 0 0,-1-1 1 0 0,1 0-1 0 0,-1 1 1 0 0,1-1-1 0 0,0 0 0 0 0,-1 1 1 0 0,1-1-1 0 0,-1 1 1 0 0,1 0-1 0 0,-8 20 1079 0 0,7-10-1001 0 0,0 0-1 0 0,1 0 0 0 0,0 0 1 0 0,1 1-1 0 0,0-1 1 0 0,0-1-1 0 0,1 1 0 0 0,1 0 1 0 0,0 0-1 0 0,5 10 1 0 0,5 28 87 0 0,-2-5-395 0 0,12 78-3550 0 0,-20-102 2498 0 0</inkml:trace>
</inkml:ink>
</file>

<file path=ppt/ink/ink15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4:25.703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1 1408 0 0,'24'7'1365'0'0,"0"0"0"0"0,1-2 0 0 0,0-1 0 0 0,0-1 0 0 0,32 1 0 0 0,131-11 331 0 0,-108 1-1014 0 0,3 2-188 0 0,-70 4 103 0 0</inkml:trace>
</inkml:ink>
</file>

<file path=ppt/ink/ink15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4:26.152"/>
    </inkml:context>
    <inkml:brush xml:id="br0">
      <inkml:brushProperty name="width" value="0.2" units="cm"/>
      <inkml:brushProperty name="height" value="0.2" units="cm"/>
    </inkml:brush>
  </inkml:definitions>
  <inkml:trace contextRef="#ctx0" brushRef="#br0">201 1 700 0 0,'-3'0'2695'0'0,"-3"2"-2235"0"0,0 0 1 0 0,0 0-1 0 0,0 1 0 0 0,0 0 0 0 0,0 0 1 0 0,0 0-1 0 0,1 0 0 0 0,-1 1 1 0 0,1 0-1 0 0,-6 6 0 0 0,-7 6 493 0 0,-23 29-1 0 0,32-35-757 0 0,2 0 1 0 0,-1 1-1 0 0,2 0 1 0 0,-1 0-1 0 0,1 0 0 0 0,1 1 1 0 0,0 0-1 0 0,1 0 1 0 0,-4 14-1 0 0,7-18-99 0 0,-1-1 1 0 0,2 1-1 0 0,-1 0 0 0 0,1-1 0 0 0,0 1 1 0 0,0 0-1 0 0,1-1 0 0 0,0 1 0 0 0,0 0 1 0 0,1-1-1 0 0,0 0 0 0 0,0 1 0 0 0,1-1 1 0 0,0 0-1 0 0,0 0 0 0 0,7 9 0 0 0,-4-7 1 0 0,1-1 0 0 0,0 0-1 0 0,0-1 1 0 0,1 1 0 0 0,0-1 0 0 0,0-1-1 0 0,0 0 1 0 0,1 0 0 0 0,0-1 0 0 0,0 0-1 0 0,1 0 1 0 0,0-1 0 0 0,-1 0 0 0 0,1-1-1 0 0,1 0 1 0 0,-1 0 0 0 0,0-1 0 0 0,14 1-1 0 0,-15-3-6 0 0,-1 1 0 0 0,1-1 0 0 0,0 0 0 0 0,-1-1 0 0 0,1 0 0 0 0,-1 0 0 0 0,1-1-1 0 0,-1 0 1 0 0,0 0 0 0 0,0-1 0 0 0,0 0 0 0 0,0-1 0 0 0,0 0 0 0 0,-1 0 0 0 0,1 0 0 0 0,-1-1 0 0 0,0 0-1 0 0,-1-1 1 0 0,1 1 0 0 0,-1-1 0 0 0,0 0 0 0 0,9-13 0 0 0,-9 9-41 0 0,-1 0 0 0 0,0 0 0 0 0,-1-1 1 0 0,0 1-1 0 0,0-1 0 0 0,-1 0 0 0 0,-1 0 0 0 0,1 0 1 0 0,-2 0-1 0 0,0-1 0 0 0,0 1 0 0 0,-1 0 0 0 0,0-1 0 0 0,-1 1 1 0 0,-1 0-1 0 0,0 0 0 0 0,0 0 0 0 0,-1 0 0 0 0,0 0 1 0 0,-1 0-1 0 0,0 1 0 0 0,-1-1 0 0 0,0 1 0 0 0,-12-17 0 0 0,8 15-572 0 0,-1-1-1 0 0,-1 1 1 0 0,0 1-1 0 0,-1 0 0 0 0,-23-18 1 0 0</inkml:trace>
</inkml:ink>
</file>

<file path=ppt/ink/ink15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4:26.522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0 380 0 0,'30'13'8808'0'0,"-10"-1"-5898"0"0,-19-11-3076 0 0</inkml:trace>
</inkml:ink>
</file>

<file path=ppt/ink/ink15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4:26.874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13 1368 0 0,'3'-1'1939'0'0,"2"-2"-1492"0"0,18-5 3525 0 0,-23 8-3872 0 0,1 0-1 0 0,0 0 0 0 0,-1 0 0 0 0,1 0 0 0 0,0 0 0 0 0,-1 0 1 0 0,1 0-1 0 0,0 0 0 0 0,-1 1 0 0 0,1-1 0 0 0,-1 0 0 0 0,1 0 1 0 0,0 1-1 0 0,-1-1 0 0 0,1 0 0 0 0,-1 1 0 0 0,1-1 1 0 0,-1 1-1 0 0,1-1 0 0 0,-1 1 0 0 0,1-1 0 0 0,-1 1 0 0 0,1-1 1 0 0,-1 1-1 0 0,0-1 0 0 0,1 1 0 0 0,-1-1 0 0 0,0 1 0 0 0,0 0 1 0 0,1-1-1 0 0,-1 1 0 0 0,0 0 0 0 0,0-1 0 0 0,0 1 1 0 0,0 0-1 0 0,0-1 0 0 0,0 2 0 0 0,1 8 352 0 0,-1 0-1 0 0,0 0 1 0 0,-1 0-1 0 0,0 0 1 0 0,0 0-1 0 0,-1 0 1 0 0,-5 14 0 0 0,-4 26 423 0 0,7-22-674 0 0,1 1 0 0 0,1 0 1 0 0,1 0-1 0 0,2 0 0 0 0,1 0 0 0 0,1-1 0 0 0,2 1 0 0 0,15 51 1 0 0,-17-71-170 0 0,0 0 1 0 0,1 0-1 0 0,0-1 1 0 0,1 0-1 0 0,0 0 1 0 0,0 0-1 0 0,12 12 1 0 0,-16-18-24 0 0,1 0 1 0 0,1 0-1 0 0,-1 0 1 0 0,0 0-1 0 0,0 0 1 0 0,1-1-1 0 0,-1 1 1 0 0,1-1-1 0 0,-1 0 1 0 0,1 0-1 0 0,0 0 1 0 0,-1 0-1 0 0,1 0 1 0 0,0 0-1 0 0,0-1 1 0 0,0 1-1 0 0,0-1 1 0 0,-1 0-1 0 0,1 0 1 0 0,0 0-1 0 0,0 0 1 0 0,0-1-1 0 0,0 1 1 0 0,0-1-1 0 0,-1 1 1 0 0,1-1-1 0 0,0 0 1 0 0,0 0 0 0 0,4-3-1 0 0,-3 1 2 0 0,1 1-1 0 0,0-2 1 0 0,-1 1-1 0 0,0-1 1 0 0,0 1-1 0 0,0-1 1 0 0,0 0-1 0 0,-1 0 1 0 0,1-1-1 0 0,-1 1 1 0 0,0-1 0 0 0,0 0-1 0 0,-1 0 1 0 0,0 0-1 0 0,1 0 1 0 0,-2 0-1 0 0,1 0 1 0 0,-1 0-1 0 0,1-1 1 0 0,0-10-1 0 0,-2 12-28 0 0,0 1 1 0 0,0-1-1 0 0,0 0 0 0 0,0 0 0 0 0,-1 0 0 0 0,0 1 0 0 0,0-1 0 0 0,0 0 0 0 0,0 1 0 0 0,0-1 0 0 0,-1 1 0 0 0,1-1 0 0 0,-1 1 0 0 0,0-1 0 0 0,0 1 0 0 0,0 0 0 0 0,-1 0 0 0 0,1 0 0 0 0,-1 0 0 0 0,1 1 0 0 0,-1-1 0 0 0,0 1 0 0 0,0 0 0 0 0,0-1 0 0 0,-1 1 0 0 0,1 0 1 0 0,0 1-1 0 0,-1-1 0 0 0,1 1 0 0 0,-7-2 0 0 0,-2-1-1321 0 0,-1 1 0 0 0,0 0 1 0 0,-1 1-1 0 0,1 1 0 0 0,-17 0 1 0 0</inkml:trace>
</inkml:ink>
</file>

<file path=ppt/ink/ink15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7:01.016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6 159 1740 0 0,'-15'-8'6778'0'0,"14"7"-6681"0"0,2 0 0 0 0,-1 0 0 0 0,1 0-1 0 0,0-1 1 0 0,-1 1 0 0 0,1 0 0 0 0,0 0 0 0 0,0 0-1 0 0,0 0 1 0 0,-1 0 0 0 0,1 1 0 0 0,0-1 0 0 0,0 0 0 0 0,0 0-1 0 0,1 0 1 0 0,-1 1 0 0 0,2-2 0 0 0,26-14 324 0 0,1 2 0 0 0,1 0 0 0 0,0 2 0 0 0,50-11 0 0 0,134-20-843 0 0,-181 38-680 0 0,50 0 0 0 0,-63 5-1326 0 0,36 5-1 0 0,-39-2-50 0 0</inkml:trace>
</inkml:ink>
</file>

<file path=ppt/ink/ink15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7:01.349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60 0 596 0 0,'-38'17'2142'0'0,"8"-5"547"0"0,1 2 0 0 0,-33 21 505 0 0,65-34-2732 0 0,10 0-234 0 0,1-1 0 0 0,-1 0 0 0 0,0-1 0 0 0,1 0 0 0 0,18-5-1 0 0,3 1 7 0 0,14-1-396 0 0,214-25 1570 0 0,-93 13-6665 0 0</inkml:trace>
</inkml:ink>
</file>

<file path=ppt/ink/ink15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7:01.936"/>
    </inkml:context>
    <inkml:brush xml:id="br0">
      <inkml:brushProperty name="width" value="0.2" units="cm"/>
      <inkml:brushProperty name="height" value="0.2" units="cm"/>
    </inkml:brush>
  </inkml:definitions>
  <inkml:trace contextRef="#ctx0" brushRef="#br0">5 259 616 0 0,'-2'-11'544'0'0,"1"0"0"0"0,0 0-1 0 0,1 0 1 0 0,0-1 0 0 0,1 1-1 0 0,0 0 1 0 0,0 0 0 0 0,1 0 0 0 0,1 0-1 0 0,0 0 1 0 0,1 0 0 0 0,7-15-1 0 0,-8 19-414 0 0,1 0 0 0 0,0 1 0 0 0,1-1 0 0 0,0 1-1 0 0,0 0 1 0 0,0 0 0 0 0,0 1 0 0 0,1 0 0 0 0,0 0-1 0 0,0 0 1 0 0,1 0 0 0 0,-1 1 0 0 0,1 0 0 0 0,0 1-1 0 0,0 0 1 0 0,0 0 0 0 0,0 0 0 0 0,1 1-1 0 0,8-2 1 0 0,-8 2-61 0 0,0 1 0 0 0,0 1 0 0 0,0 0 0 0 0,0 0 0 0 0,0 0 0 0 0,1 1 0 0 0,-1 0 0 0 0,0 0 0 0 0,0 1-1 0 0,-1 0 1 0 0,1 1 0 0 0,0 0 0 0 0,-1 0 0 0 0,1 1 0 0 0,-1-1 0 0 0,0 2 0 0 0,0-1 0 0 0,0 1 0 0 0,-1 0 0 0 0,7 6 0 0 0,-7-5-16 0 0,0 1 1 0 0,0-1 0 0 0,0 1 0 0 0,-1 0 0 0 0,0 1 0 0 0,-1-1-1 0 0,0 1 1 0 0,0 0 0 0 0,0 0 0 0 0,-1 0 0 0 0,0 0 0 0 0,-1 1-1 0 0,0-1 1 0 0,0 1 0 0 0,0 0 0 0 0,-2 0 0 0 0,1-1 0 0 0,-1 15-1 0 0,-3-4 9 0 0,0-1 0 0 0,-1 0 0 0 0,-1 0 0 0 0,-1 0 0 0 0,-1 0 0 0 0,0-1 0 0 0,-12 21 0 0 0,-9 9 180 0 0,-41 52 0 0 0,-23 12 212 0 0,-21 31 1080 0 0,112-142-1517 0 0,1 1-1 0 0,0-1 1 0 0,0 0-1 0 0,-1 1 1 0 0,1-1-1 0 0,0 0 1 0 0,0 1 0 0 0,-1-1-1 0 0,1 1 1 0 0,0-1-1 0 0,0 0 1 0 0,0 1-1 0 0,0-1 1 0 0,-1 1-1 0 0,1-1 1 0 0,0 1 0 0 0,0-1-1 0 0,0 0 1 0 0,0 1-1 0 0,0-1 1 0 0,0 1-1 0 0,0-1 1 0 0,0 1-1 0 0,1-1 1 0 0,-1 0-1 0 0,0 1 1 0 0,0-1 0 0 0,0 1-1 0 0,0-1 1 0 0,0 0-1 0 0,1 1 1 0 0,-1-1-1 0 0,0 1 1 0 0,0-1-1 0 0,1 1 1 0 0,1 0 14 0 0,-1-1-1 0 0,0 1 1 0 0,1-1 0 0 0,-1 1 0 0 0,1-1-1 0 0,-1 1 1 0 0,1-1 0 0 0,-1 0 0 0 0,1 0-1 0 0,0 0 1 0 0,2 0 0 0 0,56-4 128 0 0,117-22 1 0 0,-75 8-1368 0 0,-53 11 67 0 0,-11 2-1809 0 0,0-1 1 0 0,54-17-1 0 0,-67 13-322 0 0</inkml:trace>
</inkml:ink>
</file>

<file path=ppt/ink/ink1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43.33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5 57 9691,'25'-20'2879,"-3"2"-1620,-10 8 1619,2 1-2338,-10 13 0,-1 0 0,-10 13-91,-2-2-179,-3 3 90,0 1-180,-1 4 90,1 0-90,0 1-1,3 0-89,0 1 0,3-1 90,0 12-90,5-9 0,1 7 0,3-11 0,3-1 0,1-1-90,2-2 90,2-2 0,0-2 0,1-2 180,4-1-90,1-5 89,1-4 1,-3-10-90,-7-6-90,-7-6 0,-5 2-899,-22-17 269,10 18-270,-14-12-179,15 19-91,-1 0-359,0 3-540,0 1-899,0 2-1889,1 0 3919,0 2 0,6 0 0,2 0 0</inkml:trace>
</inkml:ink>
</file>

<file path=ppt/ink/ink15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7:02.287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293 80 0 0,'0'-9'767'0'0,"1"-1"1"0"0,0 0-1 0 0,0 0 0 0 0,1 0 1 0 0,1 1-1 0 0,0-1 1 0 0,0 1-1 0 0,7-15 0 0 0,-4 12-363 0 0,1 1-1 0 0,0 0 0 0 0,1 0 1 0 0,0 1-1 0 0,19-19 0 0 0,-13 17-251 0 0,0 0 0 0 0,1 1 0 0 0,1 0-1 0 0,-1 1 1 0 0,2 1 0 0 0,-1 1-1 0 0,1 0 1 0 0,1 1 0 0 0,23-6 0 0 0,-35 11-21 0 0,0 1 1 0 0,0-1 0 0 0,0 1 0 0 0,1 1 0 0 0,-1-1 0 0 0,0 1-1 0 0,0 0 1 0 0,0 1 0 0 0,0-1 0 0 0,0 1 0 0 0,0 1-1 0 0,0-1 1 0 0,0 1 0 0 0,0 0 0 0 0,0 0 0 0 0,5 3-1 0 0,-4 0 106 0 0,-1-1-1 0 0,1 1 0 0 0,-1 1 0 0 0,-1-1 0 0 0,1 1 0 0 0,-1 0 0 0 0,0 0 0 0 0,0 0 0 0 0,0 1 0 0 0,-1 0 0 0 0,6 12 0 0 0,17 45 733 0 0,-3 1 0 0 0,30 126 0 0 0,-45-153-1891 0 0,-2 0 0 0 0,3 43 1 0 0,-9-57-1884 0 0,0 0 0 0 0,-5 34 1 0 0</inkml:trace>
</inkml:ink>
</file>

<file path=ppt/ink/ink15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7:02.615"/>
    </inkml:context>
    <inkml:brush xml:id="br0">
      <inkml:brushProperty name="width" value="0.2" units="cm"/>
      <inkml:brushProperty name="height" value="0.2" units="cm"/>
    </inkml:brush>
  </inkml:definitions>
  <inkml:trace contextRef="#ctx0" brushRef="#br0">26 726 940 0 0,'-19'-19'4948'0'0,"17"16"-4284"0"0,-2-3 0 0 0,4 5-575 0 0,-1-1-1 0 0,1 1 1 0 0,0 0-1 0 0,0-1 1 0 0,0 1-1 0 0,0 0 0 0 0,0 0 1 0 0,0-1-1 0 0,0 1 1 0 0,1 0-1 0 0,-1 0 1 0 0,0-1-1 0 0,1 1 1 0 0,-1 0-1 0 0,1 0 0 0 0,-1 0 1 0 0,1-1-1 0 0,0 1 1 0 0,-1 0-1 0 0,1 0 1 0 0,0 0-1 0 0,0 0 0 0 0,0 0 1 0 0,0 1-1 0 0,0-1 1 0 0,1-1-1 0 0,9-8 135 0 0,1 1 1 0 0,0 0-1 0 0,0 1 0 0 0,1 0 0 0 0,0 1 1 0 0,19-8-1 0 0,89-26 43 0 0,-78 28-333 0 0,0-1-223 0 0,60-19-3032 0 0,111-51 0 0 0,-160 57 1294 0 0</inkml:trace>
  <inkml:trace contextRef="#ctx0" brushRef="#br0" timeOffset="1">1096 124 1236 0 0,'119'-101'8340'0'0,"-104"87"-7304"0"0,-14 13-941 0 0,-1 1 1 0 0,1-1 0 0 0,0 0-1 0 0,-1 1 1 0 0,1-1 0 0 0,0 1 0 0 0,0-1-1 0 0,-1 1 1 0 0,1-1 0 0 0,0 1-1 0 0,0-1 1 0 0,0 1 0 0 0,0 0 0 0 0,-1-1-1 0 0,1 1 1 0 0,0 0 0 0 0,0 0-1 0 0,0 0 1 0 0,0 0 0 0 0,0 0 0 0 0,0 0-1 0 0,0 0 1 0 0,1 0 0 0 0,-1 0-3 0 0,0 1 1 0 0,0 0-1 0 0,-1-1 1 0 0,1 1 0 0 0,0 0-1 0 0,-1-1 1 0 0,1 1-1 0 0,0 0 1 0 0,-1 0-1 0 0,1-1 1 0 0,-1 1-1 0 0,1 0 1 0 0,-1 0 0 0 0,1 0-1 0 0,-1 0 1 0 0,0 0-1 0 0,0 0 1 0 0,1 1-1 0 0,0 6 418 0 0,1 1 0 0 0,-1 0 0 0 0,-1 15-1 0 0,0-21-395 0 0,2 116 1573 0 0,-7 156-2770 0 0,-11-153-2964 0 0,-1-43-2743 0 0,14-57 2578 0 0</inkml:trace>
</inkml:ink>
</file>

<file path=ppt/ink/ink15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7:02.954"/>
    </inkml:context>
    <inkml:brush xml:id="br0">
      <inkml:brushProperty name="width" value="0.2" units="cm"/>
      <inkml:brushProperty name="height" value="0.2" units="cm"/>
    </inkml:brush>
  </inkml:definitions>
  <inkml:trace contextRef="#ctx0" brushRef="#br0">82 142 668 0 0,'-13'-17'2308'0'0,"7"-1"-440"0"0,-5 3-447 0 0,0-1-241 0 0,3 2-280 0 0,1 1-132 0 0,-1-1-196 0 0,1 3-296 0 0,3 1-516 0 0,-3-4-1588 0 0</inkml:trace>
  <inkml:trace contextRef="#ctx0" brushRef="#br0" timeOffset="1">576 136 788 0 0,'151'86'13621'0'0,"-147"-83"-14198"0"0,0-1 0 0 0,-1 1-1 0 0,1 0 1 0 0,0 1-1 0 0,-1-1 1 0 0,0 1-1 0 0,5 5 1 0 0</inkml:trace>
</inkml:ink>
</file>

<file path=ppt/ink/ink15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7:08.387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1 548 0 0,'0'4'722'0'0,"1"20"35"0"0,1 1 0 0 0,2-1 0 0 0,10 44 0 0 0,32 72 466 0 0,22 25 48 0 0,-56-140-1076 0 0,-10-20 116 0 0,1 0 0 0 0,-1 0 0 0 0,0 0 0 0 0,0 0 0 0 0,0 0 0 0 0,-1 0 0 0 0,0 0 0 0 0,1 6 0 0 0,-6-15-177 0 0,4 4-130 0 0,0 0-1 0 0,0 0 1 0 0,-1-1-1 0 0,1 1 0 0 0,0 0 1 0 0,-1 0-1 0 0,1 0 1 0 0,0 0-1 0 0,0-1 1 0 0,-1 1-1 0 0,1 0 0 0 0,0 0 1 0 0,0 0-1 0 0,0-1 1 0 0,-1 1-1 0 0,1 0 1 0 0,0-1-1 0 0,0 1 0 0 0,0 0 1 0 0,0 0-1 0 0,-1-1 1 0 0,1 1-1 0 0,0 0 1 0 0,0-1-1 0 0,0 1 0 0 0,0 0 1 0 0,0 0-1 0 0,0-1 1 0 0,0 1-1 0 0,0 0 1 0 0,0-1-1 0 0,0 1 0 0 0,0-1 1 0 0,0-5-1 0 0,1 0 0 0 0,0 1 1 0 0,-1-1-1 0 0,2 0 0 0 0,-1 0 0 0 0,1 1 1 0 0,0-1-1 0 0,0 1 0 0 0,0-1 0 0 0,1 1 1 0 0,0 0-1 0 0,0 0 0 0 0,0 0 1 0 0,1 0-1 0 0,-1 1 0 0 0,1-1 0 0 0,0 1 1 0 0,1 0-1 0 0,-1 0 0 0 0,1 1 0 0 0,0-1 1 0 0,-1 1-1 0 0,2 0 0 0 0,-1 0 0 0 0,10-3 1 0 0,-5 2-16 0 0,0 0 1 0 0,1 1-1 0 0,-1 0 1 0 0,1 1 0 0 0,0 0-1 0 0,0 1 1 0 0,0 0 0 0 0,0 1-1 0 0,0 0 1 0 0,0 1-1 0 0,0 0 1 0 0,-1 0 0 0 0,14 5-1 0 0,-11-2 34 0 0,0 1-1 0 0,0 0 1 0 0,-1 1-1 0 0,0 0 1 0 0,0 1-1 0 0,-1 1 1 0 0,0 0-1 0 0,0 0 1 0 0,-1 1-1 0 0,0 1 1 0 0,0-1-1 0 0,-1 2 1 0 0,0-1-1 0 0,12 21 1 0 0,-16-24 17 0 0,-2 0 1 0 0,1 1-1 0 0,-1-1 0 0 0,0 0 1 0 0,0 1-1 0 0,0 0 0 0 0,-1 0 1 0 0,-1-1-1 0 0,1 1 0 0 0,-1 0 1 0 0,-1 0-1 0 0,0 0 0 0 0,0 1 1 0 0,0-1-1 0 0,-1 0 0 0 0,0 0 1 0 0,0 0-1 0 0,-1-1 0 0 0,0 1 1 0 0,-1 0-1 0 0,0-1 0 0 0,0 1 1 0 0,0-1-1 0 0,-1 0 0 0 0,0 0 1 0 0,-6 7-1 0 0,3-5-1 0 0,-1 0 1 0 0,0 0-1 0 0,-1-1 0 0 0,1 0 0 0 0,-2 0 1 0 0,1-1-1 0 0,-1-1 0 0 0,0 1 0 0 0,-1-2 1 0 0,1 1-1 0 0,-1-1 0 0 0,0-1 0 0 0,-15 4 0 0 0,17-6-229 0 0,0 0 0 0 0,0 0 0 0 0,0-1 0 0 0,-1 0 0 0 0,1-1 0 0 0,-1 0 0 0 0,1 0 0 0 0,0-1 0 0 0,-1 0 0 0 0,1-1-1 0 0,0 0 1 0 0,0 0 0 0 0,0-1 0 0 0,0 0 0 0 0,1-1 0 0 0,-1 0 0 0 0,-10-7 0 0 0,16 9-218 0 0,0 0 0 0 0,1 0 0 0 0,-1-1 0 0 0,1 1 0 0 0,-1-1 0 0 0,1 0 0 0 0,0 1-1 0 0,0-1 1 0 0,-2-6 0 0 0,-3-4-1539 0 0</inkml:trace>
</inkml:ink>
</file>

<file path=ppt/ink/ink15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7:08.715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10 268 0 0,'8'-2'481'0'0,"-1"0"0"0"0,1 0 0 0 0,-1 1 0 0 0,1 0 0 0 0,0 0 0 0 0,0 1 0 0 0,9 0 0 0 0,7 0 444 0 0,-11 0-615 0 0,-1 1-1 0 0,0 0 1 0 0,1 0-1 0 0,-1 1 1 0 0,0 1-1 0 0,0 0 1 0 0,-1 1-1 0 0,1 0 1 0 0,0 1 0 0 0,-1 0-1 0 0,0 1 1 0 0,-1 0-1 0 0,19 13 1 0 0,-17-9-144 0 0,-1 0 0 0 0,0 0 0 0 0,0 1 0 0 0,-1 1 0 0 0,0 0 0 0 0,-1 0 0 0 0,0 1 0 0 0,-1 0 1 0 0,-1 0-1 0 0,10 24 0 0 0,-14-29-127 0 0,0 1 1 0 0,-1-1-1 0 0,0 1 1 0 0,-1-1 0 0 0,0 1-1 0 0,0 10 1 0 0,0-2 13 0 0,1 6 19 0 0,-2 0 0 0 0,0 1 0 0 0,-2-1 0 0 0,0 0 0 0 0,-1 0 0 0 0,-2 0 0 0 0,-13 41-1 0 0,7-36-746 0 0,-1-1 0 0 0,-1-1 0 0 0,-1 0 0 0 0,-1 0 0 0 0,-28 34 0 0 0,28-43-1818 0 0,-2-3-667 0 0</inkml:trace>
</inkml:ink>
</file>

<file path=ppt/ink/ink15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7:11.787"/>
    </inkml:context>
    <inkml:brush xml:id="br0">
      <inkml:brushProperty name="width" value="0.2" units="cm"/>
      <inkml:brushProperty name="height" value="0.2" units="cm"/>
    </inkml:brush>
  </inkml:definitions>
  <inkml:trace contextRef="#ctx0" brushRef="#br0">80 183 1464 0 0,'-4'0'1202'0'0,"-32"1"1542"0"0,33 0-2055 0 0,-1-2-58 0 0,-3 1-255 0 0,-11-1 845 0 0,17 1-1197 0 0,1 0 0 0 0,0 0-1 0 0,-1 0 1 0 0,1 0 0 0 0,0 0 0 0 0,0 0 0 0 0,-1 0-1 0 0,1-1 1 0 0,0 1 0 0 0,-1 0 0 0 0,1 0-1 0 0,0 0 1 0 0,0 0 0 0 0,0 0 0 0 0,-1-1 0 0 0,1 1-1 0 0,0 0 1 0 0,0 0 0 0 0,-1 0 0 0 0,1-1-1 0 0,0 1 1 0 0,0 0 0 0 0,0 0 0 0 0,0-1 0 0 0,0 1-1 0 0,-1 0 1 0 0,1-1 0 0 0,0 1 0 0 0,0 0-1 0 0,0 0 1 0 0,0-1 0 0 0,0 1 0 0 0,0 0 0 0 0,0-1-1 0 0,0 1 1 0 0,0 0 0 0 0,0 0 0 0 0,0-1-1 0 0,0 1 1 0 0,0 0 0 0 0,0-1 0 0 0,0 1 0 0 0,0 0-1 0 0,1 0 1 0 0,-1-1 0 0 0,5-3 122 0 0,118-45 364 0 0,211-55 1 0 0,-320 100-497 0 0,-4 1-17 0 0,-1 1 0 0 0,1 0 1 0 0,0 0-1 0 0,0 0 0 0 0,0 1 0 0 0,13 1 0 0 0,-21 0 17 0 0,0 1 0 0 0,0-1 0 0 0,0 1-1 0 0,0-1 1 0 0,0 1 0 0 0,0 0 0 0 0,-1 0-1 0 0,1 0 1 0 0,0 0 0 0 0,0 0 0 0 0,-1 0-1 0 0,1 1 1 0 0,-1-1 0 0 0,1 0 0 0 0,-1 1-1 0 0,1-1 1 0 0,-1 1 0 0 0,0 0 0 0 0,0-1-1 0 0,0 1 1 0 0,0 0 0 0 0,0 0 0 0 0,0-1-1 0 0,0 1 1 0 0,0 0 0 0 0,-1 0 0 0 0,1 0-1 0 0,-1 0 1 0 0,0 0 0 0 0,1 0 0 0 0,-1 0-1 0 0,0 0 1 0 0,-1 3 0 0 0,2 7 101 0 0,-2 0 0 0 0,1 0 0 0 0,-6 24 0 0 0,5-34-99 0 0,-14 66 572 0 0,-32 87-1 0 0,-36 62 109 0 0,65-171-565 0 0,-2 2 48 0 0,6-17-26 0 0,1 1-1 0 0,2 1 1 0 0,1 0-1 0 0,-10 63 1 0 0,19-94-90 0 0,1 1-1 0 0,0 0 1 0 0,0-1 0 0 0,0 1-1 0 0,0-1 1 0 0,1 1-1 0 0,-1-1 1 0 0,0 1 0 0 0,1 0-1 0 0,2 4 1 0 0,-3-6-17 0 0,1 0 0 0 0,0 0 0 0 0,0 0 0 0 0,-1 0 1 0 0,1-1-1 0 0,0 1 0 0 0,0 0 0 0 0,0 0 0 0 0,0 0 0 0 0,0-1 0 0 0,0 1 0 0 0,0 0 0 0 0,1-1 0 0 0,-1 1 1 0 0,0-1-1 0 0,0 0 0 0 0,0 1 0 0 0,1-1 0 0 0,-1 0 0 0 0,0 0 0 0 0,0 1 0 0 0,1-1 0 0 0,-1 0 0 0 0,2-1 0 0 0,23-1 190 0 0,1-2-1 0 0,-1-1 1 0 0,-1-1-1 0 0,50-18 0 0 0,-15 4-103 0 0,14-7-1719 0 0,-55 21-1199 0 0</inkml:trace>
</inkml:ink>
</file>

<file path=ppt/ink/ink15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7:12.154"/>
    </inkml:context>
    <inkml:brush xml:id="br0">
      <inkml:brushProperty name="width" value="0.2" units="cm"/>
      <inkml:brushProperty name="height" value="0.2" units="cm"/>
    </inkml:brush>
  </inkml:definitions>
  <inkml:trace contextRef="#ctx0" brushRef="#br0">32 71 1696 0 0,'-31'17'6850'0'0,"45"-20"-5700"0"0,197-51 186 0 0,-65 28-7300 0 0,-124 22 3300 0 0</inkml:trace>
</inkml:ink>
</file>

<file path=ppt/ink/ink15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7:12.605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183 2068 0 0,'21'-8'2836'0'0,"27"-13"-1"0"0,18-15-687 0 0,30-14-1101 0 0,16 6-646 0 0,-94 38-954 0 0,1 1 0 0 0,0 1-1 0 0,1 0 1 0 0,21 0 0 0 0,-37 3 192 0 0,0 1 0 0 0,0 0 1 0 0,0 0-1 0 0,0 1 0 0 0,0-1 0 0 0,0 1 0 0 0,0 0 1 0 0,0 0-1 0 0,0 0 0 0 0,-1 1 0 0 0,7 2 1 0 0,-1 5-1476 0 0</inkml:trace>
  <inkml:trace contextRef="#ctx0" brushRef="#br0" timeOffset="1">322 402 1604 0 0,'-41'43'7652'0'0,"46"-44"-7409"0"0,0-1-1 0 0,0 1 1 0 0,1-1-1 0 0,-1 0 1 0 0,0-1-1 0 0,-1 1 0 0 0,8-6 1 0 0,4-1 15 0 0,34-13 8 0 0,1 1-1 0 0,58-15 0 0 0,-20 14-4724 0 0,-61 19-928 0 0</inkml:trace>
</inkml:ink>
</file>

<file path=ppt/ink/ink15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2:41.674"/>
    </inkml:context>
    <inkml:brush xml:id="br0">
      <inkml:brushProperty name="width" value="0.2" units="cm"/>
      <inkml:brushProperty name="height" value="0.2" units="cm"/>
    </inkml:brush>
  </inkml:definitions>
  <inkml:trace contextRef="#ctx0" brushRef="#br0">351 5 2120 0 0,'5'-5'5536'0'0,"-8"15"-3899"0"0,-10 17-642 0 0,-152 262 3235 0 0,63-101-4217 0 0,100-186-74 0 0,-36 57-1689 0 0,34-54 824 0 0,0 0 0 0 0,-1 0-1 0 0,1-1 1 0 0,-11 8 0 0 0</inkml:trace>
</inkml:ink>
</file>

<file path=ppt/ink/ink15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2:42.087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29 804 0 0,'23'-29'6590'0'0,"-18"29"-5535"0"0,6 2-456 0 0,0 0-1 0 0,0 0 0 0 0,0 1 0 0 0,-1 0 1 0 0,0 1-1 0 0,1 0 0 0 0,12 8 0 0 0,73 47 2359 0 0,-72-43-2477 0 0,18 14 228 0 0,-1 2 0 0 0,66 65 0 0 0,5 25-3559 0 0,-79-86-421 0 0,-8-14-2070 0 0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3:39:27.92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11 7892,'34'-5'2069,"-2"-1"-1439,-12 1-90,-1-1-1,-1 0-89,-1-1 90,-2 0-180,-1-1 809,2-3-539,-3-1 269,-1-3-539,-11 2-180,-9 7-90,-4 3 90,-4 7-90,3 3-1,-1 2 1,0 1 90,1 2-90,1 1 90,1 2-90,1 0 90,3-1 0,2 2-90,2 4 0,4-4 0,2 3-90,3-8 90,3 0 0,1-2-90,3-2 0,0-1 0,1-2 0,0-3 0,1-1 0,1-2 90,0-1-90,-1-1 90,0 1 179,-1-1-179,3-1 0,-1 0-90,3 2 90,-4 5-90,-4 7-180,-4 5-179,-4 2-181,0-1-270,2-1-89,1 0-91,3-2-359,3-2-90,5-4 450,6-4-810,-3-4-360,3-4 2159,-5-1 0,4-4 0,1-2 0</inkml:trace>
</inkml:ink>
</file>

<file path=ppt/ink/ink1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49.34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98 10681,'0'-31'3418,"1"7"-3174,10 5 296,-2 9 1136,25-4-1047,-2 20-449,5-1 0,-9 14 78,-15-3-168,-3 2 0,-2 2 0,-3 1 520,-4 1-520,-2 0-90,-3 2 90,-4 0 0,-2 0 180,-2 0-90,-3-2 90,0-1 0,-1-2 89,2-3 91,0-1 0,2-2 90,1-1 809,2-2 180,-3 1-809,5 0-451,9-2-179,10-4 0,7-5 0,3-1-90,-5 0 90,3 0-90,-1 1 0,3-2-90,-2 2-90,1-1-179,-2 0-631,-1 0-449,5 0-180,-2 0-90,3 0-1170,-4-1-629,-2 0-2338,-4-2 5846,-1-2 0,-8 2 0,-1 1 0</inkml:trace>
</inkml:ink>
</file>

<file path=ppt/ink/ink16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2:42.454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130 2440 0 0,'11'-23'9256'0'0,"-3"17"-8641"0"0,0 0-1 0 0,1 0 1 0 0,0 1 0 0 0,0 0 0 0 0,0 0 0 0 0,19-6 0 0 0,66-15 200 0 0,-61 19-627 0 0,29-4-1581 0 0,-43 8-1430 0 0,0 0 1 0 0,30-10 0 0 0</inkml:trace>
</inkml:ink>
</file>

<file path=ppt/ink/ink16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2:42.799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311 1012 0 0,'1'8'1417'0'0,"1"-1"-1"0"0,0 1 1 0 0,1-1-1 0 0,0 1 1 0 0,0-1 0 0 0,5 8-1 0 0,-5-9-1137 0 0,0-1 1 0 0,1-1-1 0 0,0 1 0 0 0,0 0 1 0 0,1-1-1 0 0,-1 0 0 0 0,1 0 1 0 0,0 0-1 0 0,0-1 0 0 0,0 1 1 0 0,0-1-1 0 0,12 5 0 0 0,-2-2-74 0 0,1 0 1 0 0,0-1-1 0 0,1-1 0 0 0,-1 0 0 0 0,1-1 0 0 0,-1-1 0 0 0,1 0 0 0 0,28-2 0 0 0,-37 0-184 0 0,0-1-1 0 0,-1 0 0 0 0,1-1 0 0 0,0 0 0 0 0,-1 0 0 0 0,0 0 1 0 0,1-1-1 0 0,-1 0 0 0 0,0 0 0 0 0,-1-1 0 0 0,1 0 0 0 0,-1 0 1 0 0,1-1-1 0 0,-1 0 0 0 0,-1 0 0 0 0,1 0 0 0 0,-1-1 0 0 0,1 1 1 0 0,-2-1-1 0 0,9-13 0 0 0,-7 7-55 0 0,-1 1-1 0 0,0-1 1 0 0,-1 0 0 0 0,0 0-1 0 0,-1 0 1 0 0,3-22 0 0 0,-3-1-58 0 0,0-41 0 0 0,-4 40-6 0 0,-7-55 1 0 0,8 90 92 0 0,0-1 0 0 0,0 1-1 0 0,0 0 1 0 0,0 0 0 0 0,-1 0-1 0 0,1-1 1 0 0,0 1 0 0 0,-1 0-1 0 0,1 0 1 0 0,-1 0-1 0 0,1 0 1 0 0,-1 0 0 0 0,0 0-1 0 0,1 0 1 0 0,-1 0 0 0 0,0 0-1 0 0,0 0 1 0 0,1 0 0 0 0,-1 0-1 0 0,0 1 1 0 0,0-1-1 0 0,0 0 1 0 0,0 0 0 0 0,0 1-1 0 0,0-1 1 0 0,0 1 0 0 0,-2-1-1 0 0,1 1 15 0 0,1 0 0 0 0,0 0 0 0 0,-1 0 0 0 0,1 1 1 0 0,0-1-1 0 0,-1 0 0 0 0,1 1 0 0 0,0-1 0 0 0,-1 1 0 0 0,1-1 0 0 0,0 1 0 0 0,0 0 0 0 0,-1-1 0 0 0,1 1 0 0 0,0 0 0 0 0,0 0 0 0 0,0 0 0 0 0,0 0 1 0 0,0 0-1 0 0,0 0 0 0 0,0 0 0 0 0,-1 3 0 0 0,-2 3 56 0 0,0 0 1 0 0,1 1-1 0 0,0-1 1 0 0,0 1-1 0 0,1 0 1 0 0,-1 0-1 0 0,2 0 1 0 0,-1 0-1 0 0,1 0 1 0 0,0 0-1 0 0,1 0 1 0 0,0 0 0 0 0,0 1-1 0 0,1-1 1 0 0,0 0-1 0 0,1 0 1 0 0,-1 0-1 0 0,2 0 1 0 0,-1 0-1 0 0,5 9 1 0 0,-3-6-9 0 0,1 0 1 0 0,0 0 0 0 0,1-1-1 0 0,0 0 1 0 0,0 0 0 0 0,1 0-1 0 0,1-1 1 0 0,-1 0 0 0 0,2 0-1 0 0,-1-1 1 0 0,1 0 0 0 0,0-1-1 0 0,17 11 1 0 0,-17-13-41 0 0,1-1 1 0 0,-1 0-1 0 0,1 0 0 0 0,0-1 1 0 0,0 0-1 0 0,0 0 0 0 0,1-2 0 0 0,-1 1 1 0 0,1-1-1 0 0,-1-1 0 0 0,0 1 1 0 0,1-2-1 0 0,16-2 0 0 0,-18 1-111 0 0,-1 0 1 0 0,1-1-1 0 0,-1 0 0 0 0,0 0 0 0 0,0 0 0 0 0,0-1 1 0 0,0-1-1 0 0,-1 1 0 0 0,0-1 0 0 0,0-1 0 0 0,0 1 1 0 0,0-1-1 0 0,-1 0 0 0 0,0-1 0 0 0,0 1 0 0 0,7-13 1 0 0,2-7-124 0 0,-2 0 1 0 0,-1-1 0 0 0,-1 0 0 0 0,-1 0 0 0 0,10-46-1 0 0,0 3 1928 0 0,-22 80-1161 0 0,-2 43 118 0 0,16 25-54 0 0,35 128 0 0 0,-29-140-666 0 0,17 54-2841 0 0,-5-43-5534 0 0</inkml:trace>
</inkml:ink>
</file>

<file path=ppt/ink/ink16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2:43.137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56 466 952 0 0,'-52'15'2984'0'0,"-51"17"4522"0"0,140-34-6293 0 0,0-1 0 0 0,49-12-1 0 0,-22 4-593 0 0,1469-257 4319 0 0,-1152 197-4371 0 0,244-42 228 0 0,-565 100-799 0 0,-38 8-974 0 0,1 1-1 0 0,43-4 1 0 0,-80 35-4836 0 0,12-25 5542 0 0,0-1-1 0 0,0 0 1 0 0,-3 2-1 0 0,-40 19-3897 0 0,38-19 3291 0 0,-35 14-3824 0 0</inkml:trace>
</inkml:ink>
</file>

<file path=ppt/ink/ink16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2:43.600"/>
    </inkml:context>
    <inkml:brush xml:id="br0">
      <inkml:brushProperty name="width" value="0.2" units="cm"/>
      <inkml:brushProperty name="height" value="0.2" units="cm"/>
    </inkml:brush>
  </inkml:definitions>
  <inkml:trace contextRef="#ctx0" brushRef="#br0">265 82 4 0 0,'10'-25'10099'0'0,"-9"26"-10016"0"0,0-1-11 0 0,0 1 0 0 0,-1 0 0 0 0,1-1 0 0 0,0 1 0 0 0,0 0 0 0 0,-1 0-1 0 0,1 0 1 0 0,-1 0 0 0 0,1-1 0 0 0,-1 1 0 0 0,1 0 0 0 0,-1 0 0 0 0,1 0 0 0 0,-1 0 0 0 0,0 0-1 0 0,1 2 1 0 0,0 0 115 0 0,8 13 563 0 0,0 1-1 0 0,-2 0 1 0 0,0 1-1 0 0,0 0 1 0 0,6 33-1 0 0,-12-46-651 0 0,0 1 1 0 0,0 0-1 0 0,-1 0 0 0 0,0 1 0 0 0,0-1 1 0 0,0 0-1 0 0,-1 0 0 0 0,1 0 0 0 0,-2 0 0 0 0,1-1 1 0 0,-1 1-1 0 0,1 0 0 0 0,-2 0 0 0 0,1-1 0 0 0,-1 1 1 0 0,1-1-1 0 0,-1 0 0 0 0,-1 0 0 0 0,1 0 1 0 0,-1 0-1 0 0,-8 7 0 0 0,5-6-49 0 0,-1 0 1 0 0,0-1-1 0 0,0 0 0 0 0,-1 0 1 0 0,1-1-1 0 0,-1 0 0 0 0,0-1 1 0 0,0 0-1 0 0,0 0 0 0 0,-1-1 1 0 0,1 0-1 0 0,-1 0 0 0 0,1-1 0 0 0,-1-1 1 0 0,1 0-1 0 0,-1 0 0 0 0,-15-2 1 0 0,20 1-43 0 0,-1 0 0 0 0,0 0 0 0 0,0-1 0 0 0,1 1 0 0 0,-1-1 0 0 0,1-1 0 0 0,-1 1 0 0 0,1-1-1 0 0,0 0 1 0 0,0 0 0 0 0,0 0 0 0 0,0 0 0 0 0,1-1 0 0 0,-1 0 0 0 0,1 0 0 0 0,0-1 0 0 0,0 1 0 0 0,0-1 0 0 0,1 1 0 0 0,0-1 0 0 0,0 0 0 0 0,0-1 0 0 0,0 1 0 0 0,1 0 0 0 0,0-1 0 0 0,0 0 0 0 0,1 1 0 0 0,-1-1 0 0 0,0-9 0 0 0,1 9-8 0 0,1 0 0 0 0,0 0 0 0 0,0 0 0 0 0,1 0-1 0 0,-1 0 1 0 0,1 0 0 0 0,1 1 0 0 0,-1-1 0 0 0,1 0 0 0 0,0 1 0 0 0,0-1 0 0 0,0 1 0 0 0,5-7 0 0 0,-2 4-4 0 0,1 0 1 0 0,-1 1-1 0 0,2 0 1 0 0,-1 0-1 0 0,1 1 1 0 0,0 0-1 0 0,13-10 1 0 0,3 3-4 0 0,0 0-1 0 0,0 2 1 0 0,1 1 0 0 0,0 0-1 0 0,29-6 1 0 0,0 2 115 0 0,101-14-1 0 0,-124 25-619 0 0,0 2 0 0 0,1 0 0 0 0,0 2 1 0 0,57 10-1 0 0,-61-3-1453 0 0,9 7-5932 0 0</inkml:trace>
</inkml:ink>
</file>

<file path=ppt/ink/ink16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2:43.998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129 548 0 0,'3'-1'2182'0'0,"87"-33"4654"0"0,7 8-4040 0 0,100-11-1023 0 0,-196 37-1759 0 0,43-8 145 0 0,89-12 91 0 0,-115 18-1339 0 0,1 2-1 0 0,28 2 1 0 0</inkml:trace>
</inkml:ink>
</file>

<file path=ppt/ink/ink16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2:44.336"/>
    </inkml:context>
    <inkml:brush xml:id="br0">
      <inkml:brushProperty name="width" value="0.2" units="cm"/>
      <inkml:brushProperty name="height" value="0.2" units="cm"/>
    </inkml:brush>
  </inkml:definitions>
  <inkml:trace contextRef="#ctx0" brushRef="#br0">38 0 820 0 0,'-4'2'669'0'0,"0"1"-1"0"0,0 0 0 0 0,0 0 1 0 0,1 0-1 0 0,-1 0 1 0 0,1 1-1 0 0,0-1 1 0 0,0 1-1 0 0,0 0 1 0 0,1 0-1 0 0,3 14 2355 0 0,-1-18-2925 0 0,1 0 0 0 0,-1 0 0 0 0,1 1 0 0 0,-1-1 1 0 0,1 0-1 0 0,-1 0 0 0 0,1 0 0 0 0,-1 0 0 0 0,1 0 0 0 0,-1 0 0 0 0,1 0 0 0 0,0 0 0 0 0,16 3 854 0 0,22-2 281 0 0,0-2 1 0 0,1-2-1 0 0,48-9 1 0 0,-28 4-669 0 0,83-13-536 0 0,-86 10-6883 0 0</inkml:trace>
</inkml:ink>
</file>

<file path=ppt/ink/ink16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2:45.035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40 24 1204 0 0,'0'-3'1450'0'0,"0"3"-1345"0"0,0-1-1 0 0,0 1 1 0 0,0-1 0 0 0,0 0-1 0 0,0 1 1 0 0,0-1-1 0 0,0 1 1 0 0,0-1-1 0 0,0 0 1 0 0,0 1 0 0 0,0-1-1 0 0,0 1 1 0 0,-1-1-1 0 0,1 0 1 0 0,0 1-1 0 0,-4-4 838 0 0,4 3-838 0 0,-1 1 1 0 0,1 0-1 0 0,-1-1 1 0 0,0 0 0 0 0,0 1 16 0 0,-1 0 1 0 0,1 0-1 0 0,0 1 1 0 0,0-1-1 0 0,-1 0 1 0 0,1 0-1 0 0,0 1 1 0 0,0-1-1 0 0,-1 0 1 0 0,1 1-1 0 0,0-1 1 0 0,0 1-1 0 0,0 0 1 0 0,0-1 0 0 0,-2 2-1 0 0,-6 5 114 0 0,0 0 1 0 0,1 0-1 0 0,0 1 0 0 0,0 0 0 0 0,1 0 1 0 0,0 1-1 0 0,0 0 0 0 0,1 0 1 0 0,0 0-1 0 0,1 1 0 0 0,0 0 0 0 0,0 0 1 0 0,1 1-1 0 0,0-1 0 0 0,1 1 1 0 0,1 0-1 0 0,-1 0 0 0 0,0 20 0 0 0,2-21-128 0 0,1-1-1 0 0,0 1 0 0 0,0 0 0 0 0,1-1 0 0 0,1 1 1 0 0,0-1-1 0 0,0 1 0 0 0,1-1 0 0 0,0 0 1 0 0,0 0-1 0 0,1 0 0 0 0,0 0 0 0 0,1-1 0 0 0,0 0 1 0 0,0 0-1 0 0,1 0 0 0 0,0 0 0 0 0,0-1 0 0 0,1 0 1 0 0,0 0-1 0 0,0-1 0 0 0,10 7 0 0 0,-8-6-13 0 0,-4-3-23 0 0,0 0-1 0 0,0-1 0 0 0,1 1 0 0 0,0-1 0 0 0,0 0 0 0 0,0 0 1 0 0,0-1-1 0 0,0 1 0 0 0,0-1 0 0 0,0-1 0 0 0,1 1 0 0 0,-1-1 1 0 0,9 0-1 0 0,-10-1-19 0 0,0 0 0 0 0,0 0 0 0 0,0-1 0 0 0,-1 0 0 0 0,1 0 0 0 0,0 0 0 0 0,0 0 0 0 0,0-1-1 0 0,-1 0 1 0 0,1 0 0 0 0,-1 0 0 0 0,1 0 0 0 0,-1-1 0 0 0,0 0 0 0 0,0 0 0 0 0,0 0 0 0 0,0 0 0 0 0,4-6 0 0 0,-3 1 16 0 0,0 0 1 0 0,-1-1-1 0 0,0 1 0 0 0,-1-1 1 0 0,0 1-1 0 0,0-1 0 0 0,-1 0 0 0 0,0 0 1 0 0,0 0-1 0 0,-1-1 0 0 0,-1 1 0 0 0,0-10 1 0 0,0 3 51 0 0,-1 0 1 0 0,-1 0-1 0 0,0 0 1 0 0,-2 0-1 0 0,0 0 1 0 0,-7-18-1 0 0,7 24-85 0 0,-1 0-1 0 0,0 0 1 0 0,-1 1-1 0 0,0-1 1 0 0,-1 1-1 0 0,1 1 1 0 0,-2-1-1 0 0,1 1 1 0 0,-1 0-1 0 0,-1 1 1 0 0,-13-10-1 0 0,10 9-667 0 0,1 1-1 0 0,-1 1 1 0 0,0 0-1 0 0,-1 0 1 0 0,-16-4-1 0 0,14 9-1698 0 0,12 1 1820 0 0</inkml:trace>
</inkml:ink>
</file>

<file path=ppt/ink/ink16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2:45.411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1 1216 0 0,'114'32'16450'0'0,"-111"-31"-16171"0"0,6 0-93 0 0</inkml:trace>
</inkml:ink>
</file>

<file path=ppt/ink/ink16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2:45.788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39 300 0 0,'8'-5'540'0'0,"0"0"1"0"0,0 0-1 0 0,1 1 0 0 0,0 0 0 0 0,0 1 1 0 0,0 0-1 0 0,0 0 0 0 0,0 1 0 0 0,1 0 1 0 0,-1 1-1 0 0,1 0 0 0 0,-1 0 1 0 0,1 1-1 0 0,-1 0 0 0 0,1 1 0 0 0,-1 0 1 0 0,14 3-1 0 0,-16-2-374 0 0,0 0 1 0 0,-1 0-1 0 0,1 1 1 0 0,-1 0-1 0 0,0 0 1 0 0,1 1-1 0 0,-1-1 0 0 0,-1 1 1 0 0,1 1-1 0 0,-1-1 1 0 0,1 1-1 0 0,-1 0 1 0 0,0 0-1 0 0,-1 0 1 0 0,0 1-1 0 0,1-1 0 0 0,-2 1 1 0 0,1 0-1 0 0,-1 0 1 0 0,0 1-1 0 0,0-1 1 0 0,0 1-1 0 0,-1-1 1 0 0,2 10-1 0 0,-3-7-56 0 0,0 0 0 0 0,0 0-1 0 0,-1 0 1 0 0,0 0 0 0 0,0 0 0 0 0,-1 0-1 0 0,-1 0 1 0 0,1 0 0 0 0,-1 0 0 0 0,-1 0 0 0 0,-5 13-1 0 0,-4 6 143 0 0,-2-1 0 0 0,-18 27 0 0 0,18-32-117 0 0,7-11 1 0 0,0 0 0 0 0,-1-1 0 0 0,0 0 1 0 0,-1 0-1 0 0,0-1 0 0 0,-1 0 1 0 0,0-1-1 0 0,-13 9 0 0 0,23-17-121 0 0,-1 1 0 0 0,0-1 0 0 0,1 0-1 0 0,-1 0 1 0 0,0 1 0 0 0,1-1 0 0 0,-1 0 0 0 0,0 0-1 0 0,0 0 1 0 0,1 0 0 0 0,-1 0 0 0 0,0 0-1 0 0,0 0 1 0 0,1 0 0 0 0,-1 0 0 0 0,0 0 0 0 0,1 0-1 0 0,-2-1 1 0 0,2 1-11 0 0,-1 0-1 0 0,1 0 0 0 0,0 0 1 0 0,0 0-1 0 0,0 0 1 0 0,0-1-1 0 0,0 1 1 0 0,0 0-1 0 0,-1 0 1 0 0,1 0-1 0 0,0 0 0 0 0,0 0 1 0 0,0-1-1 0 0,0 1 1 0 0,0 0-1 0 0,0 0 1 0 0,0 0-1 0 0,0 0 1 0 0,0-1-1 0 0,0 1 0 0 0,0 0 1 0 0,0 0-1 0 0,0 0 1 0 0,0 0-1 0 0,0-1 1 0 0,0 1-1 0 0,0 0 1 0 0,0 0-1 0 0,0 0 1 0 0,0 0-1 0 0,0-1 0 0 0,0 1 1 0 0,0 0-1 0 0,0 0 1 0 0,0 0-1 0 0,0 0 1 0 0,0-1-1 0 0,1 1 1 0 0,-1 0-1 0 0,0 0 0 0 0,0 0 1 0 0,0 0-1 0 0,0 0 1 0 0,0 0-1 0 0,0-1 1 0 0,1 1-1 0 0,-1 0 1 0 0,0 0-1 0 0,0 0 0 0 0,0 0 1 0 0,0 0-1 0 0,0 0 1 0 0,1 0-1 0 0,-1 0 1 0 0,0 0-1 0 0,0 0 1 0 0,0 0-1 0 0,1 0 0 0 0,-1 0 1 0 0,0 0-1 0 0,0 0 1 0 0,0 0-1 0 0,1 0 1 0 0,13-6-158 0 0,0 1 0 0 0,0 1 1 0 0,1 0-1 0 0,0 1 0 0 0,0 0 0 0 0,0 2 1 0 0,22-1-1 0 0,-6 3-2171 0 0,-1 1-1 0 0,54 11 1 0 0,-46-8-1980 0 0,-20-3 1098 0 0</inkml:trace>
</inkml:ink>
</file>

<file path=ppt/ink/ink16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2:46.188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65 355 228 0 0,'6'-16'2912'0'0,"15"-29"1"0"0,-19 41-2675 0 0,0 1 0 0 0,0 0 1 0 0,0-1-1 0 0,0 1 0 0 0,1 0 0 0 0,0 0 1 0 0,0 0-1 0 0,0 0 0 0 0,0 1 1 0 0,0-1-1 0 0,0 1 0 0 0,1 0 1 0 0,5-3-1 0 0,-5 3-112 0 0,-1 1 0 0 0,1 0 0 0 0,-1 1 0 0 0,1-1 0 0 0,0 1 0 0 0,-1-1 0 0 0,1 1 0 0 0,0 0 0 0 0,-1 1 0 0 0,1-1 0 0 0,-1 0 0 0 0,1 1 0 0 0,0 0 0 0 0,-1 0 0 0 0,7 2 0 0 0,-5 0-17 0 0,0 0-1 0 0,0 0 0 0 0,0 0 0 0 0,-1 0 0 0 0,1 1 0 0 0,-1 0 1 0 0,0 0-1 0 0,0 0 0 0 0,5 6 0 0 0,-3-2 31 0 0,0 1 0 0 0,-1-1 0 0 0,0 1 0 0 0,-1 0 0 0 0,0 1 0 0 0,0-1 0 0 0,-1 1-1 0 0,0-1 1 0 0,0 1 0 0 0,1 19 0 0 0,-3-20-63 0 0,-2-1 0 0 0,1 1-1 0 0,-1-1 1 0 0,0 0 0 0 0,-1 1-1 0 0,0-1 1 0 0,0 0 0 0 0,-1 0-1 0 0,0 0 1 0 0,0-1 0 0 0,-1 1 0 0 0,0-1-1 0 0,-1 1 1 0 0,1-1 0 0 0,-1-1-1 0 0,-11 13 1 0 0,8-11-31 0 0,0-1 1 0 0,-1 0-1 0 0,0 0 1 0 0,0 0-1 0 0,-1-1 1 0 0,0-1-1 0 0,0 1 1 0 0,0-2-1 0 0,0 1 1 0 0,-1-2-1 0 0,-20 6 0 0 0,28-9-56 0 0,0 1 0 0 0,0-1 0 0 0,1 0 0 0 0,-1 0 0 0 0,0 0 0 0 0,0 0 0 0 0,0 0 0 0 0,0-1-1 0 0,0 1 1 0 0,1-1 0 0 0,-1 0 0 0 0,0 0 0 0 0,1 0 0 0 0,-1 0 0 0 0,0 0 0 0 0,1-1 0 0 0,-1 1 0 0 0,1-1-1 0 0,0 0 1 0 0,0 1 0 0 0,-1-1 0 0 0,1 0 0 0 0,0 0 0 0 0,1-1 0 0 0,-1 1 0 0 0,0 0 0 0 0,1-1-1 0 0,-3-3 1 0 0,1 0-55 0 0,0 0 0 0 0,1 0-1 0 0,0 0 1 0 0,0 0 0 0 0,0 0 0 0 0,0-1-1 0 0,1 1 1 0 0,0 0 0 0 0,1-1 0 0 0,0 1-1 0 0,0-9 1 0 0,7-35-197 0 0,3 0 1 0 0,16-50-1 0 0,-13 56 291 0 0,-2-1-1 0 0,9-90 0 0 0,-19 131-12 0 0,-1-1 0 0 0,0 0 1 0 0,0 1-1 0 0,-1-1 0 0 0,1 0 0 0 0,-1 1 0 0 0,0-1 1 0 0,-1 1-1 0 0,1-1 0 0 0,-1 1 0 0 0,-3-8 0 0 0,3 9-14 0 0,0 1 0 0 0,1 0 0 0 0,-1 1 0 0 0,0-1 0 0 0,0 0 0 0 0,0 0 0 0 0,0 1 0 0 0,0-1 0 0 0,0 1 0 0 0,-1 0 0 0 0,1 0 0 0 0,0-1 0 0 0,-1 2-1 0 0,1-1 1 0 0,-1 0 0 0 0,1 0 0 0 0,-1 1 0 0 0,0-1 0 0 0,1 1 0 0 0,-1 0 0 0 0,1 0 0 0 0,-1 0 0 0 0,0 0 0 0 0,1 0 0 0 0,-3 1 0 0 0,-4 0 6 0 0,0 1 0 0 0,0 0 0 0 0,0 0 1 0 0,0 1-1 0 0,1 0 0 0 0,-1 0 0 0 0,1 1 1 0 0,-13 7-1 0 0,18-9-26 0 0,1 0 0 0 0,-1 0-1 0 0,0 0 1 0 0,1 0 0 0 0,-1 0 0 0 0,1 1 0 0 0,0-1 0 0 0,0 1-1 0 0,0-1 1 0 0,0 1 0 0 0,0 0 0 0 0,1 0 0 0 0,-1 0-1 0 0,1 0 1 0 0,0 0 0 0 0,0 0 0 0 0,0 0 0 0 0,0 1 0 0 0,0-1-1 0 0,1 0 1 0 0,0 0 0 0 0,-1 1 0 0 0,1-1 0 0 0,0 0-1 0 0,1 1 1 0 0,-1-1 0 0 0,0 0 0 0 0,1 0 0 0 0,1 4 0 0 0,0 1-436 0 0,1 0 1 0 0,0 0-1 0 0,1-1 1 0 0,0 1-1 0 0,0-1 1 0 0,7 8-1 0 0,-6-8-760 0 0,0 0-1 0 0,1-1 1 0 0,9 8-1 0 0,2 0-2057 0 0</inkml:trace>
</inkml:ink>
</file>

<file path=ppt/ink/ink1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49.65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7 45 10321,'22'-24'6027,"-4"3"-5488,-15 21 811,-4 4-901,-20 32-179,7-12 90,-9 17 0,12-16-180,0 1 90,2 0-91,2-1 1,1 1 0,2-2-90,1 0 90,2 0-90,1-2 90,2 0 0,2-2 0,1 0-90,0-4 90,2-1-1,0-2 1,5-1 0,0-4 0,5-4-180,-4-8-90,-1-8-360,-5-5 91,-6-4-1,-4 3-180,-4 2 0,-2 5-179,-1 1-1,-1 2-179,-1 0-181,-1 2-89,-1 1-2879,0 1 4048,-5 1 0,10 1 0,-2 1 0</inkml:trace>
</inkml:ink>
</file>

<file path=ppt/ink/ink16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2:46.515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17 1212 0 0,'49'2'13489'0'0,"23"-9"-10056"0"0,-1 0-2464 0 0,-41 5-1095 0 0,35 0-937 0 0</inkml:trace>
</inkml:ink>
</file>

<file path=ppt/ink/ink16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2:46.883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48 11 1492 0 0,'1'-11'5793'0'0,"-7"13"-5584"0"0,0 0 0 0 0,0 1 0 0 0,1-1 0 0 0,-1 1 0 0 0,1 0 0 0 0,0 1 1 0 0,0-1-1 0 0,0 1 0 0 0,0 0 0 0 0,1 0 0 0 0,-1 0 0 0 0,-6 11 0 0 0,1-3 40 0 0,0 1 0 0 0,1 0 0 0 0,1 1 0 0 0,-8 17 0 0 0,12-23-138 0 0,0 0 0 0 0,1 1 0 0 0,1-1 0 0 0,-1 1 0 0 0,2-1-1 0 0,-1 1 1 0 0,1 0 0 0 0,0 0 0 0 0,1 0 0 0 0,0 0 0 0 0,0 0-1 0 0,1 0 1 0 0,0-1 0 0 0,1 1 0 0 0,0 0 0 0 0,0 0 0 0 0,1-1-1 0 0,0 0 1 0 0,0 1 0 0 0,1-1 0 0 0,0 0 0 0 0,1-1 0 0 0,0 1-1 0 0,0-1 1 0 0,0 0 0 0 0,1 0 0 0 0,0 0 0 0 0,0-1 0 0 0,1 0-1 0 0,0 0 1 0 0,0-1 0 0 0,0 0 0 0 0,15 8 0 0 0,-11-8-6 0 0,0 0 0 0 0,0-1 0 0 0,1 0 0 0 0,0 0 0 0 0,0-1 0 0 0,0-1 0 0 0,0 0 0 0 0,0 0 0 0 0,0-2 0 0 0,1 1 0 0 0,-1-2 0 0 0,0 1 0 0 0,15-4-1 0 0,-20 3-58 0 0,1-1 0 0 0,-1 0-1 0 0,0 0 1 0 0,0-1-1 0 0,0 0 1 0 0,0 0-1 0 0,0-1 1 0 0,-1 0-1 0 0,0 0 1 0 0,1 0 0 0 0,-1-1-1 0 0,-1 0 1 0 0,1 0-1 0 0,-1 0 1 0 0,0-1-1 0 0,0 1 1 0 0,-1-1-1 0 0,1-1 1 0 0,-1 1 0 0 0,-1-1-1 0 0,1 1 1 0 0,3-12-1 0 0,-4 10-38 0 0,-1-1-1 0 0,0 1 0 0 0,0-1 0 0 0,-1 0 0 0 0,0 0 1 0 0,-1 0-1 0 0,0 0 0 0 0,0 0 0 0 0,-1 0 1 0 0,0 1-1 0 0,-1-1 0 0 0,1 0 0 0 0,-2 0 0 0 0,1 1 1 0 0,-1 0-1 0 0,-1-1 0 0 0,0 1 0 0 0,0 0 1 0 0,0 0-1 0 0,-1 1 0 0 0,0 0 0 0 0,0-1 1 0 0,-1 2-1 0 0,0-1 0 0 0,0 1 0 0 0,-1 0 0 0 0,0 0 1 0 0,0 0-1 0 0,-12-6 0 0 0,12 8-351 0 0,-1 0-1 0 0,0 0 0 0 0,0 1 1 0 0,0 0-1 0 0,0 1 1 0 0,-1 0-1 0 0,1 0 0 0 0,0 1 1 0 0,-1 0-1 0 0,0 0 1 0 0,1 1-1 0 0,-14 1 1 0 0,12 0-1860 0 0,-1 1 1 0 0,-19 5-1 0 0</inkml:trace>
</inkml:ink>
</file>

<file path=ppt/ink/ink16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2:47.252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24 528 0 0,'33'-2'7486'0'0,"13"-6"-3742"0"0,2-3-99 0 0,-44 10-3579 0 0,-2 0 144 0 0,8 1-462 0 0,-9-1 97 0 0,0 1-1 0 0,1 0 1 0 0,-1 0 0 0 0,0 0 0 0 0,0 0 0 0 0,0 0-1 0 0,0 0 1 0 0,1 0 0 0 0,-1 1 0 0 0,0-1 0 0 0,0 0-1 0 0,0 1 1 0 0,0-1 0 0 0,0 0 0 0 0,0 1 0 0 0,0-1-1 0 0,0 1 1 0 0,0 0 0 0 0,0-1 0 0 0,0 1 0 0 0,0 0-1 0 0,0 0 1 0 0,0 0 0 0 0,0-1 0 0 0,0 2 0 0 0</inkml:trace>
</inkml:ink>
</file>

<file path=ppt/ink/ink16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2:47.620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176 872 0 0,'12'-7'805'0'0,"-1"-1"0"0"0,1 2 0 0 0,1 0 0 0 0,-1 0 0 0 0,1 1 0 0 0,0 1 0 0 0,0 0 0 0 0,1 0 1 0 0,-1 2-1 0 0,23-3 0 0 0,-31 5-711 0 0,0 0 0 0 0,1 0 0 0 0,-1 0 0 0 0,0 0 0 0 0,1 1 0 0 0,-1 0-1 0 0,0 0 1 0 0,0 1 0 0 0,0-1 0 0 0,0 1 0 0 0,0 0 0 0 0,0 0 0 0 0,0 1 0 0 0,-1 0 0 0 0,1-1 0 0 0,-1 2 0 0 0,0-1 0 0 0,0 0 0 0 0,0 1 0 0 0,0 0 0 0 0,0 0 0 0 0,-1 0 0 0 0,0 0 0 0 0,0 0 0 0 0,0 1 0 0 0,0-1 0 0 0,-1 1 0 0 0,0 0 0 0 0,3 8 0 0 0,-3-7-50 0 0,0 1 0 0 0,-1-1 0 0 0,0 1 0 0 0,0 0 0 0 0,-1-1 0 0 0,1 1 0 0 0,-1 0 0 0 0,-1-1 0 0 0,1 1 0 0 0,-4 12 0 0 0,1-8-4 0 0,-1 1-1 0 0,0-1 1 0 0,-1 0-1 0 0,0 0 1 0 0,-10 15-1 0 0,-1-2 9 0 0,-2-1 0 0 0,0-1 0 0 0,-1-1 0 0 0,-26 22 1 0 0,39-38-44 0 0,-12 12 59 0 0,-1-1-1 0 0,0 0 1 0 0,-29 16 0 0 0,46-31-60 0 0,8-2-18 0 0,0 0 7 0 0,0 0 1 0 0,0 0-1 0 0,7-4 0 0 0,11-2-8 0 0,74-13 10 0 0,155-37 17 0 0,-199 42 169 0 0,-1-2-1 0 0,82-40 0 0 0,-115 46-94 0 0,0 0 0 0 0,0-2 0 0 0,-2 0 0 0 0,0-2 0 0 0,0 0 0 0 0,28-31-1 0 0,-39 37-55 0 0,1 0 0 0 0,-1 0-1 0 0,0 0 1 0 0,-1-1 0 0 0,0-1-1 0 0,-1 1 1 0 0,0-1 0 0 0,-1 1-1 0 0,0-1 1 0 0,0-1 0 0 0,-1 1-1 0 0,-1 0 1 0 0,0-1-1 0 0,-1 0 1 0 0,1-14 0 0 0,-2 21-26 0 0,-1 1 0 0 0,1 0 1 0 0,-1 0-1 0 0,0-1 0 0 0,0 1 0 0 0,0 0 1 0 0,0 0-1 0 0,-1 0 0 0 0,1 0 0 0 0,-1 0 1 0 0,0 0-1 0 0,0 1 0 0 0,-1-1 0 0 0,1 1 1 0 0,-1-1-1 0 0,0 1 0 0 0,-4-4 0 0 0,2 4 7 0 0,1-1-1 0 0,-1 1 1 0 0,0 1-1 0 0,0-1 1 0 0,0 1-1 0 0,-1 0 1 0 0,1 0-1 0 0,0 0 1 0 0,-1 1-1 0 0,1-1 0 0 0,-11 1 1 0 0,2 0 6 0 0,-1 1 0 0 0,1 0 0 0 0,0 2 0 0 0,0-1 0 0 0,0 2-1 0 0,0 0 1 0 0,0 0 0 0 0,0 2 0 0 0,-21 9 0 0 0,26-9-3 0 0,0 0 0 0 0,0 1 0 0 0,0 0 0 0 0,1 0 0 0 0,-1 1 0 0 0,2 1 0 0 0,-1-1 0 0 0,1 1 0 0 0,0 0 0 0 0,1 1 0 0 0,-7 9 0 0 0,11-14-8 0 0,0-1 0 0 0,0 1 0 0 0,0 0 0 0 0,1-1 0 0 0,-1 1 0 0 0,1 0 0 0 0,0 0 0 0 0,0 0 0 0 0,0 0 0 0 0,1 0 0 0 0,-1 0 0 0 0,1 0 0 0 0,0 0 0 0 0,0 0 0 0 0,0 0 0 0 0,1 1 0 0 0,0-1 0 0 0,-1 0 0 0 0,1 0 0 0 0,1-1 0 0 0,-1 1 0 0 0,0 0 0 0 0,1 0 0 0 0,0-1 0 0 0,0 1 0 0 0,0 0 0 0 0,0-1 0 0 0,1 0 0 0 0,-1 0 0 0 0,1 0-1 0 0,5 5 1 0 0,-4-5 6 0 0,0 0-1 0 0,0 0 0 0 0,1 0 0 0 0,-1 0 0 0 0,1-1 0 0 0,-1 0 0 0 0,1 0 0 0 0,0 0 0 0 0,0 0 1 0 0,0-1-1 0 0,0 0 0 0 0,0 0 0 0 0,0 0 0 0 0,0-1 0 0 0,0 0 0 0 0,0 0 0 0 0,6 0 0 0 0,7-3 19 0 0,0 0 0 0 0,0-1 0 0 0,26-10-1 0 0,13-2 355 0 0,-53 15-362 0 0,-2 2 17 0 0,0-1 1 0 0,0 0 0 0 0,1 1 0 0 0,-1-1-1 0 0,0 1 1 0 0,0 0 0 0 0,0-1 0 0 0,0 1 0 0 0,0 0-1 0 0,0 0 1 0 0,0 1 0 0 0,0-1 0 0 0,0 0 0 0 0,0 1-1 0 0,-1-1 1 0 0,1 1 0 0 0,0 0 0 0 0,-1-1 0 0 0,1 1-1 0 0,-1 0 1 0 0,0 0 0 0 0,0 0 0 0 0,0 0-1 0 0,0 0 1 0 0,1 2 0 0 0,3 7 140 0 0,-1 1-1 0 0,-1-1 1 0 0,4 19 0 0 0,-6-22-149 0 0,7 59 170 0 0,-2-12-1951 0 0,-4-47 138 0 0,-1 1 1 0 0,2-1 0 0 0,5 16 0 0 0</inkml:trace>
</inkml:ink>
</file>

<file path=ppt/ink/ink16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2:47.970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62 1188 0 0,'5'-7'1001'0'0,"-1"1"1"0"0,1-1-1 0 0,1 1 1 0 0,-1 0-1 0 0,1 1 0 0 0,0-1 1 0 0,0 1-1 0 0,1 1 0 0 0,6-5 1 0 0,-12 9-950 0 0,0 0-1 0 0,0-1 1 0 0,0 1 0 0 0,0 0 0 0 0,0 0 0 0 0,0 1 0 0 0,0-1 0 0 0,0 0-1 0 0,0 0 1 0 0,0 0 0 0 0,-1 1 0 0 0,1-1 0 0 0,0 0 0 0 0,0 1 0 0 0,0-1-1 0 0,0 1 1 0 0,0-1 0 0 0,-1 1 0 0 0,1-1 0 0 0,0 1 0 0 0,0-1 0 0 0,-1 1 0 0 0,1 0-1 0 0,-1 0 1 0 0,1-1 0 0 0,0 1 0 0 0,-1 0 0 0 0,1 1 0 0 0,14 21 817 0 0,-10-7-262 0 0,-1-1 0 0 0,0 1 0 0 0,-1-1 0 0 0,0 1 0 0 0,-2 0 0 0 0,0 34 1572 0 0,3-50-2037 0 0,17-4-10 0 0,-12 1-87 0 0,1 1-1 0 0,0 0 1 0 0,-1 0 0 0 0,1 1 0 0 0,14 0 0 0 0,-15 3-31 0 0,0-1-1 0 0,0 1 0 0 0,0 1 1 0 0,0 0-1 0 0,0 0 1 0 0,-1 0-1 0 0,1 1 0 0 0,-1 1 1 0 0,0-1-1 0 0,9 8 1 0 0,-14-10-8 0 0,1 1 1 0 0,-1 0-1 0 0,-1 0 1 0 0,1-1-1 0 0,0 2 1 0 0,-1-1-1 0 0,1 0 1 0 0,-1 0-1 0 0,0 1 1 0 0,0-1 0 0 0,0 1-1 0 0,-1 0 1 0 0,1 0-1 0 0,-1-1 1 0 0,0 1-1 0 0,0 0 1 0 0,0 0-1 0 0,-1 0 1 0 0,1 0-1 0 0,-1 0 1 0 0,0 0 0 0 0,0 0-1 0 0,0 0 1 0 0,-1 0-1 0 0,0 0 1 0 0,1 0-1 0 0,-3 5 1 0 0,0-2 5 0 0,0 0-1 0 0,0 0 1 0 0,-1-1 0 0 0,0 1 0 0 0,0-1-1 0 0,-1 0 1 0 0,0-1 0 0 0,0 1 0 0 0,0-1 0 0 0,-1 0-1 0 0,0 0 1 0 0,1 0 0 0 0,-2-1 0 0 0,-6 4-1 0 0,-2 1-562 0 0,-1-1-1 0 0,0 0 0 0 0,0-2 0 0 0,-33 10 0 0 0,38-13-300 0 0,-1-1 0 0 0,0 0 0 0 0,1-1 0 0 0,-20 0 0 0 0,23-1-373 0 0,0-1 0 0 0,0 0 0 0 0,1-1 0 0 0,-13-3 1 0 0</inkml:trace>
</inkml:ink>
</file>

<file path=ppt/ink/ink16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2:48.305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93 196 0 0,'15'-11'1161'0'0,"0"1"-1"0"0,1 0 1 0 0,0 1 0 0 0,0 1-1 0 0,1 1 1 0 0,29-10 0 0 0,-26 11-598 0 0,-1 2 1 0 0,1 0 0 0 0,0 1 0 0 0,1 1-1 0 0,35 0 1 0 0,-48 3-655 0 0,0 0 0 0 0,0 0 0 0 0,-1 0 0 0 0,1 1 0 0 0,0 0 0 0 0,8 4 0 0 0,21 15-4878 0 0</inkml:trace>
</inkml:ink>
</file>

<file path=ppt/ink/ink16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2:49.082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548 1244 0 0,'0'0'4767'0'0,"5"0"-4176"0"0,640-65 3821 0 0,-325 37-3875 0 0,431-38 88 0 0,175-18-94 0 0,-464 38-53 0 0,657-72 1013 0 0,-896 92-1025 0 0,418-57 1690 0 0,-460 53-439 0 0,-177 29-1864 0 0,-62 28-10624 0 0,25-17 5078 0 0</inkml:trace>
</inkml:ink>
</file>

<file path=ppt/ink/ink16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2:49.564"/>
    </inkml:context>
    <inkml:brush xml:id="br0">
      <inkml:brushProperty name="width" value="0.2" units="cm"/>
      <inkml:brushProperty name="height" value="0.2" units="cm"/>
    </inkml:brush>
  </inkml:definitions>
  <inkml:trace contextRef="#ctx0" brushRef="#br0">250 13 1028 0 0,'-2'-1'1513'0'0,"-2"-1"-1186"0"0,0 0 0 0 0,-1 1 0 0 0,1-1-1 0 0,0 1 1 0 0,-1 0 0 0 0,1 0 0 0 0,0 1 0 0 0,-1-1 0 0 0,1 1 0 0 0,-1 0-1 0 0,1 0 1 0 0,-1 0 0 0 0,1 1 0 0 0,-1 0 0 0 0,1-1 0 0 0,0 2 0 0 0,-1-1 0 0 0,-4 3-1 0 0,-2 2-44 0 0,1 0 0 0 0,1 1-1 0 0,-1 1 1 0 0,1-1-1 0 0,1 1 1 0 0,-1 1-1 0 0,2 0 1 0 0,-1 0-1 0 0,1 1 1 0 0,0-1 0 0 0,1 2-1 0 0,-7 13 1 0 0,5-6-9 0 0,0 0 0 0 0,2 0 1 0 0,0 1-1 0 0,0-1 1 0 0,2 1-1 0 0,-3 29 0 0 0,6-37-171 0 0,1 0-1 0 0,0-1 0 0 0,1 1 0 0 0,0-1 1 0 0,1 1-1 0 0,0-1 0 0 0,0 0 0 0 0,1 0 1 0 0,1 0-1 0 0,0 0 0 0 0,0 0 1 0 0,0-1-1 0 0,8 12 0 0 0,-9-17-41 0 0,0 1-1 0 0,1-1 1 0 0,-1 0-1 0 0,1 0 1 0 0,0 0-1 0 0,0-1 1 0 0,0 0-1 0 0,0 1 1 0 0,1-1-1 0 0,-1 0 1 0 0,1-1-1 0 0,0 1 1 0 0,-1-1-1 0 0,1 0 1 0 0,0 0-1 0 0,1-1 1 0 0,-1 1 0 0 0,0-1-1 0 0,0 0 1 0 0,1-1-1 0 0,-1 1 1 0 0,0-1-1 0 0,1 0 1 0 0,-1-1-1 0 0,0 1 1 0 0,10-3-1 0 0,-4 0 43 0 0,0-1 1 0 0,0 0-1 0 0,0-1 0 0 0,-1 0 0 0 0,0-1 0 0 0,0 0 1 0 0,0-1-1 0 0,-1 0 0 0 0,0 0 0 0 0,0-1 0 0 0,-1 0 1 0 0,0 0-1 0 0,0-1 0 0 0,-1 0 0 0 0,0-1 0 0 0,-1 1 0 0 0,0-1 1 0 0,0 0-1 0 0,-1-1 0 0 0,-1 0 0 0 0,0 0 0 0 0,0 0 1 0 0,-1 0-1 0 0,0 0 0 0 0,-1 0 0 0 0,0-1 0 0 0,-1 0 0 0 0,0 1 1 0 0,-2-16-1 0 0,1 22-119 0 0,-1 1 1 0 0,0-1-1 0 0,0 0 0 0 0,0 1 1 0 0,-1-1-1 0 0,0 1 1 0 0,0-1-1 0 0,0 1 0 0 0,0 0 1 0 0,-1-1-1 0 0,1 1 1 0 0,-1 1-1 0 0,0-1 0 0 0,0 0 1 0 0,-1 1-1 0 0,1-1 1 0 0,-1 1-1 0 0,0 0 0 0 0,1 0 1 0 0,-6-2-1 0 0,3 2-543 0 0,0 0-1 0 0,0 0 1 0 0,-1 1 0 0 0,1-1-1 0 0,-13-1 1 0 0,10 2-1252 0 0,-1 1 0 0 0,1 0 0 0 0,-1 1 0 0 0,-10 1 0 0 0</inkml:trace>
</inkml:ink>
</file>

<file path=ppt/ink/ink16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2:49.953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17 2608 0 0,'4'2'916'0'0,"1"-1"0"0"0,0 0 0 0 0,0 0 0 0 0,-1 0-1 0 0,1-1 1 0 0,0 0 0 0 0,0 0 0 0 0,0 0 0 0 0,0 0 0 0 0,-1-1 0 0 0,1 0-1 0 0,0 0 1 0 0,8-3 0 0 0,32-7 2807 0 0,-42 10-4144 0 0,7-2-945 0 0</inkml:trace>
</inkml:ink>
</file>

<file path=ppt/ink/ink16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2:50.353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23 288 0 0,'3'0'2478'0'0,"35"-9"4983"0"0,-38 9-7371 0 0,1 1 1 0 0,-1 0-1 0 0,0-1 0 0 0,0 1 1 0 0,0-1-1 0 0,1 1 0 0 0,-1 0 1 0 0,0-1-1 0 0,0 1 0 0 0,0 0 0 0 0,0 0 1 0 0,0-1-1 0 0,0 1 0 0 0,0 0 1 0 0,0-1-1 0 0,-1 1 0 0 0,1 0 1 0 0,0-1-1 0 0,0 1 0 0 0,-1-1 1 0 0,1 2-1 0 0,-7 19 831 0 0,7-20-836 0 0,-3 9 197 0 0,0 1 1 0 0,0 0 0 0 0,1 0-1 0 0,0 0 1 0 0,1 0 0 0 0,1 0-1 0 0,-1 0 1 0 0,3 16-1 0 0,-1-21-218 0 0,0 1-1 0 0,1-1 1 0 0,-1 0 0 0 0,1 1-1 0 0,1-1 1 0 0,-1 0-1 0 0,1 0 1 0 0,0-1-1 0 0,0 1 1 0 0,1 0-1 0 0,0-1 1 0 0,0 0 0 0 0,0 0-1 0 0,0 0 1 0 0,9 7-1 0 0,-9-10-39 0 0,0 1-1 0 0,1-1 0 0 0,-1 0 1 0 0,0 0-1 0 0,1 0 1 0 0,-1 0-1 0 0,1-1 0 0 0,-1 0 1 0 0,1 0-1 0 0,0 0 1 0 0,-1 0-1 0 0,1-1 0 0 0,0 0 1 0 0,-1 0-1 0 0,1 0 1 0 0,8-2-1 0 0,-7 1-10 0 0,0 0 1 0 0,0-1-1 0 0,0 1 0 0 0,0-1 0 0 0,0-1 1 0 0,0 1-1 0 0,0-1 0 0 0,-1 0 1 0 0,1 0-1 0 0,-1-1 0 0 0,0 0 1 0 0,5-4-1 0 0,-6 4-8 0 0,0 1 0 0 0,-1-1 0 0 0,0 0 0 0 0,0 0 0 0 0,0 0 0 0 0,0-1-1 0 0,-1 1 1 0 0,1-1 0 0 0,-1 0 0 0 0,0 1 0 0 0,-1-1 0 0 0,1 0 0 0 0,-1 0 0 0 0,0 0 0 0 0,0 0 0 0 0,-1 0 0 0 0,1-1 0 0 0,-1 1 0 0 0,0 0 0 0 0,-1 0 0 0 0,-1-10-1 0 0,0 8 1 0 0,0 1-1 0 0,0-1 0 0 0,-1 1 0 0 0,0-1 0 0 0,0 1 0 0 0,-1 0 0 0 0,0 0 1 0 0,0 1-1 0 0,0-1 0 0 0,-1 1 0 0 0,0 0 0 0 0,0 0 0 0 0,0 0 0 0 0,0 1 0 0 0,-12-7 1 0 0,9 6-376 0 0,0 0 0 0 0,-1 0 0 0 0,0 1 0 0 0,0 1 0 0 0,0 0 0 0 0,-1 0 1 0 0,1 0-1 0 0,-1 2 0 0 0,1-1 0 0 0,-1 1 0 0 0,0 0 0 0 0,-10 1 0 0 0,11 0-1072 0 0,-4 2 211 0 0</inkml:trace>
</inkml:ink>
</file>

<file path=ppt/ink/ink1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49.87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866 0 15358,'0'32'3148,"-3"-3"-2428,-11-11 0,-5 3-91,-4 3 1,-4 2-180,-3 3-91,-3 2-676,-1 2 497,-1-1 90,0 0-180,-3 1 0,0 0-180,-1 0-180,-2-1 0,0-1-179,-2 0-756,1-2 575,0-1-179,1-2-91,2-3 1,3-2 14,2-3-464,4-2-270,2-3-990,4-2-1212,2-2 3821,4-3 0,8-3 0,4-1 0</inkml:trace>
</inkml:ink>
</file>

<file path=ppt/ink/ink16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2:50.719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47 640 0 0,'15'-5'1522'0'0,"11"-5"12"0"0,1 2 0 0 0,0 1 0 0 0,0 1 0 0 0,43-4 1 0 0,-64 10-1422 0 0,1 0 1 0 0,-1 0 0 0 0,1 0 0 0 0,-1 1 0 0 0,0 0 0 0 0,1 0 0 0 0,-1 0 0 0 0,0 1 0 0 0,0 0 0 0 0,0 0 0 0 0,0 1 0 0 0,0 0 0 0 0,0 0-1 0 0,-1 0 1 0 0,1 1 0 0 0,-1-1 0 0 0,0 1 0 0 0,0 1 0 0 0,0-1 0 0 0,-1 1 0 0 0,0-1 0 0 0,1 1 0 0 0,-2 1 0 0 0,1-1 0 0 0,4 8 0 0 0,-6-7-57 0 0,1 0 0 0 0,-1 0 1 0 0,0 1-1 0 0,-1-1 1 0 0,0 0-1 0 0,0 1 0 0 0,0-1 1 0 0,-1 1-1 0 0,0-1 1 0 0,0 1-1 0 0,0-1 1 0 0,-1 0-1 0 0,0 1 0 0 0,0-1 1 0 0,-1 0-1 0 0,0 1 1 0 0,-4 9-1 0 0,-5 9 252 0 0,-1 0-1 0 0,-28 41 1 0 0,30-51-82 0 0,-3 3 478 0 0,3 2 1818 0 0,10-20-2490 0 0,22-10-6 0 0,1 1 1 0 0,0 1-1 0 0,1 1 1 0 0,0 1-1 0 0,0 1 0 0 0,48-3 1 0 0,-48 5-124 0 0,35-3-2053 0 0,-53 5 1882 0 0,41-7-2945 0 0,-16-4-2352 0 0</inkml:trace>
</inkml:ink>
</file>

<file path=ppt/ink/ink16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2:51.046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160 2340 0 0,'16'-12'4005'0'0,"-14"11"-3560"0"0,0 0-1 0 0,0 0 1 0 0,0 1 0 0 0,1-1 0 0 0,-1 1 0 0 0,0-1 0 0 0,3 1 0 0 0,-3 0-276 0 0,-1 1 0 0 0,1-1 0 0 0,0 1 0 0 0,0-1 0 0 0,-1 1 0 0 0,1 0 0 0 0,0 0 0 0 0,-1 0 0 0 0,1 0 0 0 0,-1 0 0 0 0,1 0 0 0 0,-1 0 0 0 0,0 1 0 0 0,1-1 0 0 0,-1 0 0 0 0,0 1 0 0 0,0-1 0 0 0,0 1 0 0 0,0 0 0 0 0,1 2 0 0 0,7 11 498 0 0,-2 1 0 0 0,1 0 0 0 0,-2 1 0 0 0,0 0 1 0 0,-1 0-1 0 0,3 22 0 0 0,-3-4 18 0 0,-1 0 1 0 0,-2 38-1 0 0,-2-70-353 0 0,0-6-308 0 0,0 0-38 0 0,0 0 0 0 0,1-1 0 0 0,-1 1 0 0 0,1 0 0 0 0,0 0 0 0 0,0-1 0 0 0,0 1 0 0 0,0 0 0 0 0,0 0 0 0 0,1 0 1 0 0,-1 0-1 0 0,1 1 0 0 0,0-1 0 0 0,0 0 0 0 0,0 1 0 0 0,0-1 0 0 0,1 1 0 0 0,-1 0 0 0 0,1 0 0 0 0,-1 0 0 0 0,1 0 1 0 0,4-3-1 0 0,0 1-18 0 0,0-1 0 0 0,0 1 0 0 0,0 1 0 0 0,1-1 1 0 0,0 1-1 0 0,-1 1 0 0 0,1-1 0 0 0,13-1 0 0 0,-14 3 23 0 0,0 1-1 0 0,0 0 0 0 0,-1 1 1 0 0,1 0-1 0 0,0 0 0 0 0,0 0 1 0 0,0 1-1 0 0,0 0 0 0 0,-1 0 1 0 0,1 0-1 0 0,-1 1 0 0 0,0 0 1 0 0,1 1-1 0 0,-1-1 0 0 0,-1 1 1 0 0,7 5-1 0 0,-9-6 20 0 0,0-1 0 0 0,0 1 0 0 0,0 0 0 0 0,-1 0-1 0 0,1 0 1 0 0,-1 0 0 0 0,0 0 0 0 0,0 1 0 0 0,0-1 0 0 0,0 1 0 0 0,-1 0 0 0 0,1-1 0 0 0,-1 1 0 0 0,0 0 0 0 0,0 0-1 0 0,0-1 1 0 0,-1 1 0 0 0,0 0 0 0 0,1 0 0 0 0,-1 0 0 0 0,0 0 0 0 0,-1 0 0 0 0,1 0 0 0 0,-1 0 0 0 0,0 0 0 0 0,0 0 0 0 0,0-1-1 0 0,0 1 1 0 0,-1 0 0 0 0,-1 3 0 0 0,-1 0-121 0 0,0 0 0 0 0,-1-1 1 0 0,0 0-1 0 0,0 1 0 0 0,0-2 0 0 0,-1 1 0 0 0,0-1 0 0 0,0 0 0 0 0,0 0 1 0 0,0 0-1 0 0,-1-1 0 0 0,0 0 0 0 0,0 0 0 0 0,0-1 0 0 0,-12 4 0 0 0,10-4-727 0 0,0 0-1 0 0,-1-1 1 0 0,0 0-1 0 0,1 0 0 0 0,-1-1 1 0 0,0 0-1 0 0,0-1 0 0 0,0 0 1 0 0,0-1-1 0 0,1 0 1 0 0,-1 0-1 0 0,-10-3 0 0 0,-6-5-4152 0 0</inkml:trace>
  <inkml:trace contextRef="#ctx0" brushRef="#br0" timeOffset="1">87 156 1792 0 0,'44'-24'4365'0'0,"75"-28"-1"0"0,-50 28-1539 0 0,122-25 0 0 0,-181 47-3189 0 0,0 0 1 0 0,1 1 0 0 0,-1 0-1 0 0,1 1 1 0 0,14 1 0 0 0</inkml:trace>
</inkml:ink>
</file>

<file path=ppt/ink/ink16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2:51.966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7 0 80 0 0,'-17'12'12994'0'0,"20"-12"-12538"0"0,42 2 333 0 0,77-7 1 0 0,-12 0-850 0 0,-82 5-456 0 0,62 1-1691 0 0,-34 7-3756 0 0</inkml:trace>
</inkml:ink>
</file>

<file path=ppt/ink/ink16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2:52.299"/>
    </inkml:context>
    <inkml:brush xml:id="br0">
      <inkml:brushProperty name="width" value="0.2" units="cm"/>
      <inkml:brushProperty name="height" value="0.2" units="cm"/>
    </inkml:brush>
  </inkml:definitions>
  <inkml:trace contextRef="#ctx0" brushRef="#br0">33 28 1724 0 0,'-33'42'9058'0'0,"35"-40"-8834"0"0,1-1 0 0 0,-1 1 0 0 0,1-1 0 0 0,0 0 0 0 0,-1 0 0 0 0,1 0 0 0 0,0-1 0 0 0,-1 1 0 0 0,1 0 0 0 0,0-1 0 0 0,0 0 0 0 0,0 0 0 0 0,-1 0 0 0 0,1 0 0 0 0,3 0 0 0 0,53-9 1162 0 0,-29 4-618 0 0,189-34 2508 0 0,-80 12-2611 0 0,-135 27-1246 0 0</inkml:trace>
</inkml:ink>
</file>

<file path=ppt/ink/ink16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7:13.585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77 14 1264 0 0,'-4'-13'4188'0'0,"2"12"-4061"0"0,-1 2-1 0 0,-1 0 1 0 0,0 0 0 0 0,1 0 0 0 0,-1 0 0 0 0,0 1 0 0 0,1 0 0 0 0,0-1 0 0 0,-1 1 0 0 0,1 1 0 0 0,0-1 0 0 0,0 0 0 0 0,0 1 0 0 0,0-1 0 0 0,1 1 0 0 0,-1 0 0 0 0,1 0 0 0 0,-3 4 0 0 0,-9 11 460 0 0,-17 32-1 0 0,20-30-310 0 0,0 1 0 0 0,1 1 0 0 0,1 0 0 0 0,-8 29 0 0 0,15-41-186 0 0,0-1 1 0 0,0 1-1 0 0,1 0 0 0 0,0 0 0 0 0,0 0 1 0 0,1 0-1 0 0,1 0 0 0 0,-1-1 0 0 0,2 1 1 0 0,-1 0-1 0 0,2 0 0 0 0,5 18 0 0 0,-5-23-40 0 0,-1-1-1 0 0,1 1 0 0 0,-1 0 0 0 0,2-1 0 0 0,-1 0 0 0 0,0 0 0 0 0,1 0 0 0 0,-1 0 1 0 0,1 0-1 0 0,0-1 0 0 0,1 1 0 0 0,-1-1 0 0 0,0 0 0 0 0,1 0 0 0 0,0-1 0 0 0,6 3 0 0 0,-3-2 14 0 0,-1-1-1 0 0,1 0 0 0 0,-1 0 0 0 0,1-1 0 0 0,0 0 0 0 0,-1-1 0 0 0,1 1 0 0 0,0-2 0 0 0,0 1 0 0 0,13-3 0 0 0,-13 1 0 0 0,0 0-1 0 0,0 0 0 0 0,0-1 0 0 0,0 0 0 0 0,-1 0 0 0 0,1-1 0 0 0,-1 0 0 0 0,1 0 0 0 0,11-11 0 0 0,-14 12-22 0 0,-1-1 0 0 0,0 0-1 0 0,-1 0 1 0 0,1 0 0 0 0,-1-1-1 0 0,0 1 1 0 0,0-1 0 0 0,0 0-1 0 0,0 0 1 0 0,-1 0 0 0 0,0 0-1 0 0,0 0 1 0 0,-1-1 0 0 0,1 1-1 0 0,0-8 1 0 0,-1 7-1 0 0,-1-1 0 0 0,0 0 0 0 0,0 0 0 0 0,-1 1 0 0 0,1-1 0 0 0,-2 0 0 0 0,1 1 0 0 0,-1-1 0 0 0,0 1-1 0 0,0-1 1 0 0,0 1 0 0 0,-1 0 0 0 0,0 0 0 0 0,0 0 0 0 0,-1 0 0 0 0,0 1 0 0 0,0-1 0 0 0,0 1 0 0 0,-1 0 0 0 0,1 0 0 0 0,-1 1 0 0 0,-10-8 0 0 0,5 5-411 0 0,-1 0 1 0 0,0 1-1 0 0,0 0 0 0 0,0 1 1 0 0,-1 0-1 0 0,0 1 0 0 0,0 0 1 0 0,0 1-1 0 0,0 0 0 0 0,-24-2 1 0 0</inkml:trace>
</inkml:ink>
</file>

<file path=ppt/ink/ink16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7:13.953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0 1636 0 0,'11'10'7995'0'0,"-11"-10"-7901"0"0,-1 2-23 0 0,-9 4-575 0 0</inkml:trace>
</inkml:ink>
</file>

<file path=ppt/ink/ink16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7:14.295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143 908 0 0,'5'-11'598'0'0,"1"1"0"0"0,0-1 0 0 0,0 2-1 0 0,1-1 1 0 0,0 1 0 0 0,0 0 0 0 0,1 0 0 0 0,0 1-1 0 0,1 0 1 0 0,0 1 0 0 0,0 0 0 0 0,11-7 0 0 0,-16 12-546 0 0,0-1 1 0 0,1 1 0 0 0,-1-1-1 0 0,1 1 1 0 0,0 1-1 0 0,-1-1 1 0 0,1 1 0 0 0,0-1-1 0 0,0 1 1 0 0,0 1 0 0 0,0-1-1 0 0,0 1 1 0 0,0 0 0 0 0,0 0-1 0 0,0 0 1 0 0,0 1 0 0 0,0-1-1 0 0,0 1 1 0 0,0 1-1 0 0,0-1 1 0 0,0 1 0 0 0,-1 0-1 0 0,1 0 1 0 0,0 0 0 0 0,-1 0-1 0 0,0 1 1 0 0,1 0 0 0 0,-1 0-1 0 0,7 6 1 0 0,-7-4-28 0 0,0-1 0 0 0,-1 1 0 0 0,1 0 0 0 0,-1 0 0 0 0,0 0 0 0 0,0 0 0 0 0,-1 1 0 0 0,1-1 0 0 0,-1 1 0 0 0,0-1 0 0 0,-1 1 0 0 0,1 0 0 0 0,-1 0 0 0 0,0 11 0 0 0,0 5 22 0 0,-1 1 0 0 0,-6 36 0 0 0,1-10-7 0 0,4-34-44 0 0,0-9 14 0 0,0 1 0 0 0,1-1 0 0 0,0 1 0 0 0,0-1 0 0 0,2 9 0 0 0,-1-13-6 0 0,0 1 1 0 0,0-1-1 0 0,0 1 0 0 0,0-1 1 0 0,0 0-1 0 0,0 0 1 0 0,1 1-1 0 0,-1-1 1 0 0,1 0-1 0 0,-1 0 0 0 0,1-1 1 0 0,0 1-1 0 0,0 0 1 0 0,0 0-1 0 0,0-1 0 0 0,0 1 1 0 0,3 0-1 0 0,18 11-31 0 0,26 9-1 0 0,25 13 5 0 0,-67-30 38 0 0,0-1 0 0 0,0 1 0 0 0,0 0 0 0 0,-1 1 0 0 0,1 0 0 0 0,-1 0 0 0 0,7 8 0 0 0,-12-11 36 0 0,1-1 0 0 0,-1 0 0 0 0,1 0 0 0 0,-1 1 0 0 0,0-1 0 0 0,0 1 0 0 0,0-1 0 0 0,0 1 0 0 0,-1-1 0 0 0,1 1 1 0 0,-1 0-1 0 0,1-1 0 0 0,-1 1 0 0 0,0 0 0 0 0,0 0 0 0 0,0-1 0 0 0,-1 6 0 0 0,0-4 30 0 0,0 0-1 0 0,-1 1 1 0 0,0-1-1 0 0,0 0 1 0 0,0 0-1 0 0,0 0 1 0 0,0 0-1 0 0,-1-1 1 0 0,-5 7-1 0 0,-3 1 100 0 0,-1 0 1 0 0,0 0-1 0 0,0-2 1 0 0,-27 17-1 0 0,15-13-536 0 0,0-1-1 0 0,-1 0 1 0 0,0-2 0 0 0,-47 12-1 0 0,68-21-275 0 0,1-1 0 0 0,-1 1 0 0 0,1-1 0 0 0,-1 0 0 0 0,1 0 0 0 0,-1 0 0 0 0,1 0 0 0 0,-1-1 0 0 0,-5-1 0 0 0</inkml:trace>
</inkml:ink>
</file>

<file path=ppt/ink/ink16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7:14.796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47 129 956 0 0,'0'0'792'0'0,"3"-14"1234"0"0,31-40 2073 0 0,-26 42-3037 0 0,-2 4-827 0 0,-5 6-8 0 0,22-28 2124 0 0,-23 29-2345 0 0,0 1-1 0 0,0-1 0 0 0,-1 1 0 0 0,1-1 0 0 0,0 1 0 0 0,-1-1 0 0 0,1 1 0 0 0,0-1 1 0 0,-1 1-1 0 0,1 0 0 0 0,-1-1 0 0 0,1 1 0 0 0,-1-1 0 0 0,1 1 0 0 0,-1 0 0 0 0,1 0 1 0 0,-1-1-1 0 0,1 1 0 0 0,-1 0 0 0 0,1 0 0 0 0,-1 0 0 0 0,0-1 0 0 0,1 1 0 0 0,-1 0 0 0 0,1 0 1 0 0,-1 0-1 0 0,1 0 0 0 0,-1 0 0 0 0,0 0 0 0 0,1 0 0 0 0,-2 1 0 0 0,0-1-19 0 0,-1 0 14 0 0,-11 3 0 0 0,-6 3-10 0 0,0 1-1 0 0,1 0 1 0 0,-28 16 0 0 0,34-17 2 0 0,9-3 9 0 0,-1-1 1 0 0,0 1-1 0 0,1 0 0 0 0,0 0 1 0 0,-1 0-1 0 0,1 0 0 0 0,1 1 0 0 0,-1-1 1 0 0,0 1-1 0 0,1 0 0 0 0,0 1 1 0 0,0-1-1 0 0,0 0 0 0 0,0 1 1 0 0,1 0-1 0 0,-1-1 0 0 0,1 1 0 0 0,-1 6 1 0 0,3-10 21 0 0,0 0 0 0 0,0 0 0 0 0,0 1 0 0 0,1-1 0 0 0,-1 0 0 0 0,0 0 1 0 0,1 0-1 0 0,-1 1 0 0 0,1-1 0 0 0,-1 0 0 0 0,1 0 0 0 0,-1 0 0 0 0,1 0 0 0 0,0 0 1 0 0,0 0-1 0 0,-1 0 0 0 0,1 0 0 0 0,0 0 0 0 0,0-1 0 0 0,0 1 0 0 0,0 0 0 0 0,0 0 1 0 0,0-1-1 0 0,0 1 0 0 0,2 0 0 0 0,27 13 326 0 0,-29-14-348 0 0,79 26 371 0 0,47 18-136 0 0,-113-38-183 0 0,-1 1-1 0 0,0 0 0 0 0,-1 0 1 0 0,0 1-1 0 0,0 1 0 0 0,-1 0 1 0 0,12 13-1 0 0,-21-20 8 0 0,0 0 0 0 0,0 1 0 0 0,0-1-1 0 0,0 1 1 0 0,0 0 0 0 0,-1 0 0 0 0,1 0 0 0 0,-1 0 0 0 0,0 0 0 0 0,0 0-1 0 0,0 0 1 0 0,0 0 0 0 0,0 0 0 0 0,-1 0 0 0 0,1 0 0 0 0,-1 1 0 0 0,0 5-1 0 0,-1-4-3 0 0,0 0 0 0 0,0 1 0 0 0,-1-1 0 0 0,1 0 0 0 0,-1 0-1 0 0,0 0 1 0 0,-1 0 0 0 0,1-1 0 0 0,-1 1 0 0 0,-3 4 0 0 0,-2 1-27 0 0,0 0-1 0 0,-1-1 1 0 0,1-1 0 0 0,-2 1 0 0 0,1-1 0 0 0,-1-1 0 0 0,0 0 0 0 0,-20 10-1 0 0,19-11-412 0 0,0-2-1 0 0,-1 0 1 0 0,0 0-1 0 0,1-1 0 0 0,-1 0 1 0 0,-13 1-1 0 0,17-4-501 0 0,1 1 0 0 0,-1-2-1 0 0,0 1 1 0 0,0-1 0 0 0,1 0 0 0 0,-12-3-1 0 0,-5-3-3616 0 0</inkml:trace>
</inkml:ink>
</file>

<file path=ppt/ink/ink16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7:15.135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203 1276 0 0,'19'-16'1544'0'0,"-2"3"-220"0"0,1-3-272 0 0,3 3-79 0 0,-3-3-185 0 0,1 1-60 0 0,3-1-188 0 0,1 2-80 0 0,-1 1-112 0 0,-1 1-16 0 0,5 1-120 0 0,0-1 24 0 0,-2 2-196 0 0,0 2-248 0 0,2 1-432 0 0,-7 3-348 0 0,0 0-1536 0 0,1 2-565 0 0</inkml:trace>
  <inkml:trace contextRef="#ctx0" brushRef="#br0" timeOffset="1">493 323 1416 0 0,'8'12'6073'0'0,"-6"-11"-5784"0"0,5-1 153 0 0,-1 0-1 0 0,1 0 0 0 0,-1 0 1 0 0,1-1-1 0 0,-1 0 1 0 0,0 0-1 0 0,10-3 1 0 0,52-20 1029 0 0,-21 7-863 0 0,12 0-415 0 0,8-3-2089 0 0,-26 6-3533 0 0</inkml:trace>
</inkml:ink>
</file>

<file path=ppt/ink/ink16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7:15.969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28 20 448 0 0,'-9'-17'4190'0'0,"6"15"-3841"0"0,1 1-256 0 0,0 1 0 0 0,0 0 0 0 0,0 1 0 0 0,0-1 0 0 0,0 0 0 0 0,0 1 0 0 0,0-1-1 0 0,0 1 1 0 0,0-1 0 0 0,0 1 0 0 0,0 0 0 0 0,0 0 0 0 0,1 0 0 0 0,-1 0 0 0 0,0 0 0 0 0,-1 2 0 0 0,-1 0 93 0 0,-1 1 0 0 0,2 0 1 0 0,-1 0-1 0 0,0 1 0 0 0,-5 8 1 0 0,1 2 205 0 0,0 1 1 0 0,1 0-1 0 0,-6 17 1 0 0,9-18-235 0 0,0-1 1 0 0,1 0-1 0 0,1 1 1 0 0,0-1-1 0 0,1 1 1 0 0,1 0-1 0 0,0-1 1 0 0,1 1-1 0 0,0 0 1 0 0,2-1-1 0 0,-1 1 1 0 0,8 19-1 0 0,-8-26-83 0 0,1 0 0 0 0,0 0 0 0 0,1-1 0 0 0,-1 1-1 0 0,2-1 1 0 0,-1 0 0 0 0,1 0 0 0 0,0 0 0 0 0,0-1-1 0 0,1 1 1 0 0,0-1 0 0 0,0-1 0 0 0,0 1 0 0 0,1-1-1 0 0,0 0 1 0 0,0-1 0 0 0,0 0 0 0 0,1 0 0 0 0,-1 0-1 0 0,1-1 1 0 0,0 0 0 0 0,0 0 0 0 0,11 1 0 0 0,-15-3-19 0 0,0 0 1 0 0,0 0 0 0 0,-1-1 0 0 0,1 0-1 0 0,0 0 1 0 0,0 0 0 0 0,0 0 0 0 0,0 0 0 0 0,0-1-1 0 0,0 0 1 0 0,0 0 0 0 0,0 0 0 0 0,-1 0 0 0 0,1-1-1 0 0,0 1 1 0 0,-1-1 0 0 0,1 0 0 0 0,-1 0-1 0 0,0 0 1 0 0,1-1 0 0 0,-1 1 0 0 0,0-1 0 0 0,0 1-1 0 0,-1-1 1 0 0,1 0 0 0 0,-1 0 0 0 0,1-1 0 0 0,-1 1-1 0 0,0 0 1 0 0,0-1 0 0 0,0 1 0 0 0,-1-1-1 0 0,1 0 1 0 0,-1 1 0 0 0,0-1 0 0 0,0 0 0 0 0,0 0-1 0 0,-1 0 1 0 0,1 0 0 0 0,-1-7 0 0 0,0 2-94 0 0,-1 0 1 0 0,0 0-1 0 0,0 0 1 0 0,0 0-1 0 0,-1 1 1 0 0,-1-1-1 0 0,0 0 1 0 0,0 1-1 0 0,0-1 1 0 0,-1 1-1 0 0,-1 0 1 0 0,1 0-1 0 0,-1 1 1 0 0,0-1-1 0 0,-1 1 1 0 0,0 0-1 0 0,0 1 1 0 0,0-1 0 0 0,-1 1-1 0 0,0 1 1 0 0,0-1-1 0 0,-1 1 1 0 0,1 0-1 0 0,-1 1 1 0 0,0 0-1 0 0,-1 0 1 0 0,1 0-1 0 0,-11-2 1 0 0,13 5-1270 0 0,-1 0 1 0 0,1 1 0 0 0,-1 0 0 0 0,-12 1 0 0 0</inkml:trace>
</inkml:ink>
</file>

<file path=ppt/ink/ink1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50.25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3 1 13469,'18'13'4858,"-3"6"-4319,-12 5-89,0-1-90,-3 0 0,1-5-1,0 0 1,-2 1-180,1-1 90,-1-1 0,0 0-90,0 0 449,-1-2 181,-1 5-1,0-3 541,0 2-1350,5-14 0,2-5-90,8-9 90,3 3 0,2 6 0,-3 3 0,0 5 90,-4 1-90,-1 2 90,-1 3-3393,-1 0 3303,-3 1 90,0 2-90,-2-1 90,-2 2-180,-1-1-89,-2 0-1,-2 1 3122,-2-1-3662,-1-1 1,-2-2-181,-1-2-179,-1-3-180,-1-1-1710,-1-3 1080,-7-3-1079,3-3-1889,-5-4 4857,6-3 0,-1-6 0,-1-2 0</inkml:trace>
</inkml:ink>
</file>

<file path=ppt/ink/ink16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7:16.334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2 1348 0 0,'5'1'2065'0'0,"7"1"-222"0"0,0-1 0 0 0,1 0-1 0 0,-1-1 1 0 0,21-2 0 0 0,-30 1-1497 0 0,14-2-1059 0 0</inkml:trace>
</inkml:ink>
</file>

<file path=ppt/ink/ink16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7:16.719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48 1252 0 0,'6'-5'334'0'0,"1"0"0"0"0,0 0 0 0 0,0 0-1 0 0,0 1 1 0 0,0 0 0 0 0,0 1 0 0 0,1 0 0 0 0,0 0 0 0 0,0 0-1 0 0,0 1 1 0 0,0 0 0 0 0,0 1 0 0 0,0 0 0 0 0,0 0-1 0 0,0 1 1 0 0,0 0 0 0 0,1 0 0 0 0,-1 1 0 0 0,0 0 0 0 0,0 0-1 0 0,16 5 1 0 0,-16-3-274 0 0,0 0 0 0 0,0 0-1 0 0,0 1 1 0 0,-1 0 0 0 0,0 0 0 0 0,1 1-1 0 0,-1 0 1 0 0,-1 0 0 0 0,1 0 0 0 0,-1 1-1 0 0,0 0 1 0 0,0 1 0 0 0,-1-1-1 0 0,0 1 1 0 0,0 0 0 0 0,0 0 0 0 0,-1 1-1 0 0,0-1 1 0 0,-1 1 0 0 0,1 0 0 0 0,1 9-1 0 0,-2-5 37 0 0,-1 0 0 0 0,0 0 0 0 0,-1 1 0 0 0,0-1 0 0 0,-1 1 0 0 0,0-1 0 0 0,-4 19 0 0 0,-3 4 470 0 0,-14 43 0 0 0,10-39-32 0 0,-4 12 868 0 0,15-49-1277 0 0,0-1-112 0 0,0-1 0 0 0,1 1 1 0 0,-1-1-1 0 0,1 1 0 0 0,-1-1 1 0 0,1 1-1 0 0,-1-1 1 0 0,1 1-1 0 0,-1-1 0 0 0,1 0 1 0 0,-1 1-1 0 0,1-1 0 0 0,0 0 1 0 0,-1 1-1 0 0,1-1 0 0 0,-1 0 1 0 0,1 0-1 0 0,0 0 1 0 0,-1 0-1 0 0,1 0 0 0 0,0 1 1 0 0,-1-1-1 0 0,1 0 0 0 0,0-1 1 0 0,0 1-1 0 0,22-4 78 0 0,-23 4-91 0 0,65-20-2466 0 0,116-54 1 0 0,-140 51-2134 0 0</inkml:trace>
</inkml:ink>
</file>

<file path=ppt/ink/ink16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7:17.104"/>
    </inkml:context>
    <inkml:brush xml:id="br0">
      <inkml:brushProperty name="width" value="0.2" units="cm"/>
      <inkml:brushProperty name="height" value="0.2" units="cm"/>
    </inkml:brush>
  </inkml:definitions>
  <inkml:trace contextRef="#ctx0" brushRef="#br0">222 222 1000 0 0,'0'-2'214'0'0,"1"-1"0"0"0,-1 1 0 0 0,1 0 0 0 0,0 0 1 0 0,0 0-1 0 0,0-1 0 0 0,0 1 0 0 0,1 0 0 0 0,-1 0 0 0 0,0 0 0 0 0,1 1 0 0 0,0-1 0 0 0,-1 0 0 0 0,1 0 0 0 0,0 1 0 0 0,0-1 1 0 0,0 1-1 0 0,0 0 0 0 0,0-1 0 0 0,0 1 0 0 0,0 0 0 0 0,0 0 0 0 0,0 1 0 0 0,1-1 0 0 0,-1 0 0 0 0,0 1 0 0 0,1-1 0 0 0,-1 1 1 0 0,0 0-1 0 0,5 0 0 0 0,4 0 98 0 0,0 1 0 0 0,1 0 0 0 0,-1 1 0 0 0,0 0 0 0 0,15 5 0 0 0,-22-5-257 0 0,1-1-1 0 0,-1 1 0 0 0,0 0 1 0 0,1 0-1 0 0,-1 0 0 0 0,0 1 1 0 0,0-1-1 0 0,-1 1 0 0 0,1 0 1 0 0,-1 0-1 0 0,1 0 0 0 0,-1 1 1 0 0,0-1-1 0 0,0 1 0 0 0,0 0 1 0 0,3 6-1 0 0,-6-8-39 0 0,1 0 0 0 0,-1 0 0 0 0,1 1-1 0 0,-1-1 1 0 0,0 0 0 0 0,0 0 0 0 0,0 0 0 0 0,0 1 0 0 0,0-1 0 0 0,0 0-1 0 0,-1 0 1 0 0,1 0 0 0 0,-1 1 0 0 0,0-1 0 0 0,0 0 0 0 0,1 0 0 0 0,-1 0-1 0 0,0 0 1 0 0,-1 0 0 0 0,1 0 0 0 0,-2 2 0 0 0,1-2 2 0 0,0 1-1 0 0,0-1 1 0 0,0 1 0 0 0,-1-1-1 0 0,1 0 1 0 0,-1 0 0 0 0,1 0-1 0 0,-1 0 1 0 0,0 0 0 0 0,0 0 0 0 0,0-1-1 0 0,0 1 1 0 0,0-1 0 0 0,-6 2-1 0 0,5-2-2 0 0,-1-1 0 0 0,1 1 0 0 0,0-1 0 0 0,-1 0 0 0 0,1 0 0 0 0,-1 0 0 0 0,1-1 0 0 0,0 1 0 0 0,-1-1 0 0 0,-3-2 0 0 0,5 3-11 0 0,1-1-1 0 0,0 0 1 0 0,0-1-1 0 0,1 1 0 0 0,-1 0 1 0 0,0 0-1 0 0,0-1 1 0 0,0 1-1 0 0,1-1 1 0 0,-1 0-1 0 0,1 1 0 0 0,0-1 1 0 0,-1 0-1 0 0,1 0 1 0 0,0 0-1 0 0,0 0 0 0 0,0 0 1 0 0,0 0-1 0 0,0 0 1 0 0,0 0-1 0 0,1 0 1 0 0,-1-1-1 0 0,1-2 0 0 0,-2-15-5 0 0,0 0 1 0 0,3-26-1 0 0,0 21-8 0 0,-4-41 0 0 0,2 60 3 0 0,0 0 1 0 0,0 0 0 0 0,0 0-1 0 0,-1 0 1 0 0,0 0-1 0 0,0 1 1 0 0,-1-1 0 0 0,0 1-1 0 0,1-1 1 0 0,-2 1-1 0 0,-5-8 1 0 0,7 11 4 0 0,1 0-1 0 0,-1 0 1 0 0,0 1 0 0 0,0-1-1 0 0,0 1 1 0 0,1-1 0 0 0,-1 1-1 0 0,0 0 1 0 0,-1 0 0 0 0,1 0-1 0 0,0 0 1 0 0,0 0 0 0 0,0 0-1 0 0,-1 1 1 0 0,1-1 0 0 0,0 1-1 0 0,-4-1 1 0 0,-30-3-38 0 0,27 6 33 0 0,1 1-1 0 0,-2 0-2 0 0,1-1 1 0 0,-1 2-1 0 0,0-1 1 0 0,1 2-1 0 0,0-1 1 0 0,0 1-1 0 0,0 0 1 0 0,1 1-1 0 0,-1 0 1 0 0,1 1-1 0 0,-9 9 1 0 0,13-12 18 0 0,0-1 1 0 0,1 1 0 0 0,0 0 0 0 0,0 0 0 0 0,0 0-1 0 0,0 1 1 0 0,0-1 0 0 0,1 1 0 0 0,0 0 0 0 0,0-1-1 0 0,0 1 1 0 0,1 0 0 0 0,-1 0 0 0 0,1 0 0 0 0,0 0-1 0 0,1 0 1 0 0,-1 0 0 0 0,1 1 0 0 0,0-1 0 0 0,0 0-1 0 0,1 0 1 0 0,0 0 0 0 0,1 8 0 0 0,0-8 8 0 0,1 0 0 0 0,-1-1 0 0 0,1 0 0 0 0,0 1-1 0 0,0-1 1 0 0,0 0 0 0 0,0-1 0 0 0,1 1 0 0 0,-1-1 0 0 0,1 1 0 0 0,0-1 0 0 0,0 0 0 0 0,0 0 0 0 0,1-1 0 0 0,-1 1 0 0 0,6 1 0 0 0,-1 0 29 0 0,0 0 0 0 0,0-1-1 0 0,0-1 1 0 0,0 0 0 0 0,0 0 0 0 0,0 0 0 0 0,15 0-1 0 0,-20-3-32 0 0,-1 1 0 0 0,0-1-1 0 0,1 0 1 0 0,-1 0-1 0 0,0 0 1 0 0,0 0-1 0 0,0 0 1 0 0,0-1 0 0 0,5-2-1 0 0,-5 2-10 0 0,0 1-8 0 0,0-1 0 0 0,0 0-1 0 0,-1 0 1 0 0,1 0 0 0 0,0-1-1 0 0,-1 1 1 0 0,1-1 0 0 0,-1 1-1 0 0,4-7 1 0 0,12-10-30 0 0,-9 14 21 0 0,-7 4 139 0 0,2 1 80 0 0,12 1 48 0 0,-15-1-235 0 0,-1 1 1 0 0,1-1-1 0 0,0 0 1 0 0,0 0-1 0 0,0 1 1 0 0,-1-1-1 0 0,1 1 1 0 0,0-1-1 0 0,0 1 0 0 0,-1-1 1 0 0,1 1-1 0 0,0-1 1 0 0,-1 1-1 0 0,1-1 1 0 0,0 1-1 0 0,-1 0 1 0 0,1 0-1 0 0,-1-1 1 0 0,1 1-1 0 0,-1 0 1 0 0,1 1-1 0 0,0 0 48 0 0,16 17 269 0 0,-2 1 0 0 0,0 0-1 0 0,-1 1 1 0 0,-1 1 0 0 0,16 37 0 0 0,37 121-3062 0 0,-55-147 736 0 0,-10-30 1493 0 0,0 1-56 0 0</inkml:trace>
</inkml:ink>
</file>

<file path=ppt/ink/ink16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7:17.450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238 416 0 0,'14'-9'4500'0'0,"-7"8"-4020"0"0,-1 1 0 0 0,1 0 0 0 0,0 0-1 0 0,0 0 1 0 0,0 1 0 0 0,0-1 0 0 0,0 2 0 0 0,-1-1 0 0 0,1 1 0 0 0,0 0 0 0 0,-1 0 0 0 0,0 1 0 0 0,12 6 0 0 0,-10-5-353 0 0,0 1 0 0 0,0 0 0 0 0,-1 0 0 0 0,0 1 0 0 0,0-1 0 0 0,0 2 1 0 0,0-1-1 0 0,-1 1 0 0 0,0 0 0 0 0,7 11 0 0 0,-11-14-157 0 0,-1-1 0 0 0,0 1 0 0 0,1 0 0 0 0,-1-1 0 0 0,0 1 0 0 0,-1 0-1 0 0,1 0 1 0 0,-1 0 0 0 0,0 0 0 0 0,0 0 0 0 0,0 0 0 0 0,0-1 0 0 0,0 1 0 0 0,-1 0-1 0 0,0 0 1 0 0,0 0 0 0 0,0 0 0 0 0,0-1 0 0 0,-1 1 0 0 0,1-1 0 0 0,-1 1 0 0 0,0-1 0 0 0,0 1-1 0 0,0-1 1 0 0,-4 4 0 0 0,4-4-150 0 0,-1 0 0 0 0,1-1 0 0 0,-1 1 0 0 0,1-1 0 0 0,-1 0 0 0 0,0 0 0 0 0,0 0 0 0 0,0 0 0 0 0,0 0 0 0 0,0-1 0 0 0,0 1 0 0 0,0-1 0 0 0,-1 0 0 0 0,1 0 0 0 0,0 0 0 0 0,-1 0 0 0 0,1-1 0 0 0,-1 1 0 0 0,1-1 0 0 0,-1 0 0 0 0,1 0 0 0 0,-1 0-1 0 0,1 0 1 0 0,-1-1 0 0 0,1 0 0 0 0,0 1 0 0 0,-1-1 0 0 0,-5-3 0 0 0,6 3 11 0 0,-1-1-1 0 0,0 0 1 0 0,1 0-1 0 0,0-1 1 0 0,-1 1-1 0 0,1-1 1 0 0,0 1-1 0 0,0-1 1 0 0,1 0-1 0 0,-1 0 1 0 0,1-1 0 0 0,-1 1-1 0 0,1 0 1 0 0,-2-6-1 0 0,1 4 112 0 0,1-1 1 0 0,0 0-1 0 0,0-1 1 0 0,1 1-1 0 0,-1 0 1 0 0,2 0-1 0 0,-1-1 0 0 0,1-8 1 0 0,0 1 303 0 0,2 0-1 0 0,0 0 1 0 0,0 0 0 0 0,2 0 0 0 0,-1 0 0 0 0,2 1-1 0 0,9-20 1 0 0,-6 17 35 0 0,1 0 0 0 0,1 1 1 0 0,1 0-1 0 0,0 1 0 0 0,1 0 0 0 0,0 1 0 0 0,1 0 0 0 0,0 1 0 0 0,30-20 0 0 0,-34 25-260 0 0,1 1 0 0 0,0 1 0 0 0,0-1 0 0 0,0 2 0 0 0,0-1 0 0 0,1 1 0 0 0,0 1-1 0 0,0 0 1 0 0,0 1 0 0 0,0 0 0 0 0,0 0 0 0 0,1 1 0 0 0,-1 1 0 0 0,0 0 0 0 0,1 0 0 0 0,21 5 0 0 0,-28-4-425 0 0,0 1 0 0 0,0 0 1 0 0,0 0-1 0 0,0 0 1 0 0,0 1-1 0 0,0 0 0 0 0,-1 0 1 0 0,1 0-1 0 0,-1 0 1 0 0,0 1-1 0 0,5 4 0 0 0,2 5-1450 0 0</inkml:trace>
</inkml:ink>
</file>

<file path=ppt/ink/ink16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7:17.834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08 595 2020 0 0,'-14'7'1115'0'0,"-80"50"7820"0"0,100-59-8121 0 0,244-77 2301 0 0,-125 36-2530 0 0,1035-324 1900 0 0,-1040 331-2444 0 0,290-81-812 0 0,-344 103-1670 0 0,-65 14 2341 0 0,0 0-1 0 0,0 0 0 0 0,0 0 1 0 0,-1 0-1 0 0,1 0 1 0 0,0 0-1 0 0,0 0 1 0 0,0 0-1 0 0,-1 0 1 0 0,1 1-1 0 0,0-1 1 0 0,0 0-1 0 0,-1 0 1 0 0,1 1-1 0 0,0-1 0 0 0,-1 0 1 0 0,1 1-1 0 0,0-1 1 0 0,-1 1-1 0 0,2 0 1 0 0</inkml:trace>
</inkml:ink>
</file>

<file path=ppt/ink/ink16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7:23.928"/>
    </inkml:context>
    <inkml:brush xml:id="br0">
      <inkml:brushProperty name="width" value="0.2" units="cm"/>
      <inkml:brushProperty name="height" value="0.2" units="cm"/>
    </inkml:brush>
  </inkml:definitions>
  <inkml:trace contextRef="#ctx0" brushRef="#br0">77 1 1068 0 0,'-2'10'413'0'0,"0"0"1"0"0,1 0-1 0 0,0 0 0 0 0,1 0 1 0 0,0 0-1 0 0,0 0 1 0 0,1 0-1 0 0,1-1 0 0 0,0 1 1 0 0,6 19-1 0 0,-6-24-322 0 0,0 0 1 0 0,0 0-1 0 0,1 0 1 0 0,0 0-1 0 0,0 0 1 0 0,0 0-1 0 0,1-1 1 0 0,0 1-1 0 0,-1-1 1 0 0,1 0-1 0 0,1 0 1 0 0,-1-1-1 0 0,1 1 1 0 0,-1-1-1 0 0,1 0 1 0 0,0 0-1 0 0,0-1 0 0 0,0 1 1 0 0,1-1-1 0 0,-1 0 1 0 0,9 2-1 0 0,-9-3-12 0 0,0-1-1 0 0,-1 1 0 0 0,1-1 1 0 0,0 1-1 0 0,0-1 0 0 0,-1-1 1 0 0,1 1-1 0 0,0-1 0 0 0,-1 0 1 0 0,1 0-1 0 0,0 0 0 0 0,-1 0 1 0 0,6-4-1 0 0,-7 4-15 0 0,-1 0 0 0 0,0 0 0 0 0,0-1 0 0 0,0 1 0 0 0,0-1 0 0 0,-1 0 0 0 0,1 0 0 0 0,0 1 0 0 0,0-1 0 0 0,-1 0 0 0 0,0 0 0 0 0,1-1 1 0 0,-1 1-1 0 0,0 0 0 0 0,0 0 0 0 0,0-1 0 0 0,0 1 0 0 0,0 0 0 0 0,-1-1 0 0 0,1 1 0 0 0,-1-1 0 0 0,0 1 0 0 0,1-1 0 0 0,-1 1 0 0 0,0-1 0 0 0,0 1 0 0 0,-1-1 0 0 0,1 1 0 0 0,-1-3 0 0 0,0-1 29 0 0,-1-1-1 0 0,0 1 1 0 0,0 0 0 0 0,0 0 0 0 0,-1 1-1 0 0,0-1 1 0 0,0 1 0 0 0,0-1 0 0 0,-1 1-1 0 0,0 0 1 0 0,0 0 0 0 0,0 0 0 0 0,0 1-1 0 0,-1-1 1 0 0,0 1 0 0 0,0 0 0 0 0,0 1-1 0 0,0-1 1 0 0,-1 1 0 0 0,1 0 0 0 0,-1 0-1 0 0,0 1 1 0 0,0-1 0 0 0,-11-2 0 0 0,4 2-179 0 0,1 0 0 0 0,-1 1 0 0 0,0 0 0 0 0,-24 1 0 0 0,24 1-661 0 0,0 1 0 0 0,0 0 0 0 0,1 1 1 0 0,-18 5-1 0 0</inkml:trace>
</inkml:ink>
</file>

<file path=ppt/ink/ink16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7:24.306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1 2076 0 0,'3'0'3153'0'0,"18"3"-94"0"0,6 1-867 0 0,-24-3-1998 0 0,11 6-1210 0 0</inkml:trace>
</inkml:ink>
</file>

<file path=ppt/ink/ink16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7:24.683"/>
    </inkml:context>
    <inkml:brush xml:id="br0">
      <inkml:brushProperty name="width" value="0.2" units="cm"/>
      <inkml:brushProperty name="height" value="0.2" units="cm"/>
    </inkml:brush>
  </inkml:definitions>
  <inkml:trace contextRef="#ctx0" brushRef="#br0">21 0 1676 0 0,'0'0'1299'0'0,"4"15"1746"0"0,-5-4-2605 0 0,0 1-1 0 0,1 0 1 0 0,1 0 0 0 0,0-1-1 0 0,0 1 1 0 0,1 0 0 0 0,1-1 0 0 0,4 13-1 0 0,-3-12-322 0 0,0-1-1 0 0,1 0 1 0 0,1 0 0 0 0,0 0-1 0 0,0-1 1 0 0,1 0-1 0 0,0 0 1 0 0,1 0-1 0 0,0-1 1 0 0,1-1-1 0 0,0 1 1 0 0,0-1 0 0 0,12 7-1 0 0,-14-11 67 0 0,0-1 0 0 0,0 0 0 0 0,15 4-1 0 0,-18-6 80 0 0,0-1-1 0 0,13-1-44 0 0,-16 0-196 0 0,0 0 0 0 0,0 1 0 0 0,0-1 0 0 0,0 0 1 0 0,0 0-1 0 0,0 0 0 0 0,0 0 0 0 0,0 0 0 0 0,-1 0 0 0 0,1 0 1 0 0,0 0-1 0 0,-1 0 0 0 0,1 0 0 0 0,-1 0 0 0 0,1-1 0 0 0,-1 1 0 0 0,1 0 1 0 0,-1 0-1 0 0,0 0 0 0 0,0-3 0 0 0,1 4 2 0 0,-1-4 7 0 0,0 0 1 0 0,0 0-1 0 0,0 0 1 0 0,0 0-1 0 0,0 0 0 0 0,-1 0 1 0 0,0 0-1 0 0,0 1 1 0 0,0-1-1 0 0,0 0 1 0 0,-1 0-1 0 0,-2-5 1 0 0,-1-1 7 0 0,-1 0 0 0 0,0 1 0 0 0,-7-10 0 0 0,5 9-68 0 0,0 1-1 0 0,0 0 1 0 0,-1 1 0 0 0,0 0-1 0 0,-14-9 1 0 0,18 14-258 0 0,0 0 0 0 0,0 0 0 0 0,-1 0 0 0 0,1 1 0 0 0,-1-1 0 0 0,1 1 0 0 0,-1 1 0 0 0,0-1 0 0 0,0 1 0 0 0,0 0 0 0 0,0 0 0 0 0,0 1 1 0 0,-8 0-1 0 0,-22 3-4530 0 0</inkml:trace>
</inkml:ink>
</file>

<file path=ppt/ink/ink16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7:25.053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11 244 0 0,'7'-3'524'0'0,"-1"1"0"0"0,1 1 1 0 0,0-1-1 0 0,-1 1 0 0 0,1 0 0 0 0,0 1 0 0 0,-1-1 0 0 0,1 1 0 0 0,0 1 1 0 0,0-1-1 0 0,0 1 0 0 0,-1 0 0 0 0,9 3 0 0 0,-5-1-279 0 0,-1 1 1 0 0,0 0-1 0 0,0 0 0 0 0,0 1 0 0 0,-1 0 0 0 0,0 1 0 0 0,0 0 0 0 0,13 12 0 0 0,-12-9-96 0 0,-1 0-1 0 0,0 1 1 0 0,0 0-1 0 0,-1 1 0 0 0,0 0 1 0 0,0 0-1 0 0,-2 0 1 0 0,1 1-1 0 0,4 17 1 0 0,-2-3 243 0 0,-2 0 0 0 0,-1 0 0 0 0,2 40-1 0 0,2 0 3434 0 0,-6-67-3702 0 0,14-6-620 0 0,0-1 0 0 0,0-1 0 0 0,-1-1 0 0 0,-1 0 0 0 0,17-13 0 0 0,0 0-1058 0 0,-7 5 126 0 0,-4 5-1500 0 0,27-24 0 0 0,-33 23 369 0 0</inkml:trace>
</inkml:ink>
</file>

<file path=ppt/ink/ink16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7:25.420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331 1280 0 0,'0'-6'798'0'0,"0"-1"0"0"0,1 1 0 0 0,-1 0-1 0 0,1 0 1 0 0,1-1 0 0 0,-1 1 0 0 0,1 0 0 0 0,0 0-1 0 0,4-8 429 0 0,10 16-408 0 0,-14-1-749 0 0,0-1 0 0 0,0 1 1 0 0,0 0-1 0 0,0 1 0 0 0,0-1 1 0 0,-1 0-1 0 0,1 0 0 0 0,0 1 1 0 0,-1-1-1 0 0,1 1 0 0 0,-1-1 1 0 0,0 1-1 0 0,1 0 1 0 0,-1 0-1 0 0,0-1 0 0 0,1 5 1 0 0,2 0 168 0 0,15 23 871 0 0,24 54-1 0 0,-31-58-723 0 0,-10-21-204 0 0,-2-3-65 0 0,1 0 1 0 0,-1 1 0 0 0,1-1-1 0 0,-1 0 1 0 0,1 0 0 0 0,0 0-1 0 0,0 0 1 0 0,-1 0-1 0 0,1 0 1 0 0,0 0 0 0 0,0 0-1 0 0,2 1 1 0 0,-2-2-84 0 0,0 1 1 0 0,0-1-1 0 0,0 0 0 0 0,0 0 1 0 0,-1-1-1 0 0,1 1 0 0 0,0 0 0 0 0,0 0 1 0 0,0 0-1 0 0,0-1 0 0 0,0 1 1 0 0,0 0-1 0 0,0-1 0 0 0,0 1 1 0 0,0-1-1 0 0,0 1 0 0 0,-1-1 1 0 0,1 1-1 0 0,0-1 0 0 0,1-1 1 0 0,10-7 7 0 0,2 1 0 0 0,-1 0 0 0 0,1 1-1 0 0,1 1 1 0 0,-1 0 0 0 0,1 1 0 0 0,24-6 0 0 0,-34 10-39 0 0,1 0-1 0 0,0 0 0 0 0,-1 1 0 0 0,1 0 1 0 0,0-1-1 0 0,0 2 0 0 0,0-1 0 0 0,-1 1 1 0 0,1 0-1 0 0,0 0 0 0 0,-1 0 1 0 0,1 1-1 0 0,-1 0 0 0 0,1 0 0 0 0,-1 1 1 0 0,0-1-1 0 0,0 1 0 0 0,0 0 0 0 0,0 0 1 0 0,-1 1-1 0 0,1 0 0 0 0,-1 0 0 0 0,0 0 1 0 0,5 6-1 0 0,-7-7-3 0 0,0 0 0 0 0,0 0 0 0 0,0 1-1 0 0,-1-1 1 0 0,0 1 0 0 0,1-1 0 0 0,-1 1 0 0 0,0-1 0 0 0,-1 1 0 0 0,1 0 0 0 0,-1-1-1 0 0,1 1 1 0 0,-1 0 0 0 0,0 0 0 0 0,-1-1 0 0 0,1 1 0 0 0,-1 0 0 0 0,1-1 0 0 0,-1 1-1 0 0,0 0 1 0 0,0-1 0 0 0,-1 1 0 0 0,1-1 0 0 0,-1 0 0 0 0,-2 4 0 0 0,0 0-190 0 0,0-1 0 0 0,0 1 0 0 0,0-1 0 0 0,-1 0 0 0 0,0-1-1 0 0,-1 1 1 0 0,1-1 0 0 0,-1 0 0 0 0,0-1 0 0 0,0 1 0 0 0,-10 4 0 0 0,10-5-45 0 0,0-1-1 0 0,0-1 1 0 0,-1 1 0 0 0,1-1-1 0 0,-1 0 1 0 0,0 0-1 0 0,0-1 1 0 0,1 0-1 0 0,-1 0 1 0 0,0-1-1 0 0,0 0 1 0 0,0 0-1 0 0,0-1 1 0 0,0 1 0 0 0,0-1-1 0 0,0-1 1 0 0,1 0-1 0 0,-1 0 1 0 0,1 0-1 0 0,-1 0 1 0 0,1-1-1 0 0,0 0 1 0 0,-1-1-1 0 0,2 1 1 0 0,-1-1 0 0 0,0 0-1 0 0,1-1 1 0 0,0 1-1 0 0,0-1 1 0 0,0 0-1 0 0,0 0 1 0 0,-3-7-1 0 0,0 1 114 0 0,0 0-1 0 0,1-1 0 0 0,1 0 0 0 0,0 0 0 0 0,0-1 0 0 0,1 0 1 0 0,1 0-1 0 0,0 0 0 0 0,1 0 0 0 0,0-1 0 0 0,-1-24 1 0 0,4 20 337 0 0,0-1 1 0 0,2 1 0 0 0,0 0-1 0 0,1 0 1 0 0,0 1 0 0 0,2-1-1 0 0,0 1 1 0 0,11-25 0 0 0,-5 16 233 0 0,1 1 0 0 0,22-32 0 0 0,-30 50-390 0 0,1 0 0 0 0,0 0 0 0 0,1 1 0 0 0,-1 0-1 0 0,1 0 1 0 0,0 0 0 0 0,1 1 0 0 0,0 0 0 0 0,-1 0 0 0 0,2 1 0 0 0,-1-1 0 0 0,9-2 0 0 0,-10 5-385 0 0,0 1 1 0 0,0 0-1 0 0,0 0 1 0 0,0 1-1 0 0,1-1 1 0 0,-1 1-1 0 0,0 1 1 0 0,0-1 0 0 0,0 1-1 0 0,0 0 1 0 0,8 3-1 0 0,0-1-1084 0 0</inkml:trace>
</inkml:ink>
</file>

<file path=ppt/ink/ink1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50.69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87 12660,'21'-20'4767,"-2"3"-3418,-8 9-269,0 2-181,0-1-179,1 1-91,0 1-179,0 0 270,1 1-630,7 0-720,2 1-359,6 1-361,0 2-179,-2 1-180,-3 1 180,-3 2-180,-4-1 630,1 1 809,-2-1 630,1 0 449,0-2-179,2 1-1,1-1-269,2 3-90,-6 1 0,1 2 0,-5 1 90,0 3-1,0 2-89,-1 2 0,-1 2 0,-2 2 0,-1 2 269,-4 12-359,-2-8 0,-3 9 90,-3-9-180,-2-1 90,-1 1 0,0-3-90,0 0 0,0-3 0,0-1-90,1-2 90,1-2 179,0-2 1,1 2-270,5 0 0,4-3 90,11-5-90,6-6 0,4-2-180,2-1-539,0 0-810,-2 0-1260,-2 0 2789,-5 0 0,-8 1 0,-3 1 0</inkml:trace>
</inkml:ink>
</file>

<file path=ppt/ink/ink16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7:25.750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85 1244 0 0,'3'0'5837'0'0,"21"-7"-3563"0"0,38-15-1 0 0,19-5-1507 0 0,8 7-1850 0 0,-33 11-4118 0 0</inkml:trace>
  <inkml:trace contextRef="#ctx0" brushRef="#br0" timeOffset="0.99">216 303 1860 0 0,'-10'33'10794'0'0,"25"-35"-10160"0"0,1 0 0 0 0,-1-1 0 0 0,1-1-1 0 0,-1-1 1 0 0,23-9 0 0 0,8-2-29 0 0,94-25-74 0 0,-82 28-5343 0 0</inkml:trace>
</inkml:ink>
</file>

<file path=ppt/ink/ink16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7:40.765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61 1532 0 0,'4'-5'276'0'0,"-1"1"1"0"0,0 0-1 0 0,1 0 0 0 0,0 0 1 0 0,0 0-1 0 0,0 1 0 0 0,1-1 0 0 0,-1 1 1 0 0,1 0-1 0 0,0 0 0 0 0,0 1 1 0 0,0-1-1 0 0,0 1 0 0 0,0 0 0 0 0,0 1 1 0 0,11-3-1 0 0,-7 2-195 0 0,-1 1-1 0 0,1 0 1 0 0,0 0 0 0 0,0 1-1 0 0,0 0 1 0 0,0 0-1 0 0,0 1 1 0 0,0 1 0 0 0,15 3-1 0 0,-19-3-56 0 0,0 0 0 0 0,0 0-1 0 0,0 0 1 0 0,0 1-1 0 0,-1 0 1 0 0,1 0 0 0 0,-1 0-1 0 0,0 0 1 0 0,0 1-1 0 0,0 0 1 0 0,0-1 0 0 0,4 8-1 0 0,-6-8-14 0 0,0 0-1 0 0,0 0 1 0 0,0 1-1 0 0,-1 0 1 0 0,1-1-1 0 0,-1 1 0 0 0,0 0 1 0 0,0-1-1 0 0,0 1 1 0 0,0 0-1 0 0,-1 0 1 0 0,0 0-1 0 0,0 0 1 0 0,0-1-1 0 0,0 1 1 0 0,0 0-1 0 0,-2 7 1 0 0,-2 2 41 0 0,-1 1 0 0 0,0-1 1 0 0,-1 1-1 0 0,-1-2 0 0 0,0 1 1 0 0,-13 17-1 0 0,6-11 528 0 0,-1 0 0 0 0,-34 32 0 0 0,45-47-403 0 0,0 1 0 0 0,0-1 1 0 0,0 1-1 0 0,-5 8 0 0 0,-1 3 386 0 0,10-16-514 0 0,0 1 0 0 0,0 0 0 0 0,0 0 0 0 0,1 0 1 0 0,-1 0-1 0 0,0-1 0 0 0,0 1 0 0 0,1 0 0 0 0,-1 0 0 0 0,1-1 0 0 0,-1 1 0 0 0,0 0 0 0 0,1-1 0 0 0,0 1 0 0 0,-1 0 0 0 0,1-1 0 0 0,-1 1 0 0 0,1-1 0 0 0,0 1 0 0 0,-1-1 0 0 0,1 1 0 0 0,0-1 0 0 0,-1 1 0 0 0,1-1 0 0 0,0 0 0 0 0,0 1 0 0 0,0-1 0 0 0,-1 0 0 0 0,1 0 0 0 0,2 1 0 0 0,31 2 345 0 0,0-2-1 0 0,49-4 0 0 0,-70 3-368 0 0,115-11-168 0 0,-106 8-2261 0 0,39-12 1 0 0,-46 9-351 0 0</inkml:trace>
</inkml:ink>
</file>

<file path=ppt/ink/ink16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7:41.134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8 2084 0 0,'3'-1'2798'0'0,"30"-5"2599"0"0</inkml:trace>
</inkml:ink>
</file>

<file path=ppt/ink/ink16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7:41.517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73 1348 0 0,'3'-5'447'0'0,"0"-1"-1"0"0,0 1 0 0 0,1 0 1 0 0,0 0-1 0 0,0 0 1 0 0,0 1-1 0 0,0-1 1 0 0,1 1-1 0 0,0 0 1 0 0,0 0-1 0 0,0 1 1 0 0,0-1-1 0 0,10-3 0 0 0,-11 5-342 0 0,0 1-1 0 0,0 0 1 0 0,0 0 0 0 0,0 1-1 0 0,0-1 1 0 0,0 1-1 0 0,0 0 1 0 0,1 0-1 0 0,-1 0 1 0 0,0 0-1 0 0,0 1 1 0 0,0 0-1 0 0,0 0 1 0 0,0 0-1 0 0,0 0 1 0 0,0 1 0 0 0,0-1-1 0 0,0 1 1 0 0,-1 0-1 0 0,1 0 1 0 0,4 4-1 0 0,1 0-36 0 0,-1 1-1 0 0,0 0 1 0 0,0 1-1 0 0,-1 0 1 0 0,0 0-1 0 0,-1 0 1 0 0,1 1 0 0 0,-1 0-1 0 0,-1 0 1 0 0,0 1-1 0 0,0-1 1 0 0,-1 1-1 0 0,0 0 1 0 0,-1 0-1 0 0,4 20 1 0 0,-1 7 363 0 0,-2 0-1 0 0,-2 0 1 0 0,-2 43 0 0 0,0-38 673 0 0,-1-41-1052 0 0,1 0 0 0 0,0 0 0 0 0,0 0 0 0 0,0 0 0 0 0,0 0 0 0 0,0 1 0 0 0,1-1 0 0 0,-1 0 0 0 0,0 0 0 0 0,0 0 0 0 0,1 0 0 0 0,-1 0 0 0 0,1 0 0 0 0,-1 0 0 0 0,1 0 0 0 0,-1 0 0 0 0,1 0 0 0 0,0 0 0 0 0,0 0 0 0 0,-1 0 0 0 0,1 0 0 0 0,0-1 0 0 0,0 1 0 0 0,0 0 0 0 0,0-1 0 0 0,0 1 0 0 0,0 0 0 0 0,0-1 0 0 0,0 1 0 0 0,0-1 0 0 0,0 1 0 0 0,0-1 0 0 0,0 0 0 0 0,0 0 0 0 0,0 1 0 0 0,0-1 0 0 0,2 0 0 0 0,3 0 11 0 0,1 0 0 0 0,-1-1-1 0 0,0 0 1 0 0,0 0 0 0 0,10-4 0 0 0,-12 4-39 0 0,61-16-35 0 0,-38 10-1120 0 0,14-5-1828 0 0,-10-1-3154 0 0,-15 5 2641 0 0</inkml:trace>
</inkml:ink>
</file>

<file path=ppt/ink/ink16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7:41.850"/>
    </inkml:context>
    <inkml:brush xml:id="br0">
      <inkml:brushProperty name="width" value="0.2" units="cm"/>
      <inkml:brushProperty name="height" value="0.2" units="cm"/>
    </inkml:brush>
  </inkml:definitions>
  <inkml:trace contextRef="#ctx0" brushRef="#br0">2 29 2752 0 0,'-2'7'10559'0'0,"84"-22"-9667"0"0,7-1-3019 0 0,-33 11-4209 0 0</inkml:trace>
  <inkml:trace contextRef="#ctx0" brushRef="#br0" timeOffset="1">131 284 1376 0 0,'-27'32'7418'0'0,"9"-6"-3244"0"0,22-27-3496 0 0,23-8-62 0 0,0-1 0 0 0,-1-1 0 0 0,37-23 0 0 0,29-11-1297 0 0,-80 40 170 0 0,11-5-2427 0 0</inkml:trace>
</inkml:ink>
</file>

<file path=ppt/ink/ink16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8:02.575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8 1676 0 0,'1'-8'5910'0'0,"13"37"-4197"0"0,15 47-1 0 0,-13-33-1059 0 0,5 19 208 0 0,20 95 1 0 0,-28-82-591 0 0,4 83 1 0 0,-3-20-1124 0 0,-14-134 589 0 0,1 0 0 0 0,0 0 1 0 0,0 1-1 0 0,0-1 0 0 0,0 0 0 0 0,0 0 1 0 0,1 0-1 0 0,0 0 0 0 0,4 6 0 0 0,1-6-1169 0 0,-6-4 1227 0 0,0 0 1 0 0,0 0-1 0 0,0 1 1 0 0,0-1-1 0 0,0 0 0 0 0,0 0 1 0 0,0 0-1 0 0,0 0 1 0 0,0 0-1 0 0,2-1 0 0 0</inkml:trace>
</inkml:ink>
</file>

<file path=ppt/ink/ink16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8:02.966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6 1604 0 0,'2'-1'254'0'0,"0"0"-1"0"0,0 1 1 0 0,0-1-1 0 0,0 0 1 0 0,1 1-1 0 0,-1-1 1 0 0,0 1-1 0 0,0-1 1 0 0,1 1-1 0 0,-1 0 1 0 0,0 0-1 0 0,1 0 1 0 0,-1 0-1 0 0,0 1 1 0 0,0-1-1 0 0,1 1 1 0 0,-1-1-1 0 0,4 3 1 0 0,-3-2-10 0 0,0 1 1 0 0,0 0 0 0 0,0 0 0 0 0,-1 1 0 0 0,1-1 0 0 0,-1 0 0 0 0,0 1-1 0 0,0 0 1 0 0,0-1 0 0 0,0 1 0 0 0,3 5 0 0 0,2 8 342 0 0,-1-1 0 0 0,0 1 0 0 0,-1 1 0 0 0,3 20-1 0 0,-4-20-75 0 0,11 47 44 0 0,-3 1 0 0 0,-3 0 0 0 0,-3 0 0 0 0,-2 1 0 0 0,-7 82 0 0 0,2-136-1165 0 0,-1 1 0 0 0,-5 22-1 0 0,6-31-76 0 0,-1 1 0 0 0,0-1-1 0 0,0 0 1 0 0,0 0-1 0 0,0 0 1 0 0,0 0 0 0 0,-1 0-1 0 0,0-1 1 0 0,1 1-1 0 0,-6 4 1 0 0</inkml:trace>
</inkml:ink>
</file>

<file path=ppt/ink/ink16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8:03.311"/>
    </inkml:context>
    <inkml:brush xml:id="br0">
      <inkml:brushProperty name="width" value="0.2" units="cm"/>
      <inkml:brushProperty name="height" value="0.2" units="cm"/>
    </inkml:brush>
  </inkml:definitions>
  <inkml:trace contextRef="#ctx0" brushRef="#br0">48 39 996 0 0,'-9'-8'3412'0'0,"-2"-1"-1127"0"0,0 1-637 0 0,3 2-276 0 0,-1-2-844 0 0,29 12-2432 0 0,12 0-1637 0 0,-10-2 1149 0 0</inkml:trace>
  <inkml:trace contextRef="#ctx0" brushRef="#br0" timeOffset="1">520 99 584 0 0,'19'6'1964'0'0,"-1"0"-444"0"0,-3-2 1325 0 0,6 4-285 0 0,-1-3-396 0 0,-1-1-80 0 0,-2 2-1660 0 0,-1-4-1952 0 0</inkml:trace>
</inkml:ink>
</file>

<file path=ppt/ink/ink16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8:59.239"/>
    </inkml:context>
    <inkml:brush xml:id="br0">
      <inkml:brushProperty name="width" value="0.2" units="cm"/>
      <inkml:brushProperty name="height" value="0.2" units="cm"/>
    </inkml:brush>
  </inkml:definitions>
  <inkml:trace contextRef="#ctx0" brushRef="#br0">56 24 1276 0 0,'-3'-1'1491'0'0,"-50"-19"5600"0"0,224 18-5605 0 0,1414 71-424 0 0,-297-38-852 0 0,-1005-29-187 0 0,1788 30-116 0 0,-1457-10-7 0 0,329 4 581 0 0,-520-36 4240 0 0,-419 10-4971 0 0,16-1-1365 0 0</inkml:trace>
</inkml:ink>
</file>

<file path=ppt/ink/ink16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9:06.635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2808 1192 0 0,'0'0'3812'0'0,"2"1"-3445"0"0,88 30 1983 0 0,-24-11-1373 0 0,-1-3-1 0 0,86 10 1 0 0,-101-21-605 0 0,-1-3-1 0 0,1-2 1 0 0,91-10-1 0 0,-35-7-63 0 0,0-5 1 0 0,-2-4-1 0 0,196-75 0 0 0,-249 77-227 0 0,0-2 0 0 0,-2-3 0 0 0,-1-1 0 0 0,-1-2 0 0 0,-2-3 0 0 0,-1-1 1 0 0,-1-3-1 0 0,-3-1 0 0 0,-1-1 0 0 0,36-51 0 0 0,272-382 245 0 0,25-65-421 0 0,-263 369 133 0 0,-56 81-10 0 0,118-146 1 0 0,-110 166-41 0 0,2 4 0 0 0,4 2-1 0 0,1 3 1 0 0,4 3 0 0 0,1 4 0 0 0,95-51 0 0 0,176-63-104 0 0,-267 136 77 0 0,2 3-1 0 0,131-26 1 0 0,417-27-63 0 0,-473 73 56 0 0,0 7 0 0 0,168 22 1 0 0,84 45 16 0 0,-313-44 20 0 0,0 4 0 0 0,110 47-1 0 0,-85-19 36 0 0,-4 5 0 0 0,-2 5 0 0 0,-2 4-1 0 0,-5 6 1 0 0,176 158 0 0 0,-81-21 6 0 0,-109-111-21 0 0,7 7 33 0 0,163 163 260 0 0,-63-76-182 0 0,96 132-190 0 0,-163-179 39 0 0,124 182 1 0 0,-220-283 46 0 0,3-2 0 0 0,1-1 1 0 0,55 47-1 0 0,-68-69 6 0 0,1-2 0 0 0,1-1 0 0 0,0 0 1 0 0,1-2-1 0 0,1-2 0 0 0,1-1 0 0 0,61 20 1 0 0,-14-13 27 0 0,1-3 0 0 0,88 8 0 0 0,-143-24 48 0 0,-1-1-1 0 0,29-3 1 0 0,-29 1-1450 0 0,32 3-1 0 0</inkml:trace>
</inkml:ink>
</file>

<file path=ppt/ink/ink1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57.42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12030,'34'10'270,"-1"-1"-1439,-10-9-2609,1 1 3778,-1-2 0,-11 1 0,-3-1 0</inkml:trace>
</inkml:ink>
</file>

<file path=ppt/ink/ink16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9:11.552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2 252 0 0,'0'0'4494'0'0,"2"0"-4348"0"0,19-1 210 0 0,33 4-1 0 0,-12-1-163 0 0,310 16 662 0 0,-72-3-636 0 0,-113-3-57 0 0,-59-3-52 0 0,399 30 853 0 0,-415-37-610 0 0,-88-2-289 0 0,0 0 6 0 0,11 2 13 0 0,-11-2-14 0 0,0 0 27 0 0,48-2 636 0 0,-49 2-600 0 0,0 0-91 0 0,12 0-3 0 0,-12 0 45 0 0,0 0-111 0 0,28-2 149 0 0,-28 2-108 0 0,1 0-22 0 0,42-4 36 0 0,12 4-80 0 0,-36 2 39 0 0,36 0 20 0 0,38 2-34 0 0,-93-4 23 0 0,1 0 21 0 0,33 2 6 0 0,-33-2-8 0 0,-1 0-33 0 0,10 1 3 0 0,-10 0-82 0 0</inkml:trace>
</inkml:ink>
</file>

<file path=ppt/ink/ink16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9:13.664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45 300 0 0,'0'0'683'0'0,"5"-12"1324"0"0,-3-19 1084 0 0,-2 29-3087 0 0,2 16 247 0 0,41 158 2261 0 0,-2-10-1977 0 0,1 137 502 0 0,-9 100-123 0 0,-25-60-165 0 0,-9-217-440 0 0,1 126-46 0 0,2 192-21 0 0,-4-226-165 0 0,-10 25-28 0 0,2-109 63 0 0,9-100-125 0 0,-13 323 130 0 0,21-82 596 0 0,-5-211-221 0 0,0-28-238 0 0,-2 0 1 0 0,-6 55-1 0 0,6-55-108 0 0,-2-13 278 0 0,0-8-1707 0 0</inkml:trace>
</inkml:ink>
</file>

<file path=ppt/ink/ink16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9:21.733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56 51 536 0 0,'0'0'1894'0'0,"2"-12"398"0"0,-4 6-1744 0 0,1 0 0 0 0,-1 0 0 0 0,0 0-1 0 0,-3-7 1 0 0,4 11-526 0 0,-1 15-259 0 0,-21 311 1730 0 0,22 3-762 0 0,1-7 169 0 0,-19-33 46 0 0,2-36-450 0 0,1 347 356 0 0,10-454-305 0 0,-3 135 76 0 0,-1 61 198 0 0,-1-149 105 0 0,8-146-261 0 0,-13 77 1 0 0,9-84-354 0 0,3 11 913 0 0,4-47-1218 0 0</inkml:trace>
</inkml:ink>
</file>

<file path=ppt/ink/ink16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9:23.346"/>
    </inkml:context>
    <inkml:brush xml:id="br0">
      <inkml:brushProperty name="width" value="0.2" units="cm"/>
      <inkml:brushProperty name="height" value="0.2" units="cm"/>
    </inkml:brush>
  </inkml:definitions>
  <inkml:trace contextRef="#ctx0" brushRef="#br0">350 68 580 0 0,'-1'-2'917'0'0,"-2"-2"-532"0"0,1-1-11 0 0,-1 1 1 0 0,1 0 0 0 0,-1 0 0 0 0,0 1 0 0 0,0-1 0 0 0,0 0 0 0 0,0 1 0 0 0,-1 0 0 0 0,-6-5 0 0 0,4 5-200 0 0,0 0 0 0 0,0 0 0 0 0,0 1-1 0 0,0 0 1 0 0,-1 0 0 0 0,1 1 0 0 0,-1-1 0 0 0,1 1-1 0 0,-1 1 1 0 0,1-1 0 0 0,-1 1 0 0 0,0 0 0 0 0,1 1-1 0 0,-1 0 1 0 0,1 0 0 0 0,-1 0 0 0 0,-7 3-1 0 0,-2 2 52 0 0,1 1 0 0 0,0 0 0 0 0,0 1-1 0 0,1 1 1 0 0,-21 15 0 0 0,27-18-125 0 0,1 1 0 0 0,-1 0 1 0 0,1 0-1 0 0,1 1 0 0 0,-1-1 1 0 0,2 2-1 0 0,-1-1 0 0 0,1 1 1 0 0,0-1-1 0 0,-4 12 0 0 0,8-18-82 0 0,0 0 0 0 0,1-1-1 0 0,-1 1 1 0 0,1-1-1 0 0,0 1 1 0 0,0 0 0 0 0,-1-1-1 0 0,1 1 1 0 0,0 0-1 0 0,0-1 1 0 0,1 1 0 0 0,-1 0-1 0 0,0-1 1 0 0,0 1 0 0 0,1 0-1 0 0,-1-1 1 0 0,1 1-1 0 0,0-1 1 0 0,-1 1 0 0 0,2 1-1 0 0,0-1 3 0 0,0 1 1 0 0,0-1-1 0 0,0 0 0 0 0,0 0 0 0 0,0 0 0 0 0,1 0 0 0 0,-1 0 1 0 0,1-1-1 0 0,-1 1 0 0 0,5 1 0 0 0,2 1 16 0 0,1 0 0 0 0,0-1 0 0 0,0-1-1 0 0,0 1 1 0 0,13 0 0 0 0,-5-2-32 0 0,0 0-1 0 0,1-1 1 0 0,-1-1-1 0 0,0-1 0 0 0,0-1 1 0 0,21-5-1 0 0,-32 6 6 0 0,0 0-1 0 0,0-1 0 0 0,0 0 1 0 0,0 0-1 0 0,-1-1 1 0 0,1 0-1 0 0,-1 0 0 0 0,0 0 1 0 0,8-8-1 0 0,-12 10-5 0 0,0-1-1 0 0,0 1 1 0 0,-1 0-1 0 0,1 0 1 0 0,0-1-1 0 0,-1 1 1 0 0,0-1 0 0 0,0 1-1 0 0,0-1 1 0 0,0 0-1 0 0,0 0 1 0 0,0 1 0 0 0,0-1-1 0 0,-1 0 1 0 0,0 0-1 0 0,1 0 1 0 0,-1 1 0 0 0,0-1-1 0 0,0 0 1 0 0,-1 0-1 0 0,1 0 1 0 0,-1 0 0 0 0,1 1-1 0 0,-1-1 1 0 0,0 0-1 0 0,0 1 1 0 0,-2-4-1 0 0,1 1-11 0 0,-1 0-1 0 0,-1 0 0 0 0,1 0 0 0 0,-1 0 0 0 0,0 0 0 0 0,0 1 0 0 0,-1 0 0 0 0,1 0 0 0 0,-1 0 0 0 0,0 1 0 0 0,-7-5 0 0 0,5 4-644 0 0,1 0 0 0 0,-2 1 0 0 0,1 0 1 0 0,-13-4-1 0 0,2 9-1788 0 0</inkml:trace>
</inkml:ink>
</file>

<file path=ppt/ink/ink16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9:23.733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38 1636 0 0,'2'-1'3668'0'0,"0"1"-3363"0"0,0-1-1 0 0,0 0 1 0 0,0 0 0 0 0,-1-1 0 0 0,1 1 0 0 0,-1 0-1 0 0,1 0 1 0 0,-1-1 0 0 0,1 1 0 0 0,-1-1 0 0 0,0 1-1 0 0,0-1 1 0 0,3-4 525 0 0,-3 4-1064 0 0,0 1 0 0 0,1-1 0 0 0,-1 1 0 0 0,1-1 0 0 0,-1 1 0 0 0,1 0 0 0 0,-1 0 0 0 0,4-2 0 0 0,-2 8-416 0 0</inkml:trace>
</inkml:ink>
</file>

<file path=ppt/ink/ink16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9:24.121"/>
    </inkml:context>
    <inkml:brush xml:id="br0">
      <inkml:brushProperty name="width" value="0.2" units="cm"/>
      <inkml:brushProperty name="height" value="0.2" units="cm"/>
    </inkml:brush>
  </inkml:definitions>
  <inkml:trace contextRef="#ctx0" brushRef="#br0">50 0 876 0 0,'4'1'2163'0'0,"-2"-1"-1965"0"0,1 1 1 0 0,0 0-1 0 0,-1 0 0 0 0,1 0 0 0 0,-1 0 1 0 0,1 0-1 0 0,-1 1 0 0 0,0-1 1 0 0,1 1-1 0 0,-1-1 0 0 0,0 1 0 0 0,0 0 1 0 0,0 0-1 0 0,0 0 0 0 0,0 0 1 0 0,2 3-1 0 0,-2 0-46 0 0,0-1-1 0 0,0 0 1 0 0,0 0 0 0 0,0 1 0 0 0,-1-1 0 0 0,1 1-1 0 0,-1-1 1 0 0,0 1 0 0 0,-1 0 0 0 0,1 4-1 0 0,-1 6 52 0 0,0-1-1 0 0,-1 1 0 0 0,-1-1 1 0 0,0 1-1 0 0,-1-1 0 0 0,-1 0 1 0 0,-7 19-1 0 0,-46 93 514 0 0,48-109-592 0 0,-11 24 1082 0 0,19-39-980 0 0,2-1-198 0 0,0-1 0 0 0,0 1 1 0 0,0-1-1 0 0,0 1 0 0 0,0-1 1 0 0,0 1-1 0 0,0-1 0 0 0,0 0 1 0 0,0 0-1 0 0,0 1 0 0 0,3-1 1 0 0,24-10-483 0 0,0 1 0 0 0,39-6 1 0 0,-16 4-3365 0 0,-31 3 501 0 0,-7 2 1907 0 0</inkml:trace>
</inkml:ink>
</file>

<file path=ppt/ink/ink16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9:24.479"/>
    </inkml:context>
    <inkml:brush xml:id="br0">
      <inkml:brushProperty name="width" value="0.2" units="cm"/>
      <inkml:brushProperty name="height" value="0.2" units="cm"/>
    </inkml:brush>
  </inkml:definitions>
  <inkml:trace contextRef="#ctx0" brushRef="#br0">98 24 1052 0 0,'1'-2'1218'0'0,"-5"-20"3282"0"0,4 22-4434 0 0,-2 1 65 0 0,0 0 0 0 0,0-1 0 0 0,0 1 0 0 0,0 0 0 0 0,0 0 0 0 0,0 1 0 0 0,1-1 0 0 0,-1 0 0 0 0,0 0 0 0 0,1 1 0 0 0,-3 2 0 0 0,-4 5 100 0 0,1 0 0 0 0,0 0-1 0 0,1 1 1 0 0,-1 0 0 0 0,2 0 0 0 0,0 0-1 0 0,0 1 1 0 0,0 0 0 0 0,-4 22 0 0 0,7-26-185 0 0,0 1 1 0 0,1 0 0 0 0,0-1-1 0 0,1 1 1 0 0,-1 0-1 0 0,2 0 1 0 0,-1 0 0 0 0,1 0-1 0 0,0-1 1 0 0,1 1 0 0 0,0 0-1 0 0,0-1 1 0 0,0 1-1 0 0,1-1 1 0 0,6 11 0 0 0,-7-15-30 0 0,0 0 1 0 0,0 0 0 0 0,1 0-1 0 0,-1 0 1 0 0,1 0-1 0 0,0-1 1 0 0,0 1 0 0 0,0-1-1 0 0,0 0 1 0 0,0 0 0 0 0,0 0-1 0 0,1 0 1 0 0,-1 0-1 0 0,1-1 1 0 0,-1 1 0 0 0,1-1-1 0 0,-1 0 1 0 0,1 0 0 0 0,0-1-1 0 0,0 1 1 0 0,-1-1-1 0 0,1 0 1 0 0,0 0 0 0 0,0 0-1 0 0,0 0 1 0 0,0-1-1 0 0,5 0 1 0 0,-6 0-6 0 0,-1 0 0 0 0,1 0 0 0 0,0-1-1 0 0,-1 1 1 0 0,1-1 0 0 0,-1 1 0 0 0,0-1 0 0 0,1 0 0 0 0,3-3-1 0 0,-1 1-10 0 0,-4 1-15 0 0,0 1-1 0 0,1 0 1 0 0,-1-1 0 0 0,0 1 0 0 0,0 0 0 0 0,0-1-1 0 0,0 0 1 0 0,-1 1 0 0 0,1-1 0 0 0,-1 1 0 0 0,1-1-1 0 0,-1 0 1 0 0,0 1 0 0 0,0-1 0 0 0,0 0 0 0 0,0 1 0 0 0,-1-1-1 0 0,1 0 1 0 0,-1 1 0 0 0,-1-4 0 0 0,1 4-69 0 0,0-1 0 0 0,0 1 1 0 0,0 0-1 0 0,-1 0 0 0 0,1 0 1 0 0,-1 0-1 0 0,1 1 0 0 0,-1-1 0 0 0,0 0 1 0 0,0 1-1 0 0,0-1 0 0 0,0 1 1 0 0,0-1-1 0 0,0 1 0 0 0,-4-1 0 0 0,0-1-1007 0 0,-1 2 0 0 0,1-1 0 0 0,-1 1-1 0 0,-12-1 1 0 0</inkml:trace>
</inkml:ink>
</file>

<file path=ppt/ink/ink16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9:27.533"/>
    </inkml:context>
    <inkml:brush xml:id="br0">
      <inkml:brushProperty name="width" value="0.2" units="cm"/>
      <inkml:brushProperty name="height" value="0.2" units="cm"/>
    </inkml:brush>
  </inkml:definitions>
  <inkml:trace contextRef="#ctx0" brushRef="#br0">41 24 268 0 0,'-12'-19'5339'0'0,"7"15"-4825"0"0,4 4-485 0 0,0 1-1 0 0,0 1 1 0 0,-1-1-1 0 0,1 0 1 0 0,1 0-1 0 0,-1 0 1 0 0,0 0-1 0 0,0 1 1 0 0,0-1-1 0 0,1 0 1 0 0,-1 1 0 0 0,1-1-1 0 0,-1 1 1 0 0,1-1-1 0 0,-1 1 1 0 0,1 1-1 0 0,-4 32 417 0 0,3-15-187 0 0,-4 51 701 0 0,5 87 0 0 0,1-62-490 0 0,24 238 881 0 0,-13-228-1030 0 0,3 42-39 0 0,37 480 596 0 0,-39-484-660 0 0,-2-20-119 0 0,-5 218 1022 0 0,-12-128 148 0 0,3-160-1054 0 0,-3 79 240 0 0,-3-11-129 0 0,1-6-91 0 0,3 13-201 0 0,6-105 16 0 0,5 36 1 0 0,-6-58-7 0 0,0 6 433 0 0,0-4-1237 0 0</inkml:trace>
</inkml:ink>
</file>

<file path=ppt/ink/ink16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9:28.130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77 12 616 0 0,'-7'-9'3012'0'0,"5"8"-2835"0"0,-2 0 60 0 0,0 1 1 0 0,0-1-1 0 0,-1 1 0 0 0,1 0 1 0 0,0 0-1 0 0,0 1 0 0 0,0-1 0 0 0,0 1 1 0 0,0 0-1 0 0,0 0 0 0 0,-7 3 1 0 0,4 0-34 0 0,0-1 1 0 0,0 2 0 0 0,1-1 0 0 0,0 1 0 0 0,0 0-1 0 0,0 0 1 0 0,1 1 0 0 0,0-1 0 0 0,0 1 0 0 0,-8 12-1 0 0,11-15-152 0 0,1-1 0 0 0,0 1 0 0 0,-1 0 0 0 0,1 0 0 0 0,0 0-1 0 0,0 0 1 0 0,0 0 0 0 0,1 0 0 0 0,-1 0 0 0 0,1 1-1 0 0,0-1 1 0 0,0 0 0 0 0,0 0 0 0 0,0 0 0 0 0,0 0-1 0 0,1 0 1 0 0,-1 1 0 0 0,1-1 0 0 0,0 0 0 0 0,0 0 0 0 0,0 0-1 0 0,1-1 1 0 0,-1 1 0 0 0,0 0 0 0 0,1 0 0 0 0,0-1-1 0 0,0 1 1 0 0,0-1 0 0 0,0 1 0 0 0,4 3 0 0 0,0 1 2 0 0,-2-4-22 0 0,-1 0 1 0 0,0 1 0 0 0,1-1 0 0 0,-1-1-1 0 0,1 1 1 0 0,0-1 0 0 0,0 1-1 0 0,0-1 1 0 0,0 0 0 0 0,1 0 0 0 0,4 1-1 0 0,-5-2-13 0 0,0 1-1 0 0,0-1 0 0 0,0 1 0 0 0,0-1 0 0 0,0-1 1 0 0,1 1-1 0 0,-1-1 0 0 0,0 1 0 0 0,0-1 0 0 0,1 0 1 0 0,-1-1-1 0 0,0 1 0 0 0,1-1 0 0 0,-1 0 0 0 0,0 0 1 0 0,0 0-1 0 0,0 0 0 0 0,0-1 0 0 0,0 1 1 0 0,0-1-1 0 0,0 0 0 0 0,-1-1 0 0 0,1 1 0 0 0,-1-1 1 0 0,1 1-1 0 0,-1-1 0 0 0,0 0 0 0 0,4-5 0 0 0,-6 6-16 0 0,0 1-1 0 0,-1-1 0 0 0,1 0 0 0 0,-1 0 0 0 0,1 1 0 0 0,-1-1 0 0 0,0 0 0 0 0,0 0 0 0 0,1 0 1 0 0,-1 1-1 0 0,0-1 0 0 0,-1 0 0 0 0,1 0 0 0 0,0 0 0 0 0,-1 1 0 0 0,1-1 0 0 0,0 0 0 0 0,-2-2 1 0 0,1 1 10 0 0,-1-1 1 0 0,1 1-1 0 0,-1 0 1 0 0,1 0 0 0 0,-1 0-1 0 0,0 0 1 0 0,-4-5-1 0 0,-6-3-64 0 0,-1 1 0 0 0,0 0 0 0 0,0 1 0 0 0,0 0 0 0 0,-1 1 0 0 0,-1 0 0 0 0,1 2 0 0 0,-22-8 0 0 0,20 9-2086 0 0,1 1-1 0 0,-22-2 0 0 0</inkml:trace>
</inkml:ink>
</file>

<file path=ppt/ink/ink16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9:28.536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84 1220 0 0,'21'-15'5642'0'0,"26"-52"-18"0"0,-46 66-5668 0 0</inkml:trace>
</inkml:ink>
</file>

<file path=ppt/ink/ink1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57.58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1 1 13020,'-10'17'2338,"10"-3"-2248,17-11-180,7-2-180,-3-1-179,3-1-181,1 0-269,1-1-181,2 0-899,0-1-719,2-1 2698,-1 0 0,3-2 0,0 0 0</inkml:trace>
</inkml:ink>
</file>

<file path=ppt/ink/ink16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9:28.910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1 800 0 0,'4'-1'243'0'0,"0"1"-1"0"0,0 0 1 0 0,1 0-1 0 0,-1 1 1 0 0,0-1-1 0 0,0 1 1 0 0,0 0-1 0 0,0 0 1 0 0,0 0-1 0 0,0 0 1 0 0,0 1-1 0 0,0 0 1 0 0,-1-1-1 0 0,1 1 1 0 0,-1 1-1 0 0,1-1 1 0 0,-1 1-1 0 0,0-1 1 0 0,0 1-1 0 0,4 3 1 0 0,-3-1-97 0 0,-1 0 0 0 0,1 0 0 0 0,-1 0 0 0 0,1 0 0 0 0,-1 1 0 0 0,-1-1 1 0 0,1 1-1 0 0,-1-1 0 0 0,0 1 0 0 0,0 0 0 0 0,-1 0 0 0 0,0 0 0 0 0,1 8 0 0 0,-2 0 43 0 0,0-1 0 0 0,-1 1 0 0 0,0-1-1 0 0,-7 27 1 0 0,3-19 9 0 0,4-14-155 0 0,0-3-14 0 0,0 0 1 0 0,0-1 0 0 0,0 1-1 0 0,1 0 1 0 0,-1 0-1 0 0,1 1 1 0 0,0-1-1 0 0,0 0 1 0 0,0 0-1 0 0,1 0 1 0 0,0 0-1 0 0,2 7 1 0 0,0-9-31 0 0,0 1 0 0 0,1-1 0 0 0,-1 0 0 0 0,1 0 0 0 0,0 0 0 0 0,-1-1 0 0 0,1 1 0 0 0,0-1 0 0 0,0 0 0 0 0,0 0 0 0 0,7 1 0 0 0,-10-2 0 0 0,13 3-41 0 0,0 0 0 0 0,-1 2 0 0 0,1-1 0 0 0,-1 2 1 0 0,17 9-1 0 0,-26-13 56 0 0,0 0 1 0 0,-1 0-1 0 0,1 0 1 0 0,-1 1-1 0 0,1-1 1 0 0,-1 1-1 0 0,0 0 1 0 0,0 0-1 0 0,0 0 0 0 0,0 0 1 0 0,-1 1-1 0 0,1-1 1 0 0,-1 1-1 0 0,0-1 1 0 0,0 1-1 0 0,0 0 1 0 0,-1 0-1 0 0,1 0 1 0 0,-1 0-1 0 0,0 0 0 0 0,1 8 1 0 0,-2-7 28 0 0,-1-1 0 0 0,0 0 1 0 0,0 0-1 0 0,0 0 0 0 0,-1 0 0 0 0,1 0 0 0 0,-1 0 1 0 0,0 0-1 0 0,0 0 0 0 0,0-1 0 0 0,-1 1 1 0 0,1-1-1 0 0,-1 1 0 0 0,0-1 0 0 0,0 0 1 0 0,0 0-1 0 0,0 0 0 0 0,-1-1 0 0 0,1 1 0 0 0,-5 2 1 0 0,-3 2 11 0 0,-1 0-1 0 0,0-1 1 0 0,0-1 0 0 0,0 1 0 0 0,-16 3 0 0 0,-14-1-1265 0 0,39-7 806 0 0,0-1-1 0 0,0 0 1 0 0,0 1 0 0 0,0-1-1 0 0,0-1 1 0 0,0 1 0 0 0,0 0-1 0 0,0-1 1 0 0,0 1-1 0 0,0-1 1 0 0,-5-2 0 0 0,-4-5-1928 0 0</inkml:trace>
</inkml:ink>
</file>

<file path=ppt/ink/ink16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9:29.248"/>
    </inkml:context>
    <inkml:brush xml:id="br0">
      <inkml:brushProperty name="width" value="0.2" units="cm"/>
      <inkml:brushProperty name="height" value="0.2" units="cm"/>
    </inkml:brush>
  </inkml:definitions>
  <inkml:trace contextRef="#ctx0" brushRef="#br0">380 2 672 0 0,'3'0'380'0'0,"-1"-1"1"0"0,0 1-1 0 0,1 0 1 0 0,-1 0-1 0 0,0 0 0 0 0,1 0 1 0 0,-1 0-1 0 0,1 0 1 0 0,-1 1-1 0 0,0-1 0 0 0,1 1 1 0 0,5 2 768 0 0,-10 27 1190 0 0,-4 28-993 0 0,-10 59-409 0 0,15-112-936 0 0,-3 14-882 0 0,0-1 0 0 0,-1 1 0 0 0,-10 22 0 0 0</inkml:trace>
  <inkml:trace contextRef="#ctx0" brushRef="#br0" timeOffset="1">281 53 496 0 0,'-9'-10'3218'0'0,"8"10"-3089"0"0,-9 1 240 0 0,0 0-1 0 0,0 1 1 0 0,0 1-1 0 0,0-1 1 0 0,0 1-1 0 0,1 1 1 0 0,0 0-1 0 0,-16 9 1 0 0,-74 50 1189 0 0,89-56-1415 0 0,-46 34 620 0 0,54-39-464 0 0,5 2 41 0 0,-3-4-332 0 0,0 0 0 0 0,0 1 0 0 0,0-1 0 0 0,0 0 0 0 0,1 1 0 0 0,-1-1 0 0 0,0 0 0 0 0,0 1-1 0 0,0-1 1 0 0,1 0 0 0 0,-1 1 0 0 0,0-1 0 0 0,1 0 0 0 0,-1 0 0 0 0,0 0 0 0 0,0 1 0 0 0,1-1-1 0 0,-1 0 1 0 0,0 0 0 0 0,1 0 0 0 0,-1 0 0 0 0,1 1 0 0 0,-1-1 0 0 0,0 0 0 0 0,1 0 0 0 0,-1 0 0 0 0,0 0-1 0 0,1 0 1 0 0,-1 0 0 0 0,1 0 0 0 0,-1 0 0 0 0,0 0 0 0 0,1 0 0 0 0,-1 0 0 0 0,1-1 0 0 0,194-11 365 0 0,14-1-403 0 0,-202 13-206 0 0,30 0-469 0 0,-34 0 296 0 0,0 1 1 0 0,-1-1 0 0 0,1 0-1 0 0,0 1 1 0 0,-1-1 0 0 0,1 1-1 0 0,0 0 1 0 0,-1 0 0 0 0,1 0-1 0 0,3 2 1 0 0</inkml:trace>
</inkml:ink>
</file>

<file path=ppt/ink/ink16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3:52.491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6 53 108 0 0,'-8'12'3312'0'0,"6"-2"-2788"0"0,0 0 0 0 0,1 0 0 0 0,-1 0-1 0 0,2 0 1 0 0,0 0 0 0 0,0 0 0 0 0,1 1 0 0 0,0-1-1 0 0,0 0 1 0 0,1 0 0 0 0,1 0 0 0 0,0-1 0 0 0,0 1-1 0 0,9 16 1 0 0,-6-13-289 0 0,0-1-1 0 0,1 0 1 0 0,1 0-1 0 0,0-1 1 0 0,1 0 0 0 0,0 0-1 0 0,1-1 1 0 0,0 0-1 0 0,0-1 1 0 0,19 13-1 0 0,-24-19-173 0 0,0 1 0 0 0,1-1 0 0 0,0 0 1 0 0,0-1-1 0 0,0 1 0 0 0,0-1 0 0 0,0 0 0 0 0,0-1 0 0 0,1 1 0 0 0,-1-1 0 0 0,1 0 0 0 0,-1-1 0 0 0,0 0 0 0 0,1 0 0 0 0,-1 0 0 0 0,1-1 0 0 0,-1 0 0 0 0,1 0 0 0 0,-1 0 1 0 0,0-1-1 0 0,0 0 0 0 0,0 0 0 0 0,0-1 0 0 0,0 0 0 0 0,0 0 0 0 0,0 0 0 0 0,-1-1 0 0 0,0 1 0 0 0,0-1 0 0 0,0-1 0 0 0,0 1 0 0 0,0-1 0 0 0,7-9 0 0 0,10-18-78 0 0,-2 0-1 0 0,0-1 1 0 0,-3-1-1 0 0,22-57 1 0 0,-23 54-48 0 0,-7 14-45 0 0,-8 20 81 0 0,-2 4 18 0 0,0-1 15 0 0,1 0 0 0 0,-1 1-1 0 0,0-1 1 0 0,0 1 0 0 0,0 0 0 0 0,1-1 0 0 0,-1 1 0 0 0,0 0 0 0 0,1-1 0 0 0,-1 1 0 0 0,0 0 0 0 0,1 0 0 0 0,-1-1 0 0 0,1 1-1 0 0,-1 0 1 0 0,1 0 0 0 0,0 0 0 0 0,-1 0 0 0 0,1 0 0 0 0,0 0 0 0 0,-1 0 0 0 0,1 0 0 0 0,0 0 0 0 0,0 0 0 0 0,0 1 0 0 0,-3 26 153 0 0,4-20-84 0 0,0 0 1 0 0,0 0-1 0 0,1 0 0 0 0,0 0 0 0 0,0 0 1 0 0,1-1-1 0 0,0 1 0 0 0,0-1 0 0 0,1 0 1 0 0,0 0-1 0 0,1 0 0 0 0,-1 0 0 0 0,10 9 1 0 0,-7-7-4 0 0,1-1-1 0 0,0 0 1 0 0,1 0 0 0 0,0 0 0 0 0,0-2 0 0 0,1 1 0 0 0,0-1 0 0 0,20 9 0 0 0,-24-12-85 0 0,-1-1 0 0 0,1 0 1 0 0,0 0-1 0 0,1 0 0 0 0,-1-1 0 0 0,0 0 1 0 0,0 0-1 0 0,1-1 0 0 0,-1 1 0 0 0,0-1 0 0 0,1-1 1 0 0,-1 1-1 0 0,0-1 0 0 0,0 0 0 0 0,0-1 1 0 0,1 0-1 0 0,-1 0 0 0 0,0 0 0 0 0,-1 0 1 0 0,1-1-1 0 0,0 0 0 0 0,-1 0 0 0 0,0-1 0 0 0,1 1 1 0 0,-2-1-1 0 0,1 0 0 0 0,0-1 0 0 0,-1 1 1 0 0,1-1-1 0 0,-1 0 0 0 0,-1 0 0 0 0,4-6 1 0 0,5-9-182 0 0,-2-1 1 0 0,-1-1 0 0 0,0 0 0 0 0,8-35 0 0 0,6-14 116 0 0,-20 58 76 0 0,-10 18 234 0 0,-8 21 216 0 0,7-2-75 0 0,1 1 0 0 0,2-1 1 0 0,1 2-1 0 0,1-1 0 0 0,0 27 1 0 0,10 126 1107 0 0,-2-92-1173 0 0,-2-39-126 0 0,0 4-454 0 0,-2-17-3262 0 0</inkml:trace>
</inkml:ink>
</file>

<file path=ppt/ink/ink16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3:53.331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6 2076 0 0,'0'0'5173'0'0,"4"0"-4609"0"0,40-4 584 0 0,47 3 0 0 0,-66 2-1848 0 0,1 1 0 0 0,-1 1 0 0 0,36 10 0 0 0,-55-11 117 0 0,0 0 1 0 0,-1 0-1 0 0,1 0 1 0 0,-1 1-1 0 0,7 4 1 0 0</inkml:trace>
</inkml:ink>
</file>

<file path=ppt/ink/ink16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3:53.718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24 1 120 0 0,'-112'53'8481'0'0,"101"-45"-7029"0"0,11-7-1415 0 0,0-1 0 0 0,0 0 0 0 0,0 0 1 0 0,0 1-1 0 0,0-1 0 0 0,0 0 0 0 0,0 0 0 0 0,0 1 0 0 0,1-1 1 0 0,-1 0-1 0 0,0 0 0 0 0,0 1 0 0 0,0-1 0 0 0,0 0 1 0 0,0 0-1 0 0,1 0 0 0 0,-1 0 0 0 0,0 1 0 0 0,0-1 1 0 0,0 0-1 0 0,1 0 0 0 0,-1 0 0 0 0,0 0 0 0 0,0 0 1 0 0,0 1-1 0 0,1-1 0 0 0,-1 0 0 0 0,0 0 0 0 0,0 0 1 0 0,1 0-1 0 0,-1 0 0 0 0,34 5 991 0 0,133-1-524 0 0,-55-11-4910 0 0,-92 4 1685 0 0,-4-1-523 0 0</inkml:trace>
</inkml:ink>
</file>

<file path=ppt/ink/ink16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3:54.099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16 348 0 0,'20'-15'7079'0'0,"-19"15"-6892"0"0,-6 37 1762 0 0,3-31-1798 0 0,1 0 0 0 0,-1 0 0 0 0,2 1 0 0 0,-1-1 0 0 0,1 0 0 0 0,0 1 1 0 0,1 8-1 0 0,3 3 72 0 0,0 0 0 0 0,2-1 1 0 0,0 0-1 0 0,1 0 0 0 0,17 29 1 0 0,-18-34-160 0 0,2-1 0 0 0,0-1 0 0 0,0 0 0 0 0,1 0 0 0 0,0 0 0 0 0,0-1 0 0 0,1 0 0 0 0,20 12 0 0 0,-27-19-19 0 0,-1 0 0 0 0,1 0 0 0 0,0-1 0 0 0,0 1 0 0 0,0-1 0 0 0,0 0 0 0 0,0 0 0 0 0,0 0 0 0 0,0 0 0 0 0,0-1 0 0 0,1 1 0 0 0,-1-1 0 0 0,0 0 0 0 0,0 0 0 0 0,0 0 0 0 0,1 0 0 0 0,-1 0 0 0 0,0-1 0 0 0,0 1 0 0 0,0-1 0 0 0,1 0 0 0 0,-1 0-1 0 0,0 0 1 0 0,0-1 0 0 0,3-1 0 0 0,-1-1 2 0 0,-1 0-1 0 0,1 0 0 0 0,-1 0 1 0 0,0 0-1 0 0,0-1 0 0 0,0 0 1 0 0,-1 1-1 0 0,1-1 1 0 0,-1-1-1 0 0,0 1 0 0 0,-1 0 1 0 0,4-10-1 0 0,-3 7-16 0 0,-1-1 1 0 0,1 1-1 0 0,-2-1 0 0 0,1 1 0 0 0,-1-1 1 0 0,0 1-1 0 0,-1-1 0 0 0,0 0 0 0 0,-2-13 1 0 0,1 18-22 0 0,0-1 0 0 0,0 0 0 0 0,0 1 0 0 0,-1-1 0 0 0,1 1 0 0 0,-1-1 0 0 0,0 1 0 0 0,0 0 0 0 0,-1 0 0 0 0,0 0 0 0 0,1 0 0 0 0,-1 0 0 0 0,0 1 0 0 0,-1-1 0 0 0,1 1 0 0 0,-1 0 0 0 0,1 0 0 0 0,-8-5 0 0 0,4 5-160 0 0,0-1 1 0 0,0 1-1 0 0,0 0 1 0 0,0 1-1 0 0,-1 0 1 0 0,1 0-1 0 0,-10-1 1 0 0,8 2-611 0 0,0 1 0 0 0,-1-1 0 0 0,1 2 0 0 0,0-1 0 0 0,-10 3 0 0 0</inkml:trace>
  <inkml:trace contextRef="#ctx0" brushRef="#br0" timeOffset="1">354 166 1764 0 0,'22'-2'2648'0'0,"-3"0"-839"0"0,-1 0-121 0 0,1-2-1108 0 0,-2 2-1076 0 0,5 2-2309 0 0</inkml:trace>
</inkml:ink>
</file>

<file path=ppt/ink/ink16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3:54.528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57 1008 0 0,'11'-5'531'0'0,"1"0"1"0"0,-1 0-1 0 0,1 1 0 0 0,0 1 1 0 0,1 0-1 0 0,-1 1 0 0 0,0 0 1 0 0,1 1-1 0 0,-1 0 0 0 0,1 1 1 0 0,-1 1-1 0 0,19 2 0 0 0,-25-2-402 0 0,0 0-1 0 0,0 1 1 0 0,0 0-1 0 0,0 0 0 0 0,-1 0 1 0 0,1 1-1 0 0,-1 0 0 0 0,1 0 1 0 0,-1 0-1 0 0,0 1 1 0 0,8 7-1 0 0,-9-8-71 0 0,-1 1 1 0 0,0 0-1 0 0,0 0 1 0 0,-1 0-1 0 0,1 1 0 0 0,-1-1 1 0 0,0 0-1 0 0,0 1 1 0 0,0 0-1 0 0,-1-1 0 0 0,0 1 1 0 0,0 0-1 0 0,0 0 0 0 0,0 0 1 0 0,-1 0-1 0 0,0 7 1 0 0,0-4-15 0 0,-1-1-1 0 0,0 1 1 0 0,-1 0 0 0 0,0-1 0 0 0,0 0 0 0 0,0 1 0 0 0,-1-1 0 0 0,0 0 0 0 0,-1 0-1 0 0,-6 10 1 0 0,-7 7 52 0 0,-27 31 0 0 0,39-48-76 0 0,-74 75 307 0 0,77-81-286 0 0,10-2-54 0 0,-1 0 0 0 0,0-1-1 0 0,0 0 1 0 0,13-5 0 0 0,-4 1 5 0 0,53-18-83 0 0,100-50 0 0 0,-142 60 65 0 0,-1-1-1 0 0,0-2 0 0 0,-1 0 0 0 0,-1-2 0 0 0,0 0 1 0 0,28-32-1 0 0,-46 44 46 0 0,0 0 0 0 0,-1 0 0 0 0,0 0 0 0 0,0-1 1 0 0,-1 0-1 0 0,0 0 0 0 0,4-10 0 0 0,-7 16-13 0 0,-1-1 1 0 0,1 1-1 0 0,0 0 0 0 0,-1 0 0 0 0,0 0 0 0 0,0 0 0 0 0,1-1 0 0 0,-1 1 0 0 0,0 0 1 0 0,-1 0-1 0 0,1 0 0 0 0,0-1 0 0 0,-1 1 0 0 0,1 0 0 0 0,-1 0 0 0 0,1 0 0 0 0,-1 0 1 0 0,0 0-1 0 0,0 0 0 0 0,0 0 0 0 0,0 0 0 0 0,-1 0 0 0 0,1 0 0 0 0,0 1 0 0 0,-1-1 1 0 0,1 1-1 0 0,-1-1 0 0 0,0 1 0 0 0,1-1 0 0 0,-1 1 0 0 0,0 0 0 0 0,-4-2 0 0 0,3 1-2 0 0,-1 1 0 0 0,0 0 1 0 0,0 1-1 0 0,0-1 0 0 0,0 0 0 0 0,0 1 0 0 0,0 0 0 0 0,0 0 0 0 0,0 1 0 0 0,0-1 0 0 0,0 1 0 0 0,0-1 0 0 0,0 1 0 0 0,1 1 0 0 0,-1-1 0 0 0,0 0 0 0 0,0 1 0 0 0,1 0 1 0 0,-1 0-1 0 0,1 0 0 0 0,-7 5 0 0 0,8-5 6 0 0,0-1 1 0 0,0 1-1 0 0,1 0 1 0 0,-1 1-1 0 0,0-1 1 0 0,1 0-1 0 0,-1 0 1 0 0,1 1-1 0 0,0-1 1 0 0,0 1-1 0 0,0-1 1 0 0,0 1-1 0 0,0 0 1 0 0,0-1-1 0 0,1 1 1 0 0,-1 0-1 0 0,1-1 1 0 0,0 1-1 0 0,0 0 1 0 0,0 0-1 0 0,0-1 1 0 0,0 1-1 0 0,0 0 1 0 0,1 0-1 0 0,0-1 1 0 0,-1 1-1 0 0,1-1 1 0 0,0 1-1 0 0,0 0 1 0 0,1-1 0 0 0,-1 0-1 0 0,3 5 1 0 0,0-1 10 0 0,0-1 0 0 0,1 1 0 0 0,-1-1 1 0 0,1 1-1 0 0,0-2 0 0 0,1 1 1 0 0,-1 0-1 0 0,1-1 0 0 0,0 0 1 0 0,0 0-1 0 0,10 4 0 0 0,-12-5-20 0 0,25 3-17 0 0,-25-6 14 0 0,46 12 31 0 0,-48-12-49 0 0,4 3 28 0 0,-6-3-4 0 0,1 0 1 0 0,-1 0-1 0 0,1 1 1 0 0,-1-1-1 0 0,1 0 0 0 0,-1 0 1 0 0,0 0-1 0 0,1 0 1 0 0,-1 0-1 0 0,1 1 1 0 0,-1-1-1 0 0,1 0 0 0 0,-1 0 1 0 0,0 1-1 0 0,1-1 1 0 0,-1 0-1 0 0,0 0 0 0 0,1 1 1 0 0,-1-1-1 0 0,0 0 1 0 0,1 1-1 0 0,-1-1 1 0 0,0 1-1 0 0,0-1 0 0 0,1 1 1 0 0,3 17 248 0 0,-1 1 1 0 0,0-1-1 0 0,-1 32 1 0 0,0-12-99 0 0,-1-28-142 0 0,9 87-3890 0 0</inkml:trace>
</inkml:ink>
</file>

<file path=ppt/ink/ink16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3:54.856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9 60 0 0,'15'-9'6320'0'0,"-14"10"-6184"0"0,0-1-8 0 0,0 1 0 0 0,0 0 0 0 0,0-1 0 0 0,-1 1 0 0 0,1 0 0 0 0,0 0 0 0 0,0 0 0 0 0,-1-1 0 0 0,1 1 0 0 0,-1 0 0 0 0,1 0 0 0 0,-1 0 0 0 0,1 0 0 0 0,-1 0 0 0 0,1 0 0 0 0,-1 0-1 0 0,1 2 1 0 0,2 16 694 0 0,-1 0-1 0 0,0 0 0 0 0,-2 31 1 0 0,-1-24-393 0 0,-1 13 8 0 0,0 1 3674 0 0,17-49-3885 0 0,-3 4-192 0 0,-7 4-39 0 0,-1-1 1 0 0,1 1-1 0 0,-1 0 1 0 0,1 1 0 0 0,-1-1-1 0 0,1 1 1 0 0,-1 0 0 0 0,1 0-1 0 0,-1 0 1 0 0,1 1-1 0 0,0-1 1 0 0,-1 1 0 0 0,6 2-1 0 0,-6-1 5 0 0,1 0 0 0 0,0 0-1 0 0,-1 0 1 0 0,1 0 0 0 0,-1 1-1 0 0,0 0 1 0 0,0 0 0 0 0,0 0-1 0 0,0 1 1 0 0,0-1 0 0 0,-1 1-1 0 0,0 0 1 0 0,0 0 0 0 0,0 0-1 0 0,5 9 1 0 0,-7-11-18 0 0,0 1-1 0 0,1-1 1 0 0,-1 1-1 0 0,-1-1 1 0 0,1 1-1 0 0,0-1 1 0 0,-1 1-1 0 0,1 0 1 0 0,-1-1-1 0 0,0 1 1 0 0,0 0-1 0 0,0-1 1 0 0,0 1-1 0 0,0 0 1 0 0,0-1-1 0 0,-1 1 1 0 0,0 0-1 0 0,1-1 1 0 0,-1 1-1 0 0,0-1 1 0 0,0 1-1 0 0,0-1 1 0 0,-1 1 0 0 0,1-1-1 0 0,0 0 1 0 0,-1 0-1 0 0,0 0 1 0 0,1 0-1 0 0,-1 0 1 0 0,-4 3-1 0 0,1 0-383 0 0,-1-1 0 0 0,0 0 0 0 0,0-1 0 0 0,0 0 0 0 0,0 1 0 0 0,-1-2 0 0 0,1 1 0 0 0,-12 2 0 0 0,10-4-780 0 0,0 1-1 0 0,0-1 1 0 0,0-1-1 0 0,-10 0 1 0 0,-5-1-3586 0 0</inkml:trace>
</inkml:ink>
</file>

<file path=ppt/ink/ink16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3:55.189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30 1676 0 0,'26'-8'1608'0'0,"0"-2"-136"0"0,-3 6-395 0 0,5 0-133 0 0,-4 1-216 0 0,-2 3-48 0 0,-1 0-220 0 0,-1 3 40 0 0,-1 1-232 0 0,-2 2-208 0 0,-1 4-404 0 0,-4 0-620 0 0,1-1-1608 0 0</inkml:trace>
</inkml:ink>
</file>

<file path=ppt/ink/ink16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3:56.023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21 1160 0 0,'0'0'4455'0'0,"11"-11"-3075"0"0,11 7-959 0 0,0 1-1 0 0,0 1 0 0 0,37 1 0 0 0,-38 2-2375 0 0,40 8-1 0 0,-44-4-405 0 0</inkml:trace>
</inkml:ink>
</file>

<file path=ppt/ink/ink1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57.84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 0 12570,'-1'14'7915,"0"-13"-7555,3 51 0,-1-25-90,0-1-90,0 2 0,0 0-91,0 1 91,0-1-180,0 0 0,1 0-269,-2 0-181,0-1-90,0-1-179,0-1-91,0-1-179,-1-2-2699,0 6-3598,-1-4 7286,1 4 0,0-14 0,1-6 0</inkml:trace>
</inkml:ink>
</file>

<file path=ppt/ink/ink16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9:56.899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1 64 60 0 0,'-11'-53'5705'0'0,"12"43"-3719"0"0,27 251-91 0 0,-22-183-1727 0 0,4 58-1390 0 0,-10-101 242 0 0,-1 0 0 0 0,-1 0 0 0 0,-3 15 0 0 0,-4-13-1288 0 0</inkml:trace>
</inkml:ink>
</file>

<file path=ppt/ink/ink16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9:57.228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0 732 0 0,'0'0'3421'0'0,"-1"1"-3322"0"0,1 0 0 0 0,0 0 0 0 0,0 1 0 0 0,0-1 0 0 0,0 0 0 0 0,0 0 0 0 0,0 0 0 0 0,1 0-1 0 0,-1 0 1 0 0,0 0 0 0 0,0 0 0 0 0,1 2 0 0 0,19 16 335 0 0,1 0 0 0 0,1-1 0 0 0,0-1 0 0 0,1-1 0 0 0,1-1 0 0 0,0-1-1 0 0,1-1 1 0 0,42 15 0 0 0,-60-26-412 0 0,0 0-1 0 0,-1-1 0 0 0,1 1 1 0 0,0-2-1 0 0,-1 1 1 0 0,1-1-1 0 0,0 0 1 0 0,0 0-1 0 0,0 0 0 0 0,-1-1 1 0 0,1 0-1 0 0,0-1 1 0 0,-1 1-1 0 0,1-1 0 0 0,-1-1 1 0 0,0 1-1 0 0,1-1 1 0 0,-1 0-1 0 0,6-5 1 0 0,10-6-24 0 0,-2-2 0 0 0,0 0 1 0 0,31-33-1 0 0,-9 8-382 0 0,-41 40 180 0 0,0 0 1 0 0,1 0-1 0 0,-1 0 0 0 0,0 0 0 0 0,1 0 0 0 0,-1 1 1 0 0,1-1-1 0 0,-1 0 0 0 0,1 1 0 0 0,-1-1 0 0 0,1 1 0 0 0,-1 0 1 0 0,1 0-1 0 0,-1-1 0 0 0,1 1 0 0 0,0 0 0 0 0,-1 0 1 0 0,1 0-1 0 0,-1 1 0 0 0,1-1 0 0 0,2 1 0 0 0,-3-1 48 0 0</inkml:trace>
</inkml:ink>
</file>

<file path=ppt/ink/ink16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9:58.914"/>
    </inkml:context>
    <inkml:brush xml:id="br0">
      <inkml:brushProperty name="width" value="0.2" units="cm"/>
      <inkml:brushProperty name="height" value="0.2" units="cm"/>
    </inkml:brush>
  </inkml:definitions>
  <inkml:trace contextRef="#ctx0" brushRef="#br0">227 426 804 0 0,'-146'12'4122'0'0,"112"-9"-3433"0"0,31-3-533 0 0,-1 1-39 0 0,-12 0-20 0 0,12-1-30 0 0,-16 3 122 0 0,126-31 1594 0 0,455-110-115 0 0,-73 25-1331 0 0,189-39-1131 0 0,-651 147-1093 0 0,-1 0 1 0 0,33 0-1 0 0</inkml:trace>
</inkml:ink>
</file>

<file path=ppt/ink/ink16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9:59.248"/>
    </inkml:context>
    <inkml:brush xml:id="br0">
      <inkml:brushProperty name="width" value="0.2" units="cm"/>
      <inkml:brushProperty name="height" value="0.2" units="cm"/>
    </inkml:brush>
  </inkml:definitions>
  <inkml:trace contextRef="#ctx0" brushRef="#br0">95 367 720 0 0,'-92'43'5325'0'0,"89"-42"-4785"0"0,8-1-34 0 0,44-6 278 0 0,62-15 1 0 0,-37 5-490 0 0,785-132 943 0 0,141-28-1143 0 0,-929 163-313 0 0,81-18-2279 0 0</inkml:trace>
</inkml:ink>
</file>

<file path=ppt/ink/ink16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49:59.651"/>
    </inkml:context>
    <inkml:brush xml:id="br0">
      <inkml:brushProperty name="width" value="0.2" units="cm"/>
      <inkml:brushProperty name="height" value="0.2" units="cm"/>
    </inkml:brush>
  </inkml:definitions>
  <inkml:trace contextRef="#ctx0" brushRef="#br0">93 344 184 0 0,'-51'25'2603'0'0,"9"-4"2039"0"0,345-104-3090 0 0,-212 61-1352 0 0,221-55 85 0 0,483-113-2232 0 0,-731 176-1108 0 0,-39 10 995 0 0</inkml:trace>
</inkml:ink>
</file>

<file path=ppt/ink/ink16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50:00.018"/>
    </inkml:context>
    <inkml:brush xml:id="br0">
      <inkml:brushProperty name="width" value="0.2" units="cm"/>
      <inkml:brushProperty name="height" value="0.2" units="cm"/>
    </inkml:brush>
  </inkml:definitions>
  <inkml:trace contextRef="#ctx0" brushRef="#br0">99 433 792 0 0,'-68'28'3130'0'0,"38"-13"-315"0"0,36-16-1533 0 0,122-34-138 0 0,140-36-541 0 0,1289-258-419 0 0,-1459 312-1208 0 0,15-2-3994 0 0,-97 15 3514 0 0</inkml:trace>
</inkml:ink>
</file>

<file path=ppt/ink/ink16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50:00.383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99 347 448 0 0,'-199'90'8782'0'0,"216"-91"-8341"0"0,25-5-311 0 0,795-196 1119 0 0,-508 120-1055 0 0,-171 43-220 0 0,265-62-788 0 0,-389 95-300 0 0</inkml:trace>
</inkml:ink>
</file>

<file path=ppt/ink/ink16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50:00.727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344 728 0 0,'3'-2'1449'0'0,"5"-4"-776"0"0,1 1 0 0 0,0 0 0 0 0,0 1 0 0 0,0 0 1 0 0,18-6-1 0 0,57-10 298 0 0,-58 14-613 0 0,461-86 1342 0 0,8 21-1408 0 0,-225 34-189 0 0,-77 11-29 0 0,110-16-755 0 0,-230 29-2463 0 0</inkml:trace>
</inkml:ink>
</file>

<file path=ppt/ink/ink16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50:09.779"/>
    </inkml:context>
    <inkml:brush xml:id="br0">
      <inkml:brushProperty name="width" value="0.2" units="cm"/>
      <inkml:brushProperty name="height" value="0.2" units="cm"/>
      <inkml:brushProperty name="color" value="#E71224"/>
    </inkml:brush>
  </inkml:definitions>
  <inkml:trace contextRef="#ctx0" brushRef="#br0">1 0 136 0 0,'2'16'820'0'0,"2"0"-164"0"0,0-1-148 0 0,1 3-116 0 0,1 1-80 0 0,-4 0-60 0 0,5 3-48 0 0,-1 1-48 0 0,1-2-32 0 0,-1 1-24 0 0,-1 1-12 0 0,3-2-16 0 0,-1 3-80 0 0,1-5-148 0 0,-1 2-148 0 0,-1-3-212 0 0,1-3-384 0 0,-1-1 288 0 0</inkml:trace>
</inkml:ink>
</file>

<file path=ppt/ink/ink16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50:10.164"/>
    </inkml:context>
    <inkml:brush xml:id="br0">
      <inkml:brushProperty name="width" value="0.2" units="cm"/>
      <inkml:brushProperty name="height" value="0.2" units="cm"/>
      <inkml:brushProperty name="color" value="#E71224"/>
    </inkml:brush>
  </inkml:definitions>
  <inkml:trace contextRef="#ctx0" brushRef="#br0">1 29 528 0 0,'15'9'2401'0'0,"9"18"-1628"0"0,-1 2 0 0 0,-2 1 0 0 0,-1 0 0 0 0,26 53 0 0 0,-12-17-521 0 0,51 99-105 0 0,-33-53-3863 0 0,-47-100 2643 0 0</inkml:trace>
  <inkml:trace contextRef="#ctx0" brushRef="#br0" timeOffset="1">376 91 340 0 0,'3'2'1304'0'0,"1"0"-957"0"0,1 1-1 0 0,-1 1 1 0 0,0-1 0 0 0,0 0-1 0 0,0 1 1 0 0,0 0-1 0 0,-1 0 1 0 0,0 0 0 0 0,0 0-1 0 0,0 1 1 0 0,4 7-1 0 0,27 62 1247 0 0,-31-66-1414 0 0,114 278 1869 0 0,-66-174-4385 0 0</inkml:trace>
  <inkml:trace contextRef="#ctx0" brushRef="#br0" timeOffset="2">682 0 580 0 0,'12'14'1549'0'0,"0"1"-1"0"0,13 24 1 0 0,32 75 902 0 0,-20-36-1431 0 0,105 191-823 0 0,-138-259-676 0 0,7 11-60 0 0</inkml:trace>
</inkml:ink>
</file>

<file path=ppt/ink/ink1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58.03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30 1 14279,'-3'23'3688,"0"-5"-3149,-8 0 1,2-5-180,-2 2 0,0 1-180,-2 2 89,0 0-179,-6 11-359,4-6-91,-4 7-180,6-9-989,-4 8 540,3-7-181,-2 5-359,6-9-1079,0-2-1350,2-2 3958,0 0 0,5-7 0,0-2 0</inkml:trace>
</inkml:ink>
</file>

<file path=ppt/ink/ink16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50:10.490"/>
    </inkml:context>
    <inkml:brush xml:id="br0">
      <inkml:brushProperty name="width" value="0.2" units="cm"/>
      <inkml:brushProperty name="height" value="0.2" units="cm"/>
      <inkml:brushProperty name="color" value="#E71224"/>
    </inkml:brush>
  </inkml:definitions>
  <inkml:trace contextRef="#ctx0" brushRef="#br0">0 308 1392 0 0,'7'5'632'0'0,"0"0"-1"0"0,0 0 0 0 0,-1 1 1 0 0,0 0-1 0 0,0 0 1 0 0,8 12-1 0 0,29 48 1010 0 0,-18-25-878 0 0,28 39-144 0 0,-4 3 0 0 0,60 134 1 0 0,-98-195-417 0 0,-7-15-1466 0 0</inkml:trace>
  <inkml:trace contextRef="#ctx0" brushRef="#br0" timeOffset="1">265 9 372 0 0,'2'-1'159'0'0,"-1"0"-1"0"0,1 0 1 0 0,-1 1 0 0 0,0-1-1 0 0,1 0 1 0 0,-1 0 0 0 0,1 1-1 0 0,0-1 1 0 0,-1 1 0 0 0,1 0-1 0 0,-1-1 1 0 0,1 1 0 0 0,0 0-1 0 0,-1 0 1 0 0,1 0 0 0 0,0 0-1 0 0,-1 0 1 0 0,1 0 0 0 0,2 1-1 0 0,-1 0 31 0 0,1 1 0 0 0,-1-1 0 0 0,0 1 0 0 0,0-1-1 0 0,0 1 1 0 0,0 0 0 0 0,0 0 0 0 0,-1 0 0 0 0,4 3 0 0 0,5 7 290 0 0,0 1 1 0 0,-1-1-1 0 0,11 20 1 0 0,-13-20-131 0 0,57 95 1441 0 0,72 160 0 0 0,-115-220-1547 0 0,116 262-63 0 0,-133-293-2003 0 0</inkml:trace>
</inkml:ink>
</file>

<file path=ppt/ink/ink16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50:10.883"/>
    </inkml:context>
    <inkml:brush xml:id="br0">
      <inkml:brushProperty name="width" value="0.2" units="cm"/>
      <inkml:brushProperty name="height" value="0.2" units="cm"/>
      <inkml:brushProperty name="color" value="#E71224"/>
    </inkml:brush>
  </inkml:definitions>
  <inkml:trace contextRef="#ctx0" brushRef="#br0">1 0 1460 0 0,'4'2'293'0'0,"0"0"0"0"0,0 0 0 0 0,0 1 0 0 0,0-1 0 0 0,0 1 0 0 0,-1 0 0 0 0,1 0 0 0 0,-1 0 0 0 0,1 1 0 0 0,-1-1 0 0 0,-1 1 0 0 0,1 0 0 0 0,3 4 0 0 0,3 9 558 0 0,15 32 1 0 0,-18-36-540 0 0,205 422 3184 0 0,-192-398-3326 0 0,152 338 330 0 0,-143-310-1137 0 0,-4-10-1202 0 0</inkml:trace>
</inkml:ink>
</file>

<file path=ppt/ink/ink16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50:11.206"/>
    </inkml:context>
    <inkml:brush xml:id="br0">
      <inkml:brushProperty name="width" value="0.2" units="cm"/>
      <inkml:brushProperty name="height" value="0.2" units="cm"/>
      <inkml:brushProperty name="color" value="#E71224"/>
    </inkml:brush>
  </inkml:definitions>
  <inkml:trace contextRef="#ctx0" brushRef="#br0">1 449 64 0 0,'6'4'400'0'0,"1"0"0"0"0,-1 1-1 0 0,0 0 1 0 0,0 0 0 0 0,-1 0 0 0 0,1 1-1 0 0,-1 0 1 0 0,-1 0 0 0 0,1 0 0 0 0,-1 1-1 0 0,6 11 1 0 0,4 11 396 0 0,15 46-1 0 0,-15-36-184 0 0,151 411 2628 0 0,-56-150-2401 0 0,-37-86-1640 0 0,-71-213 680 0 0,-1-1 1 0 0,0 1-1 0 0,0 0 1 0 0,0 0-1 0 0,0 0 1 0 0,0-1 0 0 0,0 1-1 0 0,0 0 1 0 0,0 0-1 0 0,0-1 1 0 0,0 1-1 0 0,0 0 1 0 0,0 0 0 0 0,0 0-1 0 0,-1-1 1 0 0,0 2-1 0 0</inkml:trace>
  <inkml:trace contextRef="#ctx0" brushRef="#br0" timeOffset="1">257 0 656 0 0,'4'3'278'0'0,"0"1"1"0"0,-1-1-1 0 0,1 0 0 0 0,-1 1 1 0 0,0 0-1 0 0,0 0 0 0 0,0-1 1 0 0,-1 2-1 0 0,1-1 0 0 0,-1 0 1 0 0,2 6-1 0 0,15 54 1005 0 0,-14-45-954 0 0,48 183 1691 0 0,80 283 214 0 0,-85-333-1884 0 0,51 181-194 0 0,-99-331-286 0 0,0-1 0 0 0,1 1 0 0 0,-1-1 0 0 0,0 0 0 0 0,0 1 1 0 0,0-1-1 0 0,0 1 0 0 0,-1-1 0 0 0,1 1 0 0 0,0-1 0 0 0,0 0 1 0 0,-1 1-1 0 0,1-1 0 0 0,-2 3 0 0 0</inkml:trace>
</inkml:ink>
</file>

<file path=ppt/ink/ink16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50:11.595"/>
    </inkml:context>
    <inkml:brush xml:id="br0">
      <inkml:brushProperty name="width" value="0.2" units="cm"/>
      <inkml:brushProperty name="height" value="0.2" units="cm"/>
      <inkml:brushProperty name="color" value="#E71224"/>
    </inkml:brush>
  </inkml:definitions>
  <inkml:trace contextRef="#ctx0" brushRef="#br0">1 1 704 0 0,'27'80'2149'0'0,"-4"1"-1"0"0,18 119 1 0 0,-13-59-1039 0 0,-1-15-373 0 0,133 565 1233 0 0,-128-551-2305 0 0,-17-58-1877 0 0</inkml:trace>
</inkml:ink>
</file>

<file path=ppt/ink/ink16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50:11.923"/>
    </inkml:context>
    <inkml:brush xml:id="br0">
      <inkml:brushProperty name="width" value="0.2" units="cm"/>
      <inkml:brushProperty name="height" value="0.2" units="cm"/>
      <inkml:brushProperty name="color" value="#E71224"/>
    </inkml:brush>
  </inkml:definitions>
  <inkml:trace contextRef="#ctx0" brushRef="#br0">1 1 168 0 0,'9'29'1137'0'0,"-1"2"1"0"0,-1-1-1 0 0,-1 1 1 0 0,2 51-1 0 0,-4-34-533 0 0,13 69 950 0 0,54 203 1 0 0,70 103-239 0 0,-118-361-1365 0 0,34 94-443 0 0,-25-52-4685 0 0,-27-87 2415 0 0</inkml:trace>
</inkml:ink>
</file>

<file path=ppt/ink/ink16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50:13.295"/>
    </inkml:context>
    <inkml:brush xml:id="br0">
      <inkml:brushProperty name="width" value="0.2" units="cm"/>
      <inkml:brushProperty name="height" value="0.2" units="cm"/>
      <inkml:brushProperty name="color" value="#E71224"/>
    </inkml:brush>
  </inkml:definitions>
  <inkml:trace contextRef="#ctx0" brushRef="#br0">1 46 208 0 0,'4'-1'2424'0'0,"152"-7"339"0"0,-77 5-2337 0 0,831-30 1257 0 0,2 35-1239 0 0,-841 0-480 0 0,74 2-1237 0 0,159 26 1 0 0,-250-19-846 0 0,-34-7 1273 0 0</inkml:trace>
</inkml:ink>
</file>

<file path=ppt/ink/ink16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50:13.646"/>
    </inkml:context>
    <inkml:brush xml:id="br0">
      <inkml:brushProperty name="width" value="0.2" units="cm"/>
      <inkml:brushProperty name="height" value="0.2" units="cm"/>
      <inkml:brushProperty name="color" value="#E71224"/>
    </inkml:brush>
  </inkml:definitions>
  <inkml:trace contextRef="#ctx0" brushRef="#br0">98 361 416 0 0,'-97'22'6031'0'0,"104"-23"-5565"0"0,406-67 1454 0 0,-165 24-1519 0 0,866-102 520 0 0,6 48-427 0 0,-438 73-1535 0 0,-674 25 945 0 0,9 0-337 0 0,0 1 0 0 0,1 1-1 0 0,-1 0 1 0 0,0 1-1 0 0,26 8 1 0 0,-41-10 204 0 0,0 0-1 0 0,-1 0 1 0 0,1 0 0 0 0,0 0 0 0 0,-1 1 0 0 0,1-1-1 0 0,-1 0 1 0 0,1 1 0 0 0,-1-1 0 0 0,1 1-1 0 0,0 2 1 0 0</inkml:trace>
</inkml:ink>
</file>

<file path=ppt/ink/ink16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50:14.027"/>
    </inkml:context>
    <inkml:brush xml:id="br0">
      <inkml:brushProperty name="width" value="0.2" units="cm"/>
      <inkml:brushProperty name="height" value="0.2" units="cm"/>
      <inkml:brushProperty name="color" value="#E71224"/>
    </inkml:brush>
  </inkml:definitions>
  <inkml:trace contextRef="#ctx0" brushRef="#br0">92 136 932 0 0,'-11'4'373'0'0,"-1"-1"160"0"0,1 0 0 0 0,0 2-1 0 0,0-1 1 0 0,-20 12-1 0 0,31-15-500 0 0,0-1-1 0 0,0 0 0 0 0,-1 0 0 0 0,1 0 1 0 0,0 0-1 0 0,-1 1 0 0 0,1-1 1 0 0,0 0-1 0 0,0 0 0 0 0,0 0 0 0 0,-1 1 1 0 0,1-1-1 0 0,0 0 0 0 0,0 0 0 0 0,0 1 1 0 0,0-1-1 0 0,-1 0 0 0 0,1 1 0 0 0,0-1 1 0 0,0 0-1 0 0,0 0 0 0 0,0 1 1 0 0,0-1-1 0 0,0 0 0 0 0,0 1 0 0 0,0-1 1 0 0,0 0-1 0 0,0 1 0 0 0,0-1 0 0 0,0 0 1 0 0,0 1-1 0 0,0-1 0 0 0,0 0 0 0 0,0 0 1 0 0,0 1-1 0 0,1-1 0 0 0,-1 0 1 0 0,0 1-1 0 0,0-1 0 0 0,0 0 0 0 0,0 0 1 0 0,1 1-1 0 0,-1-1 0 0 0,0 0 0 0 0,1 1 1 0 0,10 5 424 0 0,13-3-178 0 0,0-1 1 0 0,-1 0 0 0 0,1-2-1 0 0,35-4 1 0 0,-23 1-127 0 0,658-65 936 0 0,-341 28-879 0 0,-168 20-162 0 0,272-24 185 0 0,1 27-747 0 0,-438 17 358 0 0,94 4-705 0 0,-95-2 398 0 0,-1 0-1 0 0,-1 1 1 0 0,1 1 0 0 0,19 7-1 0 0,-16-1-998 0 0,-8 0 202 0 0</inkml:trace>
</inkml:ink>
</file>

<file path=ppt/ink/ink16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50:14.398"/>
    </inkml:context>
    <inkml:brush xml:id="br0">
      <inkml:brushProperty name="width" value="0.2" units="cm"/>
      <inkml:brushProperty name="height" value="0.2" units="cm"/>
      <inkml:brushProperty name="color" value="#E71224"/>
    </inkml:brush>
  </inkml:definitions>
  <inkml:trace contextRef="#ctx0" brushRef="#br0">110 331 152 0 0,'-35'8'1713'0'0,"19"-5"-592"0"0,-1 1 0 0 0,-25 10 805 0 0,49-15-1586 0 0,293-54 1145 0 0,-153 23-1232 0 0,1317-214 315 0 0,-1250 224-876 0 0,-156 19-734 0 0,95 7 0 0 0,-151-4 971 0 0,6 1-337 0 0,0-1 0 0 0,1 1 0 0 0,-1 1 0 0 0,0 0 0 0 0,-1 0 0 0 0,14 5 0 0 0,-8 1-548 0 0</inkml:trace>
</inkml:ink>
</file>

<file path=ppt/ink/ink16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50:14.783"/>
    </inkml:context>
    <inkml:brush xml:id="br0">
      <inkml:brushProperty name="width" value="0.2" units="cm"/>
      <inkml:brushProperty name="height" value="0.2" units="cm"/>
      <inkml:brushProperty name="color" value="#E71224"/>
    </inkml:brush>
  </inkml:definitions>
  <inkml:trace contextRef="#ctx0" brushRef="#br0">11 461 1556 0 0,'-11'2'2190'0'0,"26"-6"338"0"0,8-1-2395 0 0,1243-279 2021 0 0,95 121-1654 0 0,-1206 156-1762 0 0,180 15 1 0 0,-307-5 270 0 0,0 1 0 0 0,39 11-1 0 0,-42-8-168 0 0</inkml:trace>
  <inkml:trace contextRef="#ctx0" brushRef="#br0" timeOffset="1">404 628 1492 0 0,'-86'19'4691'0'0,"96"-19"-4576"0"0,0 0 1 0 0,0-1 0 0 0,0 0 0 0 0,0 0 0 0 0,0-1 0 0 0,0 0-1 0 0,10-5 1 0 0,18-3 106 0 0,112-23 261 0 0,759-143 644 0 0,-799 160-1132 0 0,339-45-274 0 0,2 28-2837 0 0,-382 34 971 0 0,-42-1 1153 0 0</inkml:trace>
</inkml:ink>
</file>

<file path=ppt/ink/ink1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58.31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6 9691,'22'-6'2879,"-1"0"-1620,-7 4-180,7 1-629,1 2-90,0 2-90,-3 3 0,-7 0-90,-1 2 0,-1 2-91,-2 1 1,-2 1 90,-1 1-90,-4 9-90,-2-5 90,-3 7-90,-2-8 90,-1 2 0,-1-2 90,-1 1-90,1-3 0,1-1 270,0-1 809,-1 4-449,4 0-1,6 0-359,10-3 270,3-7-450,10-1 89,-8-4 1,4 1-360,2-2-449,0 1-721,4-2-898,-3 0-7673,-5-2 9545,-5-2 0,-6 2 0,-4-1 1</inkml:trace>
</inkml:ink>
</file>

<file path=ppt/ink/ink16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50:15.163"/>
    </inkml:context>
    <inkml:brush xml:id="br0">
      <inkml:brushProperty name="width" value="0.2" units="cm"/>
      <inkml:brushProperty name="height" value="0.2" units="cm"/>
      <inkml:brushProperty name="color" value="#E71224"/>
    </inkml:brush>
  </inkml:definitions>
  <inkml:trace contextRef="#ctx0" brushRef="#br0">158 455 1160 0 0,'-154'17'6737'0'0,"150"-17"-6296"0"0,8-2-70 0 0,19-9-202 0 0,1 2 0 0 0,0 0 0 0 0,1 2 0 0 0,25-5 0 0 0,-14 4-97 0 0,1217-237 862 0 0,93 88-2222 0 0,-1296 153 624 0 0,103-4-4824 0 0,-149 8 4772 0 0</inkml:trace>
</inkml:ink>
</file>

<file path=ppt/ink/ink16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50:15.493"/>
    </inkml:context>
    <inkml:brush xml:id="br0">
      <inkml:brushProperty name="width" value="0.2" units="cm"/>
      <inkml:brushProperty name="height" value="0.2" units="cm"/>
      <inkml:brushProperty name="color" value="#E71224"/>
    </inkml:brush>
  </inkml:definitions>
  <inkml:trace contextRef="#ctx0" brushRef="#br0">45 220 1000 0 0,'-44'13'5457'0'0,"372"-77"-3532"0"0,-141 24-1508 0 0,359-51 196 0 0,9 53-357 0 0,-546 38-334 0 0,24 0-92 0 0,44 6-1 0 0,-69-6-49 0 0,-1 2-1 0 0,1-1 1 0 0,0 1-1 0 0,0 0 0 0 0,-1 1 1 0 0,0 0-1 0 0,1 0 1 0 0,-1 1-1 0 0,0-1 1 0 0,0 2-1 0 0,7 5 1 0 0,-9-3-1371 0 0,-5-6 1459 0 0,1-1-1 0 0,-1 1 1 0 0,0 0-1 0 0,0 1 1 0 0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3:39:28.39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2 196 8792,'23'-21'4497,"-5"3"-3687,-14 6-360,-9 9-91,-8 5 271,-2 7-360,-3 7-90,4-4 0,-4 7 90,8-5-90,1 1-1,2 0 91,2 0-180,2 5 0,4-4 0,2 4 0,4-7-90,3 0-90,2-1-180,3-1-90,1-1 1,2-2-271,1-3 90,3-1-179,-1-2 89,2-2-89,-1-2 89,1-1 180,-1-3 0,-1 0 91,0-2-91,6-5 270,-8 1 90,4-3 270,-8 3-90,-3 0 0,-1 1 90,-1 0 179,-2 1 181,-1 0 180,1-3-181,-1 0 541,2-2-91,-2 1-539,1 1-180,1-1-180,1 3 0,3 1-90,2 0 0,-2 3 90,1-2-90,-4 2 0,1-1 0,-1 1 0,0-2 90,0-1-90,0 0 0,-1-1 0,-1 0-90,-1-4 90,-4 0 90,-5 0 180,-11 5-91,-3 6 1,-6 6 90,1 5 0,-2 3 0,-4 4 0,1 2-90,0 4-1,2 0 1,3 2 0,4 0 0,1 1 0,4-1-90,4 0 0,3-2 90,5 2-180,2-2 0,5 0-270,4 0-90,3 0-269,4-2-181,3-2-1259,15 3 630,-8-7-1169,11 1-1350,-13-8 3958,1-2 0,2-2 0,1 0 0</inkml:trace>
</inkml:ink>
</file>

<file path=ppt/ink/ink1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45.41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03 132 10951,'-7'28'2518,"2"-5"-1978,5 0 0,0-3 89,0 3-179,1 2 90,-2 1-4342,1 2 4252,0 0 0,-1 0 769,0 0-949,0 0 89,-1 0 1,0-2-90,-1 0 0,0-2 3392,0-1-3482,0-2 90,-1-2 89,1-2 361,0-2-90,-1 4-91,-3-6-359,-5-2-180,1-12 0,0-7 0,3-7-180,4-1 0,1-4 0,1-4 1,2-4-1,2-3 0,2-7 0,2-2 90,4-7-90,3 0 90,3-2 0,3 2 0,1 2 90,3 2-90,0 6 0,1 4 90,-1 5-90,1 2 90,-1 6-90,1 4 90,-2 5 0,0 3-90,-3 5 90,9 6 0,-8 2 0,5 6-90,-10 0 90,-1 3 0,-3 3-89,-2 0 178,-2 2-89,-2 0 0,-3 1 90,-3 0 0,-2 0 0,-8 10 0,-1-7-90,-7 7 90,1-10-90,-1-3 90,-4 0-90,0-3 90,-2-2-90,-1-1 90,0-1-90,1-3-90,1 0-360,-8-3 91,8-1-181,-5-1-899,12-3-630,-3-1-809,4-3 2878,0-2 0,8 2 0,6 1 0</inkml:trace>
</inkml:ink>
</file>

<file path=ppt/ink/ink1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45.65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7 1 16168,'-10'21'2248,"1"-1"-1708,1-4 0,0 1-180,0 2 89,1 2-179,1 0 0,2 2-90,0 0 90,2 1-90,2 0-180,1 0 90,2 0-270,1 1-90,2 0-90,1-2-90,1 0-89,1-2-181,2-2 1,0-1-271,1-2-1259,6 2-1618,-4-7 3867,10 0 0,-3-12 0,7-2 0</inkml:trace>
</inkml:ink>
</file>

<file path=ppt/ink/ink1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46.28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9 200 10771,'14'-20'5667,"1"12"-4768,-9 13-449,0 13-90,-4 0-1,-1 3 1,-1-5 0,1 2-90,-1 1 0,1 0-90,-1 1 179,0 0-179,0 1 0,0-1 90,0 0 90,-1 0-180,1-1 90,-1 1-180,0-2 89,0 0 91,-1-2 0,1 6 270,-2-3 0,1 5-1,-1-7-179,-2-3-450,-4-12-90,-1-7-3392,2-9 3302,1-5 1,3 0-1,1-3 0,1-4 90,1-4 0,1-4 0,2-2 90,2-4 0,2-1-236,3-1 326,2 0-90,2 1 0,3 4 0,2 1 0,1 4 90,2 4-89,0 5 89,1 3 3229,-2 7-3229,1 4 0,-2 4 0,0 4 0,-1 3 0,0 4 0,-1 3 129,-2 3-219,2 10 0,-6-3 0,0 8 0,-8-8 0,-3 1 0,-4 0 0,-10 11 0,2-8 90,-9 6-90,3-11 90,0-1 0,0-2-90,1-3 90,1-2 0,1-1 0,0-3 90,-3-1 90,2-3 90,-2-2 180,16 1-91,7 4-89,10 3 540,11 10-450,-8-4-1,7 7-89,-6-4-90,0 0 0,0 2 0,-1-1 0,0 1-90,-2 0-90,0-2-90,-2 0-180,-2-1-90,-1-1-179,-2 0-1,0-2-809,-2 0-270,1 1 1619,-2 0 0,-5-17 0,-4-5 0</inkml:trace>
</inkml:ink>
</file>

<file path=ppt/ink/ink1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46.48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44 10321,'25'-20'3868,"-2"4"-2519,-8 10-269,0 4 89,0 3-90,1 4 181,-1 3-91,1 5-180,-2 3-89,-1 3-91,-1 3-89,-2 0-90,-1 4-91,-3 0-179,-2 1 0,-2-1-90,-1 1-90,-2 0-1,-3 0-89,-1 1-90,-1 0-180,-3 0-179,-1-3-271,-1-1-179,-1-2-181,-1-1 1,1-3-181,0-3-89,0-1-180,0-2-2249,1-3 3688,-3-1 0,7-5 0,-1 0 0</inkml:trace>
</inkml:ink>
</file>

<file path=ppt/ink/ink1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46.71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13829,'26'5'3418,"1"0"-3058,-8-3-270,2 0-180,-5-1-180,1 0-270,0 0-179,1 0-271,-1 0-269,-1 1-5217,-1 0 6476,4 1 0,-10-1 0,2 0 0</inkml:trace>
</inkml:ink>
</file>

<file path=ppt/ink/ink1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46.89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 1 12840,'-5'23'7735,"9"-5"-7105,10-7 0,7-4-181,-1-2-89,2-2-180,1 1-180,1-2-270,0 0 0,0 0-269,-1-1-271,-1 1-1439,-3-2-1259,4 1 3508,-5 1 0,-4-2 0,-7 2 0</inkml:trace>
</inkml:ink>
</file>

<file path=ppt/ink/ink1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0:04.27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 0 15988,'-3'31'2069,"0"1"-1710,4-2-89,0-5 0,-1-1 0,1-7 180,-2 6-180,2-5-90,-1 12-91,0-9 1,0 4-1259,-1-4 1169,2 0 0,-1-11 0,0 0 0</inkml:trace>
</inkml:ink>
</file>

<file path=ppt/ink/ink1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24.00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06 265 10321,'-12'-25'3958,"0"5"-3418,-1 18-91,3 4 91,-2 9 0,4 2-91,0 3 1,1 4-90,0 3 0,1 2 0,1 3-91,2-1 1,1 3 0,2-2 0,1 2 0,2 0-90,0 2 0,2-2-1,1-1 1,-1-1-90,2-3 0,-1-3 0,0-1 90,1-1-90,-1-3 90,0-1 0,-2-2 270,1-2 89,1 4 361,-1-3-900,2-7 90,-5-11-90,-1-7 0,-5-7-3392,0 1 3302,-2-2 90,1-4-90,-3-3 90,1-4-180,-5-21 90,3 11-90,-3-34 90,6 31-369,2-12 279,3 19-210,5-16 210,2 11 90,4-11 0,2 17 90,3 2-179,2 4 3284,2 5-3195,2 2 90,0 6-90,1 5 533,0 3-533,-2 4 1,0 3 241,-2 4-332,7 7 90,-6 0 0,2 6 90,-9-1-90,-4 0 90,-2 2-90,-6 6 180,-2-2-180,-5 4 90,-3-4-180,-12 9-179,4-7-451,-18 13 360,14-16-719,-17 10 449,17-14-89,-5 3-1,10-9-2068,-3 3 2878,2-3 0,5-2 0,5-4 0</inkml:trace>
</inkml:ink>
</file>

<file path=ppt/ink/ink1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24.22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1 1 10321,'16'1'5847,"-11"6"-5487,-14 9 89,-6 2-89,3-2-90,1 1 0,0 2-90,1 1 0,1 1-90,2 1-1,2 1 91,3 1-90,1 0-90,2 1 0,3 1-90,1-1-179,2 1-91,1 0-90,2-1-360,1-2-89,1-2-90,0-2-361,0-4-1078,1-1-1260,2-4 3688,-1-2 0,-6-5 0,-2-1 0</inkml:trace>
</inkml:ink>
</file>

<file path=ppt/ink/ink1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24.65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58 10501,'20'6'3508,"-5"7"-2788,-11 4-91,-2 5 91,-1-4-91,-1 3-89,0 2 0,0 1-90,0 1-91,0 2 1,-1-1-90,0 1 0,1 0-90,-1 0 0,0-1-90,-1-2 0,1 0 0,-1-3-1,1-2 91,-1-1 90,0 2-270,0-2-180,-6-12-90,5-6 1,-3-17-1,5-4 90,1-6 0,1-4 0,1-5 90,2-4 90,2-2 0,0-2 180,2 0 360,11-33-360,-5 30 359,13-33-359,-13 48 0,4-4 0,-6 17 0,1 3 0,0 3 449,-1 4 91,7 3-360,0 9 90,1 2-91,-2 8 1,-5 2 0,1 2 0,0 4-90,0 2-1,-1 2-89,-1 0 0,0 2 0,-1 1-90,0 1-90,-2 0-90,0 1-90,-2 0-270,0-2-89,-1-1-91,-1-2-179,-1-3-91,0-2-89,-1-1-990,-1-2-720,0 3-6835,-2-2 9534,-2 0 0,1-9 0,-3-5 0</inkml:trace>
</inkml:ink>
</file>

<file path=ppt/ink/ink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3:39:37.366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1 24575,'0'0'0</inkml:trace>
</inkml:ink>
</file>

<file path=ppt/ink/ink1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24.80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9 160 10231,'-25'-9'6297,"3"0"-4678,6 1-1260,10-5-449,11 4-89,7-3-181,7 5-180,-2 1-269,2 1-181,1-2 1,4 0-271,-1 0-1168,3-1-1080,0-3 3508,-1 1 0,4-6 0,0 1 0</inkml:trace>
</inkml:ink>
</file>

<file path=ppt/ink/ink1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25.01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9 11 11490,'30'-9'5487,"-2"7"-4587,-14 9-1,-1 7-4251,-5-1 4072,0 4 949,1 3-950,-1 3-89,0 3-90,-1 2-90,1 3-91,-2 1 1,-1 0-180,-1 1 0,-2 0 0,-1-1-270,-2 0 0,-1-1-180,-3 0 3302,-2 0-3571,-2-1-181,0-3-90,-3-1-89,-1-1-90,-2-4-181,-1 0-179,-1-4-360,0-1-1439,-2-3-2159,2-3 5307,-3-3 0,10-3 0,1-2 0</inkml:trace>
</inkml:ink>
</file>

<file path=ppt/ink/ink1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25.22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4 14908,'23'-3'-1080,"-1"-1"1,-14 1 0,-2 0 0</inkml:trace>
</inkml:ink>
</file>

<file path=ppt/ink/ink1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25.84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0 1 19046,'-5'24'1080,"0"-1"-811,-3 0-89,1 2 0,1 3 0,1 0-90,2 0 90,2 0-90,3 1-90,1 0 0,1 1-90,3 0-90,0-2-180,2 0 0,1-3-179,1-1-181,2-2-179,0-3-181,1-3-359,1-2-270,1-3-899,1-2-1350,0-3 3958,1-2 0,-8-2 0,-2-2 0</inkml:trace>
</inkml:ink>
</file>

<file path=ppt/ink/ink1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26.36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3 154 15808,'3'29'1169,"0"-1"-719,-4-8-90,1 3 0,-2 1-1,2 2-89,-1-1 540,0 23-540,0-18 89,-2 25-179,2-31 0,-1 4 450,-1-4-90,1-2-1,-2 3-179,-1-8-270,-3-14-90,-1-10-90,1-10 90,2-5-90,2 0 0,0-5 0,2-2 0,0-4 0,3-2 0,-1-1 0,4 0 0,0-2 90,3 0-179,3-1 89,9-12 90,-2 14-90,7-8 90,-6 20-90,1 4 90,1 3-90,-1 6 90,1 3 90,-1 4-90,-1 3 0,-1 4 0,0 3 0,-1 3 0,-2 3 0,-2 2 0,-1 1 0,-4 3 0,-2-1 0,-2 2-90,-3-1 90,-2 1 0,-3 0 0,-3 1 0,-3 0 0,-2-1-90,-3 1 90,-1-2-180,-2-1 0,1-2-90,0-2-90,1-2-179,-1-2-91,1-1-90,1-1-1438,1-2-811,-2-2 2969,1-3 0,5 1 0,4-2 0</inkml:trace>
</inkml:ink>
</file>

<file path=ppt/ink/ink1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27.01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07 13559,'18'4'3059,"-2"6"-2520,-12 5-89,-1 4 0,-1-1-1,-1 2-179,0 2 90,0 1-90,0 2 0,0 0-90,-1 1 90,1-1-91,-1 0-89,-1 0 90,0-2-90,0 0 90,-1-3 0,1 0 180,-1 3 359,0-1-89,0 2-360,-2-6-90,-1-13-90,-1-9-180,0-16 90,3 0 0,0-7 0,3 5 0,0-3 0,1-3 0,2-2 0,1-1 0,1-1 0,2 0-90,1 1 90,1 0-90,2 2 90,1 1 0,1 1 0,1 3-90,0 1 180,1 3-180,2 1 90,-2 3 0,1 2-90,-2 3 90,0 2-90,-1 2 0,3 1 90,-1 6 90,2 3-90,-6 7 0,-5 5 0,-7 6 90,-3-4-90,-3 4 0,0-7 0,0 1 0,-1 0 0,1-1 0,0 0-90,2 0-90,0 1 0,1 4 0,5 1 0,3 0 90,4-2-89,2-4 89,3-1-90,0 2 90,1-1 0,0 0 0,-1 0 0,0 0 0,-1 0 90,-3-1 90,-1-1 90,-2 4 180,-4 1-180,-6 4-1,-3-6-89,-5-2 90,0-4-90,-2-2 180,-16 6-180,11-7-90,-12 4-180,15-6-90,1-1-719,-1 0-540,-6-2-540,0 0-1349,-4-3-3508,4-3 6926,3-2 0,10 2 0,3 1 0</inkml:trace>
</inkml:ink>
</file>

<file path=ppt/ink/ink1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27.89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16078,'12'23'2878,"-3"2"-1978,-6-4-181,0 6 1,-1 2-180,3 5-91,-1 1-3481,1 4 3302,-1 0 0,2 4-90,-1-2-90,0-2-180,0-1-90,-1-2-180,0-2-90,0-1-269,-1-3-1,0-3-269,-1-2 3391,0-4-5370,0-1-5667,1 1 8635,1-6 0,-2-3 0,0-6 0</inkml:trace>
</inkml:ink>
</file>

<file path=ppt/ink/ink1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28.35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22 13020,'13'0'6206,"-5"-3"-5756,-1 31-90,-5-9 89,1 2-89,1 3 0,-1 1 90,2 3-181,-2 0 91,1 3 0,0 0-90,-1-2 0,-1-1-90,0-1 0,-1-1-1,-1-1 1,-1-2 0,0-1 0,0-2 0,-1-3 90,0-1 90,-2 4-90,-2-4-181,-4-2-89,0-12-179,0-8-1,4-7 0,2-4 0,2-3 0,2-4 0,1-5 90,4-5 0,1-3 0,4-3 90,2 0 0,2 0 0,2 2 90,2 1-90,1 3 90,0 3 90,1 5-90,0 3 0,0 5 90,0 4 0,0 4 90,-1 4 89,1 4-89,0 4-90,0 4 90,0 4 0,1 3-90,-1 4-90,0 2 179,8 17-179,-8-6-90,6 11-90,-11-12-179,-1 0-181,-3-1-90,-1-1-179,-2-1-181,-1-1-89,-2-3-181,-1-1-1528,-2-2-2879,-1 4 5577,-2-4 0,0-4 0,-1-6 0</inkml:trace>
</inkml:ink>
</file>

<file path=ppt/ink/ink1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28.50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 147 17247,'-1'-27'810,"1"6"-1080,16 12-270,0 3-89,3-1-361,2 0-179,3 0-180,1 0-990,2-2-1079,1 0 3418,0-1 0,3-3 0,-1-2 0</inkml:trace>
</inkml:ink>
</file>

<file path=ppt/ink/ink1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28.67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1 3 10951,'28'-2'5217,"-6"2"-4048,-8 6-179,-3 4-1,0 2-90,-1 4 1,1 3-180,-1 2-1,0 5-179,1 1-90,-2 2-91,-1 1-89,-1 0-90,-2-1-180,-2 0-90,-2-1-180,-2-1-179,-3 0-901,-6 11 451,-1-9-181,-5 6-269,1-14-180,-1-2-270,-3-2-6386,-10 0 8185,4-4 0,-11 1 0,6-6 0</inkml:trace>
</inkml:ink>
</file>

<file path=ppt/ink/ink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3:47:49.401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1 24575,'0'0'0</inkml:trace>
</inkml:ink>
</file>

<file path=ppt/ink/ink1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0:03.04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8 286 14459,'-11'33'1079,"2"1"-989,8-8 90,0-3-4342,-1-1 4252,2-5 950,-2 0-860,2 0-90,-2 1 0,1-1 0,0 0 179,-1 6 3303,-1 0-3302,0 4 90,0-4 270,0-3-91,-1-3-449,-5-10-90,1-8-90,-4-15 90,6-4-90,0-4-90,3 2 90,0-6 0,1-2-89,2-26 89,2 12-90,11-55 90,6 30-884,5-12 884,2 29-450,16 3 450,-15 21 61,25-9 29,-29 29 0,6 5 0,-10 8 0,5 11 0,-8 0 0,5 31 90,-18-6-90,-1 9 0,-12-9 0,-2-10 1004,-3-2-1004,-20 19 0,12-20 89,-14 12-89,18-25 596,1-3-596,1-2 124,2-3-124,1-1 0,-2-4-90,2-3 270,2-6 0,13 0-91,9 1 91,6 4-90,4 5 90,-3 2-90,2 3 0,2 1 90,1 2 0,1 2-90,1 1 0,-1 1 90,0 0-90,0 1 0,0 0-90,-2 0 90,0 1-90,-3-2 90,-1-1-90,-2-1 0,-1-2-90,-2 1 0,-2-2-360,-1-1-1259,1 2-8122,-2 0 9680,-10-5 0,2 0 0,-7-8 1</inkml:trace>
</inkml:ink>
</file>

<file path=ppt/ink/ink1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0:05.38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44 37 11490,'-8'-22'4138,"-3"8"-3328,1 14-361,-4 11 1,6 3 0,-2 5 0,2 0-1,0 3-89,0 4 90,-1 4-180,1 2 179,-1 4-179,1 3 0,2-1-90,0 0 0,1-2-90,2 0 90,0 1 0,2-1-90,1-1 0,1 0 0,1-1-1,1-2 1,1-2 0,2-1-90,-1-2-90,2-3 0,-1-2-89,2-3-91,-1 0-180,1-4-719,-1-2-630,2 1-4768,0-5 6567,4-2 0,-7-4 0,1-3 0</inkml:trace>
</inkml:ink>
</file>

<file path=ppt/ink/ink1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0:06.16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0 207 15178,'-15'10'2069,"4"-2"-1619,13 16 90,1-4-181,0 2 91,1 2 90,2 11-180,-2-8 269,4 20-359,-4-20 0,2 8-90,-3-12-90,0-2 90,-1-1 0,0-2-1,0-1 91,0 0 90,-1 4 0,0-2-90,0 1-360,-6-7-360,-2-9 270,-5-11-90,2-6 0,0-7 1,2-2 89,1-3-90,-1-4 90,2-3 0,-1-5-90,2-20 180,1 12-295,3-13 385,2 17-90,4 1 0,1 0 90,3 2-90,1 4 90,2 3-90,2 5 90,1 3 0,1 3-90,2 5 90,0 3 296,1 4-296,-1 4 0,1 3 0,-1 2 0,0 3-90,0 3 180,3 8-90,-6 0 90,1 5-90,-8-4 90,-3 0-1,-3 0 91,-3 1-180,-2 0 90,-2 1-90,-3 0 90,-2 0 0,-1-1-90,-1-1 90,-2-2-90,0 0-90,-1-2-360,-6 3 91,5-6-181,-4 2-90,7-5-1169,1-1-1079,-4 0 2878,2 0 0,4-2 0,3-1 0</inkml:trace>
</inkml:ink>
</file>

<file path=ppt/ink/ink1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0:06.82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88 1 9602,'10'24'1978,"-2"-1"-1528,-6-9-90,-1 2-90,-1 0 0,-2 0-180,-2 1 179,-2 1-179,-1 0 270,-1 0-180,-1 0 540,-5 5-271,3-6 1,-4 2 809,6-8-89,-2 2 1078,2-2-1978,5 2-90,12-9-90,7 0-180,7-5-360,-1 2-449,0 0-270,1 1-360,-1 1-181,-2-1-2787,0 0 4497,1-1 0,-9 0 0,-1-1 0</inkml:trace>
</inkml:ink>
</file>

<file path=ppt/ink/ink1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0:07.14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38 11850,'6'-26'7106,"3"14"-6476,-2 19-1,2 10 91,-2 6 0,-1-2-1,0 4-89,0 1 0,0 4-1,0 0 1,0 1-91,-2 1-89,1 1 0,-1 0-90,0-1-180,-1 1 89,0-1-89,-1-2 0,0-1-90,-1-1 0,0-1 0,-1-2-180,1-1-180,-1-2 0,-1-2-719,1-2-360,-1 5-1709,0-3-6297,-1 1 9355,2-19 0,-1 2 0,1-12 0</inkml:trace>
</inkml:ink>
</file>

<file path=ppt/ink/ink1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0:07.75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0 274 11400,'14'-9'4678,"-3"8"-4228,-3 13-1,-3 5 91,-1-2-90,1 1-1,-1 2-89,1 1 0,1 1 0,-2 0-90,1 1 0,-2-2 89,0 0-89,-2-2 450,1 0 89,-2 5-179,-1 0-90,-3 3-181,-2-5-89,-4-7-90,-2-7-180,-2-9-180,1-4 0,2-7-89,3-1 89,1-5-180,1-5 180,2-4-90,1-5 90,2-3-90,4-3 180,6-20 0,1 12-256,7-11 346,-1 21 0,2 3-90,2 4 90,3 2 0,-1 6 0,1 4-90,-1 4 90,0 5-90,-2 3 90,-1 4-90,-1 4 90,-2 2 167,0 4-257,-2 2-90,-1 3 90,-4 1-90,-2 2-90,-4 2 0,-3 1 1,-5 3 89,-4 1 0,-5 2 0,-3 0 90,-3 0 0,-1-2-90,-11 5 90,1-5 90,0-1 0,6-7 90,10-7 900,-1-1-811,19-1 181,-3 0-90,20 0 90,-5 1-90,3 2 89,0 0-89,1 3 450,10 7-360,-7-2 179,14 13-359,-16-11 0,3 5-90,-9-6 90,-2-1-270,3 7-90,-5-7-90,1 6-2158,-3 2 359,-5-5-7762,0 7 9275,-7-12 1,2-7-1,-3-3 1</inkml:trace>
</inkml:ink>
</file>

<file path=ppt/ink/ink1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0:07.96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14819,'12'26'5576,"-3"-5"-4406,-4-1-271,-2-4 1,1 1-271,0 1-89,0 2-180,1-1 0,-1 1-91,1-1-89,-1-1-270,0-1-269,0-1-811,0-1-269,1 3-1979,-1-1-6413,0 2 9320,-6-13 1,2-1-1,-4-8 1</inkml:trace>
</inkml:ink>
</file>

<file path=ppt/ink/ink1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0:08.35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 43 11400,'6'-25'5487,"3"9"-4767,0 14 0,4 9-1,-3 5 1,1 4 89,1 6-89,2 6 89,1 5-89,0 4 0,1 5 449,6 23-719,-6-13-1227,3 14 1137,-9-23-90,-4 0-91,-1-3-169,-3-1 80,-3-2-270,-7 15-89,-1-13-271,-6 11-180,1-19-89,-1-3-271,-1-4-2496,-20 10-471,13-16-2969,-14 6 7089,18-19 1,8-2 0,4-2 0</inkml:trace>
</inkml:ink>
</file>

<file path=ppt/ink/ink1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0:08.73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6 20215,'31'-2'1799,"-6"-1"-1889,-4 3-359,-4-1-361,2 1-359,2 1-270,2-1-450,-1 0-1439,0 0 3328,-2 0 0,-9 0 0,-3 0 0</inkml:trace>
</inkml:ink>
</file>

<file path=ppt/ink/ink1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0:08.91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7 0 16078,'-13'22'9265,"10"-7"-8816,17-9-179,6-6-270,-3 0-90,1 0-360,2 0-179,-1 0-181,-1-1-179,0 2-270,-1-2-1530,-1 2-7042,2 0 9365,-3 0 1,-4 0-1,-4 0 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3:39:15.861"/>
    </inkml:context>
    <inkml:brush xml:id="br0">
      <inkml:brushProperty name="width" value="0.17143" units="cm"/>
      <inkml:brushProperty name="height" value="0.17143" units="cm"/>
    </inkml:brush>
  </inkml:definitions>
  <inkml:trace contextRef="#ctx0" brushRef="#br0">1 0 16528,'4'32'1978,"-1"0"-1438,-2-6-90,0 4 0,1 2-91,-2 2-89,2 2 0,-2 1-180,1 0 90,-1 0-90,0 1 90,1-1-90,-1 0-180,1 1 0,0-2-180,-1 0-90,1-1-179,-1-4-91,1-1 0,-1-3-89,1-2-3393,0-3 1953,0-2 2159,1 1 0,-2-11 0,1 0 0</inkml:trace>
</inkml:ink>
</file>

<file path=ppt/ink/ink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7:41.88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37 8522,'23'-12'2429,"-2"2"-1890,-7 3 1620,12-7-1619,-8 4-180,9-4-90,-13 7-91,0 0-358,2 1-91,-3 0-450,3 1-179,-1 1-2250,11-1 721,-4 0 1580,12-2 0,-3-1 0,3-2 0</inkml:trace>
</inkml:ink>
</file>

<file path=ppt/ink/ink2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0:10.30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 35 13289,'19'-19'4048,"2"6"-3598,-5 11 0,3 5-181,-4 5 1,-1 2 0,1 4-180,-2 4 90,-1 2 0,-2 2-90,-3 0 0,-2 2 90,-4-1-180,-2 2 180,-9 12-180,0-9 90,-7 8-90,2-13 0,0-2 89,-1-2 1,1-2 90,1-2 90,0-2 0,2-2 270,1-2-91,-2 0 361,2-2-720,10-4 0,6-3-180,16-3-450,3 1-359,3 1-630,2 1-360,-1 2-450,-3-1-449,-2 1 2788,-4-1 0,-9 0 0,-3-1 0</inkml:trace>
</inkml:ink>
</file>

<file path=ppt/ink/ink2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0:10.65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14729,'28'0'3687,"-6"2"-2877,-14 13-90,-3-1-91,-2 2-89,0 2 0,-2 1-181,0 1 1,-1 0-90,0 1 0,-1 0-90,0 1 0,-2 0 0,0-2-90,0-1 0,-1-1-1,0-2 1,1-2 0,-1 0 90,-2 1-180,0-2 0,-3-8 0,7-8-90,0-8 90,8-3 0,2 3-90,1-2 90,3 1 0,1 0 90,2 1-180,2 2 90,0 3 0,0 1-3392,0 2 3482,0 3-90,0 2 0,-1 3 90,0 1-90,-1 3 0,-1 2 0,-2 0-90,-3 2 2853,-2 1-3663,-5 13 271,-3-9-91,-5 9-180,-2-13-89,-3-2-90,-1 1-361,-3-3-179,-1-1-1349,-2-3-1799,0-2 4767,-2-4 0,9 1 0,2-2 0</inkml:trace>
</inkml:ink>
</file>

<file path=ppt/ink/ink2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0:10.81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43 9512,'29'-27'3867,"-1"3"-2967,-7 9-91,2 1-89,1 1-270,1 1 89,0 2-269,-2 2 90,0 1-180,-2 2-180,0 1-90,-1 2-180,-2 1-90,-2 1-179,0 2-1,-2 1-1349,-1 2-1619,0 5 3508,-5 2 0,0-4 0,-6 0 0</inkml:trace>
</inkml:ink>
</file>

<file path=ppt/ink/ink2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0:11.14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2 0 12390,'-27'17'5937,"4"-3"-3779,12-4-1168,13-1-91,9 0-179,14-1-1,8-2-179,7-2-609,11 0 518,7-1-89,7 0 0,3-1-90,3-2 0,1 0-90,0-2-789,-1 0 789,-2 0-91,-3-2 1,-3 0-415,-7 0 414,-6-1-178,-9 2-1,-4-1-90,-7 1-90,-4 0-270,-4 1-899,-3 0-4138,-1 0 4498,-19 5-630,1-1-647,-19 5-3131,1-1 5607,-4 0 1,-5 2-1,-4 0 1</inkml:trace>
</inkml:ink>
</file>

<file path=ppt/ink/ink2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0:11.55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14 0 12660,'-17'24'3058,"4"-2"-2158,7-9-91,2 1-179,-1 3 89,2 1-269,-1 3 0,1-2-90,1 1 179,0 0-269,1 0 90,0-1-180,0 0 180,0-1-181,0 0 361,0-1-90,0 5 270,0-2 539,0 3-360,0-3-809,6-16-90,3-3-90,3-12 90,6-2 0,-6 6 0,4-1-90,2 3 90,2 2 0,5 5-90,-6 3 180,5 7-180,-12-3 180,4 5-90,-7-3 90,-2 1 0,-1 1-90,-1 6 0,-6 1-90,0 1-90,-5-3-179,0-5-91,-2-1-180,-1-1-89,-3-1-181,-1-2-89,0-1-91,-1-3-89,-1-1-360,-1-2-270,-2-2-1439,-1-3-2159,-2-4 5397,-1-2 0,-3-6 0,0-2 0</inkml:trace>
</inkml:ink>
</file>

<file path=ppt/ink/ink2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0:11.73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40 11311,'22'-23'3867,"-1"2"-2877,-6 11-91,2-1-89,2 2-181,0-1-89,4 1-180,0 1 0,1 0-90,0 2-91,-1 1-89,1 0-180,-1 2-179,1 0-91,-2 1-270,0 0-179,-1 1-1,-3 0-1349,-1 1-269,4 0-2969,-1 0 5397,2-2 0,-11 2 0,-2-1 0</inkml:trace>
</inkml:ink>
</file>

<file path=ppt/ink/ink2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0:11.92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0 14279,'22'12'5127,"-4"-2"-3868,-10 8-89,-2-2-1,0 4-270,1 2-89,-1 4-91,1 1-179,0 2-90,-2 0-90,1 0 449,2 23-719,-3-18-180,1 14-270,-4-25-179,-1-3-1080,0 0-360,1 2-2968,-2-2 4947,0 2 0,-1-11 0,0-3 0</inkml:trace>
</inkml:ink>
</file>

<file path=ppt/ink/ink2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0:16.18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6 80 7353,'-18'-11'899,"1"0"-899,7 2 1529,0 1 3419,0 0-4589,11 5-89,6 1-90,10 3 180,5-1-180,-2 1 90,3-1-90,5 1 179,24-1 1,5 0-270,4 0-755,16-1 0,0 0 755,-13 0-46,-9 0 1,0-1-45,7 0 90,14-1-90,-29 2-174,-4-1 84,-4 0-90,-5 1-89,-3-1-631,6 0 270,-12 0-1079,5 0-2338,-10 0 4398,-3 0 1,-4 1 0,-5 0 0</inkml:trace>
</inkml:ink>
</file>

<file path=ppt/ink/ink2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0:16.53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27 100 7353,'-30'8'2338,"0"0"-1618,2 0-180,2-2 89,2 0-89,3 0 0,3-1-90,2 0 359,2 0 1260,-2 1-1439,13 2-361,10-2 1,12 0 0,12-5 0,-2-2-90,7 0 0,3-3 0,6 0-509,5-1 509,4-1-90,4-1 0,3 0 0,0 0 90,2 0-90,-1 0-727,1 0 727,-2 0-2983,-2 1 2983,-6 1 0,-4-1-108,-8 1 108,-4 1 90,-5-1 219,-4 1-219,-2 0 0,-3 0 0,-2 0 90,-2 0-90,-2-1 412,-2 1-502,-2 0 3331,0 0-3960,1-3-2067,-3-1-542,-6-4-4318,-10 3 7466,-14 1 0,6 6 0,0 3 0</inkml:trace>
</inkml:ink>
</file>

<file path=ppt/ink/ink2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0:19.51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1 112 11400,'-7'-29'2249,"3"3"-2069,11 10 270,1 5-90,4 0-91,2 3-89,2 1-90,3 4-90,-3 3 90,1 6-90,-3 3 0,-1 4 0,-1 4 90,-3 3-90,-3 1 0,-3 3 0,-4-5-90,-2 0-180,0-6 1,-2 0-91,1 0-180,-2 0-90,1 0-89,-1-1-2070,0 0 2789,0 3 0,2-8 0,1 2 0</inkml:trace>
</inkml:ink>
</file>

<file path=ppt/ink/ink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7:43.30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7 368 13199,'-11'23'4858,"6"-3"-4319,15-11-179,5-6 0,12-7-90,2-4-90,9-5-90,4-4-180,5-3-90,0-3-2280,0-3 1920,-2 0 0,-1-3-1497,14-13 1228,-16 10-271,7-9-89,-21 14-1467,-5 4-1232,-3 0 3868,-4 1 0,-1-1 0,-2 0 0</inkml:trace>
</inkml:ink>
</file>

<file path=ppt/ink/ink2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0:29.58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8 14729,'24'-7'2248,"-1"6"-3953,5 46 1975,-11-18-1847,24 56 1757,-25-47 0,10 22 627,-12-24-717,0 1-170,1-1-10,-1 1-180,0-1-360,6 14 181,-6-13-91,3 9-1259,-3-6 720,-4-11 1134,1 6-1315,-6-15-1016,-1-1 2276,-1-1 0,-1-7 0,-1-1 0</inkml:trace>
</inkml:ink>
</file>

<file path=ppt/ink/ink2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0:29.80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08 59 9062,'-29'3'4317,"7"0"-2518,-1 4 90,8 0-270,1 3-809,10 2-91,6-2-89,10-1 0,3-2-91,5-2-89,5 0 0,3-1-90,4-1 0,0-2-181,2-2 91,-1-1-90,1-2 0,-3-1-90,0-1-90,-2-2 0,-2-1-90,-1-1-90,-2-2 0,-3 1-180,-2-1-269,-3 1-181,-1 0-89,-2 1-1440,-3 0 2339,0-1 0,-5 5 0,0 0 0</inkml:trace>
</inkml:ink>
</file>

<file path=ppt/ink/ink2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0:30.66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3 228 9781,'-4'-24'6027,"0"1"-4498,3 24-1079,3 27-90,1 0-91,1 19 91,-1-22 0,0 4 0,-1 0-90,2 2 0,-1 0-1,0-2-89,1 0-90,-2-3 90,1 0-90,-1-1 90,0-2-90,0-2 180,0-1 90,0 3 269,-1-1 91,-1 3-360,-3-7-3662,-4-14 3392,-1-5-90,-1-11 89,3-3-89,1-3 0,1-3 0,-1-6-179,3-4 89,1-4-90,2-6 3088,2-3-2998,3-7 0,3 0-90,3-3 90,3 2-90,2 2 0,2 5 0,1 5 46,0 5 44,2 6 0,-1 6-90,1 4 0,-3 6-89,9 3 89,-8 7 0,4 2 392,-9 7-302,-2 1-44,-1 3 44,-3 1 0,-2 2 0,-2 1 1,-4 9 89,-3-4 0,-3 5 0,-4-6 0,-1-2-90,-4 1 90,-11 5 0,4-5 0,-8 2-90,9-8-180,1-2-90,0-1-90,0-3-179,2 1-181,0-3-1259,2 0-1978,-3-1 4047,1-2 0,6 0 0,3-1 0</inkml:trace>
</inkml:ink>
</file>

<file path=ppt/ink/ink2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0:31.02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56 1 16887,'-22'12'2249,"1"3"-1619,5 11-1,-1 4-89,1 6-90,0 5-5661,2 4 5571,2 1 0,3 3 720,2 18-990,3-14 90,2 16-90,4-22-180,5 18-90,0-17-180,3 12-89,-1-24-91,1-3 869,0-5-3297,13 10 1439,-8-18-3059,10 6-89,-5-24 4677,-3-3 0,7-7 0,-4-2 0</inkml:trace>
</inkml:ink>
</file>

<file path=ppt/ink/ink2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0:31.68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5 1 14549,'14'19'1889,"-2"-3"-1440,-11 5 1,-1-3 0,0 2 0,-1 2-91,0 1 1,0 1 90,0 0-90,0 1-90,-1-1-1,0 1 1,0-1 0,-1-1 0,1-1 180,-2 7-91,1-9 181,-1 10 180,0-11 89,1 3-359,-2-6-270,0-14-90,0-8-90,1-17 0,2 1-90,2-3 90,1 4 0,1 0 0,0-3 0,0-1 0,2-1 0,1 1 0,0 1 0,2-1 0,-1 1 0,2-2 0,0 5 0,2-2-90,0 3 90,1 2 0,-1 2-180,1 2 90,0 2-180,-1 2 0,4 1 91,-1 6-1,3 3 90,-3 10 0,-5 7 90,-4 7-90,-4-2 90,-2-1 0,0-5 0,-2 8 0,1-6 0,-1 5 0,2-7 0,0 0 0,1 0 0,0 0 0,2-1 0,2 1 0,1 0-3392,1 1 3302,1 0 0,2 0 0,-1-2 0,2 1 0,-2-2 90,1-1-90,-2-1 3662,1 5-3212,-2-2 0,-2 4-180,-7-3-91,-7-2 1,-3-4 0,-3-2 0,3-3-90,-2-1 0,1-1 90,-2 0-270,1-1 0,0 1-89,0-2-811,1 0-359,-6-1-720,0-2-719,-1-2-1530,4-5 4408,8-5 0,8-9 0,4-6 0</inkml:trace>
</inkml:ink>
</file>

<file path=ppt/ink/ink2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0:31.89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26 10231,'24'-14'4588,"2"4"-3419,-12 9-180,2 5 1,-4 5-1,-1 4-89,1 5-1,-2 6 1,1 5-1,0 4-179,-1 5-91,-1 2-89,-2 1-527,0 1 347,-1 0-90,-1 1 0,-2-2-270,0-1 0,-1-2-270,-1-1-90,-1-1-270,-1-1-89,-1-2-181,0-4-89,-1-2-1,0-3 168,-2-2-5655,0 3 6477,-1-6 0,2-5 0,2-7 0</inkml:trace>
</inkml:ink>
</file>

<file path=ppt/ink/ink2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0:32.53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5 135 11490,'14'-27'2969,"-1"4"-1890,-4 12-269,3 7-361,-1 8 1,0 4 90,-3 7-90,-2 0 89,-1 3-89,1 4 0,-2 0 0,0 3-91,0 1 1,-2 0-90,-1 1 90,0-1-90,-3 1 89,0-2-89,-2-1 90,0 0-90,-2-3 0,-1 0 0,-2-3-91,0-2 1,-2 0 0,0-4 0,0-1 90,-1-4 0,-4-3-180,1-7-90,0-2-90,4-7 0,5-1-180,2-5 0,3-3-90,3-6 91,3-5-1,3-4 0,5-2 0,3-3-196,3 0 196,1 1 180,4 2-90,-1 6 90,3 1 0,-2 6-89,0 3 89,0 4 0,-4 5-90,1 1 0,-3 6 0,-1 1 0,-1 4 196,-3 4-286,0 2 1,-3 2-361,-2 2 360,-2 9-90,-4-3 1,-3 6 89,-5-4-270,-9 10 360,2-7 90,-8 7-90,6-10 0,-7 5 180,6-7-90,-2 3 90,7-7 90,2-2 450,-1 3 270,5 0-451,4 5 181,4-3-90,5-1 90,1-1-91,1 0 91,2 1-90,1 1 89,2 1-89,1 1-90,1 1 0,-1 1-90,0-2-91,-2 0 1,0-1-90,-2 1-90,0-2-180,-1 1-89,-2-2-181,-1 0-809,-1-2-540,1 4 1799,-2-2 0,-2-3 0,-1-3 0</inkml:trace>
</inkml:ink>
</file>

<file path=ppt/ink/ink2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0:32.70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0 16168,'21'1'5756,"-2"5"-4856,-13 8-180,-1 4-181,-1-3-89,0 2 0,0 1-180,0 2-180,0 0-180,1 1-270,-2-1-270,0-1-89,-1 0-181,0-2-1259,-1 0-809,0 5-2159,-1-2 5127,0 3 0,-1-12 0,1-4 0</inkml:trace>
</inkml:ink>
</file>

<file path=ppt/ink/ink2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0:32.94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21 14099,'26'-8'809,"-5"1"-1438,-2 5-2789,-3 0 3418,6 1 0,-11 1 0,3-1 0</inkml:trace>
</inkml:ink>
</file>

<file path=ppt/ink/ink2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0:33.09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2 12570,'35'12'1349,"-4"-3"-1079,-14-9-90,1 0-90,1-1-450,0-1-270,1 0-269,0 0-1260,-2-1-899,0-1 3058,-1 0 0,-8 2 0,-2 0 0</inkml:trace>
</inkml:ink>
</file>

<file path=ppt/ink/ink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7:42.77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26 651 8972,'-31'-2'4048,"4"2"-3509,5 3 91,8 2-90,2 6 89,5 0-89,2 4 180,0 1-181,3 2 91,1 0-90,3 2 89,1-1-89,3 0 90,4-2-91,3-2 1,5-2 0,5-5-181,7-4 91,10-8-747,7-9 567,15-10-888,7-10 708,8-9-180,4-6 0,2-4-270,0-2 90,-1-2-269,-4 0-136,-25 16 0,0-1-1585,24-20 1720,-29 22 0,-2 1-899,12-11-443,-8 5-6303,14-12 8185,-19 19 0,11-9 0,-19 18 0</inkml:trace>
</inkml:ink>
</file>

<file path=ppt/ink/ink2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0:33.38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59 9 15358,'28'-8'3958,"-3"7"-3328,-11 12-1,-2 6 1,-3-1-180,-1 4-1,0 2-179,-1 4 0,-2 3-90,-2 1 0,-2 3-180,-2 0 0,-3 1-180,-2 2 0,-3 0-90,-3 2-180,-1-1-2428,-29 43 1709,17-37-687,-22 31-1562,24-47-2249,0-3 5667,0-2 0,-2-2 0,-1-1 0</inkml:trace>
</inkml:ink>
</file>

<file path=ppt/ink/ink2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0:34.08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3 12480,'19'-9'4497,"-5"5"-3687,0 21-91,-6 5 91,3 6-270,-1 6 89,3 9-89,0 3 0,1 5-181,-1 2-580,-1 1 491,-1 0 0,-3-2-90,-1-1-3195,-2-5 3105,-2-2-90,-2-1-137,-1-5-43,-3 0-90,-2-2-180,-1-3-89,-3-2-1,-1-1-180,-1-5-89,0-2 111,-1-4-562,0-3-50,0-4 1310,-3-1 0,9-7 0,-3 0 0</inkml:trace>
</inkml:ink>
</file>

<file path=ppt/ink/ink2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0:34.54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14459,'25'5'360,"-1"0"-2429,-4-3-3328,0 0 5397,0 0 0,-8-2 0,-4 1 0</inkml:trace>
</inkml:ink>
</file>

<file path=ppt/ink/ink2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0:35.05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8 0 7713,'-24'36'1259,"3"-3"-989,7-7 90,2 2-181,2 0 181,2 2-180,2-1 0,3-1 0,3-1 0,2-1-90,3 0 0,2-1 0,2 0 0,2-4 89,1-2-89,1-4 0,1-2 90,0-3 0,0-3 90,1-2 270,5-6-180,-4-3-1,3-5 1,-5-4-90,-2-1 90,0-6 0,-1-2 89,-1-4 1,-1-1 90,-2-1 449,-1-10-629,-3 10 0,-1-6-180,-4 13 0,-1 2-91,-3 3 91,-2 2-90,-1 4-180,-1 2-269,-6 1 89,-1 6-450,0 2-539,0 8-450,7 4-1799,2 7 3508,7 2 0,8 3 0,4 1 0</inkml:trace>
</inkml:ink>
</file>

<file path=ppt/ink/ink2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0:35.78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53 12120,'15'-28'4587,"2"7"-4047,2 17-90,-2 6-180,1 7 90,-4 2-181,-1 4 91,1 4-90,-2 2-90,-1 1 0,-2 1 90,-2 2-180,-3-2 90,-2 0 0,-2 0 90,-4-1-90,-2 0 0,-3 1 90,-1-2 179,-8 8-89,4-8 0,-4 3 90,6-10 90,1-2 89,1-1 541,1-2 359,-1 2-1349,13-3 0,4-3-90,10-3 90,4-3-90,-4-1 0,0 1 0,3-1 0,-1 0 0,1 0-90,-1 0-90,-1 1-540,-1 0-449,5-1-270,-1 0-360,3 0-540,-4 0-3418,-4 0 5757,0-2 0,-8 2 0,-1-1 0</inkml:trace>
</inkml:ink>
</file>

<file path=ppt/ink/ink2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0:36.15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31 15 12300,'0'-14'5127,"-9"16"-4767,-3 9 0,-5 11-91,8-7 1,-1 2-90,1 1 0,0 1-90,0 0 90,1 2-90,0-1 90,1 1-90,1 1 0,0-1 0,2 0 0,0 2 0,1-2 0,2 0-90,1-2 89,2 0-89,1 1 90,2-1-90,1 0 90,1-1-90,2-3 90,1 0 0,1-2 90,0-1 90,0-3 0,0 0 270,6-2-91,0-3-89,3-3-180,-4-6 0,-5-5-270,-6-3-540,-7-1-359,-7 0-360,-6 3-540,-5 2-810,-3 4-5306,-3 3 8005,2 4 0,10-1 0,3 0 0</inkml:trace>
</inkml:ink>
</file>

<file path=ppt/ink/ink2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0:36.58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0 2 11400,'-33'-1'8456,"6"0"-7017,28 2-1169,43 2-2590,3 2 2500,32 2 0,-23-2 110,6 1-200,1 0 90,1 0-90,0 0 0,-2-1 0,-2-1-90,-6 0-180,-4-1 0,-9-2-630,8 1 271,-17-1-991,4-1-6475,-14 0 5584,-21-2 2421,-1 1 0,-11 0 0,3 1 0</inkml:trace>
</inkml:ink>
</file>

<file path=ppt/ink/ink2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0:36.98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43 1 14009,'-21'40'3238,"4"-8"-2608,10-5-91,2-6 181,-1 13-450,2-7 0,-1 8-90,2-9 0,0-2-1,-1 0-89,1 0 90,-1-2-90,1-1 0,0-2 0,-1-1 180,2-3 90,-2 4 90,1-3-450,11-5-90,-2-7 90,11-9 0,-5 0-90,1-1 90,2 1 0,-1 0-90,2 1 90,2 1-90,1 3 90,2 4 0,-4 5 0,-4 6 0,-6 2-180,-8 8 0,-3-8 0,-5 4-180,0-11 0,0-1-179,-3-1-91,-1 0-89,-2-2-91,-1-1 0,-1-2-269,0-1-90,-2-2-91,0-2-1078,0-1-1170,-1-3 3508,0-1 0,10 3 0,2 0 0</inkml:trace>
</inkml:ink>
</file>

<file path=ppt/ink/ink2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0:37.15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34 9691,'21'-20'3598,"-1"1"-2788,-5 8-1,1 0-179,1 1-90,1 0-90,0 2-91,1 0-89,1 0 0,0 2-90,0 0 0,-1 2-180,0 0-180,-1 1-90,-2 1 0,1 0-269,0 2-181,-1-1 0,0 2-269,-1 0-1440,0 0-1888,4 1 4317,-1-1 0,-5 0 0,-5 0 0</inkml:trace>
</inkml:ink>
</file>

<file path=ppt/ink/ink2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0:37.71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0 15358,'8'23'2609,"0"-2"-2160,-2-7 1,0-1-90,0 1 180,0-3 89,-2 3 451,2 0-631,-1-2 1,2 1-270,-5 4 90,-2 3-90,-3 1-90,-2 1 0,1-3-3392,0 1 3392,0 1 0,1 1-90,-1-1 90,1 1 0,1-1-180,-1-1-90,1-3 2762,0 0-3841,0 5-6567,0-3 7826,2 2 0,-1-10 0,2-4 0</inkml:trace>
</inkml:ink>
</file>

<file path=ppt/ink/ink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7:45.57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607 60 8882,'-17'-20'1799,"-2"3"-1529,-1 8-90,2 3 89,-1 2 1,4 2-90,0 1 90,-1 1-90,-1 1 0,-1 2 0,-1 2 0,-1 1 0,-2 3-90,-1 1 89,-1 4 91,-2 2-90,0 3 0,-2 3 0,1 1 0,-3 5 0,1 2 0,-2 3 0,0 1-1,1 2 1,0 1-1205,1 2 1115,0 1 90,1 1-90,0 1 0,1 1 90,1 1-694,-9 21 604,9-14 90,-5 16 0,11-20 0,2 1-475,1 1 475,1 1 0,1 1 89,-2 24-89,5-19-90,-1 18 0,7-26 90,1 1-90,3 1 0,0-1 90,2 2-180,2 0 180,1 4-90,2 0 0,1 3-90,3-1 90,1 0 90,7 24 662,-2-18-842,4 19 27,-3-26 63,-1 0-90,1 0 70,1 0 20,0-1 0,1-1 0,1 0-1,10 22 1,-6-19 0,8 17-90,-7-26 90,2-1 0,0 0 0,1-3 0,2 0-180,0-1 180,1-2-90,2-1 180,1-1-90,16 14 0,-9-12 0,12 9 0,-13-18-90,0 0 90,2-3-90,1-1 0,1-1 90,1-2-90,0-1 0,0-3 0,1-2 90,14 3-90,-12-7 0,10 2 0,-17-8 0,-2-3-87,0 0 87,-1-4 0,0 1 0,0-2 90,1-2-90,2-1 0,-1-2 0,3-1 0,-2-1 90,18-7 0,-14 2-2626,12-5 2626,-18 2 90,-1-1 443,-1-2-443,-1-1-90,2-3 90,-2-2-90,1-3 0,-3-2 0,-1-2 180,10-18-270,-11 7 83,6-13 7,-13 11 0,-1-2-90,-1-3 90,-1-1 0,-2-1 0,-1-1 0,-1-1-90,-3 1 90,0-2 90,0-17-90,-4 15-1,-1-14 1,-5 19 0,-1 0-90,-3-2 90,-1 0 0,-1-6 0,-2 1-90,-3-5-302,-1 2 302,-2-1 2951,-2 0-2861,-2-1 0,-10-25-946,3 21 946,-8-18 0,5 27-126,-1 1 126,-3 2 90,-3-2-90,0 3 0,-5-4 90,2 6 0,-20-25-180,12 19-158,-13-14 158,13 19 90,3 7-620,-5-4 530,4 5 0,-4 0 0,3 5 0,-3 1 0,-1 2 0,-2 2 0,-1 3-90,-25-9-90,14 12 0,-19-5-90,19 14-629,-31 0 449,17 6-172,-25 2-8,24 10-90,-9 4-2111,-6 6 1841,-9 4 450,47-4 1,0 1-506,-2 1 0,0 2 325,-5 2 1,-1 1-376,-2 2 0,0 1-344,-6 2 0,0 2-945,0 1 1,-2 2 2318,2-1 1,-5 3 0,7-1 0,-6 1 0,0 1 0,-4 2 0,0 0 0,0-1 0</inkml:trace>
</inkml:ink>
</file>

<file path=ppt/ink/ink2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0:49.84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3 98 7443,'21'-15'989,"-3"1"-899,-13 2-180,-7 1-4161,-10-3 4071,-1 7 679,-3 0-1218,-4 2 269,4 0 450,-5 1 0,12 2 0,2 0 0</inkml:trace>
</inkml:ink>
</file>

<file path=ppt/ink/ink2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0:50.30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64 8 8882,'-31'-4'3058,"3"1"-2338,8 2-91,2 2 181,1 0 89,-1 2 810,2 0-359,1 3-901,14 1-179,4 0 0,15 1-90,1-4 90,7 1-180,7-1 90,7 1-90,5 0 0,7 0-3392,3 0 3392,5 0-90,2 1-449,0-1 449,2 1 90,0 0-90,0-1 0,-1 2 0,1-2-584,-2 2 584,-1-2 90,0 2-90,-3-2 0,-3 0 0,-3 0 0,-4-1 90,-1-1-90,-1-1 0,-4 0 0,-2 0 0,-3-1 0,0 1 0,0-2 0,-1 0 0,0 0 0,-1 0 2882,-2 0-2702,11 0-90,-12-2 808,6 2-808,-13-2 1094,-3 1-1094,-2 1 0,-2-1-180,4 0-630,-2-1-2248,4 1 2968,-5-1 0,-9 1 0,-3 0 0</inkml:trace>
</inkml:ink>
</file>

<file path=ppt/ink/ink2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29.12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18327,'39'10'1619,"9"-2"-1170,11-6-2380,16 0 2290,10 0-1064,10 2 795,-44-3 0,-1 1-271,1 0 0,1 0 181,0 0 0,0 0-45,0-1 0,-1 1-90,0 0 0,0-1-1061,47 2 567,-9 0-181,-7-1-449,-10 0-540,-9-1-1529,-7-1-1675,-10-1 5003,-7-1 0,-5-1 0,-2-1 0</inkml:trace>
</inkml:ink>
</file>

<file path=ppt/ink/ink2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9:29.43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8 71 11131,'-26'18'5756,"3"-2"-3687,14-4-1169,12-2-91,6 1 1,13-3-91,5-2-179,10-1 0,10 0-773,9-1 593,9 0-91,5-1-839,3-1 750,3 0 0,3-1-90,0-1-1002,1-1 1002,-2 0 0,-1-1-90,-3 0 90,-4-2-712,-3 0 712,-4-1 411,-7-2-321,-5 1 90,-8 0 90,-4-1-1,-6 2-89,-5 0-90,-3-1 0,-5 1 633,-1-1-813,-4-1 529,-2 0-1969,-1-3-262,-4-2-2796,-4-4-5333,-8 0 9532,-6-3 1,4 9-1,0 1 1</inkml:trace>
</inkml:ink>
</file>

<file path=ppt/ink/ink2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0:50.75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7 7 10141,'-28'-4'5127,"2"1"-4767,23 3 360,5 1-540,51 6-90,-14-1-663,35 4 663,-22-3 0,6 2 90,1-1 0,2 0-2173,1 1 2173,0 0 0,1 0-384,1 0 384,-1-1 0,-1 0 0,-1 0 90,-2-1-1,-4 0 1,-4-2 0,-6 0 0,-4-1-337,-3-1 427,-7-1 219,-2 1-309,-4-2 2219,-3 0-2309,-2 1 615,-3-1-975,4 0-5165,-2-1-3020,-11-4 8365,-14 0 0,-16-4 0,-7 1 0</inkml:trace>
</inkml:ink>
</file>

<file path=ppt/ink/ink2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1:21.81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89 262 13919,'6'21'900,"0"-1"-631,0-5 1,-1 2-90,1 2 0,0 0 180,0 2-90,0 1-90,-1 0 89,1 2-89,-1 0 180,1 11-180,-1-8-90,1 8 90,-3-12-90,0 0 90,-1-1-90,0-2 90,-1-1 89,0-2 181,0 2 450,0 1-451,-1 2-269,-8-10-270,-2-8 90,-5-10-90,1-8-90,3-2 1,-1-5-91,0-4 90,0-7-90,1-3 180,0-6-90,2-3-135,2-1 225,2-2 0,2 3 0,3-1 90,3 2 0,1-1-3407,3 3 3407,1 2-90,3 4 90,0 3-90,7-4 90,-4 10 0,6-3 0,-6 14 150,0 4-150,-1 2 3392,1 3-3392,5 4-89,-4 2 89,4 3 0,-7 2 0,-1 3-90,-1 0 90,-1 3 0,-1 0 0,-3 2 0,-2 8 0,-3-4 0,-3 6 0,-4-6 0,-2 2 0,-3-1 0,-3 2 0,-2-2 0,-2 0 0,0-1 0,-1 0 0,0-2 0,0 0 0,2-2 0,0 0-90,3-3 90,0-1 0,2-1 90,2 0-90,-3 0 90,2 1-90,-3-1 0,8-3 0,2-2 0</inkml:trace>
</inkml:ink>
</file>

<file path=ppt/ink/ink2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1:22.13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32 1 9332,'-26'18'3058,"0"1"-2249,5 0 1,-2 3-180,1 3 89,0 3-89,3 0-180,1 2-91,2-1 91,4 0-180,1-1 0,4 1-90,1-2 0,4 0-90,2-1 89,2 1-179,4 0 180,1 1-180,4-1-90,1-1-179,3-2-91,0 0-180,3-3-179,0 0-1,2-3-359,0-1-91,1-2-269,1-3-630,-2-1-719,1-3 2788,-2-2 0,-8-3 0,-2-2 0</inkml:trace>
</inkml:ink>
</file>

<file path=ppt/ink/ink2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1:22.74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3 158 11311,'11'11'4677,"-4"-9"-4227,-4 32-1,-4-15 1,1 0-90,0 1 0,0 3-90,0-1-91,2 2 91,-1 0-90,0 0 0,0-1-90,1 0 90,0-1-90,-1-2 90,0-1-90,0-2 90,0 7 89,0-4 181,0 4-360,-2-5-270,-4-13 90,-3-10 0,-1-10-3482,1-7 3483,2 0-1,1-5 90,0-2-180,1-5 180,2-1-90,2-2 180,0 0-180,3-1 90,0 0 0,2 2 0,12-26 0,-5 25 0,9-17 0,-8 31 0,1 4 3392,1 2-3392,-1 5-90,0 2 90,0 3-90,4 3 180,1 6-180,-2 2 180,-3 5-180,-7-1 90,-1 2 90,-3 8-90,-4-3 0,-2 7 0,-5-6 0,-2 2 0,-3 1 0,-4 0 0,0-1 0,-3-1 0,0-1 90,-1-1-90,1-2 0,2-1 0,1-3 0,1 0 0,2-2 90,1-2 180,-2 1-91,16-3-89,5 2 0,12-3-90,3 2 90,-5 1 0,1 1-90,0 2 90,1 0 0,-1 1-90,1 0 90,5 7-90,-6-3 0,4 4-90,-9-4-180,0 0 0,-2 0-89,-1 0-91,-1-1-90,-2 0-989,0 0-180,-1 4-180,0 0 1889,2 0 0,-4-8 0,0-3 0</inkml:trace>
</inkml:ink>
</file>

<file path=ppt/ink/ink2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1:22.92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13829,'17'14'4857,"-4"1"-4047,-11 4-360,-2 3-91,-2 1-449,-1 2-719,-1-2-540,0-2-8482,1-3 9612,2-2 1,0-7 0,2-2 0</inkml:trace>
</inkml:ink>
</file>

<file path=ppt/ink/ink2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1:23.62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239 15088,'16'36'1799,"-4"-7"-1439,-8-9 0,-1-6 0,0 1-90,0-1-1,1 1 1,-1-1 0,0 0 0,2 4 0,-1-1 449,0 2 1,0-1-720,-5-16 0,-1-7-90,-4-12 0,3-7 0,1 3 0,1-5 0,1-1 0,1-3 0,2-1 90,1-2 0,2 0 0,0 2-90,2 0 90,0 2 0,1 2 0,0 3 0,0 2 0,0 3 0,0 3 0,1 2 0,0 3 180,1 3-90,5 4 90,-3 3 0,5 5 0,-5 3 90,0 4 180,2 5-1,0 2-89,0 4 90,0 1-90,0 3 89,-1 3-89,1 1 0,-1 2-180,-1-1 90,-1 1-180,-1-2 90,-2 0-91,0 0-89,-1-1-179,0-1-451,1 8 90,-3-10 1,1 5-91,-2-14-1169,0 6 0,0-5-270,3 2-449,1-8-1350,3-7 360,4-9 3508,-3-2 0,-2-1 0,-7 4 0</inkml:trace>
</inkml:ink>
</file>

<file path=ppt/ink/ink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4:30.31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43 114 10141,'4'-23'2609,"-2"0"-2339,-3 8-180,-3 0-1,-2 4-89,-4 3 90,-5 5-90,-2 4-3482,-4 4 3572,6 0-180,-6 5 180,8-1-90,-4 4 90,4-2-90,1 2 90,-1 1 0,2 2 0,0 0 3302,1 2-3302,0 0 0,2 2 180,1-1 0,2 2-90,1-1 0,1 1-1,2-1 1,0 0 0,2-1 0,2 0 0,0-1 90,3 0 0,0-1-90,3-1 90,1-1-91,2-1-89,1-2 90,2-2-90,1-1 90,0-2-90,2-1-3392,0-2 3392,0-2 90,-1-1 90,10-2-180,-6-2 90,7-2-91,-8-1 91,-1-2 0,0 0 3302,-1-2-3302,-2-1 90,0 0-90,-1-2 0,-2-1-90,-1-1 180,1-10-180,-5 6 89,1-9-179,-7 9 90,-1-2 0,-2 0 0,-2 0-90,-3-1 0,-2 0 0,-2 0 0,-8-9 0,1 9 0,-6-6 0,5 11-180,-2 0-179,-1 3-1,-1 2-180,0 2 0,-1 2-269,1 3-91,0 2-359,-2 3-2969,-10 6 181,7 1 4047,-8 6 0,9 0 0,-1 1 0</inkml:trace>
</inkml:ink>
</file>

<file path=ppt/ink/ink2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1:24.25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2 193 12390,'10'24'2159,"-2"-1"-1530,-6-5 1,-1 3-90,1 2-1,0 1-89,0 1 90,0 1-270,1 0 179,-1-1-179,1 0 0,-1 0 90,-1-1-90,0 0-90,0-3 89,0-1 181,0 4 360,-1-2-91,0 3-359,-3-7-450,-6-12 90,-1-6-180,-2-13 0,4-1 90,-1-7-89,0-4-1,0-5 90,2-5 0,1-1 0,3-21 90,2 14-568,4-15 568,2 18-90,15-32 90,-5 28-90,12-19 90,-10 36-90,1 5 0,0 3 90,1 4 0,-1 3 0,7 2 0,-1 6 0,0 3-90,-5 5 563,-8 3-383,-2 1 5,-2 8-95,-6 4 0,-3 2 0,-7 0 0,-2-5 0,-2 1 0,-3 1 0,-2-2 0,0 0 0,-1-1 0,-6 3 0,7-5 0,-3 2 0,9-8-90,2 1 0,-3 1 180,4 2 90,3 3 0,9 5-90,5-4 180,4 3-90,2-3 179,2 1-269,2 1 180,1 0-90,1 1 0,0 0-90,0 0 90,0 0-180,-1 0-90,6 7-90,-7-6-180,2 4 0,-9-9-179,-2-1-721,-1-1-449,-1 4-3148,-3 0 4857,-1 3 0,-2-10 0,-2-2 0</inkml:trace>
</inkml:ink>
</file>

<file path=ppt/ink/ink2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1:24.55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5 11490,'24'-9'2789,"-1"4"-2160,-8 9-269,1 6 90,-4 4-90,-3 4 90,-4 2 89,-6 1 91,-4 1-180,-2 0-1,-2-1 1,0-3-180,1-2 360,1-2-271,3 0-179,4-2-180,6 0-989,4-3-180,8-4-451,-3-3-268,3-3-631,-4-5 450,0-5-809,-4 1 2878,-1-5 0,-6 9 0,-1 0 0</inkml:trace>
</inkml:ink>
</file>

<file path=ppt/ink/ink2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1:24.73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8 3 11400,'32'-2'4498,"-7"1"-3689,-6 9-89,-6 1 0,0 4-91,0 1-89,-1 4-90,0 2-1,-1 3 1,-2 0-180,-3 0 0,-1 1-90,-2 0 0,-2 2-180,-2 0-90,-3 2 0,-1-1-270,-3 2-90,0-1-89,-3-1-181,-1-1-180,-1-1-89,-2 0-270,-2-3-270,0-1-1260,-2-2-1708,-1-2 4497,-1-2 0,-4-1 0,-1-1 0</inkml:trace>
</inkml:ink>
</file>

<file path=ppt/ink/ink2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1:25.22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1 20 11850,'-17'22'4408,"13"-6"-4048,14-9-91,11-5-89,-1-4 0,6 0-90,2 0 0,4-2-270,3-1-180,0-1-179,1 0-271,-2 1-179,-2-1-91,-1 0-359,-4 1-540,-2 0-719,-4 1 2698,-3 0 0,-8 1 0,-4 1 0</inkml:trace>
</inkml:ink>
</file>

<file path=ppt/ink/ink2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1:25.40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8 0 9961,'-22'16'3778,"2"-2"-1799,10-6-360,-4 1 270,5 0-1169,7 2-361,13-4-179,7-2 0,7-4 0,-2-2-90,4-1 0,1 0-180,2-2-90,0 1-270,-2-1-179,-2 0-271,-3 1-179,-1 0-360,-3 0-360,-2 0-5307,-2 0 7106,1-1 0,-8 2 0,0-1 0</inkml:trace>
</inkml:ink>
</file>

<file path=ppt/ink/ink2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1:29.82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62 205 8882,'-2'-26'4228,"-1"3"-2519,0 8-1350,2 17 631,1 4-810,1 42 90,-1-17-91,0 19 1,0-23 0,-1 1 0,1 1 0,-1 2-90,0-1 0,0 1 90,0-1-90,0-2 0,0 0 0,-1 0 90,0-2-180,0 0 179,1-3-179,-1-1 90,1-3 90,-1-2 270,0 4-90,0-2 0,-1 2-270,-5-7 0,-1-12-180,-3-5 90,0-9-90,3-2 0,-1-5 0,0-4-90,0-5 90,0-3 0,1-5 0,0-4 0,2-1-214,1-3 304,2 2-90,2-1 90,3 2 0,1-1-90,4-1 90,1 3 0,3 2 0,1 2 0,2 4 0,1 4 0,1 4 0,1 3-90,1 4 90,1 2-90,1 4 90,-1 4 214,-1 2-214,1 3 0,-2 3-90,1 3 90,-1 3 0,-2 2 0,4 11 0,-7-4 0,0 8 0,-7-6 0,-3 3-90,-3-1 90,-2 1 0,-3 1 0,-2 0 0,-1 0 90,-11 9-90,5-8 0,-8 5 0,6-11 0,0-1-90,0-2-90,1-2 1,0-2-631,-4 3-449,6-5-900,-6 4 2159,8-6 0,3-1 0,5-3 0</inkml:trace>
</inkml:ink>
</file>

<file path=ppt/ink/ink2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1:30.16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23 0 9691,'-18'19'2519,"0"1"-1889,6-1-1,-1 4-89,0 3-90,1 2 89,2 2-89,1 1-90,2 2 0,1 0 0,3 2-1,2 0-179,2 0 90,3-1-90,2-1 0,3 2-90,2-2 0,4 1 0,1-3 0,4-1-90,1-4 90,2-2-90,0-3 0,0-4-180,0-2-90,-1-3-90,-1-1 0,-1-3 1,-2 0-1081,3 0 1,-2-1 1439,0 1 0,-9-4 0,-4-2 0</inkml:trace>
</inkml:ink>
</file>

<file path=ppt/ink/ink2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1:31.57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1 83 14369,'-3'35'809,"1"0"-629,2-6-90,0-3-4251,0-3 4251,1-5-1409,-1-1 1589,1 17-181,-1-12 1,1 12 90,0-16-90,-1 0 2269,0 1-2180,1 7 3393,-2-7-3482,1 12 0,-1-8 0,0 3 90,-1-3 270,1-4 90,-1 0-540,-6-13 0,2-7-90,-4-10 0,4-6 0,1 0-90,1-3-3392,0-2 3392,0-5 90,1-2 0,1-4 0,2-1 0,1 0 90,2-1-90,1 0 90,2 1-90,2 1 90,1 2 3302,2 2-3302,14-20 0,-8 21 0,11-12-90,-12 24 90,-1 5 0,0 2 0,0 4 0,6 3 0,-5 3 0,3 4 0,-7 2 0,0 3 0,-3 2 0,-1 1 0,-3 2 0,-2 0 0,-3 2 0,-2 1 0,-2 0 0,-3 1 90,-2-1-90,-1 0 0,-2 0 0,-1-1 0,-2-1 0,1-3 0,-1 0-90,0-2 90,1-1 0,2-2 0,0-1-90,-3 0 270,3-1 90,6 4-180,10-1 90,6 1-90,6 2 90,-3-3-90,2 3 0,2 2 90,0 0-90,2 2 0,-1 1 0,-1 1-90,0 0 89,0 1-89,-2 0 90,-1-1-90,-1 0 90,-2-2-90,3 8-180,-5-7-89,2 4-361,-5-8-269,1 3 899,-1-2 0,-2-3 0,-1-4 0</inkml:trace>
</inkml:ink>
</file>

<file path=ppt/ink/ink2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1:31.80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0 14369,'15'36'2878,"-3"-6"-2338,-11-8-90,0-4-91,-1 0 1,1 1-90,-1 1-90,1-1-90,-1 0 90,1 0-90,0-1 0,1 0-360,-1-1-360,0 4-269,0-1 899,0 2 0,0-11 0,0-4 0</inkml:trace>
</inkml:ink>
</file>

<file path=ppt/ink/ink2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1:32.17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13379,'23'4'2339,"-3"3"-1709,-12 8 89,2 6-4431,0 2 4252,2 7 0,1 2 769,0 3-859,0 1 0,0 1-181,-1 0 1,-2-2 90,-2 0-90,-2-2 0,-1 1-180,-2-1 90,-1-2-90,-2-1-90,-2-2 0,-1-2 3392,0 0-3482,-3-1-180,0-3 0,-1 0-90,-1-3-90,-2 0-179,0-2-91,-2-2-179,0-1-1530,-6 1 720,3-5-900,-4 0 2609,6-6 0,6-2 0,1 0 0</inkml:trace>
</inkml:ink>
</file>

<file path=ppt/ink/ink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4:04.53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23 17337,'25'11'2249,"0"-1"-1620,-6-9-179,5 1-2632,64-1 2451,-42 0 612,22-2 1,1 0-433,-24-2-359,29-1-269,-46 2-1081,-6-1-3057,-6-2 89,-12-4 381,-8 2 3847,-8-2 0,2 6 0,3 1 0</inkml:trace>
</inkml:ink>
</file>

<file path=ppt/ink/ink2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1:32.71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8 21 16977,'-27'-6'-1147,"12"-2"0,10 6 1,8-2-1</inkml:trace>
</inkml:ink>
</file>

<file path=ppt/ink/ink2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1:34.27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9 119 14189,'3'26'1619,"0"-1"-1169,-2-8-1,0 2-4250,0 2 4161,0 3 822,-1 0-912,1 1 0,0 1-180,0 0 90,-1 0-90,1 1 3464,-1 0-3464,2 11 0,-1-9 0,0 8-180,0-13 0,0 0-180,1-3-36,-1-1-233,0-2-1350,1 9 809,-1-6-3507,2 5 4047,2-21 181,-3-8 179,1-15 90,-6-5 90,0 2-90,0-4 180,1 6-90,-2-3 90,1-2-90,-2 0 90,0-4 0,-1-1 179,1-3-3391,0-2 3392,0 1-6,1-1-84,1 1 89,1 1 1,2 2-180,0 1 90,1 2 270,2 1-180,12-22-90,-4 20 3388,9-14-3478,-7 24 90,2 5 0,0 1 9,2 4 81,0 3-180,0 4 180,1 2-90,1 3-90,0 2 90,0 4-90,-1 2 90,-1 1 0,-2 2-90,-2 1 179,-3 2 1,-1 0-90,-3 1 90,-1-1-90,-4 0 90,-1-1-180,-3 1 90,-1 0-1,-7 7-89,2-7 0,-5 4 0,3-7 0,-2-3-90,1 0-90,-1-2-90,1-1-89,0-2-451,1-1-180,-6 1-629,2-2-2428,-3 0 3957,2-4 0,8-1 0,1-1 0</inkml:trace>
</inkml:ink>
</file>

<file path=ppt/ink/ink2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1:34.57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18 1 13289,'-24'15'1619,"3"1"-1079,10 0 0,-1 3-180,1 3 89,0 4-179,2 0 180,1 2-90,2 2-90,3-2-1,2 2 271,4 13-360,1-10 0,4 12-90,1-15 90,0 0-180,1-2 180,0 0-180,2-2 0,-1-3-90,0-1-450,5 5 90,-3-8-89,3 4-91,-4-9-989,5 1 629,-4-5-1438,4 1-2699,-1-5 5127,-1-3 0,-4-1 0,-4-2 0</inkml:trace>
</inkml:ink>
</file>

<file path=ppt/ink/ink2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1:35.90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5 187 15358,'7'26'720,"-2"-1"-450,-4-8 0,0 1-91,-1 3 1,1 1 180,-1 12-270,0-7 90,1 8-90,-1-10 0,0-1 90,0 9-180,-1-9 90,1 7-90,0-11 90,0-2-90,-1 0 90,0 4 0,1-2-1,-1 3-358,-1-3-1,-2-14 0,0-7 180,-4-16 0,3 0 0,0-5-90,1 4 90,0-3-90,1-1 90,0-2 0,1-2 1,0-1-1,2-1 0,0-4 0,2 1 90,0-3-90,2 1 90,1 1 0,1 1-90,0 1 90,12-20 0,-6 18 0,8-13 0,-9 25 0,1 1-90,0 4 90,0 0 0,1 2 0,-1 1-90,-1 3 90,1 1 0,-2 2 0,6 1-90,-1 4 180,14 23 0,-15-2 0,4 19-90,-18-17 0,-4-1 90,-1-5-90,-2 0 0,-1 1 90,-2-1-90,0 0 0,-1-1 0,0-1 0,0-1 0,0-1 90,1-2-90,0-1 0,-1 3 90,0-2-90,-2 1-90,1 0 180,4-1 89,3 2 1,6 1 0,4 0 0,3-1 90,-1-1 0,2 1-90,0 2 0,1 1 0,1 0-1,1 1-89,0 1 90,0 0 0,2 1-90,-1 0 90,0-1-180,-1 0 180,0-1-180,0 0 90,0-1-90,-2-2 90,-1 0-90,-1-3 0,0 0 90,1 2 0,0-1-720,1 1-5936,-1-2 6566,-2-10 0,-2 2 0,-3-7 0</inkml:trace>
</inkml:ink>
</file>

<file path=ppt/ink/ink2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1:36.53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50 12030,'4'-21'2519,"2"4"-2070,9 9-89,2 5-90,5 4-90,-5 4 0,1 2-90,-6 2 0,-1 1 90,-1 2 0,-1 1-1,-3 1 91,-1 0-90,-2 1 0,-2 1-90,-2-1 90,-1 1 90,-1-1-90,-2 1 0,0 0-90,-2 0-1,0-1 91,0-1 0,1-2 0,-2 4 270,1-2 270,-2 3-181,2-3-449,9-4 0,6-5-90,8-4 0,2-5-90,-1 0-270,0-1-179,1 0-181,-2 0-1079,0 1-450,0 0-5486,-2-1 7735,0 0 0,-7 3 0,-2-1 0</inkml:trace>
</inkml:ink>
</file>

<file path=ppt/ink/ink2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1:37.38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32 11041,'5'-23'6836,"2"15"-6386,-2 35-1,0-1-4250,0 23 4250,-3-19-344,0 18 0,0 4 75,0 1-155,0 0 1,0-2 154,-1-13-90,0 0 0,0 0 179,1 14-179,0-14 0,-1 10-180,0-19 0,0-3-89,0-2 2113,-1-2-2564,1-2 3207,-1 3-4826,1-2-2499,-2 1-1098,-2-16 5846,1-11 0,-2-2 0,4-4 0</inkml:trace>
</inkml:ink>
</file>

<file path=ppt/ink/ink2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1:38.03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5 201 10321,'9'33'2069,"1"-3"-1529,-5-12-1,1 2-89,0 1-90,0 0 90,-1 1-1,0 0-89,0 1 0,0-1 0,-1 0 89,0-1-179,-2 0 0,0-2 270,0-2 0,-2 7-1,0-2-179,-2 4 0,-2-6-180,-4-6-90,-5-8-90,0-10-90,-1-6 0,3-6-90,4 0 90,0-4-90,1-4 0,0-2 0,1-5 90,2-2-90,1-2 90,2-1 0,2 0 90,2-3-89,2 1-1,8-16 90,-2 16 0,6-8 0,-4 20-90,2 2-3302,1 2 3392,1 3 0,0 3-90,0 3 90,-1 3 0,0 3-90,-1 2 90,6 4 0,-7 3 3392,5 3-3392,-8 1 0,-1 3 0,-2 1 0,-2 2 0,-4 7 0,-2-4 0,-4 7 0,-4-6 0,-2 1-90,-2 0 0,0-1-90,-2-1-90,-7 4 180,5-5 0,-4 3 0,6-8 90,2 0-90,1-2 90,-2 2 90,1-1 360,1 3-90,9 2-180,6 1 90,5 0-91,3-1 1,-2-2 90,2 1-90,0 0-90,1 1 90,0 0-90,0 1 0,0-1-90,0 1 90,-1 0 0,-1 0-180,-1 1-90,0-1-180,-2-1-90,0-1-179,-2-1-900,0 1-540,1 2-5037,-2 0 7106,2 1 0,-4-7 0,-1-3 0</inkml:trace>
</inkml:ink>
</file>

<file path=ppt/ink/ink2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1:38.27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12660,'19'11'4317,"-2"5"-3777,-11 4 0,-1 0-181,-2 0 1,-1-4 180,-1 0-270,0 7 0,-1 1-450,0 6-180,-1-3-90,1-4-989,-1-4-6027,-1-3 7466,-3-12 0,3 1 0,-2-10 0</inkml:trace>
</inkml:ink>
</file>

<file path=ppt/ink/ink2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1:38.53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8 1 13289,'23'21'2519,"-3"1"-1799,-12-4-91,2 4 91,-1 2-4432,1 2 4252,0 3 769,-1-1-859,1 0-1,0 1 1,-2 0 0,0-1-90,-3 0-90,0-1-91,-3-1 91,-2-1 3122,-1 0-3392,-3-2-180,-2 0-89,-2-1-91,-1-2 0,-2-1-180,-1-1-89,-1-2-181,-1-1-89,-1-2-1350,-7 1 540,6-5-5217,-5 1 6926,1-8 0,10-1 0,-3-1 0</inkml:trace>
</inkml:ink>
</file>

<file path=ppt/ink/ink2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1:54.73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3 59 13110,'-25'-6'8275,"1"0"-7915,20-4-181,9 3-89,9-2 0,10 4 0,-3 2 0,3 0-90,1 1 90,4 0-180,2 1-90,2 0-89,1 0-181,1 1-90,-1-1-179,-1 0-181,-3 1-179,-2 0-1,-4 0-179,-2 0-2879,-4 2 4138,-1 3 0,-9-3 0,0 2 0</inkml:trace>
</inkml:ink>
</file>

<file path=ppt/ink/ink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4:05.16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79 148 10591,'-2'29'2788,"1"1"-1978,2-7-1,0 4 1,0 3-90,-1 3-91,0 3 1,0 0-1,0 2-179,0-1 0,-1 1 0,-1-2-90,1 0-1,-2-1 1,1-1 360,-3 9-450,1-12 449,-4 15-449,3-24 0,-3 4 90,1-12-91,-5-2-179,-1-6 0,-2-3-90,0-8-90,3-6 0,0-6-359,-6-26 269,5 6-180,-3-43 270,10 26-90,5-45-144,6 38 279,3 8 0,2 1-45,6-8 0,7 6 0,2 1 0,3 6-211,21-20 211,-22 45 90,23 1 0,-18 11 0,26 7-90,-32 10 90,6 7 0,-12 0 0,-4 2 137,-4 2-47,-2 0-180,-3 1 90,-4 2 399,-3-1-399,-3 1 0,-4 1 0,-3-1 90,-4 1-90,-3-1 0,-2-1 0,-2-2 0,-2-2 0,-14 2 0,8-5 0,-10 1-90,14-7-450,-10-2 180,11-2-2968,-19-5 450,21-2 2878,-6-4 0,19 3 0,5 1 0</inkml:trace>
</inkml:ink>
</file>

<file path=ppt/ink/ink2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1:54.91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55 39 7713,'-30'8'3687,"3"-1"-8267,3 0 5659,4-1-90,1-1 1949,3-1-1049,0 0-490,13-4-1129,14-2 0,12-5 90,12 0-180,19-3-90,-11 2 3033,17-3-3123,-17 4-270,-1 1-90,-3 1-217,-2 0-142,-3 1-181,-3 1 1,-2 1-271,-4 1-269,-1 0-632,-2 1-1617,-2 0 3697,-3 0 1,-8 1 0,-2-1 0</inkml:trace>
</inkml:ink>
</file>

<file path=ppt/ink/ink2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1:55.34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02 0 11760,'-12'5'8366,"7"-5"-7827,-13 34-89,10-14-90,0 2-90,0 2 89,-1 1-269,0 1 180,-1 0-180,1 0 0,1 0-90,-1 0 0,2-2-270,-1-1 0,2-1-89,-1-2-91,2 0-90,-1 0-89,1-3-1,1 0-899,-3 4 0,2-6-180,-3 9-360,2-9 2069,-1 2 0,3-9 0,1-3 0</inkml:trace>
</inkml:ink>
</file>

<file path=ppt/ink/ink2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1:55.56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42 0 11940,'19'11'4408,"-7"4"-3689,-14-1-179,-4 4 0,0-3-91,-3 2 1,-1 0-90,-1 2-90,-2 1 0,-1 2-90,1-1-91,-1 0 1,0 1-180,0-1-179,0 1-91,1-1-90,0 0-270,0-2 1,2 1-91,0-3-89,0 1-181,1 0-89,0-1-180,0 0-810,2-2-719,-1-1 2878,2-1 0,3-6 0,1-2 0</inkml:trace>
</inkml:ink>
</file>

<file path=ppt/ink/ink2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1:55.94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21 13469,'19'-11'2789,"-1"3"-2519,-2 7-91,-2 2 91,1 3-90,-3 1 0,1 3-90,-1 1 0,1 3 0,-1 0-90,-2 2 90,-1 1 0,-1 2-90,-2-1 90,-2 2-90,-3-2 90,-1 1 270,-3 8-181,0-7 91,-3 5 0,1-8 90,-1-1 0,-1-1 539,0 0 181,-1 2 89,0-1 360,-1 2-1259,8-4-90,7-6-90,11-3-90,2-5 0,5-2-90,-4 1-90,2 0-90,1-1 0,0 1-90,1-1-89,0 0-91,-1 1 90,0 0-179,-1 0-1,-2 0-90,-2 0-1079,-2 1-90,4-2-179,-3 2-5218,3-2 7286,-4-1 0,-8 3 0,-2-1 0</inkml:trace>
</inkml:ink>
</file>

<file path=ppt/ink/ink2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1:56.35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52 79 8072,'6'-24'2069,"0"3"90,-1 7 2878,-1 1-4587,-8 8-90,1 3 89,-9 9-89,2 3 90,-1 1-90,-2 2-90,0 1-1,0 1 1,-1 0-90,0 2 0,0 1 0,-1 1-180,1-2 90,2 1-180,0-1-90,1 0-180,0-1 0,1 0-179,0-1-181,1-1-89,1-1-1080,1-1-2339,-3 1 4228,0-3 0,3-2 0,1-5 0</inkml:trace>
</inkml:ink>
</file>

<file path=ppt/ink/ink2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1:56.54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0 15808,'24'9'3238,"-1"0"-2338,-8 3-91,3 1-269,1 2 89,3 2-269,1 2 0,2 1-90,1 1-90,-1 0-270,-1 0-180,-2-1-90,-1-1-179,-1 0-181,-1-1-180,-2-1-179,-1-2 0,-3-1-181,-1-2-3327,-1 0 4587,-1 2 0,-5-8 0,-1 0 0</inkml:trace>
</inkml:ink>
</file>

<file path=ppt/ink/ink2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1:57.36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6 154 11311,'0'-32'2248,"0"3"-1618,4 15 0,1 0-91,1 1-89,3 0 0,1 1-1,2 2-89,0 2 0,3 3 0,0 2 0,0 3-180,3 2 179,-1 4-179,1 1 90,-1 4-90,-1 1 0,-3 2-90,-1 2 90,-4 3-90,-3 0 0,-3 2 0,-4 0 0,-3 3-1,-3 1 1,-4-1-90,-2 1 90,-2-1 0,-2 1 0,-2-3 270,-10 7-180,8-9 180,-5 3 0,10-9 539,-2 1 90,6-5-449,-6 5 180,8-8-630,10-1 0,7-5-180,16-4 270,-2 0-270,2-1 0,-6 2-90,2-1-90,1 0-180,-1 1-719,8-2 359,-8 2-1169,5-1 1,-5 0-1,0 2-1529,0 1 3508,0 2 0,-10-1 0,-1 0 0</inkml:trace>
</inkml:ink>
</file>

<file path=ppt/ink/ink2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1:57.74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0 2 12300,'17'-2'4767,"-5"6"-4317,-9 16-180,-4-1 0,0 1 0,-1-4-1,0 0-89,-1 0 90,0 1-180,1-1 90,-1 1-90,0-2 90,0 0 180,-1 3 269,1 0 451,-1 1-631,0-3-449,5-13-90,2-4 90,9-12-90,3 1 90,7 3 0,1 6-89,-3 3 89,-2 5 0,-6 1 0,-1 2 0,0 2 0,-1 1 89,-3 1-89,0 1 90,-2 1-90,-1 1 90,-3 7-180,-1-5-89,-3 5-91,-2-8-90,0 0-90,-2-2-90,-1 0-89,-2-2-181,-1-1 91,0-2-1170,-2-1 809,-7-2 1,5-3-270,-6-3-810,7-3-989,0-3 3148,0-2 0,6 3 0,2 1 0</inkml:trace>
</inkml:ink>
</file>

<file path=ppt/ink/ink2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1:57.89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23 8612,'20'-22'2968,"-1"3"-2248,-4 7 0,1 1-181,1 0 1,0 1-180,1 2 0,-1 0-181,1 1 91,-1 2-180,0 0 90,-1 2-180,0 2-360,5 1-809,-5 2 90,7 5-4498,-11 0 5577,2 8 0,-9-9 0,-1 3 0</inkml:trace>
</inkml:ink>
</file>

<file path=ppt/ink/ink2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1:58.23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4 0 9602,'-21'9'7555,"1"1"-6835,18-1-181,3-1 1,15 1-180,6-5 0,5 1-90,5-1-1,7 0 1,2-1-90,4 0-324,2 1 234,-1-2-90,0 1 0,-3-1-269,-3 0-1,-5 1-270,-3-2 0,-4 1-269,-3-1 89,-5 1-629,-1 0-2519,-2 0-1349,-12 7 5217,-6-1 0,-5 0 0,-2-3 0</inkml:trace>
</inkml:ink>
</file>

<file path=ppt/ink/ink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4:05.61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42 23 11940,'-3'-16'5397,"-4"9"-4677,-8 16-1,-1 5-89,2 3-90,-1 3-91,1 4 1,0 2-90,1 4 0,2 1-90,2 3-91,3 0 1,3 0-90,1 1 90,3 1-90,0-1-90,3 1-90,1-2-180,2 0-305,1-1 125,1-2-89,1-3-181,1 0-89,0-4-361,0-3-89,1-3-180,0-3-270,0-4-4462,1-3 6171,3-5 0,1-9 0,3-3 0</inkml:trace>
</inkml:ink>
</file>

<file path=ppt/ink/ink2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1:58.60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89 1 14639,'-11'29'2968,"1"2"-2248,8-6-451,1 4 91,1-5 0,1-2 0,0-1 0,1-1 269,0 4 720,-1-5-359,2-2-810,7-9-90,2-5-90,9-7 0,1-1 0,3 4 0,-5 2 0,0 4 0,-7 0-90,1 2 90,-1 2 0,-1 1-90,-1 1 90,-1 1 0,-3 1-90,-2 0 90,-2 6-90,-2-4-90,-4 4-90,-2-6-180,-3-1 1,-2 0-91,-3-1-180,-2-2-89,-2-1-91,-1-2-89,-1-2-90,-1-2-181,-1-2-89,-1-2-1259,0-2-1350,-2-3 3958,1-2 0,-3-5 0,-1-1 0</inkml:trace>
</inkml:ink>
</file>

<file path=ppt/ink/ink2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1:58.93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48 9781,'19'-9'2969,"-1"0"-2340,-5 4 1,1 0-180,1 0-90,0 1-1,0 1-89,1 0-90,0 1 0,0 0-180,1 1-90,0 1-180,0 1 90,0 0-90,-1 1-89,1 0 89,-1 1 0,-1 0 0,0 0 90,0 0-90,-1-1 180,4 1 450,1-1 1259,2 1 270,-1-2-630,-2-1 91,-1 2 179,-5 3-180,-3 5-809,-4 8-1,-2 0-179,0 3 0,-2-4-90,1 1-90,-1 1 0,0 2-90,0 0-90,0 2-360,-1 0-270,0-1-179,0 0-181,-1-2-179,0-1-270,0-1 89,0 0-2337,0-3-3689,-2 4 7376,-1-4 0,1-3 0,1-7 0</inkml:trace>
</inkml:ink>
</file>

<file path=ppt/ink/ink2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1:59.29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1 31 14819,'-10'-13'5486,"13"4"-5126,13 2-180,10 5-90,-2 2-180,2 1-270,4 0-269,0 0-361,0 2-89,-1-1-450,-3 1-360,-3 1-810,-4 0 2699,-5 1 0,-6-2 0,-3 0 0</inkml:trace>
</inkml:ink>
</file>

<file path=ppt/ink/ink2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1:59.42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1 12750,'18'14'989,"3"-2"-809,2-12-90,5 0-270,4-2-360,5 0-629,2-2-900,4 0-850,-2 0 2919,0-2 0,-1-1 0,0-1 0</inkml:trace>
</inkml:ink>
</file>

<file path=ppt/ink/ink2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4:33.908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3 0 24575,'-1'6'0,"0"-1"0,1-5 0</inkml:trace>
</inkml:ink>
</file>

<file path=ppt/ink/ink2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4:40.10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1 0 12570,'-2'23'1169,"-2"2"-719,0-3-90,0 3-1,-1 3 1,2 3-90,-1 0 0,1 2 0,0-1-90,1 1 0,1-1 0,0-2-91,0 0 1,0-2 0,1 1-90,-1-2-90,0 0-89,0-2-1,0-1-90,-1-1 0,0-3-450,0-1-359,-1 1-1080,-2-4-449,-4-4 629,0-15 1979,-1-7 0,6-1 0,2 4 0</inkml:trace>
</inkml:ink>
</file>

<file path=ppt/ink/ink2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4:40.42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500 7982,'1'-50'3329,"1"21"-2970,0-22 1,-1 32 0,2-2 0,4 15-180,3 10 0,1 8 89,2 4-179,-2-1 180,0 1-90,2 3 0,1 0 0,1 3 90,2-1-90,-1 1-1,2 0 181,-1 0-180,0-1 90,0-2 90,0 0 90,-2-3 179,-1-1 1,-1-2-1,0-3 451,-3-1-91,6-1-539,0-6 0,1-3-90,-1-6-1,-4-4-89,1-5 0,-1-5 0,0-4 0,0-5 0,0-4-1,-1-4 1,1-1 0,-2-1-90,0-1 0,-1 1 0,-1 3 0,0 1 0,-2 3-90,0 3 0,0 2 89,0-6-179,-2 11-269,1-5-901,-3 13-719,2-5-989,0 3-1709,0-2-2789,2 17 7376,1 5 0,-2 6 0,-1-1 0</inkml:trace>
</inkml:ink>
</file>

<file path=ppt/ink/ink2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4:40.55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0 10951,'13'23'2069,"-1"-5"-1800,1-11-89,-1-2-180,3-1-270,1 1-179,2-1-271,1 0-1349,0-1-539,0-1 2608,-2 0 0,-8-1 0,-2 1 0</inkml:trace>
</inkml:ink>
</file>

<file path=ppt/ink/ink2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4:40.70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9 65 10501,'-21'14'3778,"13"-3"-4048,18-8-90,7-2-4341,6-4 4161,-3 0 770,2-2-1039,2-2-181,1 0-449,1-3 0,1-2 1439,0-1 0,2-3 0,0-2 0</inkml:trace>
</inkml:ink>
</file>

<file path=ppt/ink/ink2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4:40.86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8 10951,'21'-7'5487,"-8"10"-5038,-5 12-359,-7 10 90,0-4-90,-1 2-180,0-6 0,-1 1-180,1 2 1,0-1-181,0 1-180,0 0-179,0 0-181,-1-1-269,2 0-3778,-1 0 5037,1 4 0,-1-12 0,1 2 0</inkml:trace>
</inkml:ink>
</file>

<file path=ppt/ink/ink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4:06.00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347 10051,'17'-19'6297,"-4"9"-5488,-4 19-179,-5 5-1,0 5-89,-2-1 0,1 1 0,-2 4-91,2 1-89,-2 0 0,1 0-90,-1 1 90,0-1-181,-1-1 1,1-2 90,-1-2 180,0-1 90,-1 4-271,-3-2 91,-2-1-360,-4-12-90,-1-13-90,1-8-89,4-11-1,3-1 0,2-5 0,3-8 180,2-3-460,4-8 460,3-1 0,3-2 0,2 0 0,1 3 90,3 3-180,1 3 180,0 6-90,0 4 3,-2 7 87,1 5 90,-3 5 180,1 5-1,-1 5 91,0 5 0,-1 5-90,0 5 457,1 5-8,4 20-3750,-5-2 3301,3 14 0,-7-6-91,-2 1 1,-2 3-90,0 0 90,-2 2-90,0 1-144,-2-1 54,-1-3 0,0-1-180,-2-3-270,0-3-90,-2-2-989,0 8 540,0-13 3230,-1 5-5030,1-15 2789,-2 1 0,2-9 0,-1-1 0</inkml:trace>
</inkml:ink>
</file>

<file path=ppt/ink/ink2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4:41.20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6 149 12840,'-6'8'4947,"9"-9"-4497,-21 31-181,15-10-89,2-4-90,2 6 90,2-5 900,38 42-990,-19-32-1,27 30 1,-28-46 0,-2-3-90,0-2 90,0-3-90,-1-3 90,0-3-90,-1-3 0,0-3-90,2-11 90,-6 2-90,1-9-90,-10 5-89,-6-13 179,-3 7-540,-33-43 270,16 39-1169,-39-39 899,37 51-89,-13-10-91,21 20 1,1 1-990,1 2 1799,-1 0 0,8 4 0,-1 0 0</inkml:trace>
</inkml:ink>
</file>

<file path=ppt/ink/ink2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4:41.48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4 100 8072,'22'12'4228,"-6"-2"-2699,-2 6-809,-7 1 449,0 1-629,-2 8-1,-3-9 1,0 5-90,1-5 0,0 0-91,1 1 1,1 1 0,2 0 0,1-1-90,2 0-1,1-2 91,2 0-90,1-1 809,23 5-719,-16-11-90,18 2 0,-22-13 0,0-4-90,0-4 90,0-4-91,-1-3 91,-1-4-90,-2-3 0,-2-1 0,-3-2-90,-2-1 0,-3 0 0,-3 1 0,-3 0-90,-2-1-90,-4 1-270,-2 2-180,-4 1-89,-3 2-91,-4 4-179,-1 1-1,-4 3-269,-1 4-90,-3 3-361,-1 5-1888,-1 3-2338,-3 5 5846,-1 4 0,-4 4 0,-2 2 0</inkml:trace>
</inkml:ink>
</file>

<file path=ppt/ink/ink2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4:43.07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29 166 7533,'-2'-24'3148,"1"2"-2698,-2 6 89,-2 12-179,-1 10 0,0 9-90,0 7 0,3-2-1,0 3 1,0 1-90,0 4 0,1 2 359,-2 30 1,0 4-450,1-10-45,0 9 0,0-4-45,2-33 180,-1 19-180,0-10 90,1 6-180,-1-12-629,1-12-181,-4 1 450,-2-15 181,-3-10 89,3-8 0,0-5 0,3 1 180,0-2-180,0-4 90,0-3 0,1-2 90,1-4-90,0-1 90,2-2-90,1-2 90,1-2 0,3-1-1436,1-2 1346,3 1 180,2 1-297,2 1 207,3 3 0,3 2 90,2 4-90,3 3 0,1 3 0,3 5 90,-1 4-90,1 6 90,-2 4 1402,0 5-1402,-1 4 90,0 3 151,-1 5-241,-1 4 0,-3 3 0,-2 2 0,-3 3 179,-2 9-179,-5-6 90,-3 6 0,-6-9 90,-3 0 0,-2-1 0,-4 0-90,-3 0 89,-4-1-89,-1-1 0,-3-1 90,-11 3-180,6-6 0,-8 1 0,10-7 0,2-3-90,-1 0-90,2-2-180,0-2 0,1-1-179,2 0-1260,1-2-4048,-4 1 5757,2-2 0,4 0 0,7 1 0</inkml:trace>
</inkml:ink>
</file>

<file path=ppt/ink/ink2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4:43.50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86 0 9422,'-25'14'2788,"0"1"-2158,1 0-1,-2 4-89,-1 3-90,-1 2-90,1 1-1,2 1 1,3 2 0,3-1-90,4 1 0,3-2-1,5 0-89,3 0 0,6 0-90,3 0 90,5 1-90,4 2-90,4-2 0,2 1-270,3-1-180,0-3-89,-1-1-181,-1-2-359,-1-3-180,0-1-1080,-2-3-1079,0-1 3418,-3-3 0,-6-4 0,-3-2 0</inkml:trace>
</inkml:ink>
</file>

<file path=ppt/ink/ink2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4:54.58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3 150 10501,'8'-25'2519,"-1"3"-1980,-2 21-89,-1 6-270,0 16 90,-3-2-90,-1 3 0,-1-4-1,0 3 91,-1 2-90,-1 0 0,0 2 0,0 0 0,0-1 0,-1 1-90,0-1 90,1 0 89,-2 8-179,2-8 0,-2 5 0,3-11 0,-1-1 0,0-2 90,0 5 270,0-3 0,0 3-91,-1-4-359,-2-15-90,0-9 0,1-9-89,2-7-1,2-11 0,1 3 90,3-11 0,2 5 90,1-1-90,2-2 0,1 1 90,2 0-326,1 2 326,1 2 0,0 5-90,0 2 0,8-5 90,-5 10 0,6-3-89,-6 14 89,1 3 89,2 3-89,-1 4 90,2 3 236,0 4-326,3 4 90,-1 3 0,0 4-90,0 2 90,0 4 0,-1 2-90,0 3 90,-2 2-90,-1-1 90,-3 0-90,-1 0 0,-1 0 0,-2 0 90,-1 1-90,-2-1 0,-2-1-90,-1 0-90,-3-2-180,0 0-90,-4-1-809,-3 10 449,-2-9-89,-4 6-180,1-11-181,-2-2-629,-2-2-539,0-3 2428,-1-2 0,7-6 0,1-1 0</inkml:trace>
</inkml:ink>
</file>

<file path=ppt/ink/ink2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4:54.73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3 200 8882,'-18'-18'2429,"2"1"-1800,8 7 181,2-2-271,2-3-359,5-2 0,4 1-90,7 1 0,3 5 0,5 1 0,4 1-90,4 1-90,3 1-270,2 1 0,2 0-359,0 1-91,1 1-1079,-1 0-539,1-1 2428,-1 0 0,3-2 0,1 0 0</inkml:trace>
</inkml:ink>
</file>

<file path=ppt/ink/ink2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4:55.15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3 36 10591,'6'-26'5127,"-1"16"-4767,-4 33-90,-1 0-90,-2 15-1,1-17 1,-1 2 0,1 1-90,-1 0 0,0 0 0,0 1 0,-1 0 0,0-1-90,0 1 90,-1-1-180,0 0 0,-1-1-180,0 0 0,0-1-179,0-1-1,0-2-180,1-1-629,0-2-630,-1 3 1889,2-3 0,0-4 0,2-5 0</inkml:trace>
</inkml:ink>
</file>

<file path=ppt/ink/ink2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4:56.20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35 78 11940,'-26'-10'1439,"-1"3"-1169,8 10 0,0 1 0,-1 1-90,1 1 0,1 0-90,0 1 90,3 1-91,0 0 91,3 0 0,2 1 0,0 3-90,5 2 0,4 3-90,8-1 0,4-5-90,3-2-180,-1-5 0,8-2 91,-5-2 89,6-2 0,-5-2 0,-2-1 0,1-1-90,-2-1 180,0 1 90,-2-1 0,-1 1 0,3-2 0,-1 2 359,2-1-89,0 5-90,-5 5-180,0 6-90,-5 4 0,-2 2-180,-1 0-450,0 0-89,-1 3-810,3-4 90,3-5 809,3-11 180,2-7 90,0-4 91,0 0 179,0-1 180,1-1-1,0 1 91,1 1 0,0 0 90,0 2-90,0 1 90,-1 3 359,0 1 91,4 3-90,1 4-1,2 4-89,-4 7 90,-5 4-91,-5 4 1,-6-1-90,-5 2 90,-3-2-1,-3 0 1,-1-5 0,0-3-540,0-7-270,8-9 90,4-5-90,7-4-450,12-5 361,-6 7-1,8-5-90,-4 4 0,2-1 1,1 0 89,2-1 90,-1 1 0,2 0 0,-2 0 90,1 1 90,-2 2-89,-1 0 179,-2 2-180,-1 0 180,-2 2-90,-1 0 90,2-1 90,-1 1 269,2-1 451,0 2-270,-2 5-1,-2 4-89,-2 8 0,-3 7-90,-3 4-1,-1 4-89,-2 2-90,-2 1-90,-1-2 90,0-2 540,-1-4 1079,1-3-1799,7-16-90,-1-1 90,7-13 0,-1 1 0,1 1-90,2 0 0,4-2 0,-4 3 0,7-1-90,-6 5 90,5 2 90,-4 4 720,0 5-630,-3-6-1,-3-3-89,4-8 0,2-4 0,0 3 0,1 1-89,-3 4 89,-1 1 0,1 0 0,5 2 0,0 3-270,3 3-180,-2 5-180,-4 6-359,-5 2-270,-5 4-271,-4 0-179,-3 1-4227,-3-3 5936,-2-2 0,3-7 0,1-2 0</inkml:trace>
</inkml:ink>
</file>

<file path=ppt/ink/ink2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4:56.38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51 9 9152,'27'-7'4407,"-1"5"-3777,-6 6 0,-2 3-91,-6 3-179,-1 1 0,-2 2-90,0 1 0,-2 1-1,-2 1-89,-2 1 0,-2 0-90,-1 2 90,-3 1-180,-2 2-90,-2 0-180,-4 0-90,-2 1-179,-4 0-1,-3 0-180,-2-1-179,-4 1-90,-1-2-4768,-16 7 5757,11-9 0,-11 4 0,13-11 0</inkml:trace>
</inkml:ink>
</file>

<file path=ppt/ink/ink2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4:56.69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13199,'35'12'180,"0"-1"-449,-5-4-181,1-1-180,1 1-269,-1-1-810,-1 1-360,-3-2 2069,-3 0 0,-11-2 0,-4-1 0</inkml:trace>
</inkml:ink>
</file>

<file path=ppt/ink/ink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4:06.14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0 107 11850,'-17'-27'4768,"5"1"-4319,14 12-359,8 0-270,3 7-179,5 1-271,-3 3-90,3 0-269,1 1-360,3 1-900,-1 0-1079,1 0 3328,-1 0 0,-9 1 0,-4-1 0</inkml:trace>
</inkml:ink>
</file>

<file path=ppt/ink/ink2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4:56.84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3 9871,'16'10'4768,"-9"-4"-4768,39-1-90,-17-6-270,3 1-90,1-2-269,1 0-271,1 0-989,0-1-719,0-1 2698,-1-1 0,4-2 0,-1 0 0</inkml:trace>
</inkml:ink>
</file>

<file path=ppt/ink/ink2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4:57.41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4 0 13469,'-18'22'1709,"2"-1"-1259,8-4 90,0 3-1,1 1-179,1 2 0,1 1 0,2 1-90,0 0-90,3 1 89,2 0-89,2 2 0,1-2 0,4 2-90,1-2 0,2-2 0,2-1 0,1-3 0,2-3 0,0-2-90,1-4 90,1-2-90,0-4 0,1-2 0,0-3-90,0-4-90,2-3 0,0-4-180,8-14 270,-7 2 0,4-9-90,-2-3 90,-8 9 90,3-7 90,-9 13 0,-1 2-90,-1 2 0,-1 1-90,-1 3 630,1-1-180,-1 13-90,-2 6-180,-3 19 90,-2-2-180,0 3 90,0-5 0,0 2-1,0 1 1,0 0-90,-1 1-90,0 0-89,0 0-91,-1 0-90,0-2-180,-1 0 1,0-3-181,0-1 0,1-1-809,-1-2-270,0 5 1799,1-3 0,0-4 0,1-6 0</inkml:trace>
</inkml:ink>
</file>

<file path=ppt/ink/ink2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4:57.70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9 44 11760,'2'31'2069,"2"0"-1709,-2-13 0,3-1-1,1-4-179,1-1 90,2-1-90,0 0 0,2-2-90,0-1 90,1-2 0,1-1-180,6-2 90,-4-3 0,5-2-90,-7-3 90,0-3-90,-1-2 0,0-3 0,-2-1 0,-1-2 90,-2 1-90,-1 0 0,-3 0 0,-4-6 0,-1 5 0,-5-2 0,-2 7 0,-2 0 0,-1 2-90,-2 2-90,-2 1-180,-2 2 90,-1 2-180,-1 1 91,0 3-181,-2 1-1619,2 2 90,-13 10-629,14-4 2698,-7 8 0,20-13 0,2-2 0</inkml:trace>
</inkml:ink>
</file>

<file path=ppt/ink/ink2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4:57.93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49 0 10591,'12'26'4767,"-5"-5"-3777,-12 3-181,-5-3 1,-6 5-181,-3 1 1,-6 5-180,-2 1 89,-3 2-575,-2 0 396,0-1-90,-1 1-90,0-2-1,0 1 1,0-2-180,0-1-90,2-2-89,1-2-91,1-2-180,2-1-180,-1-2-89,3-2-91,1-1-179,3-2-181,2-3-1528,-4 4-3688,8-7 6485,-6 3 0,14-10 0,0-1 0</inkml:trace>
</inkml:ink>
</file>

<file path=ppt/ink/ink2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4:58.13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11760,'24'12'5487,"-5"5"-4947,-12 6 0,-5-1-181,-1 0-89,-2-5 0,0 1 0,-1 0-180,0 1 90,-1 1-90,0 1-90,-1-1-90,1 0-180,-1-2-180,0 0-180,0-2-89,1-1-1080,-1-1-630,0 4 2429,1-3 0,0-4 0,2-4 0</inkml:trace>
</inkml:ink>
</file>

<file path=ppt/ink/ink2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4:58.43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9 69 15358,'-3'21'1260,"-1"3"-811,-2-11 1,0 10-360,7-3 90,1 0-90,6-1 0,0-6 0,4 0 0,2-2 0,2-1-90,2-1 90,0-3-90,1-2 89,-1-2-89,10-5 90,-6-2-90,6-4 0,-10-1 0,-2-1 0,-1-2 0,-1-1 0,-4-1 0,-2-1 0,-4 1 0,-2-1 0,-5 1 0,-3-1 0,-4 0-90,-5 1-89,-2 0-91,-3 1-180,0 2 0,0 2-89,0 1-1,1 2-90,0 0 1,2 2-631,1 1 1260,-1 2 0,9 1 0,-2 0 0</inkml:trace>
</inkml:ink>
</file>

<file path=ppt/ink/ink2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4:58.68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09 10051,'21'17'3868,"-6"1"-2968,-12 0-1,-2 3-359,0 3-180,2-5 89,3 1-89,1-5 0,3-1-90,2 1 269,8 2-359,-4-4 0,7 0-90,-7-7 90,1-2-90,0-2 0,-1-3 0,1-2-90,-1-3 90,1-4-90,-3-3 0,0-3 0,-2-3 0,-1-1 0,-3-2 0,-2 1-90,-2-2-90,-2 0-90,-4 1-90,-1 1-89,-4 0-181,-2 3 0,-4 0-269,-3 2-1,-3 2-269,-1 3-1440,-2 2-1438,0 3 4047,-1 1 0,-4 1 0,-3 2 0</inkml:trace>
</inkml:ink>
</file>

<file path=ppt/ink/ink2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4:59.75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13 117 12750,'5'28'1529,"-2"-1"-989,-4-2-181,-3 2 1,1 4 0,-2 1 0,0 2 0,0 0-1,-1 0-179,0 0 90,1-1 0,-1 0-90,0-2 0,1 0 0,0-4-90,0-2 89,1-3-3391,0-2 3572,0-3 989,1-2-269,-1 3 179,0-5-1079,-5-7-180,2-15-90,-1-9-90,3-8 3392,4 1-3392,0-6-90,6-27 1,0 8-552,6-20 641,1 17 0,3 0-90,1 3-104,3 2 195,15-13-1,-8 21-258,11-8 258,-10 24 0,3 4 90,-2 5-90,2 6 90,-3 4 0,-1 5 0,-1 4 0,-1 4 90,-1 3-89,-3 4 799,-2 2-800,-4 1 104,-2 1-14,-3 1 0,-4 0 0,-2-1 278,-3 2-278,-3-2 0,-11 9 0,0-7 0,-9 6 0,2-11 0,-2 0 90,0-3-90,-2 0 0,1-3 0,-8 2 0,8-5-180,-6 1-90,11-4-179,2-2-541,1 0-809,-4 0 1799,2-1 0,5 0 0,5-1 0</inkml:trace>
</inkml:ink>
</file>

<file path=ppt/ink/ink2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00.38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51 1 11221,'-30'19'2428,"2"1"-1798,7-2-90,-2 3-91,-1 3 1,0 2 0,2 2-90,2 1-1,2 2-89,4-1 0,3 1-90,3 0 0,3 0 0,3 0-90,2 1 90,4 0-90,1 1-90,2-1 89,3 2 1,2-1-90,1-2-179,1-3-1,1-2-180,0-2-90,1-3-90,0-2-1079,9 3 720,-6-8-181,7 2-179,-9-11-720,1-1-629,-1-3 2608,1-2 0,4-4 0,2-1 0</inkml:trace>
</inkml:ink>
</file>

<file path=ppt/ink/ink2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00.99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6 96 9691,'2'10'4498,"0"-7"-4138,-4 39-90,1-19-1,-1 2-89,1 1 90,0 0-90,-1 1 0,1 0 0,-1 0-90,1 0 90,-1-1-90,1 0 0,0-2 0,-1-1-1,1-1 1,-1-3 630,1 4 90,-1-2 89,0 0-719,-5-12-90,0-21-90,-3-5 0,4-13-90,4 6 90,1-3-90,1-4 0,2-2 0,2-6 90,3 0 0,0-1-90,3 0 90,2 3-3482,1 2 3482,1 3 0,0 4-90,2 3 90,1 4 0,1 2-90,0 3 90,0 4 3392,0 3-3482,-1 4 90,-1 3 0,-1 3 0,-1 3-90,-1 1 90,-1 4 0,0 7 0,-4-2 0,1 6 0,-7-5 0,-1 1 0,-1 0 0,-2 0 0,-2 2 0,0-1 0,-2 1 0,0-1 0,1 0 0,-1-2 0,2 0 0,0-1 0,0 5 0,5 2 0,1-1-90,4-2 0,1-4 1,2 1-1,0 0 90,1-1-90,2 7 0,-3-6 90,1 4-90,-5-3 90,-4 0 0,-6 2 90,-4-6-90,-6-3 0,1-4 0,-1-1 0,-1-1 0,-2-1 0,1 0 0,-1 0-180,0-2-180,0 1-629,1-1-451,-5 1-89,2-1-2428,-4 0 3957,4-1 0,10 1 0,2-1 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3:39:16.212"/>
    </inkml:context>
    <inkml:brush xml:id="br0">
      <inkml:brushProperty name="width" value="0.17143" units="cm"/>
      <inkml:brushProperty name="height" value="0.17143" units="cm"/>
    </inkml:brush>
  </inkml:definitions>
  <inkml:trace contextRef="#ctx0" brushRef="#br0">8 327 9691,'-6'-25'4498,"4"1"-3958,8 13-361,9 1 91,-1 6-180,6 0 90,-5 1-90,3 0 0,2 0 0,0-1 90,2-1-180,-1 0 90,0 0-90,0-2 90,-1 0-90,0-2 90,-3 0-90,1-2 90,-3-1-90,0-2 90,-1-1 0,-3-1 269,0-1-89,-1 0 180,-2 0-90,-1 2 539,-1 0-179,1-2 1798,-1 0-1438,-1 11-630,-3 13 89,-3 10-179,-1 7 0,0-5 0,1 2-91,-1 2 1,0 1-90,0 1-90,1 1 90,-1-1-90,1 2-90,-1-1-90,0 1-270,1-2-89,-1 1-181,0-1 0,0-1-89,1-1-1,-1-3-1169,1 0-180,-1 3-899,2-2 2968,1 1 0,-1-11 0,2-5 0</inkml:trace>
</inkml:ink>
</file>

<file path=ppt/ink/ink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4:06.78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99 12030,'14'-9'6566,"-5"10"-5936,-1 13 0,-5 10-91,0-4 1,0 4 0,0 2-91,-1 2-89,1 1 0,0 1 0,0-1 90,-1-2-181,0-1 1,-1-1 0,1-1-90,-1-3 450,0-2-1,0 3-89,-1-3-810,-2-13-90,1-8 1,-1-20-1,4-3 0,3-7 180,1-6-90,3-4-256,2-4 437,1-1-660,3-2 659,-1 4 0,1 2 90,0 5-90,0 3 0,-1 4 90,1 4-90,-2 3 0,0 4 90,0 4 326,-1 4-326,1 4 769,4 7-679,-4 3 90,4 7 89,-6 5 1,1 5 0,-2 4 0,0 5 0,-1 3-90,-1 3 0,0 1-1,-2 2 1,-1 0-90,-1 0 0,0 0 0,-2 0-90,0-1-90,-2 9-270,0-11-89,0 6-91,-1-17-809,0-1-540,1 3-2429,0-4-5216,2 0 9534,3-14 0,-1-2 0,1-8 0</inkml:trace>
</inkml:ink>
</file>

<file path=ppt/ink/ink3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01.36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10591,'18'2'4857,"-6"2"-4317,-14 16-180,-1 0-180,3 5-90,1-4 89,3 0-89,0-7 0,1 1 0,1-1 0,1-1-90,0-1 90,1-1 0,0-2 0,6 1-90,2-5 0,7-3 0,-6-6 0,1-4-90,-6-1 90,1-2 0,-1 0 90,-1-1 90,0 1 0,-2 0 180,-1 1-180,3-3-91,-1 2 91,2-1-90,-3 10-90,-2 7 90,-1 12-270,-2 5 90,-1-3-179,0 2-1,-1-7-180,0 1 0,0-1-3391,0 1 3391,1-1 0,0 1-180,0-2 91,2 1-181,1-2 1,1 0-1,0-1 3212,2-1-4380,1-3 1888,2-1 0,10-6 0,3-2 0</inkml:trace>
</inkml:ink>
</file>

<file path=ppt/ink/ink3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01.73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12 156 10141,'2'-28'3958,"-6"5"-3238,-7 11-181,-6 7-179,-1 5 0,-1 5-90,1 4-90,4 6-90,5 2-1,6 3 1,5-4-90,3-1 0,2-4 0,2-2-90,1 0-89,2-2-91,1-1-270,0-3 270,9-2-90,-5-3 91,6-4 89,-5-2-90,-1-4 180,2-2 0,0-4 90,-1 0 270,-1-2 0,-1 0 179,-1 1 1,-2 2 0,-1 1 0,-1 1-181,-1 2-89,-1 1 90,-2 2 450,2 0-450,-3 9-180,-2 6-1,-3 8-89,-4 4 90,0-2 0,0 2-90,0 2 90,-1 1-90,0 0 0,0 1-90,0 0 0,-1 0-179,2-1-1,-1-2-90,1 0-540,0-3-89,2 5-360,1-1-540,5 1-989,5-7 629,7-8 1401,-1-5 0,-4-2 0,-6-1 0</inkml:trace>
</inkml:ink>
</file>

<file path=ppt/ink/ink3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02.21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3 406 10051,'23'-25'3238,"-4"4"-2248,-18 7-271,-7 3-359,-7 6 0,-3 6 0,3 7 359,5 5-629,24 19-90,-5-15 90,19 12-90,-13-22-180,0-2 90,1-2-179,1-2 89,0-2-180,0-2 180,1-4-90,1-2 0,-1-3 90,0-3 90,0-2 1,-3-1-1,-1-1 90,-2 0 90,-2 1 179,1-5-89,-6 6 90,1-8-90,-8 8 0,-2 0 899,-7 3-809,7 17-180,12 0 0,6 8 0,11-6-90,-5-6 0,-4-3 0,-1-2 90,1-8-90,0-6 0,0-1-90,-3-4 180,-6 7 180,0-2-90,-1 2 90,-1 0-1,-1 2 1,0 2 450,0-3-630,-6 14 0,1 2 0,-7 14 90,2 2-90,0 4-1,0 1-89,1 3 90,-1 1 0,1 1-90,-1 2-180,0 1-89,0 2-181,0-2-90,0 0-179,-1-3-1080,-1 9 809,1-9-269,-3 7-270,3-13-3778,0-2 5307,-2 1 0,4-9 0,0 0 0</inkml:trace>
</inkml:ink>
</file>

<file path=ppt/ink/ink3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02.48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25 13739,'30'-13'720,"-5"3"-630,-2 9-270,-3 2-90,1 0-360,1 0-179,0 2-361,-1-1-629,0 2-539,-2-1 2338,-2 0 0,-8-1 0,-3-1 0</inkml:trace>
</inkml:ink>
</file>

<file path=ppt/ink/ink3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02.99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3 0 11490,'-18'6'-540,"3"-5"1,17 4-1</inkml:trace>
</inkml:ink>
</file>

<file path=ppt/ink/ink3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03.27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76 1 12930,'21'29'1529,"-1"1"-1080,-10 1-89,0 4 90,0 3-90,-3 2 0,0 2-1,-3-2 1,-2 2-90,-2-2 0,-3 2 0,-3 0 90,-2-1-91,-4-1 1,-2-2-90,-3-2 0,-3-2 0,-1-2 0,-3-3-90,-12 7-90,8-12-90,-7 4-180,12-14 0,2-3-180,2-3-89,1-2-1080,2-3-900,-2-3-4047,4-5 6566,5-7 0,5 4 0,5 0 0</inkml:trace>
</inkml:ink>
</file>

<file path=ppt/ink/ink3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03.43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26 9781,'26'-7'2159,"0"0"-1709,-8 4-90,1-1-90,2 2-360,1 0-180,0 1-360,0 1-269,-1 1-810,1 1-360,-2 0 2069,-2 1 0,-7-1 0,-5 0 0</inkml:trace>
</inkml:ink>
</file>

<file path=ppt/ink/ink3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03.58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9 1 9691,'-20'12'4498,"12"2"-4228,9-7 0,13 2-91,4-5-179,5 1-89,4-1-181,4 1-180,2-1-90,4 0-269,1 0-181,4 0-989,-2-1-449,0-1 2428,-3-1 0,3-3 0,1 1 0</inkml:trace>
</inkml:ink>
</file>

<file path=ppt/ink/ink3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04.03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8 84 8612,'10'-18'2069,"-1"2"-1439,-2 6 179,1 1-269,3-2-180,1 2-91,3 1 1,1 6 180,-1 6-360,0 6 180,-4 2 0,-1 7-1,-6-1-179,-2 6 0,-4-4 0,-2-2 0,-1-6 0,-1 0 0,0 0 0,-2 3 0,-1 0 90,0 3-90,4 1-90,8-1 90,3-2-90,6-2 0,0-3 0,0 2 0,2-1 0,-2 2 0,1-1-90,-2 0 90,0 0 90,-1-1-90,-2 1 270,-1-2 179,-2 5 271,-4-1-450,-7 4 90,-2-7-180,-5-1 89,0-6 1,0-1-90,-2-1 0,-2-1 0,0-2 0,-1 0-90,0-1 0,-1 0 0,0-2 0,-6-2-180,7 1-90,-4-2-360,8 1-719,-2-2-1260,2 0 271,4-7-91,11 1-989,8-2 3328,7 3 0,5-2 0,2-1 0</inkml:trace>
</inkml:ink>
</file>

<file path=ppt/ink/ink3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04.29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1 10501,'15'19'3328,"-3"1"-2878,-8 2-180,-1-4 89,4 1-89,1-4-90,2 1 0,1-1 0,3 0 0,0-1 0,1-1 0,2-2 0,-2-1 0,2-2-1,-1-3 91,0-2-180,5-4 90,-6-2-180,3-5 90,-8-1 0,-1-3-90,-3-1 0,-1-1 90,-2-2-90,-2 0 0,-2-1 0,-3-1 0,-3 2-90,-2-1-90,-2 2-180,-2 1 1,-1 2-91,-2 2-90,-1 1-90,-1 3 1,1 1-3663,0 3 3213,1 2-1080,0 2-719,2 1 2878,1 2 0,6-3 0,2 0 0</inkml:trace>
</inkml:ink>
</file>

<file path=ppt/ink/ink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4:07.41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14 16258,'10'27'2518,"-2"0"-1888,-9-5-90,1 4-91,-1 4-89,0 1-90,0 4 0,1-1-90,0 2 0,0 0-90,-1-1 0,1-1-90,-1-2-270,0-2-90,0-3 0,1-2-180,0-3-539,-1-2-540,1 4-5307,0-6 6116,3-10 630,0-13 1,2-12 179,-2-3 90,0 3 89,-1-3 91,1-1 0,0-2 180,0-1 0,0-1-91,-1-1 271,1-3-90,0 0 89,1-2-89,0 0 0,1 0 89,1-1 541,5-11-721,-1 10 1,4-9-90,-3 15 0,1 2-90,1 1-90,2 2 89,0 2-179,1 1 90,0 3-90,0 3 0,0 2 90,5 1-180,2 5 90,-1 3 0,-3 5-90,-7 3 180,-2 1-180,-2 3 270,-2 1-90,-3 9-1,-3-4 1,-3 7 0,-2-5-90,-2 1 90,-1 0-180,-1 0 90,1-1 0,0 0-90,0 0 90,1 0-90,1-2 90,2 0-90,3 6 0,2-7 90,3 6-90,2-6 0,3 1 0,1-1 0,1 1 0,2 0 0,-1 0 0,1 1 0,-2-2 0,0 1 90,-1 0 90,-3 0 539,-1-1-359,-4 5 90,-3-5 0,-4 4 89,-3-6-179,-3-2 0,-1 1-90,-3-2 0,-1-1-91,-1-1 91,-9 2-90,6-4-180,-6 1 0,10-3-270,1-1-899,0-1-810,-4-1-809,2-2-4408,0-3 1979,9-10 5217,6 1 0,9-10 0,1 4 0</inkml:trace>
</inkml:ink>
</file>

<file path=ppt/ink/ink3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04.62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08 1 11041,'13'16'3598,"-5"0"-2789,-19 6 91,-1-1-181,-6 4 1,-4 5-180,-5 4-91,-5 2 1,-2 2-564,-3 1 474,-6 3-696,1-1 606,-6 4-1685,1-3 1595,-1-1 0,1-2-90,3-3-660,1-1 570,1-1-17,0-2-163,4-3-180,2-1 557,3-4-737,4-1-179,2-2 1517,2-2-1697,3-1-91,3-3-2735,2-1 2286,3-2-4597,2-1 6036,3 0 0,4-5 0,2 0 0</inkml:trace>
</inkml:ink>
</file>

<file path=ppt/ink/ink3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04.83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2 0 12210,'27'4'5217,"-5"4"-4048,-13 6-719,-4 7-90,-1-1-90,-2 1 0,-2-4-90,-1 0-1,0 2 1,-1 1-180,-1 1-90,-1 1-90,0-1-179,-2 1-271,0-2 0,-1 0-179,0-1-91,-1 0 1,1-1-91,1-3-1258,0 0 2248,0 1 0,3-9 0,0 2 0</inkml:trace>
</inkml:ink>
</file>

<file path=ppt/ink/ink3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05.14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1 66 15808,'-18'13'720,"3"0"-630,8 1 179,2 1-179,2 1 180,1 0-180,1 2 90,3 1 0,3 0-90,1 1 0,2-1 0,2-1 0,2-2 0,1-1 0,1-2-90,1-2 90,2-3-90,-1-3 89,1-2 1,-2-3-90,2-3 0,-1-3 0,-1-3 90,0-2-90,-2-3 0,-2-2 0,-1-1 0,-4-2 0,-1 0 0,-4 0 0,-3-1 0,-2 0-180,-10-10 1,2 8-271,-7-6 0,5 11-90,-2 2 1,2 3-91,-2 1 0,3 2-719,-1 2-4947,-2 0 6296,1 5 0,5-1 0,3 3 0</inkml:trace>
</inkml:ink>
</file>

<file path=ppt/ink/ink3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05.43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53 9152,'18'11'4317,"-5"4"-3417,-12 1-91,-4 6-449,2 1 0,2-3-90,2 0 0,1-4-1,3-1 1,0 1-90,2-1 90,1-1 0,1-1 0,2-2-180,-1-2 90,2-2-1,0-3 1,0-1-90,1-3 90,1-2 0,-1-3-90,1-3 0,-1-3 90,0-4 90,0-2-180,-2-3 90,-1 0 0,-2-2-91,-2 3 1,-2-10-90,-3 8-90,-2-6-179,-5 10-271,-3 1-90,-4 1-89,-3 2-271,-2 2-1708,-14 1 2698,-16 7 0,4 2 0,-8 5 0</inkml:trace>
</inkml:ink>
</file>

<file path=ppt/ink/ink3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08.20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327 9961,'3'-28'3238,"2"6"-2878,2 17-180,1 8 90,2 14-90,-3 0-90,-1 6 90,-2-4 0,0 13 0,-3-7-91,2 9 1,-3-9 0,1-1 0,-1-1-90,-1 0 90,1 0 0,-1-1 0,1-2-90,-1-1 90,-1-1 90,1 4 630,0-1 719,-1 2-630,0-4-629,-4-15-180,0-9-90,-1-11 90,2-7-180,2 1 0,1-5-90,2-5 90,1-7 0,3-4 0,3-6-561,3-2 471,4-3-89,4 1-1,3 3 90,4 2-180,19-12 180,-6 19 0,13-7 90,-14 24-90,0 5 90,-4 6 1,0 6 89,-5 4-90,-1 4 0,-3 4 90,-2 5 0,-1 3-90,-5 1 561,-1 3-561,-4 1 90,-2 1 0,-3 0 0,-3 0 0,-3 1 0,-4-2 0,-3 1 0,-5 0 90,-3-1-90,-5 0 0,-13 5 0,6-8 90,-10 5-180,11-9 0,-1-1 0,1-1-180,1-2-90,2 0 0,3-2-179,1 0-91,3-1-179,1 0-2160,2-1 2969,-1 2 0,7-2 0,0-1 0</inkml:trace>
</inkml:ink>
</file>

<file path=ppt/ink/ink3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08.49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63 2 10861,'-24'-2'1709,"0"4"-1259,7 7-1,-2 4 1,-4 4-90,0 4 0,-1 4-91,2 2 1,1 3 0,3 1 0,2 1-90,4 0 0,2 0 0,4-1 0,3 0 0,2 1-91,4 0 1,4 3 0,3-1 0,3 2 0,2-3-90,2-2-90,2-2-180,0-3-89,0-3-181,0-5-270,0-1 1,0-3-2609,5-1 3418,-6-6 0,13-1 0,-6-5 0</inkml:trace>
</inkml:ink>
</file>

<file path=ppt/ink/ink3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09.80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3 177 9691,'8'-22'3149,"-1"1"-2790,0 20 1,-2 7-90,0 10 0,-5 4 0,1-1-90,-1 1 90,0 2-1,-1 1-89,1 1 90,-1 1-180,0-1 90,-1-1-90,1 0 0,0 0 90,-1 6 180,-1-1 179,1 4 361,-2-6-181,2-5-269,-3-7-360,-4-10-90,-1-10 0,-1-7 0,3-7-90,3 2-90,1-5 90,2-2-90,0-4 90,3-3 0,3-6 0,1 0-179,4-2 179,13-30 0,-6 29-122,10-21 122,-11 38 90,1 2-90,1 4 90,0 3 0,0 4 0,0 4 0,1 4 0,-1 4 0,2 3 0,0 4 0,1 4 212,0 4-212,-1 2 0,1 5 0,-1 1 0,-1 4 90,-1 1-90,-2 0 0,-1 0 0,-2 0 0,-2 0 90,-1 1-90,0 0 0,-3-1-270,0 1 0,-2-2-180,-1-1-89,-1-3-181,-1 0 0,-2-1-1168,-2 7-451,-3-8-1079,-1 4 3418,-2-12 0,5-8 0,0-1 0</inkml:trace>
</inkml:ink>
</file>

<file path=ppt/ink/ink3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09.94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 113 9871,'-2'-30'1619,"2"7"-1439,9 10 0,2 5-90,3 0-90,4 2-180,2 0-180,1 2-359,3 0-810,0 2-270,1 0 1799,1 1 0,5-1 0,2-1 0</inkml:trace>
</inkml:ink>
</file>

<file path=ppt/ink/ink3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10.38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10 9332,'15'25'2518,"-4"-4"-2068,-6 0 90,-2-4-91,-1 2 1,0 2-90,0 2 0,0 1-90,-1 1-1,0 0 1,-1-1-90,0 0 0,0 0 0,-1-1-90,0-2 0,0-2 180,0-1 359,0 4 451,-1-2 179,0 2-1079,-5-12-180,1-13-90,-2-7-90,2-10 0,3 1-180,1-4-3301,1-2 3391,1-5 0,1-2 90,3-5-90,3-1 180,1-1-90,3 0 0,2 2 90,2 2 0,1 3 1,0 3-1,0 4 90,0 3-90,-1 3 3482,0 3-3482,0 4 90,-1 3 90,5 3-90,-5 6 0,3 3 90,-5 4-90,-1 4 90,-1 2-90,0 3 89,2 11 91,1 6-180,-1 2 90,-2-2-90,-4-8 90,0-2-90,-1 1 90,-1-1-90,0 1 0,-1-1 90,0 0-90,0-1 0,-1-2-90,0-1-270,-1-2-629,1 0-450,-1 4-720,2-1 2159,-1 1 0,0-10 0,0-4 0</inkml:trace>
</inkml:ink>
</file>

<file path=ppt/ink/ink3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11.93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48 12480,'2'32'989,"1"-2"-719,-3-10 90,1 0-180,1 3 90,0 1-90,-1 0-1,2 1 181,-1 10-180,1-9 0,-1 8-90,0-12 0,-1-2 90,0-2 90,0 5 179,0-1 451,0 3 1349,0-5-2249,1-20 0,-1-9-90,1-13 0,1-4 0,-1 4 0,1-2 0,3-16 90,-1 8-90,4-10 90,-3 13-90,1 0 90,1 1 0,0 2-90,1 2 90,0 2-90,1 2 90,0 2 0,1 1-90,2 3 90,-1 1-90,8-1 90,-4 5-90,4 0 0,0 7 0,4 7 0,-4 0 0,2 9 90,-14 0 0,-3 7 0,-8 1 0,-1-3 0,-4-1 0,1-6 0,0 0 0,0 0 0,-3 6 0,3-6 0,-3 10 90,7-6-90,4 7 0,3-7 0,6 2 0,0-6 0,3 2 0,0-1-90,1 2 90,0-2 0,4 6 0,-5-5 0,1 4 0,-5-7 90,-1 4 180,-4 0 90,-4 2-180,-9-1 0,-3-5 90,-3-2-180,2-4 180,-8 0-91,4-2-89,-4 0 90,6-1-90,-6-1-270,-2-1-269,-4-1-361,1 0-359,2-2-450,2-1-450,4-3-1619,4-2 3688,4-5 0,8-9 0,5-5 0</inkml:trace>
</inkml:ink>
</file>

<file path=ppt/ink/ink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4:07.61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9 10771,'30'-5'4587,"0"2"-3327,-13 6-1,2 3-90,-3 5 1080,6 14-1170,-6-2-179,4 13-91,-9-5-89,0 4-91,-2 4-179,0 1 0,-3-2-90,-2 1-180,-2-2 89,-2-1-179,-1 0-90,-4-1-269,-1-2-91,-3-2-270,-2-3-269,-2-1-181,-2-3-89,-2-2-180,0-3-360,-3-2-270,0-4-1799,0-3-2878,0-4 6656,1-2 0,8-3 0,3 0 0</inkml:trace>
</inkml:ink>
</file>

<file path=ppt/ink/ink3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12.14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1 0 8882,'23'16'2608,"-3"0"-1888,-8-2-180,-2 3 89,0 2-89,-1 3-180,-1 1 90,0 3-181,-1 2 1,-1 0-90,-1 1 0,-1 0 0,-1-1-90,-3-2 90,-1 1-90,-2-1 0,-2 1-90,-2-1-90,-2 0-90,-3-1-180,0-2-90,-3-1-89,-1-3-181,-1-2-89,0-2-271,0-2-899,0-3-719,0-2 2698,2-3 0,6-2 0,3-2 0</inkml:trace>
</inkml:ink>
</file>

<file path=ppt/ink/ink3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12.49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42 13020,'29'-20'989,"-2"4"-809,-10 13 0,2 1-90,3 1 0,2 2-270,1 0-180,2 2-180,0 1-269,-1 1-91,-2 1-989,-3 1-629,-1 0 2518,-4 0 0,-7-3 0,-4-1 0</inkml:trace>
</inkml:ink>
</file>

<file path=ppt/ink/ink3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12.66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4 0 8702,'-21'11'6746,"2"-1"-5756,16-1-541,8-3-179,9 1 0,9-5-90,-3 0 0,4 1-90,1-1-90,1 0-180,0 0-180,-1 0-180,-1 0-179,-2 0-181,-2 0-629,-3-1 1529,2 2 0,-10-2 0,0 1 0</inkml:trace>
</inkml:ink>
</file>

<file path=ppt/ink/ink3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13.66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42 9781,'20'-18'2249,"-2"2"-1799,-4 12 0,0 1-91,1 3-89,1 1-90,-1 5 0,-1 1 0,0 4-90,-3 2 0,-1 1 90,-4 2-3392,-1 1 3302,-3 1 179,-3-1-89,-1 3 0,-2-1-90,-2 0 90,-1 1 0,-2-2 3392,-1-1-3482,-1-1 90,-1-1-90,-1-1 90,0-1-90,1-3 89,0 0 1,2-3 90,-5 0-360,0-5-90,6-8 90,7-3 90,14-7-90,5 6 0,2 1 90,0 5-89,0 3 89,-3 4 0,-1 2 0,-3 0 89,6 6-89,-3-2 0,5 4 90,-5-3-90,1 0 90,0 1-90,2-1 90,0 0 0,0-1-90,1 0 90,0-2 0,2 0 0,0-1 0,0-3-90,1-1 90,1-1 0,-1-2-90,1-2 90,1-2 0,0-2-90,1-3 0,-1-3 90,-2-2-90,0-1 90,-2-3 90,5-10-180,-9 8 90,3-7-90,-10 11 0,-3 1 0,-4-4 0,-7 4 0,-6 0 0,-7 8 0,-3 10 0,4 3 90,2 5-1,5-1 91,2 3 0,1 0 90,1 2 90,3 7-270,2 1 0,3 1 90,2-3-90,2-7 0,-1-1 179,3-1-179,2 1 90,3-4-180,4-3-180,0-9 90,-5-3-269,-1-6 179,-5 0-180,-2-1 0,0-2-629,-1 0 359,-3-6 0,-1 6 1,-3-4 89,-3 7-90,-1 3 1,-2 2-1,-3 1 1,-1 2-91,-1 3-90,-1 2-989,-2 3-539,0 3 2338,-2 1 0,-4 3 0,0 2 0</inkml:trace>
</inkml:ink>
</file>

<file path=ppt/ink/ink3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14.00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5 15628,'32'-9'2249,"7"3"-1710,13 6 1,11 1-5750,15 1 5569,7 1 1,10 0 83,2 1-263,1 0 0,-2 0 0,-9-1 282,-6-1-282,-10-1-90,-5 0-301,-8-1 301,-8-1 2320,-9 1-2410,-8-1-90,-3-1-180,-4 1 813,-4-1-4321,1 0 3837,-23 4-1138,0 0 327,-21 5-1587,-2 0-1169,-2 2 3508,-4 2 0,-5 0 0,-3 2 0</inkml:trace>
</inkml:ink>
</file>

<file path=ppt/ink/ink3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14.46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59 10591,'7'-22'2968,"1"4"-1529,0 7-629,2 3-270,2 10-91,-5 5-179,-1 14 0,-5 0-90,0 4 0,-1-4 0,0 2-90,1 2 0,-1 0 0,1 1 0,-1 1 0,1 0-1,0 0-89,-1 0 90,1-1-269,0 0-181,-1-1-180,1-1 0,0-2-89,1-1-91,0-3-179,1-2-91,2-1-359,0-2-720,2-2 2069,2-3 0,-4-4 0,-1-1 0</inkml:trace>
</inkml:ink>
</file>

<file path=ppt/ink/ink3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14.79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7 157 11311,'8'-28'3597,"-4"6"-2697,-15 15-630,-4 7 90,2 3-91,-1 6 1,5 0-90,1 2 90,1 1-90,2 3 0,1 0-90,2 1 90,2 1 0,2 1-90,2 0-1,3 2 1,2-2 0,2 0 0,1-2 0,1-2 0,1-1 0,1-2 90,-1-3-90,1-2 0,-1-3 0,1-3 90,5-5-180,-4-3 0,3-5 90,-6-2-90,-2-2 0,-2-2 0,1-12 0,-5 7 0,0-8 0,-4 10 0,-4 1 0,-1-1 0,-3 1-90,-1 1-90,-1 2-180,-1 2 0,-1 1-89,-1 1-91,1 3-719,-1 2-1,-3 0-1348,0 4-2609,-1 3 5217,11 6 0,1 0 0,8 1 0</inkml:trace>
</inkml:ink>
</file>

<file path=ppt/ink/ink3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15.07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0 51 12210,'8'21'2878,"-4"2"-2428,-9-7-90,-2 1-90,2-4 90,2 2-1,1 0 1,1 2 0,2 0-90,3 1 0,1 1-90,2-1 89,2 0-89,2-2 0,0 0 0,3-3 0,0-3 0,2-1-90,0-3 0,1-3 0,-1-2 0,2-4-90,-1-3 90,0-4-90,0-4 0,-1-3 0,-1-3 0,-2-2 0,-2-1 0,-3 0 0,-2 1-90,-5-10-90,-3 8-90,-5-6-90,-3 10-180,-3 1-89,-3 2-91,-2 2-89,-4 2-181,-1 4-269,-2 2-1350,-1 3-1528,-1 3 4137,-2 2 0,-5 1 0,-2 3 0</inkml:trace>
</inkml:ink>
</file>

<file path=ppt/ink/ink3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15.79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2 9691,'16'-2'3419,"-1"2"-3150,51 9-1044,-8 0 1045,16 3-1389,8 2 1299,11 3-632,-43-9 0,-1 1 542,3 1 0,1-1-45,1 1 0,0-1 0,2 0 0,1 0 0,0 1 0,1-1-45,1 0 0,-1 0 45,1 0 0,0-1 0,-2 0 0,1-1 0,-3 0 0,1 0-45,-3-1 0,-1 0-967,47 5 967,-11-3-1677,-8-1 1767,-12-3-90,-7-1 503,-7-1-503,-8-1 1008,-6-1-1008,-6 0 90,-3-1 619,4-1-1339,-13 0 1590,5-1-5997,-25-1 5143,-10 0 1,-15 0 0,-8-1 0</inkml:trace>
</inkml:ink>
</file>

<file path=ppt/ink/ink3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16.09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12930,'31'12'1889,"8"-2"-1440,12-6-1632,11 0 1633,17 1-1237,7 0 1057,12 3-566,-46-4 0,-1 0 431,3 0 0,0 1-45,2 0 0,0 0 0,1 0 0,0 0-541,-1 1 0,1-1 496,-1 0 0,-1 0-679,-2 0 1,1 0 677,-3-1 1,-1 1 45,44 3 202,-11-2-112,-9-1 696,-14-2-606,-5-1 789,-11-1-880,-4-2 91,-5 0 2538,-5-1-2628,-3-2 1019,-3 1-1199,-3-2-421,3-2-6235,-5-1 6723,-7-6 0,-20 3 0,-13-2 0</inkml:trace>
</inkml:ink>
</file>

<file path=ppt/ink/ink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4:08.30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2 9 11580,'-30'-2'7286,"-2"0"-3058,12 1-3509,10 3-179,13-1 450,19 3-631,34 1-89,-5-1-858,25 1 768,-16-2 0,0 0 0,-4 0-90,-3-1 0,-9-1 0,-3 0-90,-7 0 0,-4-1-270,-4 0 0,-4-1-989,-3-1-3958,-1-1 2836,-13-6-7063,-4 2 9444,-13-4 0,4 8 0,2 0 0</inkml:trace>
</inkml:ink>
</file>

<file path=ppt/ink/ink3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22.67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13559,'20'15'1170,"-4"-2"-721,-10 10-89,-1-4 90,0 4-90,0 2-1,0 3-89,0 1 0,1 2 0,-1 0-90,-1 1 0,0-1-90,0 1 90,0-1-90,0 0 0,-1-1-90,1-2 89,-2-2 1,1 0-90,-1-1 0,0-2-179,-1-2-1,1-1-180,-1-3-90,0 5-1439,0-3-989,-3 2-2339,-3-14 5217,-1-11 0,1-1 0,2-3 0</inkml:trace>
</inkml:ink>
</file>

<file path=ppt/ink/ink3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22.93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486 0,'2'-34'240,"0"-1"2772,3-3-2562,1 0-1,2-2-179,3 0 0,2 2 90,3 1-90,3 3-90,2 2-1,4 3 1,1 3 0,3 5 1417,-1 3-1508,1 5 868,-3 5-957,0 4 3460,-3 3-3370,0 5 67,-2 2-157,-1 3 90,-3 4-90,-3 2 90,-3 2-90,-2 1 0,-3 2 90,-4 0 0,-2 0 90,-4 0 0,-2 2-1,-4 0 1,-2-1 90,-11 8-180,3-7 0,-8 3 0,8-9-90,-1-2 0,0-1 0,0-2-180,1-1-360,-8 0 91,8-3-91,-6 0-1079,10-3-1709,-4 0 3328,3-1 0,4 0 0,5-2 0</inkml:trace>
</inkml:ink>
</file>

<file path=ppt/ink/ink3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24.01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97 0 12210,'-25'5'2159,"0"4"-1440,6 11-89,-5 5-90,-3 7-1,-2 5-1014,0 2 835,2 3 0,2 2-90,3 1 0,5-2 58,3-1-148,6-3 0,3-2 209,4-1-119,13 32-180,-1-25-282,11 24 102,-5-34 181,13 8-990,4-3 269,0-2 8,-1-10-278,-9-12-269,-3-2-270,1-3-990,-2-3-958,0-2 3387,-2-2 0,-8-1 0,-3-1 0</inkml:trace>
</inkml:ink>
</file>

<file path=ppt/ink/ink3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25.95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2 1 13739,'-7'29'1349,"3"1"-6559,3-5 6379,-3 39-809,1-20 239,-3 33 1,0 3-510,1-20-45,-1 3 0,2-4 801,1-26-756,1-4-90,0 0 179,0 6 2479,0-10-2748,0 6 1381,1-13-1921,0 4-62,0-1-3086,1 1 3778,4-6 0,-3-8 0,3-4 0</inkml:trace>
</inkml:ink>
</file>

<file path=ppt/ink/ink3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26.54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4 98 10501,'-2'35'1529,"0"-3"-1079,1-12 90,1 1-181,-1 4 91,1-1-90,0 1-90,-1 1 0,1-1-1,0 0 1,0 0-90,0-2 90,0-1-90,-1-1 0,1-2 90,-1-1 269,1 4 361,-1-1 269,0 2-269,-1-3-810,-4-14-180,0-7 90,-2-11-90,4-6 0,1 1 0,1-3 0,1-2 0,1-3 90,1-1-90,1-3 0,1-1 90,3-2-90,0-1 90,4 0-90,0-2 90,4 1 0,0 1-90,1 3 90,1 3 0,-1 3-90,1 3 180,0 1-180,0 4 180,1 2-90,-1 4 0,-1 3 0,1 2 90,-1 4-90,0 2 180,7 9-90,-5 0-90,5 9 90,-8-2-90,0 3 90,-2 3 0,0 1-90,-1 2 90,-2 1-90,0 1 0,-1 0 90,1 13-90,-4-10-90,2 8 0,-3-14-270,-2 0 0,0-2-179,-2 0-91,0-3-90,-1 0-269,-1-2-180,-1-1-361,-1-2-4406,-2-2 5936,-4 1 0,5-8 0,-3 1 0</inkml:trace>
</inkml:ink>
</file>

<file path=ppt/ink/ink3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26.69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17 11670,'2'-28'1619,"2"7"-1349,11 9-90,1 5-90,4 0 0,4 1-180,1 0-360,4 1-269,0 1-541,-1 1-538,-1 1-451,-3-1 2249,0 0 0,1-2 0,1 0 0</inkml:trace>
</inkml:ink>
</file>

<file path=ppt/ink/ink3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27.54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7 0 14639,'-3'28'1799,"1"-1"-1170,-1-4 541,-4 30-901,4-18-89,-2 22 0,3-24 0,0-1-90,0 1 0,1-2 0,0-1 0,0-1 0,0 0-180,-1-1-90,0-1-90,0-1-989,-4 20 719,3-19-89,-3 14-991,2-24-718,0 3 2338,-2-5 0,2-2 0,0-7 0</inkml:trace>
</inkml:ink>
</file>

<file path=ppt/ink/ink3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28.14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4 225 9512,'1'-33'2518,"0"2"-2068,-2 10 0,1 0-91,0 1-89,1 1 0,1 2-90,3 1-90,2 2 0,6 1 0,4 3 90,6 3-180,2 5 90,-3 3 0,-1 3-90,-6 1 90,0 3 0,0 1-1,-1 3-89,-1 0 90,-1 3-90,-2 1 90,0 0 0,-3 2 90,0 0 0,-3 0 90,-1 0 90,-3 0-90,-2 1 89,-1 0-89,-3 0 90,-2-1 0,0 0 0,-2-1-91,-1-2 1,0 0 0,1-2-90,0-2 0,1-1 270,1 0-90,-2 1-1,0-1 91,0 2-360,8-2-180,7-6 0,13 0 90,6-4-90,-2 0 90,-3 1 0,-5 2 0,-1 0-90,0 2 90,-1 1 0,0 1 0,-1 1-90,-1 1 90,0 1 0,-3 0 0,0 1 90,-2 1 0,-2 6 1349,-46 18 1,-13 0-1351,22-8-1740,-23 8 0,2-8 1741,36-28-288,1-1 108,1-1 0,0 1-270,2-2-540,0 1-359,-2-1 2574,1-1-1315,-2 0 0,9 1 0,3 1 0</inkml:trace>
</inkml:ink>
</file>

<file path=ppt/ink/ink3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28.82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35 1 8882,'19'20'2069,"-2"0"-1260,-7 1-89,0 3 89,0 7-89,0 5 90,0 5-631,0 7 540,1 2-89,-1 6-1,1 0-89,-1 0-90,-1 0 0,-1-4-91,0-1 1,-3-5 0,-1-3-90,-2-1-90,-2-4 0,-2-1 0,-2-1 88,-2 1-178,-3-1 0,-3-1-90,-2-2-269,-3-2-91,-3-3-180,-1-1-90,0-4-179,-1-2-1530,-11 3 720,8-7-1169,-10 2-1710,13-10 4599,-1-2 1,11-4 0,2-2 0</inkml:trace>
</inkml:ink>
</file>

<file path=ppt/ink/ink3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29.41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9 13110,'33'-5'539,"-1"2"-629,-10 4-180,3 1-269,2 0-271,0 2-1169,2 0-629,-2 1 2608,-2 0 0,1 0 0,0 0 0</inkml:trace>
</inkml:ink>
</file>

<file path=ppt/ink/ink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4:08.79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25 48 12030,'-23'-20'2249,"1"3"-1709,7 12-91,-2 1-179,-1 2 90,-1 2-180,0 2 0,1 2 0,0 2 0,3 2-91,2 3 1,2 3 90,4 1-90,3 2 0,3 1-90,4 3 90,2 3-90,4 2 90,3 3-90,2 1 0,2 2 0,0-1 90,-1-2-180,0-1 180,-3-2-90,-1-3 0,-3-2 90,-1-3 180,-3-1 0,-4 2-90,-2-5 89,-5 1 1,-3-8-90,-2-2 0,-3 0-90,-2-3 90,-1-1-90,-2-2 0,-1-1-90,0-1 0,0-1-270,1-1 0,2-1-270,1 0-179,4-1-1260,2-1-809,3-5 539,8-5-1169,3 0 3418,8-2 0,5 1 0,2-2 0</inkml:trace>
</inkml:ink>
</file>

<file path=ppt/ink/ink3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29.60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5 1 11041,'-24'10'8905,"42"-4"-8546,-3-4-179,38-3 90,-18 0-180,1 0 0,1 0-450,13 0-89,-14 0-361,8 0-90,-19 1-179,-3 1-3508,-3 0 4587,-2 2 0,-8-2 0,-2 2 0</inkml:trace>
</inkml:ink>
</file>

<file path=ppt/ink/ink3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33.33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82 251 10321,'-12'-19'4228,"0"12"-4138,5 17 90,0 8-91,3 8 91,1-1-90,-2 4 0,0 3 0,-1 4 0,0-1 0,-1 4 90,0-2-90,0 0 0,1 0-90,-1-3 90,1-1 0,0-1-90,1-4 90,0-1-90,0-3 90,1-2-90,0-3 180,1-1 449,0-3-89,0 3 90,-2-4-540,-3-6-180,1-15 0,-3-8 0,6-9-180,1-1 180,3-6-90,2-6 90,2-11-600,3-4 600,3-7 0,3-1 0,3 0 0,2 2 0,3 0 0,1 4 90,3 3-90,1 4 90,2 3-90,2 6-80,-3 6 170,1 6-90,-3 7 90,-1 3-90,-2 7 90,-2 3 0,-1 5 0,-1 3 0,-2 3 596,-1 4-596,-3 2 175,-1 2-175,-4 2 0,-2 1 90,-2 2-90,-3-1 90,-2 2 89,-6 9-179,0-7 90,-5 8 0,-1-11-90,-1 1 90,-3-2-90,-9 5 90,5-6-90,-7 2 0,9-8 0,-1-1-180,0-2-90,1-1 1,0 0-181,1-2 0,0-1-539,2 0-361,-4 0-4496,3-1 5846,-2-2 0,10 0 0,4-2 0</inkml:trace>
</inkml:ink>
</file>

<file path=ppt/ink/ink3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33.56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2 1 13289,'-1'22'1170,"-3"0"-900,-9-4-91,0 2 1,-1 3 0,1 1-90,2 2 0,2 2 0,2 0 90,2 0-180,3-1 90,2 0-90,3 0-90,2 1 0,2-1-90,3-1-90,1-2-179,2-2-1,2-2-270,-1-3 1,2-2-181,0-4-269,1-2-360,0-2 1529,9-6 0,-4-4 0,8-4 0</inkml:trace>
</inkml:ink>
</file>

<file path=ppt/ink/ink3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33.82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81 35 10141,'11'-25'4767,"-4"15"-4407,-5 38-90,-3-1 90,-2 21-90,0-19 0,1 3-90,0 0 89,0 1-89,-1 0 0,1-3-90,0 0 7376,0-4-8546,-33 29 1080,26-44 0,-25 26 0,34-48 0</inkml:trace>
</inkml:ink>
</file>

<file path=ppt/ink/ink3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33.96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3 18416,'32'-3'270,"-7"3"-180,-7 9 0,-7 1 0,1 2 0,-1 3 0,0 4 0,0 2 0,0 5-90,-1 1 90,-1 2 0,-1 2-90,-1 0 90,-1 1-90,-1 0 90,-1 1-90,0 0 0,-1 0-90,-1-3-90,-1 0 0,-1-2-180,-1-1-90,0-2-809,-1 9-360,-1-2 630,-1-1-2699,1-6 3688,0-7 0,2-9 0,-1 0 0</inkml:trace>
</inkml:ink>
</file>

<file path=ppt/ink/ink3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34.14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2 27 10681,'-11'-14'1979,"10"6"-1979,15 4-360,6 4-90,-2 1-179,1 1-91,2 1-809,0 0-90,0-1 1619,-1 1 0,-8-2 0,-4 0 0</inkml:trace>
</inkml:ink>
</file>

<file path=ppt/ink/ink3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34.76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93 10951,'8'26'2428,"-2"-1"-1798,-5-6-90,0 3-1,0 1-179,0 3 0,0 0 0,0 1 0,0 0-91,0 0-89,0-1 90,0 0-90,1-1 0,-2-3-90,1-1 90,0-2 180,-1-2 89,1 5 1,-1-5-450,-4-11-180,2-7 0,-2-17 0,4-2 0,2-6-89,2-7 89,2-5 0,3-4 90,3-4-447,2 1 447,3-2 0,0 4 180,1 5-90,-1 5-3,0 4-87,-1 4 90,-2 5 0,0 4 180,-1 4 270,0 4-270,4 6 90,-4 5 356,4 6-446,-6 3 3,-1 4-3,-1 4 0,0 3-90,-2 2 90,0 4-90,-1 1 0,0 1 0,-1 1-90,-1-1 90,-1-1-90,0 0 90,-1-4-180,-1 0-180,0-1-90,0-3-90,0-1-719,-1-2-180,0 4-1979,1-2 3328,-1 2 0,1-12 0,-1-4 0</inkml:trace>
</inkml:ink>
</file>

<file path=ppt/ink/ink3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35.34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69 8882,'11'-18'2518,"0"2"-1708,-1 4-360,1 1 359,2 1-269,4 8-270,-2 7 90,-1 5-91,-3 3-89,-4-1 90,0 2 0,0 3-90,-1 1 90,-1 2-90,1 2 0,-2 0 89,0 2-89,-1 0 0,-1 1 0,0 0-90,-1 0 0,0 0 0,-1-1 0,-1 0 90,1 0-180,-1-2 90,-1 1 0,0-3-90,0 0 90,0-2-90,0-1 90,1-1 0,-2 3 269,1-1 361,-1 3-720,0-19 0,2-4 0,0-17-90,2-1 90,1-2-90,2-5 0,1-3 90,1-3-90,2-2 90,1-2-90,2-1 0,1 1-3302,2 2 3302,1 1-2178,0 5 2178,1 2 90,-2 4-90,1 3 90,0 2-90,0 3 0,-1 3 2269,-1 3-2179,3 3 3302,-1 5-3302,2 5-90,-6 8 90,-5 6-90,-6 5 90,-2-3 0,-2 1 0,1-7-90,0 2 90,0-1 0,2 0-90,0 8 90,2-5-90,1 5-90,2-8 0,0 2 90,2-1-90,0 1 0,1-2 0,-1 0 1,-2-1-91,1-1 180,-1 4 0,-2 0 0,-3 2 90,-4-3-360,-7-3-360,-4-3-629,-3-4-1889,0-4 3238,3-7 0,2-9 0,2-5 0</inkml:trace>
</inkml:ink>
</file>

<file path=ppt/ink/ink3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35.53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80 1 9512,'20'8'3598,"-2"2"-2519,-8 1-90,-1 4-89,-2 3-1,0 3-89,-2 3-91,-2 3-89,-1 3 0,0 3-91,-2 1-89,-1 1 0,-1 0-180,-2 1 90,-2 1-181,-2-1 1,-2 1-90,-2-1-3572,-3-3 3212,-2-1-5584,-1-4 5854,-3-1 0,-3-2 0,0-2 0</inkml:trace>
</inkml:ink>
</file>

<file path=ppt/ink/ink3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35.56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8 41 8702,'-15'-23'0,"3"6"0</inkml:trace>
</inkml:ink>
</file>

<file path=ppt/ink/ink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4:08.94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4 9602,'31'-2'3957,"-3"1"-2697,-12 3-181,-1 4 0,-2 1-179,0 4-181,-3 3-179,-1 1 0,-1 2-180,-1 2-91,-2 2 1,0 0-90,0 2-180,-2 0-180,0 0-90,1 0-179,-1 0-181,0-1-90,1-1-1978,0 6-5757,1-8 8455,2 6 0,-4-17 0,1 1 0</inkml:trace>
</inkml:ink>
</file>

<file path=ppt/ink/ink3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35.71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0 9152,'37'2'1709,"-8"1"-1349,-10-1-181,-5 1 1,0 1-90,-2 0-449,1 1-721,3 2 1080,-3 3 0,-2-4 0,-5-1 0</inkml:trace>
</inkml:ink>
</file>

<file path=ppt/ink/ink3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35.84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0 11041,'25'10'1259,"-1"-1"-1079,-5-5 90,3 0-180,1 0 0,0 0-270,0 0-180,0-1-450,-1 0-1079,-3 0 1889,-1-2 0,-8 0 0,-3-1 0</inkml:trace>
</inkml:ink>
</file>

<file path=ppt/ink/ink3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37.19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1 236 8162,'-3'-23'5217,"1"2"-3598,1 1-1349,1 19 360,0 9-450,1 38-90,-1-11 90,0 14-90,-1-20 90,0 2-91,1-1 1,-1 1 0,0-2 0,-1-1 180,0 10-180,0-10 0,-1 14 90,1-20 450,0 4 269,0-6 91,0-3-811,-7-7-179,1-15 0,-2-9 0,4-11 0,3-1-90,0-5 90,0-5-89,2-6-1,0-2 90,3-3-463,0 0 463,3 0 0,0 2-90,2 2 90,1 2-90,3 3 0,2 3 0,1 5-89,10-4 89,-4 13 0,6-2-90,-6 14 90,-1 5 0,0 2 0,0 4-90,-1 2 462,0 3-372,-1 2 90,-3 3-89,-1 1-1,-2 1 90,-2 0-90,-3 2 90,-3-1 0,-2 0 0,-2 0-90,-7 7 90,-1-6 0,-5 5 0,1-8 0,-1-1-90,-1-2-90,-1-2-90,-2-1-90,1-1 0,0-2-89,0-1-1,0 0-180,1-2-719,1 1-450,-6-1-2968,1-1 4767,-2 1 0,11-1 0,3 0 0</inkml:trace>
</inkml:ink>
</file>

<file path=ppt/ink/ink3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38.17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9 75 13289,'6'27'1170,"-2"1"-6381,-5-7 5571,0 3 1678,-1 14-1408,2 6-360,-1-1 539,4 50-719,-2-52 695,2 36-785,-3-52 90,1-3 0,-1-1-90,0-2 180,0 6-90,0-4 3670,-1 5-3220,1-7-270,-1-1-270,-2-15-204,0-4-66,-2-15 0,2 0-89,-1-2-1,1 2 0,-1 0-180,2 0 181,0-1-181,2-2 90,1-2 90,1-4 90,1 5 91,-1-2-91,1 5 90,-1-1 0,1-2 0,-1-3 90,0 0 0,1-1 0,-1-2 0,1 1 0,0 0 90,0 0 0,0 0 90,0 1-90,0 1 90,1 0 0,1 2 90,1 0-90,0 2 270,5-6-90,4 1-180,0 1 0,2 7-1,-5 7 271,0 3-180,8 4 0,-5 3-90,6 4 90,-6 3-90,0 3 90,-1 3-90,0 3 0,-1 2 0,1 4-90,-2 1 90,0 1 0,-1 2-1,2 14-89,-4-9 90,2 9-90,-5-14 0,-1 0-179,-2-2-91,0 0-90,0-1-90,-2-3-90,0 0-359,0-3-2519,-2 0 3418,1 2 0,-1-10 0,0 0 0</inkml:trace>
</inkml:ink>
</file>

<file path=ppt/ink/ink3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38.35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1 44 12570,'-16'-16'3238,"12"3"-2968,15 5-180,9 4 90,-1 3-180,2-1-90,3 2-180,0 0-90,1 0-180,-1 1-89,0 0-271,-2 0 1,-1-1-1980,-3 0 2879,5 0 0,-13 0 0,4-1 0</inkml:trace>
</inkml:ink>
</file>

<file path=ppt/ink/ink3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38.71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23 0 9242,'-30'8'2338,"2"2"-1618,11 4-90,-1 5-181,-1 5 1,0 4 0,0 4-180,2 3 0,1 2-91,3 3 91,2 0-180,3 2 0,3-2 90,3 0-90,2-2 0,2 0 0,3 1-90,2 0 90,1-1-270,2-3-90,1-2-180,0-4-359,1-3-1170,7 4-180,-3-10-629,5 2 2788,-7-13 0,-5-4 0,-3-3 0</inkml:trace>
</inkml:ink>
</file>

<file path=ppt/ink/ink3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38.94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6 1 8432,'25'0'3058,"0"4"-2158,-9 6-91,0 6 91,0 5-91,-1 6-89,-1 4 0,-2 4-91,-2 4-89,-1 1-90,-3 2-1,0 1-179,-2-1 0,-1-1 0,-3-1 0,0-1-90,-2 2-90,-2 0 90,-1-2-90,-5 12-180,2-16-180,-4 8-90,1-17 0,0-2-180,-2-5-899,-7 2 540,4-8-1800,-6 0 271,1-10-1170,5-4 3598,-3-3 0,12 1 0,2 0 0</inkml:trace>
</inkml:ink>
</file>

<file path=ppt/ink/ink3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39.16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4 13559,'21'-8'0,"-4"2"0</inkml:trace>
</inkml:ink>
</file>

<file path=ppt/ink/ink3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39.98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6 198 11940,'-8'24'1889,"0"1"-1349,5-5-1,-1 3-89,0 2 0,1 3-90,1 1 90,1 4-91,0-2-89,0 0 0,2 1 0,-1-3-90,1 2 0,-1-4-90,1 0 0,-1-2 89,0-2 1,-1-2 630,1-3-1,-1 5-359,-2-4-90,-3-2-180,-3-12-90,-4-11-90,3-7 0,2-8 0,2-2-180,2-5 90,2-6 0,2-8-90,3-6 90,4-6-722,2-5 722,5 2 0,2 0 0,16-17 0,-6 20-90,14-10 90,-9 28-296,2 6 206,1 6 90,-2 6-89,0 6-1,-3 5 90,-3 4-90,-2 5 796,-2 3-706,-1 4 222,-4 2-222,-2 3 90,-3 3-90,-3 0 90,-4 2 0,-3 1 0,-3 0 0,-4 1 0,-4 1 0,-2 0-90,-4 0 180,-3-2-180,-2 0 180,-1-2-180,-3-2 90,0-1-179,0-2-1,-1-1-270,1-3 0,0 0 0,2-3-179,1-1-900,2-1-630,-4-2-2878,5-4 5037,-1-2 0,10 1 0,5-1 0</inkml:trace>
</inkml:ink>
</file>

<file path=ppt/ink/ink3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40.22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35 1 11940,'-14'23'2339,"-1"0"-1710,3-5-179,-1 3 0,-1 2-180,1 3 0,0 0 0,2 2-1,1 2-179,2 0 90,2 2-90,2-2 90,3 0-90,1-2 0,1 1-90,3 0-90,1-1-180,1-2-90,2-3-179,1-3-91,1-3-180,1-1-179,1-4-180,0-3-1080,1-3-899,0-4 3148,2-3 0,3-5 0,1-3 0</inkml:trace>
</inkml:ink>
</file>

<file path=ppt/ink/ink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4:09.52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7 134 10051,'-7'-29'4498,"1"3"-4498,4 4-810,1 3-179,5 3-271,7 2 181,8 6 180,35 20 1078,-25-3 181,21 15 630,-29 3-361,-7-5 811,8 21-721,-12-17 1,1 9 89,-5-11 540,-1 10-629,-1-7-90,-1 4-1,-2-10 631,0-3 89,0 5 360,-1-3-540,0 5-1079,6-21-90,-2-3 0,8-17 0,-2 0 0,3-2-90,3-1 90,0-1 0,2 2-90,0 0 90,0 3-90,0 2 90,-1 3 0,-2 1 0,1 5 0,4 2-90,-5 5 90,4 2 90,-6 4-90,-2 1 0,-1 3 0,-2 2 0,-1 0 0,-1 0 90,-2 1-90,0-1 180,-2 6 90,-1-1 0,-2 3 180,-3-5-450,-5-12 90,4-9-90,-1-14 0,7 0-90,5-4 90,0 5 0,3 0 0,2-1 0,1 2-90,1 1 90,1 3 0,1 1 0,-1 2-90,0 2 90,4 4-90,1 4 90,-1 2 0,-2 4-90,-6 1-90,-1 1-90,-1 1-90,-2 2-89,0-1-1,-1 2-899,-1 0-181,-1 5-179,-1 0-449,-2 5-1530,-2-5 3688,-2-3 0,1-8 0,1-3 0</inkml:trace>
</inkml:ink>
</file>

<file path=ppt/ink/ink3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40.73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22 11850,'19'3'2609,"-5"0"-1980,-9 16-89,-3-1 0,0 2-1,-1 4-89,1 1-180,-1 1 90,0 1-90,0 1 0,-1-1-1,0 1-89,0-1 0,-1-1 0,0 0-90,1-2 0,-2-2 0,1-3 360,0-1 539,-1 3 270,1-2-719,-3 2-450,-1-14-90,-2-11-90,0-9-180,2-17 270,2 7-90,0-10-90,3 8 90,1-4-89,2 0 89,0-3-90,3 1 90,2 0-90,1 1 0,2 1 0,2 1 0,1 3 90,1 2-90,1 3 90,0 2-90,-1 3 1,0 4-91,0 1-90,-2 3 90,5 4 0,0 4 90,1 7 90,-5 6 0,-7 5 0,-6 6 90,-3-6 0,-2 2 0,0-6-89,0 0 89,0 1 0,0-1 0,1 1 0,0-1 0,1 1 0,1 0 0,1 1 0,1 0 0,0 0 0,2 0 0,0 0 0,0 0 0,-1 0 0,0-1 89,0 5 1,-3-1 0,-2 0 0,-5 1-90,0-11 90,-4 2-90,2-5 90,-1-1-90,-1-1-450,-4-1-449,-1-1-450,-4-2-990,4-5-4137,4-4 6476,8-8 0,3 7 0,3-2 0</inkml:trace>
</inkml:ink>
</file>

<file path=ppt/ink/ink3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40.93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10051,'26'6'4048,"-7"1"-3149,-10 8-179,-4 2 0,-2 3-181,0 4-89,-2 2 0,-1 3-90,-1 3-91,1 3-89,-2 1 0,0 1 0,0-1 0,0 1-90,-1-1-180,0-1-90,0 0-180,-1-3-89,1-3-91,-1-2 0,1-3 1,0-4-1171,0-2 1710,1 2 0,0-11 0,1 0 0</inkml:trace>
</inkml:ink>
</file>

<file path=ppt/ink/ink3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41.35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0 175 12300,'17'4'3058,"-2"8"-2608,-14 7 0,-1 4-90,0-4-1,0 0-89,0 3-90,0-1 0,-2 0 90,2 0-180,-2-2 90,1-1-90,-1-1 359,0-1 271,0 4 0,-2-4-271,-3 1-269,-3-14-90,0-11-180,2-7 0,5-7-90,3 1-3302,3-5 3392,2-7 0,4-4-117,2-2 207,3-1 0,1 2 0,1 1 0,1 3-90,-1 5 90,1 3 0,0 4 90,0 2 0,-1 5 3693,7 1-3603,-1 10 266,1 3-176,-4 10 0,-5 5-1,-2 4 1,1 3-90,-2 5 90,-1 2-90,0 3 0,-1 1-90,-2 1 0,0 1 0,-2 0 90,0 1-360,-1-1-90,-1-1-180,-2-2 0,0-2-179,-1-3-91,0-2-89,-1-2-1,-1-2-179,-1-2-181,0-3-1888,-2-2-3508,-5 1 6566,-2-7 0,3 0 0,2-6 0</inkml:trace>
</inkml:ink>
</file>

<file path=ppt/ink/ink3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41.48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0 143 10051,'-14'-21'4498,"2"1"-4049,8 4-359,8 5-180,8-2-269,3 6-271,5 1-90,-2 2-269,2-1-1080,3 0-809,2-1 2878,1-1 0,5-3 0,1-2 0</inkml:trace>
</inkml:ink>
</file>

<file path=ppt/ink/ink3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41.65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92 30 12300,'29'-19'3958,"-4"8"-3239,-14 16-89,0 8 0,-5 3-181,1 3 1,-1 5-90,-1 2-90,-1 5 0,0 2-91,-1 2 1,0 1-90,-2 0 0,-1 1-180,-2-1-180,-2 0-89,-2 1-181,-3-1-90,-4-1-179,-4-2-271,-3-4-179,-4-1-270,-4-5-1080,-2-2-1438,-3-4 4047,-4-3 0,-3-1 0,-3-2 0</inkml:trace>
</inkml:ink>
</file>

<file path=ppt/ink/ink3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42.16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9 0 10501,'-29'1'4048,"3"0"-3689,23 3 181,4 0-360,30 4 0,0-2 0,24 3-782,1-1 692,17 2 90,9-1-3223,14 1 3088,-46-4 0,1-1 0,3 0 0,1 0-607,2 0 1,1 0 561,2 0 0,1 0 0,1-1 0,1 1 0,1-1 0,1 1 0,-1-1 0,1-1 0,-1 1 0,0-1 0,-2 0 0,0 0 0,-2 0 0,-2-1 0,-1 0 0,-3 0-613,43 0 613,-12-1 90,-14-1 9,-12-1-189,-9 0 2143,-9-1-3942,0-2-3794,-14 0 5683,-15-3 0,-21 2 0,-19 0 0</inkml:trace>
</inkml:ink>
</file>

<file path=ppt/ink/ink3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5:52.78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24 78 8432,'13'-22'1799,"-1"2"-1349,-6 6-540,0 0 0,-12 9 180,1 2-3572,-12 9 3572,0 3 0,-3 2 0,-5 4-90,-2 1 90,-3 3-90,0 0 90,1 2-90,1 0 90,2 2-180,3-1-90,3 1-180,4 0-180,3 0-809,2-1 3572,4 0-2223,1-2 0,4-9 0,0-2 0</inkml:trace>
</inkml:ink>
</file>

<file path=ppt/ink/ink3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6:09.12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856 545 7713,'3'-29'1889,"1"1"-1800,-5 24 1,-2 6-90,-11 41 0,6-16 0,-6 21-3392,8-26 3392,0 1 0,-1 2 0,1 1 0,-5 12 0,2-8 0,-3 8-2268,3-13 2268,-1-1 2268,0 0-2268,-2-1 0,-7 9 0,3-10 90,-8 7-90,4-12 90,-3-1 0,-5 0-90,-4-2 90,-6-2 0,-7-1 0,-6-2-446,-8-3 356,-5-3 2306,-4-3-2306,-9-4 45,15-3 0,-2-1 0,12 2 0,-1-1-732,-18-4 0,1-1 732,18 3 0,2-1-45,-2 0 0,1 0 45,0-1 0,1 0 0,0 0 0,1-1 45,-48-10 0,5-2-90,2 1 90,4-1-1076,1 2 1076,1-2-90,2 2 90,-1-2-90,0 2 0,2-1 0,0 2 45,28 7 0,-1 0-45,-24-7 0,-16-4 90,36 9-180,3 1 613,7 2-523,2 0 0,7 1 0,2 0 742,3 1-742,3 1 1408,3 0-1498,-11-5 90,10 4 1393,-8-4-1393,10 4 0,1 0 5,-2 0 85,0 1-180,-1-1 180,-2 0-180,1 0 90,-4 0 0,3 1 0,-1 0 0,1 0 90,0 1-180,2 0 90,0 0 0,2 1 0,3 0-3392,2 1 3392,2 0-279,2 0 549,2 1-90,1 0 180,-2-2-180,0 0-90,-1-2 3209,4-2-3299,2 1 732,3-2-642,1-1-90,1-2 179,1-1 1,1-1-90,1-1 0,1 0-90,1-1 0,3 0-629,1 1-181,3 1-2068,1 3 2878,3 3 0,-4 6 0,1 3 0</inkml:trace>
</inkml:ink>
</file>

<file path=ppt/ink/ink3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6:10.52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7 205 9242,'-6'-23'3418,"0"3"-3058,-1 15-91,4 10-89,-1 17 0,2-1 0,2 5 450,0 18-181,0-3-269,0 11-90,-1-14 90,1-12-90,-1 0 90,1-2 0,-2 8 90,1-9 449,-1 10 451,0-11 89,1 2-899,-4-7-270,-1-13-180,-4-12 0,1-6 0,0-8-90,3 2 0,0-6-90,2-2 90,1-5-3392,3-1 3393,2-5-1,3-2-262,3-1 262,5-4-180,25-33 180,-12 31 90,19-21 0,-20 43 0,0 5 90,0 4-90,0 5 90,-1 5 3217,-1 3-3217,-1 3 258,-1 4-258,-1 3 0,-2 4 0,-1 1-90,-2 2 90,-2 2 0,-3 0 90,-3 1-90,-2 0 0,-5 7 0,-4-6 0,-5 5 0,-5-6 0,-3-1 0,-4-1 0,-2-1 89,-3-2-89,-2-1 0,0-2 90,0-1-180,2-1 90,0-2-89,2-1-91,0 0-180,3-1 0,1-1-719,2-1-720,-5 1 1799,3-2 0,5 1 0,6 0 0</inkml:trace>
</inkml:ink>
</file>

<file path=ppt/ink/ink3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6:11.33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89 0 10141,'-8'14'3868,"6"-10"-3598,-15 33 0,9-19-90,2 1 89,-2 2 1,2 1 0,0 0 720,-7 58-721,8-20-179,-4 26 0,11-31 0,1-30-90,3 6 90,1-11-90,1-1 0,2-2-90,2-1-90,1-1-89,2-2-181,1-2-90,1-1-269,2-2-181,-1-2 1,0-2-1260,0-1-989,-1-2 3238,0-2 0,-7 0 0,-3 0 0</inkml:trace>
</inkml:ink>
</file>

<file path=ppt/ink/ink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4:09.72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77 9242,'34'-47'9830,"-3"17"-8507,-20 38 296,0 19-989,-5 2 0,-3 8-181,-1-5-89,0 1 0,-1 3-90,1-1-90,-1 1 0,0-1-90,0-3 0,0-1-180,-1-3-180,0-3-90,0-2-90,0-2-809,0-2-810,0 2 2069,1-4 0,0-4 0,-1-7 0</inkml:trace>
</inkml:ink>
</file>

<file path=ppt/ink/ink3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6:12.01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2 113 12660,'7'32'1259,"-1"-3"-899,-7-12-90,1 1 0,-1 0 89,-1 0-89,2 1-90,-2-1 0,1 0 0,0 0-90,-1-1 90,0-2 90,0 5 449,0-2 810,0 3-899,-2-4-630,-4-11-90,0-8-90,-1-10 0,4-6 0,3 0-90,2-3 91,2-4 89,3-2-90,2-4 90,3-1-90,10-16 90,-3 12 0,6-8 90,-5 18-90,-2 4 90,1 2 0,-1 4-90,0 2 180,0 4-90,-1 4 90,7 3-90,-6 4 0,6 5 90,-8 2-90,1 4 0,-1 2 90,0 3-90,-1 3 0,-1 2 90,-1 1-90,-1 2 0,-1 0 0,0 11-90,-4-8-180,0 8-90,-3-12-179,-3 0-91,-1-1-270,-2-1-179,-2-1-180,-1-2-990,-2-1-899,-1-3 3148,-2-2 0,-5-1 0,-1-1 0</inkml:trace>
</inkml:ink>
</file>

<file path=ppt/ink/ink3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6:12.14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57 9602,'8'-30'1349,"1"4"-989,3 15-181,2 1 91,3 0-180,1 2 0,2 0-270,1 1-90,2 1-269,1 1-271,0 1-539,0-1-90,2 0 1439,0-1 0,2-1 0,1-1 0</inkml:trace>
</inkml:ink>
</file>

<file path=ppt/ink/ink3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6:12.59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38 10231,'22'-5'2519,"-3"5"-2070,-7 8-179,-2 4 180,-3 0-90,-1 3-90,2 2 89,-2 1-89,1 1 0,-1 0-90,0 2 0,-1-1 0,0 0-90,-1 0 0,-1-2 90,0 0-90,-1-2 90,1 5 179,-2-2 451,2 4-91,-3-3-629,-7-13 0,3-6-90,-5-14 90,7-6-90,5-28 0,-1 18-90,5-19 90,-1 27 0,-1 0 0,2-1-90,2-1 90,0 0 0,2-1-90,0 0 90,2 2-90,0 0 90,1 3 0,0-1 0,1 4-89,0 0 89,0 3 0,0 1-90,8 1 90,-7 4-90,11 3 90,-11 5 0,3 5 0,-7 3 0,-1 2 0,0 4 90,-2 1-90,0 2 0,-2 1 90,0 1-90,-2 3 0,0-1 0,-1 2 0,-1-1 0,-1 1 0,-1 0 89,0-1-89,-1 1-89,-1-1-181,0-2 0,-1 0-180,0-2-90,-1-1-89,0-2-900,1 0-720,-2 3 2249,0-4 0,1-2 0,1-6 0</inkml:trace>
</inkml:ink>
</file>

<file path=ppt/ink/ink3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6:13.20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6 60 11400,'20'4'1799,"-5"0"-1439,-5 14 0,-3-1-90,0 4 0,0 3-90,-1 2 0,0 3-1,-2 1 1,0-1 0,-1-1 0,-1-1 0,-1 0-90,-1-2 180,-1 0-90,-1-3 90,0 0-91,-2-4 91,0-1 0,-1-2 180,-1-3-90,-4 1-90,-2-5-181,-5-4-89,4-6 90,0-6-90,5-2 0,0-2 0,1-3 0,1-3 0,1-2-90,2-2 1,2-1-1,1 0 0,2-2 0,2-2 0,2 0 90,3-2-90,1 1 0,2 0 0,2 2 90,1 0-90,1 3 90,2 1-90,1 2 0,8-4 90,-7 7 0,6-1-90,-9 8 90,-2 2-90,0 2 90,3 1 0,-1 2-90,3 3 90,-5 6 0,-5 3 0,-5 5 0,-4 2 0,-3 3 0,-2 3 0,1 1 0,2 3 0,2-4 90,3-1-90,1-5 0,1 0 0,1 2 0,1-1 0,0 1 0,1-1 0,-1 0 0,0-1 0,-1-1 0,0-1 90,0 2 0,-2 0-90,-3 2 90,-8-5-90,-9-2 0,-1-5-90,-4-2 0,4-2-629,-10 0 179,4-1-180,-8 1-269,7 0-181,0 1-1168,-2 1-1170,1 0 3508,-3 0 0,-4 1 0,-1 1 0</inkml:trace>
</inkml:ink>
</file>

<file path=ppt/ink/ink3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6:13.63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44 2 7533,'-29'0'3328,"0"-1"-2609,6 1-179,2 0 270,3 0 899,-3 1-1350,19 2 1,4 0-90,23 3 0,11-2 0,12 0 0,12 1-1397,18 0 1397,11 1-136,-38-3 1,3 0-1465,3 0 1,0 0 1419,4 0 0,2 0 45,6 1 0,2 0-909,1-1 1,2 2 818,5-1 0,1 1-649,1 0 1,-1-1 648,0 1 0,0 0 0,0 0 0,-1 0 0,-5-1 1,-1 1 43,-1-1 1,-1 0 233,-6 0 0,0-1-278,0 1 0,-1-1 0,0 1 0,-1-1 0,-1 0 0,-1 1 0,-2-1 0,0-1-45,-3 1 0,-1 0 651,-3-1 1,-2 0-652,40 2 0,-9-1 90,10 1-180,-31-2-90,9 0-89,-34-1-91,-4 0 2354,-4 0-2984,-6 1-541,-1 1 272,-17 3 791,-3-1-3219,-16 2 3778,-6-2 1,-7 2 0,-6 1 0</inkml:trace>
</inkml:ink>
</file>

<file path=ppt/ink/ink3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6:14.24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6 276 9512,'-5'-24'6566,"-2"14"-6206,1 34-1,1 0 1,1 17 0,3-18 360,-2 24-361,0-5-179,0 8 0,0-5-90,1-22 180,-1 14 180,1-13 269,0 3-89,-2-7-450,-3-12-270,-2-11 0,-2-9 0,3-8-90,4-2-90,1-5 90,2-5-89,3-7-1,6-5 90,3-5-270,5-3 270,16-21-331,-4 19 242,26-30 179,-20 42-90,23-14 90,-26 31 90,8 0-90,-16 16 90,-1 3 0,-2 3-90,6 7 90,-8 0 0,5 7 0,-11-1 0,0 8 0,-4-2 331,-3 4-331,-6-5 90,-6 9-90,-2-6 0,-5 5 0,0-9 90,-12 6-90,4-6 0,-9 4-90,8-8-180,0-2 0,-1-1-270,2-1 1,0-1-181,0-1-180,2 0-179,2-1-2429,0 0 3508,-1-1 0,9 0 0,-1-1 0</inkml:trace>
</inkml:ink>
</file>

<file path=ppt/ink/ink3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6:14.77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82 0 10141,'23'8'2159,"0"1"-1619,-9 4 89,2 4-179,0 3 0,2 5 0,-1 3-181,1 4 1,-2 2 0,-1 2-90,-2 2-90,-2 1 90,-3 2-1391,-3-1 1301,-2-1 0,-5 2-167,-3 0 77,-5 5-90,-4-1-2995,-6 1 2725,-3-1-180,-6-3-298,-2-2-62,-4-2-269,-1-3-2335,-2-2 536,0-4 2968,-1-2 0,0-5 0,1-1 0</inkml:trace>
</inkml:ink>
</file>

<file path=ppt/ink/ink3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6:16.20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4 10051,'18'-3'3418,"-2"7"-2878,-10 10-90,-1 4-1,-2 0-89,-1 1 0,0 3 90,0 1-180,0 1 0,0 1-1,0-1-89,-1 0 0,-1-1 0,1-1-90,-2-3 0,1 0 180,0-2 269,-1 5 181,0-3-90,-1 2-360,-5-8-180,-1-8-90,-4-10 89,4-7-89,1-7 0,3-2 0,2-1 0,2 0-269,1 2-451,0 0-359,0 3-2339,2 1 3418,3 11 0,-3 1 0,2 7 0</inkml:trace>
</inkml:ink>
</file>

<file path=ppt/ink/ink3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6:16.65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69 24 9152,'-6'9'3508,"5"-8"-3238,-17 35-1,11-16-89,-1 4 0,1 1 0,0 3-90,0 1 0,1-1 0,0 2 0,1-1-90,0-2 90,0 0-90,0-2 0,0-1 0,0-1 90,1-1-90,-1-1 0,1-3 0,0 0 90,0-3 360,-1 4 89,0-3 1,0 2-360,-4-7-90,2-14 0,-1-6-90,4-15 0,3 2 0,1-3 0,1 3 90,2-2-90,1-2-90,0-1 90,2-2 0,2 0 0,1 0-90,2 1 90,3-2 0,1 1 0,2 0 0,1 1 0,2 1 0,0 3 0,2 2 0,-1 3 90,1 3-90,1 0 90,1 4-90,-2 3 90,0 3 0,-1 4 89,9 3-89,-8 4 0,6 4 90,-8 3-90,-2 2 0,1 5 0,-2 1 0,-2 2 0,-1 2-90,-2 2 90,1 14 0,-5-8-180,1 10-90,-7-12-180,-1-1-89,-3 0-181,-1 0-270,-3 0-1348,-6 9-1,1-10-989,-5 3 3238,4-13 0,-4-2 0,-1-1 0</inkml:trace>
</inkml:ink>
</file>

<file path=ppt/ink/ink3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6:16.78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204 10321,'7'-27'1439,"0"3"-1079,2 13-90,3 0-90,1 0 0,3 1-180,1 1-180,1 1-90,2 0-270,2 1-89,1-1-181,0 1-629,3-2-90,0-1 1529,-1-2 0,4-3 0,0-2 0</inkml:trace>
</inkml:ink>
</file>

<file path=ppt/ink/ink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4:10.94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22104,'11'28'1530,"-1"0"-1171,-6-4-89,2 2-90,-1 3-270,1 0-90,-1 0-270,1 1-179,-2-2-181,1-2-89,-2-1-181,1-1-3417,-1 7-3958,-2-4 8455,-3 3 0,0-14 0,-1-7 0</inkml:trace>
</inkml:ink>
</file>

<file path=ppt/ink/ink3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6:16.94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51 28 8252,'23'-12'2609,"-2"2"-1260,-5 5-809,-1 4-1,0 3 1,-3 5 0,-4 3-180,-2 1-91,0 5 1,-2 2-90,0 3 0,-2 2 0,-1 3 0,-2 2-90,-1 1-90,-3 3 0,-2 0-270,-2 2 0,-3 0-180,-4 0-179,-2-2-810,-12 11 449,4-14-989,-10 6-719,8-15 2698,0-6 0,-5-1 0,1-3 0</inkml:trace>
</inkml:ink>
</file>

<file path=ppt/ink/ink3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6:17.29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63 0 10141,'-32'8'2069,"3"2"-1529,12 4-1,0 3-89,0 4 0,1 6-90,3 0-1,2 5-89,4 0-90,4 3 0,3 1 0,4 5-90,3-1-341,5 6 341,3 0 0,4 1 0,2-2-270,2-2-89,2-3-271,1-2-360,1-5-179,0-2-1350,0-5 2429,14 5 0,-7-10 0,10 4 0</inkml:trace>
</inkml:ink>
</file>

<file path=ppt/ink/ink3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6:17.89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25 14279,'30'-10'719,"0"2"-539,-4 4-5660,3 2 5480,5 1-1257,0 1 987,2 2 807,-1 0-1346,0 2-181,-2 1-1168,-4 1-901,-4 1 3626,-5 1 0,-10-4 0,-3 0 1</inkml:trace>
</inkml:ink>
</file>

<file path=ppt/ink/ink3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6:18.08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2 0 9422,'-28'10'3867,"3"-2"-1618,8-2-1799,16-1 0,3-2-91,19-1-89,7-2 90,5-1-180,8 1 0,2-1-90,3 0-1842,1 0 1842,-5 1-90,0-1-17,-7 1-73,-2-1-90,-4 1-90,-4-1-179,-3 1-631,-2 0 1638,3 0-8023,-6 1 7497,-9 3 1,-3-3 0,-11 2 0</inkml:trace>
</inkml:ink>
</file>

<file path=ppt/ink/ink3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6:19.29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56 64 7982,'21'-23'1889,"-2"4"-1529,-3 9 0,2 3 0,-1 4-90,1 2-91,-1 4 91,0 2 90,-1 4-180,-2 4 90,-3 2 90,-3 2-1,-2 3-89,-3 0 90,-3 3-90,-3-1 0,-4 2-90,-3 1 90,-5 2-1,-4-2-3481,-5 1 3392,-1-2 0,-2-2 0,-1-3-90,1-2 90,1-3 0,-7 0-90,9-5 0,-4-1 0,12-5 3302,-4-3-3392,5-3 90,6-10-180,9 2 90,11-5 0,4 6-90,4 0 0,4-1 0,3 1 0,2 1 0,0 1 0,1 1 90,-3 1-90,-1 1 90,-2 2-90,0 1 90,-2 2 0,-2 0 0,-1 1-90,-1 1 90,0 2 0,-1 1 0,0 0 0,0 2 0,0 0 90,-2 1-90,-1 0 90,0 0-90,-2 0 90,1 0 90,6 4-90,-4-2 0,5 2-90,-5-4 90,2 0 0,0-1-90,2 0 90,1-3-1,1 0 1,-1-1-90,2-3 90,0-1 0,12-7-90,-7-1 0,7-6 90,-10 0-90,-1-3 0,-1-3 90,-2-2-90,-3-2 90,-2 1-90,-4 0 90,-3 1-90,-4 2 0,-3 1 90,-3 1-90,-11-5 0,1 7 0,-8-2 90,-23 4-90,20 9 0,-20-2 0,27 11 90,1 1-180,-1 1 90,2 3-180,1 1 0,1 1-180,2 1 1,2 1-181,2 1-90,0-1-1169,2 1-1529,1 6 3328,4 0 0,5 5 0,5-2 0</inkml:trace>
</inkml:ink>
</file>

<file path=ppt/ink/ink3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6:19.51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808 0 8702,'27'4'6656,"-8"4"-5846,-16 10-1,-8 2-179,-8 6 0,-4 0-91,-5 5-179,-5 5-420,-4 3 420,-3 2-550,-2 1 370,-2 0 90,-4 3-180,2-2 0,-3 1-90,3-3-934,-2-1 754,0-1-90,0-2-505,-1-2 326,1-2-1,1-3-63,4-4-27,2-2-89,6-6-1,4-1-359,3-4-91,3-2-2191,2-3 3271,0-3 0,9-2 0,0-1 0</inkml:trace>
</inkml:ink>
</file>

<file path=ppt/ink/ink3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6:19.72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5 8972,'25'-4'4947,"-6"4"-3778,-7 6-359,-7 7-450,-4 8-90,-2-3-91,0 3 1,-2-5 0,1 2-90,-1 1 0,-1 1 0,0 0-90,-1 0-270,0 0-3482,0-1 3303,0-1-1,0-3-809,0 0-630,0 3 1889,0-3 0,2-4 0,1-4 0</inkml:trace>
</inkml:ink>
</file>

<file path=ppt/ink/ink3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6:20.00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1 53 11670,'-3'22'1889,"-1"-1"-1349,0-8-90,0 1-1,1 1-89,1 2 0,2 0-90,1 0 270,4 10-361,1-6-89,4 5 90,-1-8-90,2-3 0,0 0 0,2-3 0,0-2 0,0-2 0,0-3-90,6-4 0,-5-3 90,4-5-90,-6-3 0,-1-3 0,-2-4 0,-1-1 0,-3-2 0,-1-2 0,-3 0 0,-2 0-90,-3 0 0,-3 1-90,-2-2 0,-3 3-539,-8-6 269,4 7-90,-5-1-89,7 9-901,1 2-1978,-3 0 3508,3 3 0,3 1 0,4 3 0</inkml:trace>
</inkml:ink>
</file>

<file path=ppt/ink/ink3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6:20.25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96 39 9602,'-2'32'3508,"0"0"-3059,1-4 1,1-5 0,5 0-90,1-7-91,2 0 271,9 6-180,4-2-270,1-1 90,-1-5-90,-6-8 180,0-3-181,11-7 1,-9-3-90,7-6 0,-13-2 90,-3-3-90,-2-2 0,-2-1 0,-5-12 0,-2 7 0,-6-7-90,-2 12-89,-4 1-91,-3 2-90,-2 3-90,-3 3-90,-2 3-269,-1 4-1,-4 2-449,-2 4-810,-4 2-629,-2 3 2537,-3 2 1,-3 3 0,-1 2 0</inkml:trace>
</inkml:ink>
</file>

<file path=ppt/ink/ink3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6:20.65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89 0 8972,'-25'1'3688,"3"-1"-2159,3 1 90,-1 0-1079,17 1-91,5 0 361,24 1-450,40 2 0,2-1-1500,-17-1 0,3 1 1410,44 0-90,-45-1 0,1 0-561,3-1 1,1 1 515,3 0 0,1 0 0,7 0 0,1 0-1049,3 1 0,1-1 1048,5 2 1,2-1 0,-1 0 0,-1 0-511,-4 0 1,-2 0 554,-1-1 1,-2 0 155,-6 0 1,-1 0-111,-2-1 0,-1-1-45,-3 0 0,0 0 0,-4 0 0,-1-1 90,41-1 44,-36-1 1,-2-1-45,21-1-61,12-2-30,-41 2 1726,-7 1-1815,-7-1 1469,-4 1-1829,-3 1-4828,2-1 3209,-26 8 80,-2-1-3588,-30 7 5397,-5-2 0,-9 1 0,-4 0 0</inkml:trace>
</inkml:ink>
</file>

<file path=ppt/ink/ink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4:11.19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 120 11490,'-5'-23'3508,"5"1"-3148,9 10-90,6 0 0,1 5-270,3-1-90,4 1-360,2 1 0,3 0-269,1 1 89,2 1-89,0 1-1,1 0 0,0 2 91,-1 0 89,-2 2 180,-1 0 1,-1 2 179,7 0 360,-9 1 269,4 1 91,-13-1 809,-2 0 180,2 1 0,-2 1 450,1 0-4407,-3 1 2428,1-3 0,-6 0 0,-1-3 0</inkml:trace>
</inkml:ink>
</file>

<file path=ppt/ink/ink3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6:21.89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72 14009,'29'8'1079,"4"-3"-899,1-10 0,12-2-1292,9-2 1202,8-2 0,9-2-3654,3 0 3384,5-2-675,-15 2 1,0 0 262,18-4-532,-23 4 0,-4 1-2025,-2-1 3149,-6 2 0,-5 0 0,-3 2 0</inkml:trace>
</inkml:ink>
</file>

<file path=ppt/ink/ink3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6:23.99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0 21 10681,'-15'-16'3418,"3"12"-3058,1 16 0,4 7-1,3-2-89,0 1 90,1 2-90,1 2 0,1-1-90,1 1-1,1-1 1,1 1 0,1 0-90,1 0 0,1-2 0,0 0 0,2-2 0,0 0 0,2-2 0,0-2-90,1-1 90,0-3 0,1-2-90,1-2 90,6-3-90,-3-3 0,5-2 0,-5-5-90,0-2 90,1-4-90,0-3 90,0-3-90,-1-2 90,-1 0 0,0-1 0,-3 1 90,0 1 90,-1 2-180,-2 3 90,3-3 269,-3 3-179,1 9 0,-5 10-90,-4 17 0,-1-1 0,-1 3-90,1-6 90,0 2-90,1 1 90,-1 0-90,0 1 90,1 0-180,-1 2-180,0-2 0,1 0-89,-2-2-91,2 0-90,-2-1-629,2-1-91,-1 6-2967,0-4 4227,4 2 0,-2-10 0,1-4 0</inkml:trace>
</inkml:ink>
</file>

<file path=ppt/ink/ink3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6:24.29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40 13020,'9'34'1529,"-1"-7"-1170,-7-5 1,1-4 0,2 0-90,1 2 0,2-1-90,2-1 0,1 0-1,2-2 1,0-1 0,1-2-90,0-2 0,1-3 90,-1-3-90,7-3-90,-6-4 90,5-3-90,-8-4 0,-1-3 0,0-3 90,-3-2-90,0-3 0,-3-1 0,-2 0 0,-2-1 0,-3 1 0,-1 0-90,-4 0 90,-1 3 0,-2 0-180,-3 3 0,0 2-90,-2 2-89,-1 2-91,-1 3 0,0 2 0,1 2-179,1 2-1,1 3 630,1 0 0,-2 9 0,-1 2 0</inkml:trace>
</inkml:ink>
</file>

<file path=ppt/ink/ink3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6:24.51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59 1 10591,'29'-1'5127,"-6"5"-3508,-14 7-989,-7 8-91,-5 1-89,-3 4 0,-2-1-90,-2 1-90,-3 5-1,-1 2-89,-1 1 0,-2 1-90,-1 0 0,0 2 90,-1 0-270,0 0 90,1-1-270,0-1 0,0-1-179,2-3-91,0-2-90,2-3-179,1-2-1,2-2 1,1-2-91,1-4-2968,2 0 3868,1-3 0,3-5 0,0 0 0</inkml:trace>
</inkml:ink>
</file>

<file path=ppt/ink/ink3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6:24.71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8 8972,'22'-12'6296,"0"7"-4946,-10 8-451,-3 11-539,-7 7-90,-1-1-1,-2 2-89,1-4-90,-1 0 0,0 3 90,0-1-90,-1 2-180,0 0-90,1-2-90,-1-1-89,0-1-181,0 0-629,0-3-1,-1 5 1170,1-3 0,0-4 0,1-6 0</inkml:trace>
</inkml:ink>
</file>

<file path=ppt/ink/ink3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6:24.99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 28 13919,'1'32'1169,"-1"-3"-899,-2-14 90,2 1-90,0 1-90,2 0 0,1 0 0,2 1-1,2 0-89,1-1 0,1-2 90,2-1 0,7 2-90,-4-6 90,5 0 90,17-19-180,-19 0 0,17-12-90,-26 4 90,-1-1-90,-2-1 90,-2-1-90,-6-8 0,-1 6 90,-5-6-90,0 11-90,-2 0 0,-2 3-180,-1 1-90,1 2-1979,-13-1 271,5 5 2068,-8 1 0,11 6 0,3 3 0</inkml:trace>
</inkml:ink>
</file>

<file path=ppt/ink/ink3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6:25.34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9 83 12840,'-2'28'3058,"1"2"-2698,-1-7 0,3 2-1,2-6-89,2 2-90,2 0 360,11 17-450,-5-15 0,8 12 0,-9-21 0,1-1-90,-1-3 89,0-3 91,15-9-180,-11-3 0,10-9 0,-17-3 90,-2-1-90,-2-3 0,-2-2 0,-3-1 0,-1-1 0,-4-2 0,-1 0 0,-4 1-90,-1 0-179,-3 3-1,-1 1-180,-2 3-90,-2 2 1,0 3-91,0 2-180,0 3-89,0 2-180,0 1-1260,0 3-1079,0 1 3418,3 2 0,6 0 0,3 0 0</inkml:trace>
</inkml:ink>
</file>

<file path=ppt/ink/ink3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6:25.79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 44 12750,'-3'-17'2338,"9"2"-2068,12 9-90,8 2 0,-1 2 0,5 2-180,3 2-180,5 1-180,1 2-269,2 0-181,-4 2-179,-2 0-1260,-4 2-1079,-4-1 3328,-4 1 0,-10-3 0,-5-2 0</inkml:trace>
</inkml:ink>
</file>

<file path=ppt/ink/ink3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6:25.98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5 0 9961,'-31'10'4858,"4"-2"-2160,11-4-2158,19-2-91,1 0 271,21-3-360,18 1-180,-3-1 0,19 0-350,-12 1 260,1 0-90,1 0 0,-1 0-180,-5 0-180,-2 0-90,-6 0-269,-3 0-91,-4 0-89,-3 1-1,-4 0-179,-1 0-2259,-4 1 3338,4 1 0,-11-1 0,2 1 0</inkml:trace>
</inkml:ink>
</file>

<file path=ppt/ink/ink3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6:26.92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10 4 8792,'29'-3'2249,"-6"3"-1890,-3 8-89,-8 4-90,-2 2 0,-2 3 0,-4 3 90,-3 2 0,-5 3 0,-2 1-91,-6 3 91,-3-1-90,-4 3 0,-2-3 90,-4-1-180,0-1 90,-3-2 0,1-2 0,1-3-90,2-2 179,3-3 361,-4 3-180,9-7 89,-7 3-539,27-10 0,-2 0 0,19-5 0,-4 1 0,3 0 90,1 1-90,1 0 0,2 1-90,0-1 180,0 2-90,0 0 0,0 0 0,0 0 0,0 0 0,1 0 0,-1 1-90,1-1 90,0 0 0,1-1 0,-1 0-89,1-1 89,9-2 0,-7-1 0,7-3 0,-12 0 0,0-2 0,-1-1 0,-1-2 0,-2 0 0,-2-1 0,-2-1 0,-2 1 0,-2-1 0,-3 2 0,-2-2 0,-6 2 89,-7 3 1,-8 7 90,1 4 0,-2 5 0,7 1 90,0 1 0,2 2 0,2 2-1,2 1-89,2 1 90,3 1-90,2 2-90,2 0 90,3 0 0,7 6-90,-2-6 0,5 3 0,-4-9-90,-1-1 90,0-3 0,0-2 0,6-4-90,-1-5 90,0-3-90,-3-6 0,-8 0 0,-1-2 0,-2-2-90,-3-1-90,-2-1 0,-3-1-90,-3 1-90,-2 0-90,-2 1-89,-3 2-1,-1 1-180,-2 2-719,-7 0-450,5 4-359,-10 2 2248,11 6 0,4 0 0,6 1 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3:39:16.377"/>
    </inkml:context>
    <inkml:brush xml:id="br0">
      <inkml:brushProperty name="width" value="0.17143" units="cm"/>
      <inkml:brushProperty name="height" value="0.17143" units="cm"/>
    </inkml:brush>
  </inkml:definitions>
  <inkml:trace contextRef="#ctx0" brushRef="#br0">16 1 13110,'19'26'4227,"-2"4"-3777,-15-8-90,0 1-91,-4 0 1,0-6-90,-1 1-90,0 0-90,-2 2-270,0-1-179,0 1-271,-1-1-269,1-1-181,-1-1-1888,1-1 3058,1-2 0,1-6 0,1-3 0</inkml:trace>
</inkml:ink>
</file>

<file path=ppt/ink/ink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4:11.28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0 6453,'10'9'0</inkml:trace>
</inkml:ink>
</file>

<file path=ppt/ink/ink4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6:27.11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96 1 9332,'6'25'5127,"-4"-4"-4228,-10 1 91,-5-3-4522,-4 2 4251,-6 2-179,-6 3 769,-3 1-1039,-4 1 0,-1 1 0,-2 0-347,0 0 257,-1 0-90,1 0 0,-1-1-90,2 1-90,-1-1-90,1-1-180,2-2-90,3-1-89,1-3-91,2 0-90,1-2-179,3-1-91,1-2-89,4-2-360,1-2 2455,3-1-1016,3-3 0,6-3 0,3-2 0</inkml:trace>
</inkml:ink>
</file>

<file path=ppt/ink/ink4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6:27.49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11400,'17'11'4408,"-4"4"-3958,-11 6-1,-2-2 1,1 2-180,0-4 0,1 1 0,1 1-90,0 1 0,2 0-91,1 0 361,11 18-450,-7-17 90,9 12-90,-9-24-270,1-3 0,8-2 1,-4-3-271,15-9 360,-11-1-90,9-8 180,-9 2 90,2-3 180,-2 1 180,-2-1 90,0 2 89,-3 1-179,0 2-90,-2 1 90,-2 2 0,2-1-1,2 6 1,-2 5-180,0 12 0,-6 2-90,0 5 0,-2-2 0,1 1-90,-1 1 90,0 1-180,0 0-180,0 1 0,1-2-180,-2 0 1,0-1-91,0-2 0,0 0-629,0-2-360,3 5-450,1-4-1529,5-1 270,4-9 3238,-1-7 0,6-9 0,-3-1 0</inkml:trace>
</inkml:ink>
</file>

<file path=ppt/ink/ink4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6:27.75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 166 14908,'-1'21'1530,"4"1"-1350,4-8-1,4 0 1,-1-6-90,1-1 0,1-1 270,8-1-360,2-4 90,9-7 0,-8-3-90,-1-6 90,-9 2-90,-1-3 90,-3 0 0,-2-2 0,-3 0 0,-2 0 0,-2 0-90,-6-8 90,-1 8-90,-3-6 0,0 11-90,1 1-900,-7 1-179,-3 3-270,-6 4-2159,1 7 3598,4 6 0,9-3 0,4 1 0</inkml:trace>
</inkml:ink>
</file>

<file path=ppt/ink/ink4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6:27.95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58 9422,'22'-21'1709,"1"4"-1260,-8 11-359,2 0-270,2 3-269,0 0-541,0 2-359,-1 1 0,0 0 1349,-2 1 0,-7 0 0,-3 0 0</inkml:trace>
</inkml:ink>
</file>

<file path=ppt/ink/ink4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6:28.07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0 7713,'28'5'1529,"-1"-1"-1169,-5-2-181,1 0-179,0 0-269,0-1-361,0 0-360,-1 0 451,-2-1 539,0 0 0,-10-1 0,-3 0 0</inkml:trace>
</inkml:ink>
</file>

<file path=ppt/ink/ink4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6:28.42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51 0 12300,'-7'30'2698,"0"-1"-1978,0-9-180,-1 4-91,-1 2-89,0 3 0,-1 3-180,1 3 90,-1 2-90,1 2-90,-1 0 0,2 0-180,0-2-180,1-2-180,1-2-90,0-1-89,1-3-271,1-2-89,0-2-270,1-3-4498,1-1 5757,0 1 0,2-11 0,0 1 0</inkml:trace>
</inkml:ink>
</file>

<file path=ppt/ink/ink4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6:28.60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43 0 11760,'3'31'2069,"-2"-3"-1529,-9-10-90,-1 2-91,-2 2-89,-1 2 0,-1 1-90,-1 0 0,-1 2 0,-1 1-270,-1 2-90,0-3-180,1 0-180,0-3-269,1 1-271,-1-3-1258,1 0-1170,2-3 3508,1-2 0,5-8 0,2-3 0</inkml:trace>
</inkml:ink>
</file>

<file path=ppt/ink/ink4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6:28.86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8342,'32'2'2699,"-4"2"-1980,-10 2-89,-1 1-180,-1 2-1,-3 2 1,-2 2-90,-2 0 360,-3 1-451,-3 7 91,-3-3-90,-3 5-90,-3-7 360,-6 7-360,2-7-1,-4 4 91,5-8 720,1-2-1,-1 3-719,8-1-180,2-1 90,12-2-90,5-4 0,4-1 0,5 0 0,1 0-90,4-1 90,0 0-90,-2-1 0,-2-1-180,-2 0-270,-2 1-90,-3-1-809,-3 1-2339,-2 0 1080,-16 1-1260,-3-1 3868,-18 1 0,-5-1 0,-4 1 0</inkml:trace>
</inkml:ink>
</file>

<file path=ppt/ink/ink4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6:29.06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5 0 9691,'-24'4'7466,"2"-2"-3778,4-1-2698,18-3 629,6 0-1080,42 0-179,-3 2-736,27 3 287,-10 0-1006,3 2 555,-1 2-180,-1-1-269,-4 2-180,-7-2-91,-5 1 1,-9 0-270,-6 1-3238,-9-1 4767,-5 3 0,-19 0 0,-7 3 0</inkml:trace>
</inkml:ink>
</file>

<file path=ppt/ink/ink4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6:29.21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84 1 7982,'-29'7'4408,"2"-1"-630,6-1-3059,15 2 1,11-3-180,17 2-1,13-3-179,12 1-2352,10-2 2262,7 2-90,3-1-823,1 0 643,-2 0-180,-2-1-634,-8 0 184,-7-1-179,-7 0-360,-6 0-451,-5-1-1258,-5 1 3365,-5-1 1,-10 0 0,-4-1 0</inkml:trace>
</inkml:ink>
</file>

<file path=ppt/ink/ink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4:11.64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7 14369,'21'-2'360,"1"0"-1620,0 2-1168,4 0-1260,5 0 3688,4 0 0,6-2 0,3 1 0</inkml:trace>
</inkml:ink>
</file>

<file path=ppt/ink/ink4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8:16.34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809 397 8702,'17'-19'1619,"-1"2"-1467,-4 2 567,-4 4 2,3-6-181,-5 5-221,-2-5-229,-6 1-90,-5 1 0,-8 4 89,-3 2-89,0 3 428,-1 2-428,4 2 0,-1 1 0,-2 1 0,0 1 0,-3 1 90,-1 2 0,-2 2 0,-1 1 0,-1 2 90,-3 3-90,-1 2 90,-1 3-90,0 1 90,0 3-90,0 0 90,0 2-90,2 2-1,0 1 91,0 3-90,3 0 0,-1 2 0,3-1 0,1 1 0,1 2 0,1 0 90,-6 15-90,7-10 0,-3 12 0,8-14-90,2 1 90,1-1-90,1 1 90,1 1-90,1 0 90,1-1-90,1 0 90,1-2-90,0 18 90,2-12 0,0 46-1,4-40-405,1 25 406,3-31-90,-1 1 90,3 0-90,1 0 90,0 0-90,1 0 0,1-1 90,5 17 0,-1-13-90,5 13 0,-4-18 90,1 2-90,2 0 0,2 2 0,-1-3 0,1-1 90,0-1-90,0-3 90,3 4 0,13 13-90,-6-11 90,11 10-90,6-3 0,-10-13 0,14 10 90,-14-16-90,3-1 0,2-3 90,1 0-90,3-3 0,1-1 0,1-2 0,1-1 90,1-1-1002,1-3 912,0 0 0,1-3-313,-4-2 403,1-2-90,-2-1 0,1-2 0,0-1-36,1-2 36,24-3 0,-14 0-209,18-4 209,-19-1 0,-1-3 0,-2 0 0,-1-3 846,-2-2-846,20-10 0,-19 2-260,14-8 260,-24 5 90,-1-2 0,-3-2 0,-2-1-90,-2-2 90,-3-3 90,10-16-180,-12 9 90,7-13 0,-15 17-208,-1-1 118,-2-1 90,-1 0-90,-2-2 0,0 1 90,-2-1 0,-1 1-90,-1-2 90,0 1-90,-2-1 90,0 0 90,1-17-180,-4 15 90,1-12-90,-4 19 90,0 0-90,-2 0 90,0 1-90,-1 0 0,-1-1 0,-2 0 90,0-3-90,-1 1 0,-1-3 0,-1 1 0,0 0 0,-2 0 0,-1 0-90,0 1 90,-2 0 0,0 0 0,-1 1 0,-1 2-90,-7-15 90,4 14 0,-6-11 0,6 19 0,-8-11-90,6 11 90,-6-8 0,7 14 0,-2-1 0,0 2 0,0 1 607,0 1-607,1 1 0,-1 0 0,-1 1 623,1 1-623,-2 0 177,0 0-177,-1 1-90,0 1 90,-1-1 0,-14-7 0,7 6 0,-12-7 0,13 9 0,-2 0 0,1 0 0,-2 2-90,1-1 90,-1 1 0,-1 1 0,0 0 0,-1 1-90,1 1 0,-34-10 90,24 9 0,-25-7 0,31 10-90,0 1 90,0 0 0,-1 1 0,3 0-90,-1 1 0,2 1 0,0 1 0,0 1-90,0 0 1,1 1-91,0 2-90,2 0-450,-12 2 181,10 2-91,-9 3-179,13 1-271,1 2-1258,-2 5-1260,1 2 3688,-2 3 0,0 3 0,1 1 0</inkml:trace>
</inkml:ink>
</file>

<file path=ppt/ink/ink4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8:17.11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310 8792,'1'-24'3328,"1"2"-2518,-1 4-91,4 5-359,2 10-180,3 9 0,-2 8 0,0 3-90,-4-3 179,1 3-89,-2 0 0,1 3 0,-1 0 0,0 0 0,-1-2 0,0 1-90,0-1 0,-1 0 270,-1-1-91,0 6 181,-1-1 270,0 3 89,0-4-449,-3-5-360,-3-12-90,0-9 0,0-10-90,2-7 0,3-1 0,1-6 91,1-4-1,3-6 0,1-2 0,1-3 0,3 1 0,0 2 90,2 2-90,0 4 90,0 2 0,-1 6 0,1 2 0,-2 4 90,0 3 0,1 3 0,1 3 269,1 3-269,5 3 0,-3 5 0,5 3 0,-4 4 0,0 3 0,1 2 0,1 4-90,1 1 0,0 4 90,1 1-90,-1 2 90,0 2-90,1 2-90,5 14-90,-7-9-360,9 22 181,-13-22-271,2 10 90,-6-14-179,-1 0-181,-3-2-89,-2-2-180,-2 0-1170,-4-2-1079,0-1 3418,-4-2 0,-5 0 0,-1-1 0</inkml:trace>
</inkml:ink>
</file>

<file path=ppt/ink/ink4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8:17.26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7 193 9691,'-17'-19'2969,"1"1"-1890,9 7-719,1-7 0,5 5-90,4-5-1,5 5-179,4-1 90,4 1-90,4 1 90,3 0-180,3 2-90,1 2-270,1 2-179,0 2-271,0 1-449,-2 2-900,-1 2-809,0 0 2968,-2 1 0,-10-1 0,-3 1 0</inkml:trace>
</inkml:ink>
</file>

<file path=ppt/ink/ink4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8:19.39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31 39 8522,'-27'-12'1709,"0"2"-1439,4 4-90,-2 1-90,0 3-90,-1 1 0,6 2 90,1 1-90,5 1 0,-1 0 90,-1 2-90,-1 1 90,0 1 0,-2 1 0,0 1 89,0 1 91,-11 9-90,6-3 0,-8 6 0,11-5-90,-1 1 90,0 2 0,-1 1-90,0 3 270,-9 13-271,7-8 1,-6 10 90,10-10 0,1 1-90,1 0 90,0 2-90,1 0 90,0 0-90,2 1 90,0 0-90,0 0 90,-4 15-90,5-12-1,-3 13 91,8-18-90,0 2 90,1-1 0,1 0-90,1 2 0,0-1 90,1 2 0,-2 16-90,3-12-1201,-2 14 1201,3-17 0,0 2-34,1-1 33,0 1 1,0 0 0,0 0-90,1-1 90,1 1 0,0-2 0,0 1-90,1-1 90,1-1-90,0 1 180,2 14-90,0-11-90,0 10 90,1-14 0,0-2 0,1 1-90,0-1 90,1-1 0,0 0 0,1 0 0,0 0-90,1 0 1376,5 14-1376,-3-12 90,5 13 0,-3-15-3354,14 30 3264,-9-23 90,11 21-412,4-3 322,-11-21 90,13 19-90,-16-26 63,1-2-63,-1-1 90,1-2-90,-2-1 90,2-1-90,0-1 0,1 0 0,0-1 3265,2 0-3265,0-2 0,0 0 614,2-1-614,12 4 132,-8-5-132,11 4 0,-12-9 0,2 0 0,0-2 0,2-1 0,0-1 0,1-1 90,1-2-180,1-1 180,0 0-90,17-3 0,-11-2 0,15-1 0,-16-1 0,2-2 0,0-1 0,-1-1-557,1-1 557,0-1 0,-1-2-183,0-1 183,2-2-90,-2 0 180,0-2-90,13-7 90,-14 5-90,11-7 0,-17 7 90,-2-1-90,1-2 90,11-9 0,-10 6-90,9-9 90,-15 10 0,0-1 0,-1-1 0,-1 1-90,0-2 0,-1 0 90,-1-1-90,-1-1 0,-2 0 90,0-1-90,-1-1 90,-1 0-90,-1-1 90,-1 0-90,-1 0 90,3-13-90,-5 10 0,2-9 90,-5 13-90,-1-1 0,-1 1 89,0 0 546,0-1-635,-2 0 285,0 0-285,-1 1 0,0-1 0,-1 0 90,-2 1 0,1-12-90,-2 9 0,0-8 0,-2 13 90,0-1-90,-2-1 90,0-1-180,0 1 180,-2-1-180,0 1 180,-2 0-180,-4-14 90,2 11-390,-4-10 390,3 11 0,-2 0-90,-1-1 90,0 0 0,-1 1 0,-1 1-90,0 1 90,-1-1-90,0 2 90,0 1-90,-7-11 90,5 11-89,-5-9 89,7 13 209,-1 1-209,-1-1 0,0 1-90,-2 0 90,1 2 0,1 1 0,-1 0 0,1 1 0,-9-8 0,7 7 0,-6-7 0,9 10 0,-1 0 0,1 1 0,0-1 0,0 1 0,0 1 0,1 0-90,0 1 90,0 1 0,1 0 0,-8-6 0,5 5-90,-5-5 90,7 7 0,-1 1 0,-8-6 0,6 5 0,-7-4 0,7 5 0,1 1 0,-3-1-89,1 1 178,-2 0-178,0-1 89,-1 1 0,0 1 0,-1 0 0,-1 0 0,-1 1 0,-1 0-90,0 1 90,-1 1 0,-1 2 0,-15-1 0,11 2 0,-12 0-90,13 2-90,0 2 0,-1 0-90,1 2-90,0 1-90,-1 1-89,2 1-1,-1 1-180,1 3-89,1 1-270,-1 3-2699,-10 13 90,10-3 3688,-7 10 0,14-5 0,1 1 0</inkml:trace>
</inkml:ink>
</file>

<file path=ppt/ink/ink4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8:20.35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20 13379,'18'14'1260,"-1"2"-901,-11 2 91,1 2-180,-1 1 90,1 1-90,-1 1 0,0 1-1,0 0 1,-1 0-90,0 0 0,0 0-90,-1-1 90,0 0 0,0 7 0,-1-8-90,0 4 179,-1-4 361,0-2 449,0 4-539,-2-6-450,-6-10-90,-2-9 90,-3-8-90,3-5-90,0-11 90,2 5-90,-1-9 0,3 5 0,2-11 90,0 6 0,2-9-90,2 13 90,3-11-90,0 9 0,8-16 90,-5 20-90,5-6 1,-4 12-1,6-4 0,1 4 0,5 0 0,-1 8 90,-2 8-90,-3 6 90,-5 7 0,-5 6 0,-5-1 0,-2 1 0,-2-4 0,-1 0 0,1 0 0,-3 6 0,2-5-90,0 5 90,0-2-90,4 1 90,4 4 0,4-5 0,5-1-90,-1-5 90,2 0-90,7 6 90,-5-4 0,9 8 0,-11-9-90,2 2 180,-7-6 360,1 4-90,-7 3-1,-5 1-179,-8 0-90,-8-6 0,2-3-180,0-2-180,4-3-719,-6 2 179,5-1-179,-6 2-360,7-2-450,0 1-5397,-5 3 7196,4-2 0,1 0 0,8-4 0</inkml:trace>
</inkml:ink>
</file>

<file path=ppt/ink/ink4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8:23.55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069 1 9871,'-23'8'1529,"0"0"-4076,-8 5 2906,2-2 230,-13 5-229,3-1 90,-19 7-181,8-3-89,-13 5 0,17-7-90,2-2 432,-2 1-432,2-2-90,1 1 90,0-1-1,4-1-89,1-1-122,2 0 212,2-2 1560,2 0-1650,4 0 0,0-2 629,2 1-1169,-7 1 641,9-2-641,-4 2 171,11-5-351,2 0-989,1 0-1529,-3 0 3238,1-1 0,4-1 0,4-2 0</inkml:trace>
</inkml:ink>
</file>

<file path=ppt/ink/ink4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8:23.78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1 0 11670,'-16'14'2159,"3"2"-1619,11 4-270,5 3-1,0-5-89,4 0 0,-1-7 90,3 0-180,2-1 90,2-1-180,2-1 180,2-1-180,1-1 90,2-1-90,0-1 90,0-2-180,-1 0 0,-1-1-180,-1-1 0,0-1-180,-1-1-89,-1-1-91,0 0-359,-2-2-1,-1-1-989,0-1 1979,1-6 0,-6 7 0,1-2 0</inkml:trace>
</inkml:ink>
</file>

<file path=ppt/ink/ink4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8:24.87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2 58 10771,'-5'-25'2428,"0"10"-1888,-5 19-90,-1 9 0,2 7-181,1 3 91,4 4-180,6 0-90,1-5 0,4-3 0,0-6 90,2-1-90,1 0 0,1-2 0,1-1 90,0-1-90,1-2 269,-1-1-89,6-1 0,1-4-90,3-4-90,-6-3 0,-2-4 0,-7 1 0,-1-2 0,-1-1 0,-2-1-90,-3-9 90,-1 6-180,-3-5 0,-1 6-180,-2 1-90,-2 0-90,-1 1-89,-2 2-181,-1 2-89,0 1-181,0 1-1349,1 3-1798,-5-1 4137,3 2 0,4 1 0,3 1 0</inkml:trace>
</inkml:ink>
</file>

<file path=ppt/ink/ink4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8:25.01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10951,'25'6'-900,"-4"2"900,-15 2 0,-2-4 0,-6 1 0</inkml:trace>
</inkml:ink>
</file>

<file path=ppt/ink/ink4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8:25.36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0 13829,'8'23'1529,"0"-1"-1259,0-6-90,2 2 0,3-1-90,3-1 0,1-4-180,1-4 90,20-19 540,-15 3-91,12-14-269,-22 11 180,-2 3-270,2 5 0,-4 9 0,0 8-90,-4 9-180,-3-3-180,0 2-180,-2-4-179,0 1-181,-1 3-359,0 1-1349,-2 0-1350,1 1 3958,-1-1 0,2-10 0,-1-3 0</inkml:trace>
</inkml:ink>
</file>

<file path=ppt/ink/ink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4:22.81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44 0 6363,'-23'6'1170,"-2"1"-6291,-22 11 5211,15-5 1409,-31 16-1859,1 8 180,15-10-450,-8 10 181,32-21 449,3 2 0,-3 0 0,0 2 0</inkml:trace>
</inkml:ink>
</file>

<file path=ppt/ink/ink4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8:26.40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3 10 10051,'-28'-7'1889,"4"4"-1259,11 13-180,1 5 89,2 4-179,5 3-180,5 1 0,2-4 0,4-2-90,0-5 90,0-2-1,2 0 1,0-1 0,1-1 270,1 0 0,5-1-90,1-1 89,4-2 1,-2-6-180,-2-5 0,-2-7-180,-5-4 0,-5-5-180,-5-2-360,-3 1 0,-4 1-629,0 6 1079,-4 0 0,-17 4 0,-7-2 0</inkml:trace>
</inkml:ink>
</file>

<file path=ppt/ink/ink4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8:26.96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46 9871,'20'-10'1260,"-2"1"-1170,-7 2-90,1 1 0,0 1 269,3 1 1890,-1 1-1709,2 2-450,-1 1 0,-1 4 0,-2 3 0,-4 3 0,-2 4 90,-4 3 0,-2 1-90,-2 0 90,0-1-90,5-3 90,5-3-90,4-2 0,3-2-90,-1 2 90,-1 2 270,-1 0 269,-2 2-179,-6 3 0,-7-2-90,-6 0-90,-7-3 0,-4-3-360,-2-3-450,-1-2-899,1-2-1889,0 0 3418,2-1 0,9 1 0,2-1 0</inkml:trace>
</inkml:ink>
</file>

<file path=ppt/ink/ink4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8:28.64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99 2040 13739,'-6'-22'2429,"2"0"-1979,5 4-91,1-2-89,0 0-180,1-5 0,-2 3 0,0-1 0,-1 5 0,1-3-90,-2 0 0,1-4 90,-2-1-90,0-2 0,-1-3 90,-3-18 0,-3-12-90,1 0 180,-5-24 0,5 34-1413,-2-16 1413,2 21-90,1-1-369,0 1 369,0 1 0,-1 0 0,1 2 0,-1-1 90,-3-17-180,2 14 90,-2-12-1,4 21-89,1 1 0,0 2 90,0 1-90,-1 0 0,1-1 0,0 1 1371,0-1-1371,0 1 0,-2-14 90,2 12-90,-2-10 321,4 15-321,0 4 0,0 0 0,1 3 90,0 0-90,0 2 0,1 2 0,0 2 0,-1-4-90,1 1 90,0-2-90,0 4 0,1 1 90,3 4-180,4 8 90,2 6 0,2 6 90,-4 6 0,-7 0 0,-4 3 0,-4-3 0,-1 0 0,2-3 0,0 1 0,0-1 0,-9 9 0,6-6 0,-9 9 0,7-10 180,-2 3 90,1-2 0,2-4-270,-1-5-90,8-11 90,1-2-90,8-9 90,2 4-90,1-1 90,2-2 0,1-1 0,2 0-90,1 0 90,0 1 0,0 0-90,0 3 90,0 0 0,0 2 0,0 1-90,-1 1 90,1 3 0,-1 1 0,0 2 0,1 0 0,5 2 0,2 2 0,1 1 0,-1 2 0,-5 2 0,0 0-180,-1 1-180,0 1 0,0 0-179,0 2-91,-1 1-89,-1 0-181,0 1-89,-3 0-271,0 1-1168,-2 1 2428,-1 0 0,-2-5 0,-2-1 0</inkml:trace>
</inkml:ink>
</file>

<file path=ppt/ink/ink4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8:29.59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83 37 9602,'-9'-23'1529,"-2"9"-1260,1 17-89,-1 5 90,2 4 0,3 0 0,0 3 0,0 1-90,1 3 0,1 1-1,0 1 1,3-1 0,1 2 0,1-1-90,3 1 90,1-1 0,1-1 0,3-1-90,0 0 90,1-2 0,2 0 179,6 3-89,-5-6 0,5 1 360,-6-7-91,3-1-89,1-5-180,4-5-180,-6-3 90,-2-5 0,-5 0-90,-1-2 0,-2-2 0,-1-1-90,-1-1 89,-2 0-89,0-2 90,-2 0-90,-2-1 0,0 0-179,-2 2-1,-1-1-90,-1 2-180,-1 1 0,-1 1-89,-1 1-91,1 4-90,-1 0-1079,1 3-1439,-4 1 3238,-2 2 0,5 2 0,3 2 0</inkml:trace>
</inkml:ink>
</file>

<file path=ppt/ink/ink4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8:29.75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20 6543,'14'-20'0</inkml:trace>
</inkml:ink>
</file>

<file path=ppt/ink/ink4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8:30.01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49 8702,'22'-20'2339,"-2"3"-1980,-1 9-89,-2 5 0,2 7-90,-3 6 0,-3 1 90,-4 3 0,-3-3 0,-1 6-91,0 2 91,0 4 180,-1 0 90,-1-3 179,8 2-539,0-9-90,9 0-180,-1-9-719,1-4-1710,-1 0 2519,1 0 0,-10 0 0,-1 0 0</inkml:trace>
</inkml:ink>
</file>

<file path=ppt/ink/ink4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8:31.12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72 8972,'10'-27'1619,"1"5"-1439,3 9 0,1 6-90,2 5-90,0 5 359,-1 7 1,-4 5 90,-3 4 0,-5 2-90,-3 1-1,-3-2 181,0-1 90,0 0-271,5-4-179,4-3 0,8-6-90,7-5-90,4-2-90,-3-1-270,-2 0-719,-7 0-720,5 0-2878,-1 1 4677,2 0 0,-9 1 0,-4 0 0</inkml:trace>
</inkml:ink>
</file>

<file path=ppt/ink/ink4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8:32.43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56 9781,'8'-23'1530,"2"3"-1261,0 11 1,4 5-4521,1 6 4341,-2 4 859,-1 4-769,-4 0-90,-2 2 90,-1 3 0,-1 1 0,-2 2 3392,-1 0-3393,0 2 91,-2-1 0,0 0-90,-1 0 0,1 0 0,-1-2 90,0 1 179,0 3 91,1-2-90,4 3-180,5-6-180,9-5 0,0-7 0,5-3-90,-3-3 90,1-2-90,1-1 89,1 0-89,-1-2 90,0 1-90,0-2 0,-2 0-90,-2 0-179,-1 1-181,-3 1-989,0 0 1439,0-2 0,-6 4 0,0 0 0</inkml:trace>
</inkml:ink>
</file>

<file path=ppt/ink/ink4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8:34.02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84 8252,'24'-5'1439,"-2"-1"-1169,-6 2 0,0-2-90,3 1 0,-1-2-90,1 1 90,-1 0-90,0 0 90,0 0-180,-2 0-180,-1 1-270,2-1 450,-1 2 0,-4 0 0,-5 3 0</inkml:trace>
</inkml:ink>
</file>

<file path=ppt/ink/ink4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8:34.25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82 13379,'29'-7'990,"-3"-1"-810,-8 2 0,1-2-1,3 1-89,2-1 0,0 1 0,0 0-180,-1 2 0,0 0-179,-1 0-1,-1 2-270,-2 0-719,-1 1-1620,3 2 2879,-5 2 0,-3 0 0,-7 0 0</inkml:trace>
</inkml:ink>
</file>

<file path=ppt/ink/ink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4:23.26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5 199 11760,'-19'12'6117,"3"0"-5218,23-10-539,17-4-90,14-5 0,18-4-1102,-2 0 922,13-3-837,6-1 837,8-1-180,1-1-90,1 1 0,-1-1-180,-1 2-89,-7 1-91,-2 0-180,-8 2-748,-3 1 298,-8 1-263,-5 2-1266,-9 3-1528,-6 0 4382,-6 3 0,-14 0 0,-3 2 0</inkml:trace>
</inkml:ink>
</file>

<file path=ppt/ink/ink4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8:34.47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11 13559,'27'-17'540,"-2"1"-450,-8 9 0,2-2 0,1 1 0,0 0-90,0 1-90,0 0-540,7-2 180,-8 4-1079,5-3-2878,-6 4 4407,-3 2 0,-3 0 0,-6 1 0</inkml:trace>
</inkml:ink>
</file>

<file path=ppt/ink/ink4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8:34.69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76 12570,'22'-5'629,"0"0"-449,-5-1-90,2 0 0,1 0 0,2-1 0,-1 1-90,1 0-90,-1 0-270,-1 1-89,-2 0-91,-2 1-809,-1 1 1349,3 0 0,-9 2 0,0-1 0</inkml:trace>
</inkml:ink>
</file>

<file path=ppt/ink/ink4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8:34.90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65 13199,'26'-7'720,"-1"-1"-540,-9 2 0,1 0-180,1 1 90,1-1-3392,0 1 3212,0 0-1619,11-2-1080,-6 4 2789,7-2 0,-19 4 0,-4 1 0</inkml:trace>
</inkml:ink>
</file>

<file path=ppt/ink/ink4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8:35.08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73 11670,'26'-10'810,"-1"1"-630,-9 3 0,3 0-180,0 0-90,0 1-180,1 0-270,-1 0-179,-2 1-271,0 0-1888,-2 1 2878,4-1 0,-10 1 0,2 1 0</inkml:trace>
</inkml:ink>
</file>

<file path=ppt/ink/ink4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8:37.09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91 150 11311,'-12'23'0,"2"-3"-90,2-6 90,2-2 0,0 0 0,-1 1-478,0 2 478,0-1 0,0 3-90,-6 12 90,4-8 0,-4 9 0,5-14 0,1 1 478,0 0-478,-2 8 0,2-7 90,-1 6-180,3-9 180,1 2-180,0-1 180,1 0-180,0 0 180,0 1-90,1 0 0,-1 1 0,2-1 179,-2 8-89,2-5-90,-1 6 180,1-7-180,0-1 90,0 1-90,0 0 180,0 1-180,1-1 180,0 0-90,0 0 0,1 0 0,0 0 0,0 0 90,1 8-180,0-6 90,0 6 0,1-7-90,-1 0 0,0 1 90,0-1-90,0-1 0,0 0 0,0-1 90,-1 1-90,1 0 90,-1-1-90,0 0 89,0 8 1,0-6 0,0 5 0,0-8 0,-1 0-90,0 7 90,1-7-90,-1 12 90,1-6 0,-1 5 0,-1-1-90,2 0 90,-1-2 0,0 1 0,2 0 90,0 1-90,2-2-90,0 1 0,2-2 0,0 0 90,1-1-180,1-1 90,0-2 0,0-2 0,-1-2 90,0-2 0,0-1 90,0-1-180,0-1 89,2-2-89,1 0 90,2-2-90,1 0 0,1-2 0,3 0 0,-1-1 0,2-2 0,0 0 0,0 0 0,-1-1 90,-1 0 270,2 0 0,-1-1 0,3-1-180,-2-1 0,-2-1-90,1-3-1,-2-1 1,1-2-90,1-2 90,1-2 0,-4 2 0,2-3-90,-6 6 270,2-4 0,-1 1-180,0-2 90,3-3-90,-1-2 0,-3 4-90,0-5 90,-3 6 0,2-8-90,-3 7 90,1-3-1,-3 3-89,1 0 0,-1 0 90,1-1-90,-1 1 0,0-2 0,0 1 90,-1-1-90,1 0 0,-1 0 90,2-8-90,-2 6 0,1-7 90,-2 9-90,1-1 0,-1 1 90,0 0-90,0 1 0,-1-1 0,1 0 0,0-6 0,0-2 90,-1-6-90,1 0 0,-2-2 90,0 2-90,-1-2 0,0 8 90,0 1-90,0 7 0,0 0 0,0-7 0,-1 6 0,0-6 0,1 7 0,-1 1 0,1 0 0,-1 0 0,0 0 0,0 0 0,0 0 0,-1-7 0,1 5 0,-1-4 0,0 6 0,1 1 0,-1-1 0,1 0 0,-2 1 0,2-1 0,-2 1 0,1 0 0,-1-1 0,1 1 0,0 0 0,-1 0 0,1 1 0,0-1 0,-3-5 0,1-1 0,-2-5 0,1 1 0,0 0 0,0 0 0,0 1 0,1 2 0,0-1 0,0 2 0,-1 0 0,1 1 0,0 1 0,-1 0 0,1 0 0,-1-1 0,0 0 0,-1-1 0,-1 0 0,-2-1 0,2 4 0,0 1 0,2 5-90,-1 1 90,-1 0 0,0-1 0,1 1-90,-2-1 0,0 1 0,0 1 0,0-1-90,0 1 1,-1 1-1,0 0-90,-1 1-90,0 0 0,-1 1 0,0 1-629,0 0-90,-7 2 449,-3 1-180,0 3-89,1 1-1260,6 2-719,0 1 2878,0 1 0,-4 2 0,-1 0 0</inkml:trace>
</inkml:ink>
</file>

<file path=ppt/ink/ink4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8:41.79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69 7173,'22'-15'270,"-2"2"-6021,-8 7 5122,5-4 981,3 0 0,-5 2 0,-4 2 1</inkml:trace>
</inkml:ink>
</file>

<file path=ppt/ink/ink4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8:42.36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475 9062,'27'-22'629,"0"2"-539,-9 11 0,3-2-90,5-3 90,4 0 0,3-2 0,5-1-90,3-1 90,2-1-3482,2 1 3392,0 0 90,0 2-469,0-2 379,1 2 0,-1 0 0,-2 1 0,2-2-17,-6 3-73,3-1 90,-5 0-90,0 0 0,-1 0-180,-2 1 0,-2 1-90,-4 0-179,-3 1-361,-2 1 540,-2 0 1159,-3 1 0,2-1 0,-1-1 0</inkml:trace>
</inkml:ink>
</file>

<file path=ppt/ink/ink4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8:42.69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555 9332,'30'-14'270,"0"0"-91,0 1-89,6-2-780,7-2 870,6-3-90,3-1-692,7-3 692,3-1 0,6-3 0,0 0 0,0 0-90,-5 3 0,-2-1 0,-5 2 90,-1 0-90,-2 1 90,-3 1-90,-3 0 90,-5 3 187,-4 1-277,-4 2-180,-3 1 90,-3 1-180,-5 3-540,5-3 361,-10 4-985,4 0 1434,-9 3 0,-7 3 0,1 1 0</inkml:trace>
</inkml:ink>
</file>

<file path=ppt/ink/ink4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8:43.02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8 693 7892,'-20'11'2339,"13"-10"-2249,30-14-90,6-4 0,25-10-679,-11 7 769,8-4 0,8-3-963,7-2 1052,7-3-89,3-1 90,3 0-180,2-1 180,-1 0-1457,0 1 1367,-1 0-90,-2 0 90,-2 2-90,-3 0-730,-3 1 730,-6 2 0,-4 2 10,-7 3-10,-4 0 722,-6 4-1172,4-3 180,-15 8-90,2-1 754,-15 7-394,-1 1 0,-8 4 0,-1 0 0</inkml:trace>
</inkml:ink>
</file>

<file path=ppt/ink/ink4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8:43.37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4 691 8072,'-24'14'2969,"14"-9"-2969,34-18 90,4-3-90,27-13-822,-12 7 822,6-4 90,9-3-90,4-1 90,8-4-90,3 0-605,2-1 605,1 0-984,1 1 984,-2 0 90,-1 2 0,-3 0-90,-3 1 0,-8 3 0,-3 1-90,-8 3-619,-1 0 439,-4 1 424,-5 2-424,-3 1 90,-7 4-720,6-3 361,-12 6 131,3-2 408,-12 8 0,-8 3 0,-1 2 0</inkml:trace>
</inkml:ink>
</file>

<file path=ppt/ink/ink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4:23.48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85 130 8162,'-38'14'3328,"4"-1"-2428,3-2-180,6-2-1,4 0 810,3-2 450,1 1-1439,17-4-1,4-2-89,20-5-90,7-3-90,10-1 90,8-2-805,7-2 624,3-1-89,2 0 90,2-1-958,0 1 867,-1 0-268,0 0-498,-3 1 317,-2 0-89,-7 1-91,-4 1-90,-9 1-89,-4 1-158,-6 2 68,-3-1 453,-3 2-814,-3-1-4431,-3 0 5601,-2-2 0,-6 3 0,-1-1 0</inkml:trace>
</inkml:ink>
</file>

<file path=ppt/ink/ink4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8:43.65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546 8432,'12'-10'2429,"-3"5"-2429,40-28 180,-9 11-90,8-3-1045,10-4 1044,4-2-752,7-2 663,1 0 90,1 1-90,0 0 90,-2 1-90,-6 3 90,-2 1-180,-7 4 90,-2 0-3066,-2 2 2976,-6 3-835,-3 0 656,-6 4-271,-4 1-90,-3 1-112,-5 2-157,-2 2 1062,-5 1 1,-6 3 0,-4 1 0</inkml:trace>
</inkml:ink>
</file>

<file path=ppt/ink/ink4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8:43.92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513 10411,'38'-26'540,"3"-1"-360,-2 4-1296,7-3 1295,7-3-89,4-3-708,5-2 618,2 0 90,0 0-90,0 2 89,-6 2-268,-2 2 89,-6 3-90,-2 2 0,-3 2-180,-4 3 384,-5 1-384,-5 4-180,-4 2-89,-4 1 106,-2 3 523,-4 0 0,-8 4 0,-2 0 0</inkml:trace>
</inkml:ink>
</file>

<file path=ppt/ink/ink4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8:44.17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5 501 9152,'-15'1'2608,"17"-11"-2428,16-12 90,17-8-180,0 3-657,8-3 747,9-5-780,3 0 689,8-3 1,1 1 0,2 2 0,-1 1-1388,-4 4 1208,-1 2-90,-7 5-495,-2 2 225,-4 3 90,-5 3 140,-6 5-500,-3 1 25,-6 3-924,-2 2 1619,-5 1 0,-10 2 0,-2 0 0</inkml:trace>
</inkml:ink>
</file>

<file path=ppt/ink/ink4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8:44.39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4 287 8612,'-26'18'1979,"4"-3"-1170,9-7 1,1-2-630,12-11-180,1 0 90,13-11 0,2 2-90,3-1 90,6-3-90,5-4 0,5-2-121,3-2 121,2 0-90,1 0 0,1 1-180,-4 3 0,0 2-179,-5 4-181,-2 1 90,-3 3-989,-4 3 0,-2 2 1529,-3 1 0,-9 3 0,-3 2 0</inkml:trace>
</inkml:ink>
</file>

<file path=ppt/ink/ink4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8:44.59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5 251 8432,'-22'16'3418,"4"-4"-3328,14-12 180,4-4-180,31-21-90,-8 8 90,19-13-90,-13 10 0,5-2-90,1-1 0,1 2-180,-1-1-90,-2 4-269,-1 0-271,-3 3-449,-2 1 0,-4 3 1349,-2 1 0,-10 5 0,-3 2 0</inkml:trace>
</inkml:ink>
</file>

<file path=ppt/ink/ink4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8:44.78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228 9602,'12'-29'1079,"3"2"-899,1 10-90,4-1-180,3-1-90,1 1-180,2 1-270,0 1-629,0 2 180,0 1 1079,-1 1 0,4-2 0,-1 1 0</inkml:trace>
</inkml:ink>
</file>

<file path=ppt/ink/ink4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8:46.90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14 35 9152,'-21'-18'-90,"2"4"90,5 12 0,-3 2-90,0 3 90,1 2 0,2 4 0,2 3 0,3 0 0,1 3 0,2-3 0,1 0 0,1 3 0,-1-1 90,0 1 0,1 1-90,0 1 0,0 1 90,0 1-180,1 0 180,-1 2-90,0-1 180,1 2-180,0-1 180,-1 11-180,2-8 89,0 6 1,1-9 0,1 0-90,0 1 90,2 1-90,-1-1 90,1 1-90,1 0 90,0 1-180,0 0 270,3 12-90,-2-9 0,3 9 0,-2-11 0,0-1-90,0 0 90,0 0-90,1-1 0,0 0 0,-1-2 90,1 0-90,-1-1 0,0-1 0,0-1 0,-1-2 90,1-1-90,-1-1 90,0 1 0,0-2 0,1 4-90,1 0 90,1 3-90,1-2 0,1-1 0,0-2 0,1-1 90,-1-1-90,2-1 0,-1-1 89,2-1-89,0-1 0,2-1-89,0-1 89,0-1 0,2-2 269,-1-1 91,3-1-90,-1-3-90,0-1-90,-3-3-90,-3-1 90,-1-2-90,-2-3 90,0-2-90,-1-5 90,-1-3-90,-1 2 0,-1-1 0,-2 5 0,0-1 0,0-1 90,0 0-90,-1-2 0,0 0 0,-1-3 0,0 0 90,0-3-90,-2 0 0,0-1 0,0-3 0,-1 0 0,-1-3 0,-1 0 0,-1-1 90,0 0-90,-1 0 0,-1 0 0,0 1 0,-2 0 0,1 1 0,-1 2 0,-1 0 0,0 3 0,-1 0 0,0 3 0,-1 1 0,-1 3-90,0 3-90,-1 1 0,0 4-90,-1 0-90,-2 3-899,-6 2-360,5 2-90,-6 3 1709,9 3 0,6 0 0,3-1 0</inkml:trace>
</inkml:ink>
</file>

<file path=ppt/ink/ink4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8:49.29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0 28 9242,'9'-19'2069,"0"11"-1800,-2 15 91,-1 7-90,-2 8 0,-3-1 0,0 4 0,-2 5-1,0 7 1,-2 5 0,0 6 180,-3 34-180,0-17-1364,-2 28 1364,3-28-90,0 0 0,1 0-90,2-1 90,0-4-90,1-3 0,1-5-923,1-1 923,1-2 0,0-3 0,0-3-1,2 14-89,-2-17 0,2 10-179,-1-20-91,-1-2-90,1-3 1065,-1-3-1154,0-1 500,0-3-1670,0 2 1619,2-4 0,-2-3 0,-1-6 0</inkml:trace>
</inkml:ink>
</file>

<file path=ppt/ink/ink4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8:49.77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56 7713,'21'-22'899,"0"2"-629,-3 12-180,5 0 90,3 1 0,5 0-90,5 2-90,3 0 90,5 1-414,2 1 414,2 1-90,2 0 90,1 0-90,1 0 0,4 1 90,0 0-90,5 0 0,-5 0 0,-1 0 90,-2-1-631,-3 0 721,1-1-90,-3 1 341,-1-1-251,-1 0 179,-5 0-179,-3 0 180,-2-1-90,-3 1 360,9-3-450,-13 2 89,7-2-89,-17 3 0,0 1 0,-4 0-90,5-1-90,-1 4 823,0 0-823,-2 5 330,-6 4-240,1 3 90,1 5 0,-1 6 0,2 6 0,-2 4 89,2 9-2256,-1 4 2167,0 7 0,0 4-490,-1 2 490,-1 5 89,0 0-89,-2 3 0,0 0 0,-2 0 0,0 0 90,2 28-180,-3-25 0,2 19 0,-4-34-90,0-2 90,-1-5-90,0-2-90,0-4 0,-2-2-90,0-3-450,0 10 180,-1-13-89,-1 8-1,-1-17-90,0-2-89,-1-2 2002,-1-1-2362,0-2-156,-2-2-1373,0-3 2608,0-3 0,2-4 0,1-3 0</inkml:trace>
</inkml:ink>
</file>

<file path=ppt/ink/ink4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18:50.11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40 6 7263,'-29'-1'2428,"1"-1"-1888,5 1-180,2 0 539,3 0 541,-2 1-1171,20 3 1,3 0 90,25 4-90,40 4-180,-7-1-1121,37 3 1121,-17-3 180,9 1-181,3-2-1221,3 0 1311,3-1-799,-49-4 0,1 0 665,-1-1 0,-1 0 135,51 2-91,-4-1 91,-9-2-90,-5-1 90,-8-1-661,-5 0 570,-3-2 480,-10 1-479,-4-1 0,-10 0 1031,-5 1-1121,-7 0 1570,-3-1-1750,-5 2-450,-2-1-1520,-1 1-99,-17 2-460,-1 1 2709,-20 1 0,-5 0 0,-4 0 0</inkml:trace>
</inkml:ink>
</file>

<file path=ppt/ink/ink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4:23.71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49 10411,'26'-21'2609,"-2"3"-1890,-6 13 1,2 2-91,1 2 1,2 3-90,1 3-91,0 3 1,0 3-90,-1 2 0,-2 3-90,-3 1-90,-2 3-1,-3-1-89,-2 3 90,-5 0-90,-2 1 0,-2 2 0,-4 0-90,-2 3 0,-2 0-180,-3 1-180,-2-1 1,-1-1-181,-2-1-180,-1 0-179,-1-2-270,0-2-271,0-1-988,1-3-1170,1-3 3598,1-3 0,6-6 0,2-2 0</inkml:trace>
</inkml:ink>
</file>

<file path=ppt/ink/ink4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28.66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21 303 9242,'-23'-34'3058,"6"10"-2518,6 3 359,6 9 540,-4-11-989,4 7-90,-4-9-270,8 27 90,0 1 0,4 20-90,0-3 89,1 5 1,0 3 0,1 3 0,-1 2 0,1 1 90,0 0-90,-1 1 90,1 0-90,-1 0-1,1-1 1,-1-1 0,-1-3-90,0-1 90,0-3-180,-1-2 180,-1-3-90,1-1 450,-1-3 449,0 3-89,0-2-900,-7-7 0,1-9-180,-7-14 90,3-7-90,-1-5 0,-1-8 0,0-5 0,0-4 0,1-3-90,1-3 90,2-1-336,3-1 336,2-1 0,3 0 90,3 3 0,4 0 0,3 5-90,11-12 90,-2 17 90,6-4-90,-5 20 90,-1 7-90,0 4 90,0 6 0,8 5 0,-6 4 0,5 6 0,-10 2 337,-1 1-337,-2 4 0,-2-1 0,-3 2 0,-1-1 0,-3 1 0,-1-1 0,-4 1 0,-2-1 0,-4 0 90,-1 0-90,-4-1 0,-4 0 0,-13 4 0,3-6 0,-10 3 0,8-9-90,-2-1-90,0-3-90,1-1 91,1-1-181,2-2-90,1-2-180,1 0-89,1-1-271,2-2-179,4-1-5487,-2-5 6656,7-3 0,2 5 0,6-1 0</inkml:trace>
</inkml:ink>
</file>

<file path=ppt/ink/ink4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29.28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44 0 10141,'-15'26'3238,"-3"1"-2338,0-3-91,-2 3-179,-3 3 0,-1 3-91,1-1 1,0 3-180,4-3 0,1 1-91,4-2 1,2 0-90,4-3 0,3 0-90,2-1 90,3-1-90,3 0-90,3 0 0,3 0-90,2-2-180,3-1 0,2-3-179,2-3-1,0-2-90,1-4-90,1-2 1,1-4-91,1-4-179,0-3-1,1-5-89,2-6 269,-1-6 1,1-5 179,-3-4 180,0-4 180,-1-4 180,-1 0 360,5-19-90,-7 14 270,3-11-1,-8 21 1,-2 2 0,-2 4-181,0 3-89,-2 4 180,0 1 1439,0 0-810,3 13-629,-2 9 0,0 9 0,-4 10-1,-1-3-179,-1 4 90,0 2-90,0 2 0,1 2 0,-1 1-91,0-1 1,1 1 0,-2-3-90,1 1 0,-1-3 0,0-1 0,0-2 0,-1-2 0,1-3 270,-1 4-90,-1-3-450,-3 0 0,-1-15-90,-1-9-90,1-12 0,1-3 1,2-5-1,0-5 180,3-4-90,1-6 90,2-3 0,1-2 90,3 0-90,1 0 180,2 3-90,1 2 90,1 5 0,-1 3 0,1 5 0,-1 5 90,1 3 90,0 5 90,-1 3-90,7 6 0,-5 4-90,4 4 90,-5 5-90,-1 2 90,7 13-90,-5-3-1,5 10-89,-6-6 90,-1 2-90,-1 0-90,0 2 1,-1 1-91,-1-1-180,-1 0-90,-2-2 0,0 0-89,-2-3-91,-1-1-90,-1-2 1,-2-1-1,-1-3-269,-2-1-91,0-2 1,-4-3 1079,-6 1 0,-10-8 0,-7 0 0</inkml:trace>
</inkml:ink>
</file>

<file path=ppt/ink/ink4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29.76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9 499 7892,'-45'-47'4228,"20"22"-3868,-3-20-180,28 28 0,2-1 0,12-1-90,-1 8-1,8-1 1,-3 4-90,2 1 0,2 2-90,0-1 90,1 2-179,1-1 89,0 1 0,1 0 0,-1 0 90,0 0-90,0 0 90,-1 0-90,-1 0 180,0 0 90,-1 0-90,0 0 179,-3 1-89,-1 0 180,-1 1 180,4 2-90,1 3-1,-1 1 1,-3 5 0,-7 0-90,-1 2 89,0 4-89,-2 1 0,0 1 0,-1 2 0,-1 0-91,0-1 1,-2 2-90,1-1 0,-1 0 0,0-1-90,0-1 180,-1-1-90,-1 4 179,1-2 271,0 3-630,-6-7 0,0-12-180,-4-6 0,3-10-90,1-2-89,1-5 179,1-3-90,2-6 90,1-2 0,1-4 0,3-3 0,1-1 90,2-4-136,2 3 136,1 1 90,2 4 0,-1 4 90,1 4-90,-2 5 180,2 5 0,-1 4 90,1 4 136,6 7 44,1 10-181,0 5 1,-1 10-90,-5 1 0,-1 2-90,-1 5 90,0 3-90,0 3 0,-1 1-90,0 1 90,-2 0-90,-1-1 0,0-1-90,-2-2-270,1 11 90,-3-12-90,0 6-179,-3-15-1,0-3-809,-1-1-810,-2 2 2159,-1-4 0,1-4 0,-1-6 0</inkml:trace>
</inkml:ink>
</file>

<file path=ppt/ink/ink4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30.40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 146 12030,'15'34'2249,"-3"-6"-1709,-10-6-91,0-3 1,0 2-90,0 1 0,1 1-91,-1 1 1,1 1-90,0-1 0,-1 0 0,0 0 0,0 0-90,0-2 0,0-1 0,0-2 0,-1-2 269,0 4 271,0-1-90,-1 1-270,-4-7-180,-3-9-180,-5-13 0,2-6 0,1-7-90,2-3 0,1-3 0,1-4 0,1-5 90,2-1-90,1-6 90,3 0 0,2-2-89,2 2 179,7-15-90,-1 18 90,5-8-90,-4 22 90,1 3-90,-1 4 90,1 4 0,0 5 0,-1 3 0,5 5 0,-3 4 0,3 5 0,-5 3 0,0 2 0,-1 3 0,1 3 0,-1 1 90,0 3-90,-1 2 90,-1 0 0,-2 0-90,-2 0 89,-2 0-89,-1-1 0,-2 0 90,-2-1-90,-2-1 0,-1-1 90,-1-2-90,-4 5 0,2-7 180,-2 3-90,1-4-180,0-2-629,0 2 359,12-6 90,4-1 180,13-3 0,-4 0 0,2 2 0,-5-1 0,0 2 0,0 0 90,-1 2-90,-2 1 90,-1-1-90,-2 2 180,-2-1 90,-2 6 0,-4 2 0,-3-2 0,-5-1-90,0-7 90,-3 0 0,-2-1-90,-2-2 0,-2 1 0,-1-2-180,-1-1 0,0-2-90,0 0-180,0-1-90,-1-2-719,-9 0 449,8-1-269,-5-2-270,10 1-1080,2-3-899,3 0 3238,1-2 0,5 3 0,2 1 0</inkml:trace>
</inkml:ink>
</file>

<file path=ppt/ink/ink4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30.79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66 8972,'19'10'3778,"-2"1"-2609,-8 2-180,0 3 1,0 2-181,-1 3 1,0 2-180,-1 2-91,0 2 1,0 0-180,-1-1 0,0 1-180,-1-3 89,0 0-179,-1-1 90,0-2 0,1 6 90,-2-8 450,1 7-451,-2-8-449,-7-11 1,1-5-91,-3-15-90,3-4 90,1-3 0,1-5 0,1-2 91,2-3 89,1-3-90,2-4 0,2-1 180,3-2-90,1 2 90,2 2 0,1 4 0,0 4 0,0 4 90,1 3 0,-1 4 0,-1 4 359,0 5-179,4 5 90,-3 4 0,3 6-90,-5 5 89,0 3 1,0 3-90,0 4-90,0 3 0,-2 2 0,1 1-90,-1 2 90,-1 0-180,0 2 90,-1-1-180,-1 0-270,0-1 0,-1-2-90,-2-1-89,0-3-901,-1 7-269,-1-9-359,0 12 2068,-2-14 0,0-4 0,1-7 0</inkml:trace>
</inkml:ink>
</file>

<file path=ppt/ink/ink4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31.08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85 0 13110,'-26'4'3238,"2"1"-2339,8 3-179,-1 2-1,0 2-179,0 2 0,1 1-270,2 1 179,2 1-179,2 1 0,2 1-90,3-1 0,2 1 0,4 1-90,2-1-180,2 1-90,3-1-270,1-1-90,2-2-89,2-1-181,0-2-89,2-1-361,0-3-3237,-1-2-450,7-4 4947,-4-3 0,7-8 0,-6-2 0</inkml:trace>
</inkml:ink>
</file>

<file path=ppt/ink/ink4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31.25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8 31 9062,'19'-16'6746,"4"2"-5667,-6 13-89,-1 3-91,-2 9-89,-4 2-1,-2 4-179,1 2-90,-2 4-1,0 3-179,-1 2-90,-2 0 0,-1 0-90,-2 1-90,-2 0-90,-2 2-180,-3 0-270,-2-1-90,-2 0-89,-3-3-271,-2 1 1,-2-4-91,-3 0-269,0-4-360,-1-2-1529,-1-3-2159,0-3 5307,0-5 0,10-3 0,3-2 0</inkml:trace>
</inkml:ink>
</file>

<file path=ppt/ink/ink4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31.44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8612,'24'-1'2878,"0"1"-2248,-1 1-180,0 0 0,1 1-181,-1-1-269,-1 2-269,0 0-271,-2 1-450,-3-1-809,-1 2 1799,-2 0 0,-7-2 0,-1-1 0</inkml:trace>
</inkml:ink>
</file>

<file path=ppt/ink/ink4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31.56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0 13739,'5'15'1529,"8"-4"-1529,8-10 0,2 0-270,-5 0-359,-2 0-271,2 1-1618,-2-1 2518,0 0 0,-8 0 0,-1-1 0</inkml:trace>
</inkml:ink>
</file>

<file path=ppt/ink/ink4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35.75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00 361 9961,'-11'-23'3688,"0"3"-2159,4 6-539,0 11-181,1 6-359,1 17 0,4-1-180,0 5-1,1-5 1,0 1-90,0 2 0,1-1 0,-1 1-90,0-3 90,0 1-90,0-1 0,-1-1 90,1-1 179,-1 3 361,0-1-90,0 1-630,-9-14 0,4-5-90,-6-14 90,6-3-180,1-4 90,0-3-90,2-6 0,2-3 0,2-6 0,3-4 90,4-6-466,4-2 466,3 0 0,3 2 1,3 4-1,0 5 90,2 5-180,0 5 0,9-1 180,-8 12-90,5-1 0,-11 13 90,4 4 0,-7 3 0,2 5 180,-7 1 283,-3 9-463,-5 4 90,-3 1 0,-6 1 93,-1-5-93,-3-1 0,0 0-1,-2-2-89,-1 1 90,-1-3-90,0 0 90,-1-1-180,0-1 90,0-2-269,0-1-1,2-1 0,0-1-540,0 0-269,-4 0-8752,2 0 9725,9-9 0,0 4 0,11-6 1</inkml:trace>
</inkml:ink>
</file>

<file path=ppt/ink/ink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4:24.57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1 98 9422,'-9'-20'3598,"1"1"-3149,5 2-179,4 2-90,4 0 270,6 6-270,7 6 90,0 6-1,5 7 1,-5 3 0,4 6 0,0 3-90,2 6 0,-1 2 0,0 4 0,0 3-1,-2 1-89,-2 0 90,-3-1-90,-2 0 0,-2 0 0,-3-2 0,-3 0 0,-2-2-90,-3 0 90,-2-1 0,-3 0-90,-3-2 90,-10 12 0,1-11-90,-8 8 90,4-15-90,-1-3 0,0-3-180,-11 2 0,8-7-180,-6 1 0,10-8-989,3-1-990,-4-3 2339,5-3 0,3 1 0,6-2 0</inkml:trace>
</inkml:ink>
</file>

<file path=ppt/ink/ink4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35.95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8 1 13199,'1'21'1799,"-3"0"-1349,-10-7 0,0 4 90,-8 12-271,6-6-89,-3 10 0,8-11 0,3 1-90,2-1 0,2 1 0,2 0 0,3 0-180,2 1 0,2 0-270,3-2 0,1 0-89,3-2-91,1-2-180,2-3-179,0-2-1,1-4-89,1-3-1080,0-2-719,1-5 2788,0-3 0,4-6 0,1-3 0</inkml:trace>
</inkml:ink>
</file>

<file path=ppt/ink/ink4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36.37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34 10411,'25'-23'5217,"-6"13"-4138,-13 20-629,-3 14 0,-2-2-180,-1 2 90,1-6-181,0-1 1,-1 1 0,0-1 90,1 1-90,-1 5 180,-1-1-90,1 2 0,-4-6-181,-5-11-268,0-18-1,-1-3 90,5-12 0,6 6 0,1-3 0,6-16 0,0 8 90,6-10-90,-2 14 90,1 3 90,1 0-90,0 3 90,0 3 0,1 3 0,-1 3 0,0 4 90,0 2-90,6 4 89,-5 2-179,4 4 90,-5 3 0,0 1 0,-1 3-90,0 2-90,-1 1-90,0 1 1,-2 1-181,-1 1-90,0 1-90,-2-1 1,-2 0-811,-1-1-269,-3 6 900,-4-1-91,-2-1 181,-3-4-1,0-7 180,-2-2-179,-1 0 179,-7-2 360,-2-3 270,-5-2 0,3-5-90,4-2 0,7-6-90,9 0 89,5 0-178,6 2-91,1 2-270,1 0-180,2-2-809,1 0 180,2-3 1259,1-1 0,3-5 0,1-1 0</inkml:trace>
</inkml:ink>
</file>

<file path=ppt/ink/ink4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36.54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9 1 10591,'33'7'3688,"-7"0"-2879,-12 7-89,-5 0-90,0 2-1,-1 2-179,-1 1-90,-1 1 0,-2 1-181,0 2 91,-3-3-180,0 3 90,-3-2-90,0 1 0,-2 0-90,-2-1-270,-2 0-90,-1-2-179,-2-2-181,-1-1-179,-1 0-91,-2-3-359,0-1-1260,-1-2 2609,2-3 0,6-3 0,3-2 0</inkml:trace>
</inkml:ink>
</file>

<file path=ppt/ink/ink4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36.71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4 11940,'30'-1'5307,"0"-1"-6026,-13 1-8456,-2 5 9175,-11 1 0,-2 1 0,-6-1 0</inkml:trace>
</inkml:ink>
</file>

<file path=ppt/ink/ink4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37.18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3 112 12300,'15'33'2519,"-4"-6"-1980,-9-5 1,-2-3-180,0 1 0,-1 1 89,0 1-179,1 0 90,-2 1-90,1-1-90,0-2 0,-1 0-1,0-3 271,0-1 270,0 3-181,-1-1-89,-2-2-360,-5-8-90,0-11 0,-1-12-180,6-3 0,3-6 0,3 2 1,3-5-1,4-4 90,2-3 0,4-4-90,2 2 90,4-2-90,1 5 180,3-1-90,1 6 0,1 3 0,-1 5 90,0 3-90,-1 4 90,-1 3-90,-2 4 180,-2 2-90,-1 3 0,-2 3 90,-2 1 0,-1 2 90,-2 6-180,-5 2 0,-4 3 90,-7 0-90,-5-2 0,-2-1 0,-3 1-90,-4-1 0,-1 1-90,-1-1-90,-2 0-89,1-1-1,1-1-180,0-2 0,2-1 1,0-1-271,1-1-989,2 0-4587,-4-2 6386,2-2 0,5 0 0,4-3 0</inkml:trace>
</inkml:ink>
</file>

<file path=ppt/ink/ink4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37.41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7 1 12480,'-3'30'1529,"-2"-2"-1169,-3-13 90,1 2-181,0 0 1,1 1 0,2 0-90,0 1 0,3-1-90,0 0 0,2 2 0,1 0 0,2-1-90,0 1 0,2-2-180,0-2 0,0-1-90,0-2-180,2-1-449,0-2-360,6 0-361,2-4 901,6-5-271,-3-4 990,2-6 0,-2-3 0,1-1 0</inkml:trace>
</inkml:ink>
</file>

<file path=ppt/ink/ink4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37.88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258 9062,'23'-21'2428,"3"-2"-1978,-13 12 450,3-2 809,-4 6-720,-1 8-89,-1 6-541,-4 14 181,-4-1-180,-1 6-90,0-5 0,-1 2-1,1 0-89,0 1 0,0-1-90,0 1 0,0-1 90,0-2 270,0 17-180,0-14-180,-2 10-180,-3-29-90,0-10 0,-1-10-90,4-5 90,0-1-90,2-3 90,2-4 0,0-4 90,3-4-89,1-2 89,2-1 0,1 0 90,2 2-90,0 1 0,1 5 90,2 2-90,-1 5 90,1 1-90,-1 5 90,1 2 0,-1 4-90,-1 3 90,5 2-90,-2 5 180,2 6-90,-5 6 90,-6 5-90,-6 5 90,-4 2-90,-3 2 0,-1 1 90,-1-1-90,2 0-90,1-2 0,3 1-90,3 0 90,1 1 0,0 0 0,-3 0 90,-4 0 0,-1-6 0,-3-1 0,2-7 0,-2 0 0,0-1 0,-1-1-90,0-1-270,0 0-359,-5 1-1260,1-2-2159,-6-3 4138,9-10 0,5-10 0,9-8 0</inkml:trace>
</inkml:ink>
</file>

<file path=ppt/ink/ink4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38.05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8522,'37'3'4048,"-8"3"-3149,-6 4-89,-8 2-1,-3 2-89,-1 3-90,-3 2-91,-1 2 1,-2 2-90,-1 2-180,-2 0-1,-2 0 91,-2 13-180,-2-8-90,-1 8 0,-1-12-180,1-2-180,-1-1-90,0-2-89,-1-1-181,1-2 0,0-2-89,0-1-1350,1-2 2069,-2 0 0,3-6 0,0-1 0</inkml:trace>
</inkml:ink>
</file>

<file path=ppt/ink/ink4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38.61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45 14009,'8'26'2249,"0"-1"-1620,-6-7 1,1 3-180,0 2-1,0 1 1,1 2-180,-1 3 90,1-2-90,-1 1-90,0-2 0,-1-1-1,0-2 1,-1-1-90,0-3 90,-1 0 0,1 4 0,-2-2 90,-1 1-180,-6-9-90,-1-11-90,-3-13 0,4-5 0,3-7 0,1 0-90,4-2 90,0-5 0,3-1 0,3-6 0,1 0 0,4-2 90,1 1-90,2 2 90,2 3 0,0 3-3482,0 4 3482,1 5 0,-1 4-90,1 3 90,-2 4 0,1 3 0,4 5 0,-4 3 0,2 4 90,-6 2 3302,-1 3-3392,-1 2 90,0 2-90,-2 2 0,-1 1 0,0 1-90,-2 0-89,-2 1-181,0 7 0,-3-6 0,-1 7-90,-3-9-89,-1 1-91,-1-1-90,-2-1-269,-2-1 0,0-1-91,-2-2-179,1 0-900,-1-3-719,1-1 2878,1-2 0,4-4 0,1-1 0</inkml:trace>
</inkml:ink>
</file>

<file path=ppt/ink/ink4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38.88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54 9512,'25'-18'1799,"3"0"-1440,-16 13 1,5-1 270,-4 2-1,7 2-359,2 2-90,-1 1 90,0 2-90,-7 2 90,1 1-90,-1 3 0,0 1 89,-1 2-89,-1 1 0,-1 2 0,-2 0 0,-1 2-90,-3-1 0,-1 1 0,-1 0 0,-3 1 0,0 0 0,-2 1-180,-1 1 0,-1 0-90,-2 0-180,-1 0-90,-1 0-269,-1-1-91,-1-1-359,-1-1-990,-1-1-809,-1-2 2968,1 0 0,5-7 0,2-2 0</inkml:trace>
</inkml:ink>
</file>

<file path=ppt/ink/ink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4:35.66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676 15628,'15'33'630,"-3"-2"-6111,-10-9 5841,0 10 1139,-2-9-1319,1 6 949,0-10-769,1-1-90,4-1-180,4-5 3392,9-2-3482,-2-5 90,5-1-90,-3-2 0,3 1 0,2-1 90,3 0-90,1 1 0,4-1 0,2 0 0,1 1 0,1-1 0,0 1 0,4 0 0,0 0 0,3 0 89,14 1-89,-14-1-3392,11 1 3392,-17-1-551,0 0 551,-1 0 0,1 0 0,-1 1 0,1-1 0,2 1 0,0 0 0,3 0 0,19 3 0,-15-2 0,15 2 0,-19-2 0,0 0 0,0 0 2907,-1 0-2907,1 0 0,-1 1 0,1-1 0,17 2 0,-14-1 0,12 1 805,-19-2-805,-2-1 0,-1 0 0,16 1 0,-12-1 0,10 1 0,-15-2 0,0 0-90,-1 0 90,0 0-90,15 0 90,-11 0 0,10 1-90,-14-2 322,-1 1-322,1 0 90,-1-1 0,0 1 0,0 0-90,-1-1 90,1 1 0,-1 0 0,1 0 0,-1-1 0,0 1 0,0 0 0,-1-1 0,0 1 0,-2 0 0,-1 0 0,0 0 0,10 2 0,-9-2 0,8 2 0,-12-2 0,0 1 0,-1 0 0,1-1 0,-1 1 0,1 0 0,-1 0 0,12 2 0,-7-1 0,9 1 0,-10-1 0,1 0 0,0-1-90,1 1 180,-3-1-90,14 3 0,-11-2 0,11 1 0,-12-1 0,0 0 0,0-1 0,1 0 0,0 0 0,1 0-90,1 0 180,0-1-90,0 0 0,0 1 0,0-1-3392,-3-1 3392,1 0 0,-2 0-90,0-1 180,0 0-90,0 0 0,0 0 0,-1 0 0,13-1 3392,-9 0-3392,9 1 0,-13-1 0,1-1 0,-1 1 0,0-1 0,0 0 0,-1 0 0,-1 0 0,0-1 180,-2 0 0,0-1-91,-1 1 1,-1-1 90,-1 0 90,6-2-90,-8 2-90,6-3 90,-9 2-90,0 0 0,0-1 0,0 0-90,-1-1 90,0 1 0,0-1-90,0-1 90,0 1 90,5-5-91,-5 3 1,5-3 0,-6 2-90,0 0 90,0-1 0,1-2 0,-2 1-90,1-1 180,-2 1-180,1-1 0,-2 0 90,0-2 0,-1-2-90,3-7 90,-4 4-90,3-6 0,-4 6 0,-1 0 0,1-1 90,-1-2-180,1 0 90,-1-2-90,1-1 90,2-13 0,-2 6 0,3-8 0,-3 10 0,0 0 0,-1 0 0,1 0 0,-1-1 0,0 1 0,0 0 90,-1 0-90,0 2 90,0 0-90,-2 1 0,1 1 90,-1-1-90,0-11 90,-1 8-90,0-9 0,-2 13 0,0-1 0,0 0 0,-1 1 90,0-1-90,-3-11 0,1 9 0,-2-10 0,1 14 90,0-1-90,-1 2 0,1 0 0,-1 1 0,0 1-90,0-1 90,-1 1-90,0 1 90,0 0 0,-2-9 0,1 7-90,-2-6 0,3 9 90,0 1 0,0 0 0,-1-1-90,1 1 180,-1-1-180,0 1 90,0 0 0,0 0 0,-1 0 0,0 0 0,0 0 0,-4-8-90,2 6 90,-3-5-90,3 7 0,1 1-90,-1 0 0,0 1 0,0 0-89,0 0-1,0 1-90,0 0 90,-1 1 0,0 0 90,-1 1-179,-6-5 179,3 4 90,-5-4-90,6 6 90,0 0-90,-1-1 90,0 2-180,-2-2 90,0 1-269,-2 0 89,-1 0-270,0 1 0,-2 1-269,-1 0-1170,-14-2 90,6 4-719,-10-1 2698,9 4 0,-4 1 0,-3 1 0</inkml:trace>
</inkml:ink>
</file>

<file path=ppt/ink/ink4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39.74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23 0 10771,'-15'30'2339,"2"-1"-1620,8-7-89,1 3-1,0 2-89,0 1 0,0 0-90,1 0-91,0-2 91,0-1 0,1 0-180,-1-2 89,1 0-179,0-4 450,0 0 180,-1 2 269,1-2-90,-1 2-539,-2-6-540,-4-12 0,1-10-90,0-8 0,5-4-89,3 0 89,2-2 0,2-2 0,2-2 90,3 0-90,3 0 90,0 2 0,3 1 0,0 3 0,1 4 0,0 2 0,-2 5 0,6 2-3392,-1 7 3392,-1 2 1,-1 11-1,-9-2 90,0 12 0,-6-9 0,-3 7 0,-2-7 3392,-4 2-3392,0-2 0,-3 1 0,-2-2 0,-1 1 0,-1-3-90,-2 0-90,-2-2 0,1 0-180,-2-2 90,0 0-180,-1-2 91,1-1-181,0-1 0,2-1-539,2 0-270,-5-1-1170,2-1 2519,-4-2 0,11 1 0,3-1 0</inkml:trace>
</inkml:ink>
</file>

<file path=ppt/ink/ink4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40.28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 60 9781,'-7'-23'3329,"6"5"-2700,12 5-359,6 9-180,-1 3 90,2 2-90,-5 3 90,0 2-180,-1-1 180,0 3-180,-1 0 90,-1 0-1,-1 1 1,0 4 0,-3 1-90,-1 4-180,-6-2-539,-6-2-450,-3-2-1800,-4-4 2969,-1-4 0,6-2 0,2-1 0</inkml:trace>
</inkml:ink>
</file>

<file path=ppt/ink/ink4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40.55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4 1 12930,'-6'31'2338,"0"-5"-1978,6-1 0,-2-4-90,2 1 0,0 1-91,0 0 1,-1 1-90,0 0 90,1 0-90,-2 0 0,1-1 0,-1 0-90,0 0-90,-1-2-180,1-1 0,-1-1-89,0-3-1,0-1-720,-1 0-449,0 2-4587,-1-1 6116,-2 0 0,4-7 0,0-5 0</inkml:trace>
</inkml:ink>
</file>

<file path=ppt/ink/ink4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41.44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7 76 13379,'-6'25'1799,"2"0"-1349,2-7 90,0 1-180,0 1-1,1 1-89,-1-1 0,1 0 0,1-1-90,-1-1 0,1 0 179,-1-1 271,1 3 90,-1-1-1,0 1-449,-5-6-180,0-10-90,-5-9 0,2-5 0,2-5-180,2 0 90,0-3 0,2-3-90,0-2 90,2-2-89,2-1 89,1-3-90,2 0 90,2 0 0,0 2 0,2 2 0,1 3 0,-1 3 0,1 2 0,0 2-90,1 4 90,2 1 0,-1 8 0,1 6 0,-5 11 90,-4 9-90,-2-2 180,-2 3-180,-1-7 90,0 1 0,-1 1 0,0 0 0,0 2 0,0-2-3302,0 0 3302,0-2 0,1-1 0,0-1-90,0-1-179,-1 5-91,1-1-90,-1 3 3662,1-3-3662,-3-3-89,-2-3-271,-3-2-449,-3-2-630,-2-4-3058,-1-2 4947,1-3 0,7 0 0,2-3 0</inkml:trace>
</inkml:ink>
</file>

<file path=ppt/ink/ink4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41.69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04 1 10321,'-26'23'2878,"3"-2"-7728,10-3 5569,1 0 1230,2 3-1499,2 0 769,2 2-859,2 0-180,2 2 89,2-1-89,2 1 3212,1 1-3482,3-1-269,0 1-91,3-1-90,-1-2-269,1-2-1,1-3-359,1-1-4318,5 1 5487,-3-6 0,-1-2 0,-7-8 0</inkml:trace>
</inkml:ink>
</file>

<file path=ppt/ink/ink4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41.88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2 9152,'32'-2'4317,"-7"3"-3417,-6 8-91,-6 2 1,-2 3-180,-1 4-91,0 1-89,-2 4-90,-1 1 0,-1 1-181,-3 1 91,0 1-180,-2 1 0,-1 0-90,-2 2-180,-1-1-90,-1 0-179,-2 0-91,-1-2-180,-1-1 1,-1-3-91,-1-2-359,-1-3 0,0-2-1080,0-3-1079,0-2 3328,0-2 0,5-4 0,2-2 0</inkml:trace>
</inkml:ink>
</file>

<file path=ppt/ink/ink4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42.76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25 13649,'6'-14'0,"-1"3"0</inkml:trace>
</inkml:ink>
</file>

<file path=ppt/ink/ink4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43.16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8 53 11041,'9'28'2788,"-2"-2"-1978,-5-7-91,-1 2-89,0 2-90,1 1-1,-2 1-179,2 0-90,-2-1 0,1 0-90,0-2-90,-1-1 179,0-2 91,0 5 90,0-3 0,-1 2-360,-6-10-90,0-10-180,-3-12 0,4-12 0,3-1 0,4-6 0,4 2 0,2-4 90,4-3-90,3-2 90,2 0-348,3 2 348,2 2 0,1 2 0,2 3 0,-1 4 90,0 4-90,-1 3 90,-1 3-89,-1 4-1,-2 3 90,4 5 0,-8 2 0,6 8 348,-12 3-348,-6 7 0,-6-2 0,-7 0 0,-1-4 90,-3 0-90,-3 1 0,-3-1 0,0 0 0,-2 0-180,0 0-90,0-2-90,2-1-89,0 0-91,2-3 0,1 1-179,1-2-1170,3 0 1889,-3 0 0,10-4 0,-2 1 0</inkml:trace>
</inkml:ink>
</file>

<file path=ppt/ink/ink4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43.35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2 1 12660,'10'29'2069,"-3"-3"-7190,-11-9 5571,-2 1-91,2 2 1590,-2 12-1769,2-7 769,1 9-769,2-9-90,1 0-90,1 0-90,1-1-180,2 0-89,0 0-181,2-2-90,-1-1 1,1-2 2132,4 2-4472,-2-6 2969,7 2 0,-9-12 0,1 0 0</inkml:trace>
</inkml:ink>
</file>

<file path=ppt/ink/ink4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43.76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41 9422,'22'-11'5576,"-2"3"-4046,-4 9-271,-2 8-719,-3 9-91,-3-1-89,-3 3 0,-3-4 0,0 0-90,0 0 89,-1 0-89,0 6-90,0-2 270,-1 4 89,-1-4-269,-3-6-90,-2-10-270,-3-9 90,2-14-180,3-1 90,5-4-89,1 3 89,3-1 0,1-3-90,3 0 0,1 0 0,2 0 90,1 2 0,1 1 0,1 1 0,-1 3 0,-1 1 0,0 4 0,-1 2-90,-1 1-89,3 3 179,0 6-90,-1 4 90,-3 9 0,-5 4 90,-2 5 0,-2 4 0,0-4 0,-3 8 90,0-12-90,-2 5 90,1-7-90,-3 0 90,1-1-90,-2-1 0,0 0 90,-1-1-90,-2 0 0,1-1-90,0-2-270,0 0-360,-4 1-1708,2-2-2789,-3 2 5217,10-10 0,9-11 0,10-8 0</inkml:trace>
</inkml:ink>
</file>

<file path=ppt/ink/ink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4:36.11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087 30 9871,'21'-12'2879,"-3"1"-990,-5 5-720,-4 8-629,-7 11 89,-5 8-179,-11 10 90,-5 3-180,-4 7-725,-8 9 725,-4 5-180,-6 5 90,-3 3-1403,-1 1 1313,-2 0 0,-1 0-1,0 0-89,0-2-90,0 0 180,1-2-90,1-1-90,0-2 90,1 0 0,1-3-180,3-4-645,1-2 556,3-5-181,1-1 0,1 0 0,0-3-269,2-2 89,3-4-180,3-4 1,4-4-181,3-4-89,3-3 318,2-4-5355,2-4 6333,0-3 0,7-3 0,0-3 0</inkml:trace>
</inkml:ink>
</file>

<file path=ppt/ink/ink4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43.94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5 10051,'25'-9'6656,"-2"4"-5756,-4 10-91,-7 3-179,-2 5 0,-4 0-180,-2 2-1,0 3-179,-1 2 0,0 3-90,-2 0-180,1 1 0,-2 1 0,1 0-270,-2 0-90,0-1-90,0 0-179,-1-2-181,0-1 1,-1-2-990,1-2-540,1 5-4137,2-4 6476,5 0 0,-3-8 0,2-6 0</inkml:trace>
</inkml:ink>
</file>

<file path=ppt/ink/ink4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44.13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22 20 15178,'-23'-11'3059,"5"2"-2610,1 15-89,6 0-90,0 1 0,0 2 90,-1 6-270,4-2 89,0 5-358,6 1-181,3 1-90,3 1-270,4-3 91,1-6-181,1-1-179,1-1 89,1 0-269,0-4-2249,0 0 180,8-4 3238,-5-3 0,10-4 0,-6-3 0</inkml:trace>
</inkml:ink>
</file>

<file path=ppt/ink/ink4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44.27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46 9152,'27'-14'3238,"-2"0"-2339,-8 7-89,-2 1 809,1 2-899,4 3-91,-5 2-89,3 4-90,-7 3-1,-2 1-179,0 3 0,-1 3-90,-1 3-90,-3 1-180,0 2-90,-1 0-90,-3 1-179,0 1-181,-3 0-90,-1 1-359,-3 0-360,-2 0-1350,-2 0-1528,-2-2 4317,-1-1 0,-5 0 0,-2-1 0</inkml:trace>
</inkml:ink>
</file>

<file path=ppt/ink/ink4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44.88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4 17 13379,'-2'26'2969,"2"0"-2160,3-8-179,1 4-90,0 1-91,-1 1-89,1 1-90,-1 0 0,0 1-90,0-1 0,-1-1-90,0 1-1,0-4 1,-1 0 90,-1-3 0,-1 5-90,-3-3 0,-4 0-90,-4-10 0,-4-11 0,5-4-180,0-7 0,5-2-90,2-4 1,1-3-1,4-5 90,3-2-90,4-5 90,4-1 0,4-2 0,6 0 90,0 3-90,3 1 180,1 6-89,-1 2-1,0 5-3302,-1 4 3302,-3 3 0,8 3 90,-9 5 0,5 4 0,-10 3 0,-2 3-90,0 2 3482,-4 2-3302,-1 2-180,-4 7 180,-3-4-180,-5 7 180,-4-7-180,-3 2-90,-3 0 0,-3-1 0,-1 0-270,-1-1 91,0-2-181,1 0 0,2-3-90,2-1-1708,2-1 2338,-2 0 0,8-5 0,-1 1 0</inkml:trace>
</inkml:ink>
</file>

<file path=ppt/ink/ink4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45.03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49 9691,'23'0'7196,"-1"1"-7376,-2 0-1708,-2 0 268,-1-3-89,-2 1 720,2-4-540,-4 1-90,3-4 1619,-4 1 0,5-5 0,1-1 0</inkml:trace>
</inkml:ink>
</file>

<file path=ppt/ink/ink4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45.21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1 40 10681,'24'-26'6386,"-15"13"-4227,-10 13-1889,-26 36 0,15-15 0,-11 20-91,16-20 1,1 0-90,2 2 90,1 0-180,2 0 90,2 0-270,0 0 0,3-1-179,-1-1-91,2-1-90,1-2-269,1 0-2160,9 5-899,-5-10 3868,13 3 0,-1-16 0,6-4 0</inkml:trace>
</inkml:ink>
</file>

<file path=ppt/ink/ink4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45.35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71 9242,'21'-15'3688,"-1"2"-2609,-9 7 900,1-1-630,1-1-449,-1 0-181,3 0-719,-2 3-1799,-2 5-899,-6 6-4408,-4 3 7106,-9 3 0,3-5 0,0-3 0</inkml:trace>
</inkml:ink>
</file>

<file path=ppt/ink/ink4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45.67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21 1 16797,'16'16'1350,"-4"1"-991,-12 0-89,-1 4-90,0 1 0,-2 2 0,-1 1-180,-3 2-180,-2 1 0,-1 0-90,-3 1-179,-2 0-181,-2 1-180,-2-2-89,-2-1-360,1-3-1530,-1-2-1708,1-3 4497,-1-2 0,-1 0 0,-2-1 0</inkml:trace>
</inkml:ink>
</file>

<file path=ppt/ink/ink4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46.24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5 224 13559,'-7'33'1979,"1"0"-1439,3-6 0,0 4-1,1 2-89,-1 1-90,1 1-90,0 0-91,0-1 91,1-1-180,-1-2 90,0-2-90,0-4 0,0-1 180,0-4 270,0-1-181,-1 0-179,-2-6-270,-3-4 90,-3-15-180,2-5 1,2-9 89,2 0-90,3-3-90,1-7 0,2-2 0,3-8 0,3-5 0,4-4 1,3-4-440,5 1 529,3 0 1,4 2 89,1 3-180,28-23-98,-21 29 278,19-13 0,-20 32 90,-9 10 0,4 2 0,-11 9 514,-2 3-424,-3 3-90,-1 3 0,-3 3 382,-2 1-292,-5 9-90,-4-3 0,-4 6 90,-4-4-90,-4 0 0,-4 3-90,-3-1-90,-3 0-90,-2-1-179,-1-1 89,2-3-899,-11 5 449,10-7-269,-6 2-1170,12-8-989,2-2 3238,2-1 0,8-3 0,3-1 0</inkml:trace>
</inkml:ink>
</file>

<file path=ppt/ink/ink4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46.53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34 1 9691,'-23'19'2339,"2"0"-1709,8-2-91,-1 3-89,2 2 0,0 3-90,2 2 0,1 1-1,2 1-179,1 1 0,2 1 0,2-1-90,1-1 0,2 1 0,2-1-90,1 1 0,1-1-90,2-3-90,0-1-90,0-4-90,2-1 1,-1-3-271,2-2-90,0-2-179,0-3-2069,0-2 2968,6-3 0,5-6 0,6-3 0</inkml:trace>
</inkml:ink>
</file>

<file path=ppt/ink/ink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4:36.46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90 7263,'2'-28'3238,"0"1"-2339,-1 2-89,1 3-90,-1 2 269,1 2-359,0-3 899,0 2-1079,10 9 89,-3 11 1,11 19 0,-5 7-419,5 11 328,1 7 360,4 13 1,6 16 0,-3-8-585,-6-13 0,0 1-1160,8 17 1,3 9-1,-4-10 1385,9 21-270,-19-45 0,0 0-347,1 0 1,0 2 481,9 18 0,0 1-180,-7-17 0,1 1-509,6 13 1,-1 0 552,11 21 1,-1-4 0,-2-1-297,-2-4 207,-1-3 90,-4-8-90,-1-4 0,-5-8-1,-1-4-89,-3-6 90,-1-4-90,-4-8 2484,-1-3-2304,-3-5 0,0-2 819,-2-5-819,-1-2-2501,1 0-1817,0-13-5693,-3-4 9617,-3-16 1,-9-4 0,-3-2 0</inkml:trace>
</inkml:ink>
</file>

<file path=ppt/ink/ink4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46.93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8 97 14009,'9'27'2069,"-3"-4"-1619,-4 1-91,-1-4-89,0 1 90,1 1-90,-1-1-90,1 0 0,-1-1 0,0-2-1,0-1 91,0 4 180,-1-1-90,-2 2 0,-1-6-180,-6-10-180,-2-9 89,1-5-89,2-6-89,3 0 89,1-2-180,1-4 90,2-3 0,1-2 0,3-2 0,1-2 0,2-2-90,3 2 180,7-12-90,-2 11 90,6-6-90,-4 16 90,0 2 0,1 4 0,-1 4 90,-1 4 0,7 5 90,-5 4-90,4 6 90,-7 2-90,-1 4 90,-1 3-90,0 3-3393,0 2 3303,-1 2 0,-2 1 90,0 1-269,-1 0-1,-2-1-90,0-1-90,-2-1-90,-1-1 3213,-2-2-3393,0-1 0,-1-2-89,-1-1-1080,0 0-1799,-3 2 3598,-2-3 0,2-4 0,0-5 0</inkml:trace>
</inkml:ink>
</file>

<file path=ppt/ink/ink4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47.09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4 92 11311,'-14'-24'4407,"1"3"-4227,8 6-1080,4 1-719,5 3-1079,6 5 2698,2 5 0,-3 2 0,-3 2 0</inkml:trace>
</inkml:ink>
</file>

<file path=ppt/ink/ink4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47.47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6 1 10501,'-12'22'2968,"2"0"-2248,6-6 89,0 2-179,1 2 0,1 2-270,0 1 179,0 0-269,1 0 90,1 0-90,-1-1 0,1-1-181,0-2 181,-1-1 0,1 5 270,0-3 539,-2 4-1079,-3-19-180,3-10 0,-2-13 1,4-3-91,1 3-90,1-1-90,0-1-179,0 0-1,1 1-270,0 2-1438,0 0-4768,0-4 7106,1 1 0,-2 5 0,0 5 0</inkml:trace>
</inkml:ink>
</file>

<file path=ppt/ink/ink4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48.24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0 195 13199,'-14'24'1709,"2"1"-1349,7 0-180,1 3-90,0 0 0,0-1 90,0-2 540,1-4-91,0-2-449,-5-12-90,2-7-90,-4-15 0,6-2 0,0-3 90,2 4-90,0-2 0,2-3 0,0 0 0,1-3 0,3 0-90,0-3 0,2 1 90,2-1-90,3 1 0,0 1 0,3 3 90,1 1-90,1 2 90,0 3-90,1 3 90,-1 2-90,0 4 0,0 1 90,5 5 0,-6 2 0,3 4-89,-8 2 178,-1 2-89,-2 2 0,-2 1 0,-1 9 0,-2-4 0,-2 5 0,-2-5 0,0 0 0,-2-1 0,1 1 0,-2-1 0,1-1-89,-1-1 89,1 1 0,-1 2 0,0 0-90,1 3 0,2-2-180,5-2 90,2 1 0,2-1 0,1 0 90,-2-1 180,-2 1 0,-5-4 0,-6 0 90,-7-7-180,-5-4-90,-5-3-90,4-2-180,0 0-90,6-1-179,1 1-181,-1-2-359,1 0-900,1-1-809,1 0 2878,1-1 0,5 4 0,1 0 0</inkml:trace>
</inkml:ink>
</file>

<file path=ppt/ink/ink4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48.50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2 11221,'23'-1'2338,"-5"3"-1888,-9 12 90,-2 2-270,-1 6 179,1 4-89,0 5 0,0 4-180,0 3 90,0 4-90,-1 2-364,-1 1 94,0 0-90,-1 0 1,-2-2-181,-1-2-90,-2-3 49,-1-1-228,-1-2-91,-2-3-269,0-1-1260,-1-5-899,-1-2 3148,2-5 0,2-9 0,1-3 0</inkml:trace>
</inkml:ink>
</file>

<file path=ppt/ink/ink4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48.87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93 15 9961,'-30'-9'2249,"5"3"-1799,8 13-90,5 0-1,-2 3 1,2 2-180,-2 3 90,2 1-180,-1 3 90,3 1-90,0 2 0,3-1-3482,1 2 3482,1 0-90,2 1 0,1-1-90,2 1-90,1-2 0,1 0-180,2-1 0,1-2-89,1 0 3301,1-3-3572,0-1-179,0-3-2699,1-1 3598,4-2 0,-7-4 0,3-1 0</inkml:trace>
</inkml:ink>
</file>

<file path=ppt/ink/ink4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49.08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6 39 8972,'13'-17'4048,"2"-1"-3059,-1 15-539,-1 5-90,-1 7 89,-5 7-179,-3-1 0,-1 4 0,0 2-90,-2 2-90,-1 1 0,0 0 0,-1 2 0,-2 0-180,1-1-90,-3 3-180,0-2 0,-2 2-90,-1-2-179,-1 0-271,0-3-359,-2-1-900,0-3-719,-1-1 2878,-1-2 0,5-8 0,2-1 0</inkml:trace>
</inkml:ink>
</file>

<file path=ppt/ink/ink4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49.37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6 12480,'36'-3'1169,"-1"0"-899,-5 3-90,6 1 0,6 1-567,4 0 297,1 1 0,1 0-270,0 1-360,-1 0-449,-3-1-810,-4 1-534,-4-2 2513,-5 1 0,-14-2 0,-6 0 0</inkml:trace>
</inkml:ink>
</file>

<file path=ppt/ink/ink4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6:49.55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2 18 8702,'-26'6'4497,"1"-1"-2608,5-1 720,0-1-2159,20-3-1,11-1-539,44-3-179,-10 1-1444,16 0 1353,-25 0-270,-1 1-179,0 0-91,-2 0-269,-3-1-1440,-2 1-1438,-3-1 4047,-2-1 0,-10 3 0,-4-1 0</inkml:trace>
</inkml:ink>
</file>

<file path=ppt/ink/ink4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7:01.75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157 66 11400,'7'-21'1799,"-4"1"-1709,-8 11-90,-10 3 90,-5 6 0,-6 1-90,5 2 0,-1-1 90,5 1-90,-1 0 90,-2 0-90,-1 1 90,0-1 0,-1 1-90,0-1 90,1 1-90,0 0 90,1 0 0,1 0 0,-1 1-90,2-1 90,0 0-90,2 1 0,1-1 90,0 2-90,-1 0 0,-1 1 90,0 1 0,0 2-90,-1 0 90,1 1 0,-1 2-90,-10 7-90,7-3 0,-7 6 90,10-5-90,2-2 90,1 1 0,0-2-90,2 0 90,-2 0 0,1 1 0,-7 9 0,6-6-90,-4 7 90,6-10 90,1 2-90,1 0 0,-1 0 0,1 0 90,0 1-90,0 1 90,0 1-90,-1 1 90,-3 8-90,4-6 90,-3 5-90,6-8 90,-4 10-90,4-8 89,-2 8-89,3-9 90,1 0-90,0-1 0,0 2 0,0-2 90,0 2-90,1-2 0,-1 2 0,1-1 0,0 0 0,0-1 0,0-1 0,0-1 0,0 1 0,1-3 0,0 0 0,0-2 0,0 0 0,0-1 0,-1 5 0,1-5 0,-3 9 0,1-4 90,0 4-90,-2 0 90,0 0-90,0 1 90,0 0-90,1 1 90,2-5-90,0-1 0,2-5 0,0 0 0,1 0 90,0 0-180,0 1 180,0 1-90,0-1 0,1 2 0,0 1 0,1 0 0,0 1 90,0 2-90,0 1 0,1 1 0,0 2 0,1-1 0,0 1 90,1 0-90,1 1 0,1 2 90,3 13-90,-1-10 0,3 10 0,-3-13 90,2-2-90,0 1 90,0-1-90,2-1 0,1 0 0,0-2 0,1 0 0,2-2 90,0 0-90,1-2 90,0-1-3482,1-1 3392,0-3 0,0 0 0,1-2 0,0-1 90,2-2-180,1 0 180,1-2 3302,12 1-3392,-7-3 0,10 1 0,-11-5 0,3 0-90,0-1 180,3-1-90,1-1 0,0 0-90,0-2 90,1 1 90,-1-2-90,0 0 0,0 0 0,-1 0 0,14-3 0,-11 2 0,10-3 90,-15 3-90,-1 0 0,0 0 0,-1-1 90,0 1 0,0 0-90,0-1 90,-1 1-1,12-4-89,-9 2 90,7-3 0,-12 2-90,-1 1 180,1-2-90,-2 0 0,0-1 0,0 0 0,-1-1 90,9-7-90,-8 3 0,5-5 0,-9 5-90,-1-1 90,0-1-90,-2 0 90,0-1-90,-1 0 90,0-2-90,-1 0 0,-1 0 90,0-1-90,-1 0 90,2-9-90,-3 7 0,2-6 89,-5 8-89,0 0 0,-1 0 90,0 0-90,-1-1 0,1 1 90,-2-2-90,2 1 0,-1 0 90,0-1-90,-1-1 90,1 1-90,0-2 0,1-10 90,0 7-90,0-7 0,-2 11 0,-1 1 90,0 0-90,0 1 90,0 0-90,-1 1 0,-1-1 0,1 1 90,-1-1-90,0-10 0,-1 9 0,0-7 0,-1 11 0,-1-1 0,0-1 90,0 0-90,0 0 0,-2-10 90,0 8-90,-1-8 0,1 11 0,0-1 0,-1 1 0,-1-1 90,1 2-90,-1-1 0,0 0 0,-1 2 0,0-1 0,0 1 0,-1 0 0,0 1 90,-5-9-90,-2 0 0,0 0 0,0 2 0,3 9 0,0 0 0,-6-7 0,4 5-90,-5-5 90,5 8 0,-1 0 0,1 0 0,-1 0 0,0 0 0,-1 1 0,1 0-90,-2-2 180,0 1-180,-2-2 180,0 1-180,0 0 90,-1 1 0,0-1 0,-1 1 0,-1-1 0,0 1 0,-2 1 0,0 0 0,-1 1 0,0 0-90,-1 1 90,-1 1-90,-2 0 0,-1 2-90,-1 1 0,-2 0-90,-2 3-629,-16 0 449,10 4-269,-13 2-91,15 4-179,-1 4-568,1 4-871,1 6-1080,1 3 3508,4 4 0,3 5 0,3 0 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3:39:16.913"/>
    </inkml:context>
    <inkml:brush xml:id="br0">
      <inkml:brushProperty name="width" value="0.17143" units="cm"/>
      <inkml:brushProperty name="height" value="0.17143" units="cm"/>
    </inkml:brush>
  </inkml:definitions>
  <inkml:trace contextRef="#ctx0" brushRef="#br0">0 7 13110,'20'-4'3597,"-5"2"-2787,-5 16-90,-3 1-91,0 3-89,0 5 90,-1 2-91,1 3-89,0 2 0,-1 0-180,0 2-1,-1 0-3481,0 1 3482,-1 0-180,1 0 90,-1 15-180,-2-13-180,1 10-90,-3-17-90,0-1-89,0-1-91,-1-2-90,0-2-1528,-1 4-91,0-2-6296,-1-1 9393,-3-14 0,3-5 0,-2-8 0</inkml:trace>
</inkml:ink>
</file>

<file path=ppt/ink/ink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4:54.76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9781,'21'12'450,"0"-2"-360,-5-6 90,3 0-90,3 1 0,3 0 0,2 0 0,4 1 0,4-1 0,2 2-1356,5-1 1266,0 1 90,3-1-736,3 2 736,4-1-300,4 1 300,2-1 0,2 1-90,0 0 180,2 0-180,1 0 90,1-1-90,1 2 765,0 0-675,31 4-214,-21-3 124,22 3 90,-29-4-90,-1 0 90,0 0-180,-1-1 90,-1 0 0,-2 0 0,-1-1 0,-2-1 0,-1 0 0,-4-1 122,-2 0-32,18-1-90,-17-1 90,15 0-90,-23-1 0,0-1 90,-3 0-90,-3-1 90,-1 0 0,14-2-90,-13 1 90,11-1-2704,-16 0 2704,-1 1 0,0-1 279,0 1-369,-1-1 935,1 0-846,15-2-89,-11 1 0,12-1 90,-14 2-90,0-1 0,1 1 0,1 0 0,1 0 90,2-1-180,3 2 483,0-1-483,2 0 180,0 1 2658,1 1-2658,2-1-180,1 1 180,2-1-180,4 2-1138,3-1 1228,4 1 90,1 0-602,-1 0 602,3 0-90,29 0-861,-19 0 951,23 1-180,-29-1-661,2 1 661,2-2 180,2 2-180,2-1 180,6 0-180,3 0 66,5 0 24,0 1 0,0 0 90,2 0-135,-25-1 0,0 0 45,-15 0 0,1 0 0,40 1 0,-1-1 0,-36 0 0,-1 0 0,18 0 0,0 0 0,-22 0 0,-1 0 45,1 0 0,0 0-45,0 0 0,1 0 0,0-1 0,0 1 45,0-1 0,1 0-45,-1 0 0,0 1-45,1-1 0,-1 0 45,-1 0 0,0 1-45,-1-1 0,0 0 90,-1 0 0,-1 0-135,49 1 180,-3-2-90,-8 1 0,-3-1 90,-8-1-90,-1 0 0,-2-1 0,-4 0 0,-3-1 6,-4 1-96,-7 0-270,-6 0 398,-8 0-3096,5-3 359,-17 1 2699,1-2 0,-21 4 0,-4 1 0</inkml:trace>
</inkml:ink>
</file>

<file path=ppt/ink/ink5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7:02.52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54 131 8612,'4'-25'3148,"0"2"-2518,-2 3 0,-1 2-451,-2 0-89,-3 5-90,-4 4 180,-5 4 0,-8 6 0,1 2-90,-2 2 90,4 2 90,1 1-180,-1 1 90,1 1 0,0 2-1,1 1 91,2 0 0,0 1-90,2 2 0,1-1 0,2 1 90,2-1 269,2 1-359,4 6 0,3-6 0,5 6 0,2-8-90,4 0 0,2-1 0,4 0 0,0-2-90,2-1 90,-1-1-90,1-2 90,0-1-90,-1-1 0,-1 0 90,-1-1-180,-1 0-450,3-1-629,-1-1-2159,2 1 3328,-3-1 0,-9 0 0,-2-1 0</inkml:trace>
</inkml:ink>
</file>

<file path=ppt/ink/ink5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7:03.99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49 75 9602,'-10'-22'1888,"0"1"-1708,2 9-90,-3 2-90,-2 4 0,-2 2 0,-5 5 180,3 1-180,-2 3 90,5 0 0,-2 3 0,0 0-90,0 3 90,-1 1-90,1 2 180,-1 2-90,-1 2 90,1 1-90,0 2 90,0 1-90,2 1-1,0 1 91,0 0-180,2 2 180,1 0-90,1 1 0,0 1 0,3 0 0,-1 2 0,3-1 0,-1 2 0,2 0 90,1-1-90,0 1 90,0 0-90,2 0 89,0 12-89,1 5 0,1 0 0,1-1-90,1-14 90,1 1-90,0 0 90,2 0-90,-1 0 90,2 0-90,-1 0 90,5 17 0,-2-13 0,4 15 0,-3-18-90,-1 1 90,1 1 0,0-4 0,0 1 0,0-2 0,0 0 0,1-1 0,-1-1 0,1 0 0,-1 0-1,2-1 1,0-1-90,0 0 90,1-1 0,0-1 0,1 1 0,6 9-90,-3-8 0,6 8 90,-7-12-90,10 8 90,2 2-90,2 0 0,-1-4 0,-9-11 0,1 0 0,0-2 0,0 0 0,1 0 0,0-1 0,0 0 90,-1-2-90,1 0 0,1-2 0,-1 1 0,2-2 0,0 0 0,1-1 0,1 0 0,0-1 0,1-1 0,-1-1 0,0 0 0,0-1 0,-1-1 90,0-1-90,2 0 90,-2-1-90,2-1 90,0 0 0,0-2 0,-1 0 0,0-1 0,1 0-90,-2-2 90,1-1 0,1 0 0,0-3 89,11-3-89,-9 0 0,9-4 0,-12 3 0,-1-2 0,-1-1 0,0-1-90,-1-1 180,7-12-180,-8 6 0,7-11 0,-10 7 0,0-3-90,-1-1 90,-1-1 0,-1-2 0,-2-1 0,-1-2 0,-2 3-90,-1-2 90,0-13 0,-3 10 0,0-10 90,-4 12-90,0 1 0,-2 0 0,0-1 0,-1 0 0,-2 1 0,1-1 90,-4-14-90,1 11 0,-1-11 0,0 16 0,0 0 0,0 1 0,-1 0 0,0 2 0,-1-1 0,0 1 0,-1 1 0,-1-1 0,-1 2 0,0 1-90,-1 0 180,0 1-180,-8-11 90,4 9 0,-6-8 0,5 10 0,0 1 0,-1-2 0,-10-12 0,6 9 0,-8-8 0,8 11 0,0 0 0,-2 0-3392,-2 0 3392,-2-2 0,-2 1-145,-3 0 145,-2-1 0,-2 3 0,0-1 0,-4 2 0,-20-9 0,11 10-89,-15-5-181,17 12-90,1 2-90,2 3-180,-1 2-89,3 4-181,1 3-1528,-1 3 89,-16 9-1259,13 1 3429,-11 7 1,18 2 0,0 1 0</inkml:trace>
</inkml:ink>
</file>

<file path=ppt/ink/ink5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7:05.17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982 918 8882,'5'-30'2339,"-5"2"-2070,-5 12-89,-4 1 90,0 4-90,-2 0 0,-1-1-90,-2 2 0,0 1 90,-2 1-180,-1 1 90,-2 1 0,-1 1 0,-1 2-90,-2 1 90,-2 2 0,-4 1-1,-1 2 1,-5 2 0,-1 2 0,-4 2-279,-3 3 279,-1 1-1,-3 3 1,1 1 0,-1 2 0,1 1 0,-1 2 0,0 0 0,0 3-544,0 1 634,-1 0-90,1 2 89,0 1-89,1 1 0,0 2 0,2 0 0,0 1 0,1 1 0,0 2 0,1-1 0,2 2 0,0-1 0,-14 18-90,14-13 90,-11 13 0,18-16 0,1 0 0,1 0 0,1 0-90,2-1 180,-9 16-90,10-14-90,-4 11 90,11-18-1,1 2 1,1-1-137,1 0 137,1 0 0,0 0 0,1 0 0,1 0 0,2-1 0,-4 13 0,5-11 0,-2 10-90,5-14 90,2 1-90,1 0 353,1-1-353,1-1 646,1 0-646,1-3 52,1 2 38,1-2-90,1 0 90,2 0-90,2-1 0,0 1 90,2-1-90,2 0 90,8 8-90,-4-8 0,7 6 90,-4-10-90,1-2 0,2 0 0,0-1 90,2-1-90,1 1 0,2-3 0,0 1 90,2-3-90,15 6 0,-7-5 89,10 2-89,-11-7 90,-2-2 0,2 0 0,0-1 0,1-2 0,1-2 0,1-1 0,0-2 0,3-2-3122,19-6 3122,-12 1 0,16-7 90,-17 1 90,22-14-91,-16 4-931,16-10 842,-22 5-1,-1-1 1,-1-2 0,-1-1 0,-1-2 0,-3 0 2455,0-3-2456,-3 0-89,0-1 90,-2-1-180,0 0 90,12-21 0,-11 14-914,10-15 914,-15 17-90,0 0 90,0-2 0,-1-1 0,0-2 0,0-1 0,2-6-90,14-31 180,-9 17-90,-13 25 0,0 1 0,7-15 0,-1 1 90,-2 6-90,0-1 0,-1 2 0,0 0 0,-2 2 90,0 0 0,-2 2 634,-1 2-634,-1 1 0,-3 3 90,-1 0-90,-3 3 0,0 0-140,-1-1 229,-2 0 1,1-16-90,-4 13-2446,0-11 2446,-4 16 338,-1-18-428,-1 13 176,-2-14-176,0 18 90,-5-20 0,1 15-90,-5-14 0,0 21 0,-2 0-90,-3 3 90,-3 1-180,-3 2 0,-2 3-90,-7-1-90,-3 3-89,-5 2-91,-4 3 0,-3 4-179,-1 4-1,-1 4 1,1 4-1,-2 3-1079,-25 7 899,17 2-550,-18 5 190,25 3-808,2 2-901,3 3 2969,3 3 0,3 1 0,1 2 0</inkml:trace>
</inkml:ink>
</file>

<file path=ppt/ink/ink5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7:06.32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185 271 7803,'-8'-33'1439,"-2"1"-1079,-1 10-1,-4-1 1,-2 2 0,-3-2-90,-3 2-90,-3 0 179,-3 3-179,-1 1 0,-2 3 0,0 3 0,-3 3-90,2 3 90,-2 4-90,-3 2 90,-1 4-90,-3 4-90,-1 3-285,-2 5 375,-1 5-90,1 2 90,1 6-850,1 2 850,1 5 90,-3 5 0,3 5 0,-1 5-90,6-1 90,3 2 0,6-2-598,2 2 508,2 2 90,3 1-90,2 1 0,2 1 90,3 0 0,-3 27 0,6-21-1,-1 20 1,7-30 0,1-1 0,2-4-438,1 0 438,2 0-90,1 0 0,2 0 0,0-2 90,2 0-1,6 19-89,-1-16-90,6 16 90,-3-22 0,4 1-90,0-4 90,2-2-90,2-3 0,0-3 90,2 0-90,0-4 307,2-2-217,14 8-90,-8-11 89,12 6-89,-11-13 0,1-1 0,1-3 90,2-1-90,1-1 0,1-3 0,1-1 0,1-1 0,2-2 0,17-1-214,-11-2 214,14-2 0,-17-1 328,-1-2-328,0-2 0,-1-1 0,0-1 0,-1-2-90,-2-2 0,3-2 90,-1-2-89,1-3-1,-1-1 0,15-13 0,-14 6 90,11-8-90,-22 9 0,-2 1 90,-1-2-90,-2-1 90,1-1 0,-2-3-90,-3 2 90,3-6 0,-4 1-90,9-21 90,-9 9-63,3-13 63,-10 15 90,-3-3 0,-2 3-90,-2-5 90,-1-1 90,-4-23-180,-2 14 90,-2-15 0,-5 21 0,-2 1-90,-4-1-2702,-4 2 2702,-4 2 90,-5 2 320,-4 2-410,-4 2 0,-3 2 0,-4 2 0,-7 0 0,-5 1 0,9 13 0,-3 1-90,-26-11-296,23 14 0,0 2 116,-25-3 0,2 5-386,-2 4 207,2 6-91,-2 4-90,0 5-179,-6 5-271,1 5 1302,-4 6-2111,2 6 1889,26-3 0,0 2 0,-35 22 0,32-15 0,1 1 0</inkml:trace>
</inkml:ink>
</file>

<file path=ppt/ink/ink5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0:52.84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25 14009,'28'-10'540,"-2"1"-360,-7 6-90,3 1-90,-1 2 89,0-1-89,-4 1 90,0 1-90,2-1 90,-1 1-90,2 0 0,0 0 0,2 0 0,0 0 0,0 1 90,0-1-180,0 1 180,0-1-90,1 1 0,-1 0 0,0 1 0,1-1 0,-1 1 0,0 0 0,-1-1 0,1 1 0,-1 0 0,0 0 0,0 1 0,0-2 90,10 2-180,-8-1 180,8 1-90,-10-2 0,1 0 0,-1 0 0,1 0 0,0-1 0,-1 0 0,1 1 0,1-2 0,0 1 0,11 0 0,-9-1 0,9 1 0,-11-2 0,0 1 0,0-1 0,1 1 0,-1 0 0,0-1 0,1 0 0,-1 1 90,-1 0-180,1 0 180,0-1-90,9 0-90,-7 0 180,6 1-180,-9-1 180,-2 0-180,-1 1 180,0-1-180,0 1 180,1-1-180,-2 1 90,10-1 90,-7 1-180,6 0 180,-8-1-180,2 1 180,-1-1-90,2 1 0,0 0 0,1 1 0,1-1 0,-1 0 90,1 1-90,-1-1 0,2 0 0,9 1 0,-7 0 0,7-1 0,-10 1 0,0 0 0,0 0 90,0-1-90,0 1 0,0 0 0,0 0 90,0-1-90,0 1 0,-1 0 0,11 0 0,-8 0 0,8 0 0,-13-1 90,1 0-180,0 0 180,1 0-180,0 0 180,0 0-180,0 0 180,0 0-90,0-1 0,0 1 0,1-1 0,10 0 90,-8 0-90,9 0 90,-11-1-90,1 1 0,-1 0 90,0 0-90,0 0 90,0-1-90,-1 1 0,-1 0 90,11-1-90,-9 0 90,6 1-90,-9-1 0,-2 1 0,1 0 0,-1 0 0,-1 0 0,1 0 90,-1 0-180,1 0 180,-1 0-90,1 0 0,0 0 0,9 1 0,-6-1 0,7 0 0,-8 1 0,0 0 0,2-1 0,-1 1 0,1 0 0,0 0 0,1 1 0,-1-1 0,1 0 0,10 0 0,-7 1 0,7 0 0,-9 0 0,-1-1 0,1 1 0,10 0 0,-8 0 0,7 1 0,-11-1 0,0 0 0,-1 0 0,1-1 0,-2 1 0,2 0 0,-3 0 0,0 0 0,-2 0 0,0 0 0,-1 0 90,4-1 90,0 1 179,2 0-89,0 0-3328,-4-1-3778,-13-5 6836,-9 0 0,-5 0 0,-2 2 0</inkml:trace>
</inkml:ink>
</file>

<file path=ppt/ink/ink5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0:57.19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21 13289,'26'-5'810,"-2"0"-630,-7 1-90,0 1 0,3 1-4252,3 1 4252,5 0 0,-3 1 860,3 0-681,18 1-89,0 0-180,9 1 180,-10-1-90,3 1-90,-9-1 90,11 0 0,-13 0-90,0 0 3392,0 0-3302,19 0 0,-13 0-90,13 0 0,-15 0 0,21-1 0,-12 1-373,15-1 373,-22 1 0,1-1 0,-1 0 90,0 1-90,1-1-238,-4 1 328,3-1-90,-4 0 90,1 1 0,3-1-90,-1 0 90,3 1-90,0-1 90,20 1-90,-14 0-431,15 0 521,-20 1-90,0-1 0,0 2 0,1-1 0,0 2 0,0-1 0,0 0 90,21 2-90,-15-1 0,15 2 0,-22-2 0,0 0 0,-1 1 0,-1 0 521,-2-1-521,0 1 0,-3-1 0,-1 1 238,-2-1-238,-1 0 0,-1 0 0,13 1 0,-11-1 0,9 1 0,-13-1 0,-2 0 0,1-1 90,14 2-90,-10-1 0,10 2 0,-12-2 0,15 1 0,-11-1 90,27 4-90,-26-4 0,12 2 90,-15-3-90,32 3 90,-24-2-90,24 2 0,-33-3 0,17 0 0,-12 0 0,12 0 0,-16-1 0,15 1 0,-10-2 0,27 1 0,-27 0 0,27-1 90,-27 0 372,10 0-462,-15-1 0,14 1 0,-14-1 0,10 0 0,-14 0 0,13 0 0,-8-1 90,10 1-90,-12 0 0,0 0 0,2-1 0,0 1 90,1 0-90,1 1 0,1-1-283,2 0 283,3 0 0,23 1 0,-14 0-673,15 0 763,-21 0-90,-1 0 0,-3-1 0,15 0 0,-16 0 0,12-2 0,-17 1 0,12-3 0,-11 2 0,9-2 0,-16 0-252,12-1 252,-11 0 0,8-1 0,-14 1 0,11-1 0,-10 1-40,11-2 40,-12 2-89,13-1 89,-9 1 0,8-1 0,-11 2 345,11-1-345,-8 1 671,7-1-671,-11 2-90,22-2 90,-18 2 0,27-3 0,-32 4 277,8-1-277,-12 1 44,15-1-44,-14 2 0,10-2 0,-11 1 0,1 1 0,2-1-360,-2-1-1529,-6 0 90,-5-5-4227,-10 1 6026,-11-6 0,3 7 0,-2 1 0</inkml:trace>
</inkml:ink>
</file>

<file path=ppt/ink/ink5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3T14:33:25.867"/>
    </inkml:context>
    <inkml:brush xml:id="br0">
      <inkml:brushProperty name="width" value="0.2" units="cm"/>
      <inkml:brushProperty name="height" value="0.2" units="cm"/>
    </inkml:brush>
  </inkml:definitions>
  <inkml:trace contextRef="#ctx0" brushRef="#br0">335 476 364 0 0,'3'-15'3391'0'0,"12"-39"772"0"0,-15 53-4104 0 0,1-1 0 0 0,0 1 0 0 0,0-1 0 0 0,0 1 0 0 0,0-1-1 0 0,0 1 1 0 0,0 0 0 0 0,1 0 0 0 0,-1 0 0 0 0,0-1 0 0 0,0 1 0 0 0,1 0 0 0 0,-1 1 0 0 0,1-1 0 0 0,-1 0 0 0 0,1 0-1 0 0,-1 1 1 0 0,1-1 0 0 0,0 0 0 0 0,-1 1 0 0 0,1 0 0 0 0,2-1 0 0 0,26 0 540 0 0,-23 2-506 0 0,0 1 0 0 0,-1-1 0 0 0,1 1 0 0 0,-1 1 0 0 0,0-1-1 0 0,1 1 1 0 0,-1 0 0 0 0,0 1 0 0 0,-1-1 0 0 0,1 1 0 0 0,-1 0 0 0 0,1 1-1 0 0,-1-1 1 0 0,-1 1 0 0 0,9 10 0 0 0,1 3 94 0 0,0 2 0 0 0,-2-1 0 0 0,11 24 0 0 0,35 78 403 0 0,-51-100-506 0 0,0-1 0 0 0,-1 1 0 0 0,-1 0 0 0 0,3 26 0 0 0,-6-28-33 0 0,-1 0 1 0 0,-1 0-1 0 0,-1 0 1 0 0,0 0-1 0 0,-2 0 1 0 0,0 0-1 0 0,-1-1 1 0 0,-1 1-1 0 0,-1-1 1 0 0,-8 18-1 0 0,9-25-29 0 0,0 0-1 0 0,-1 0 0 0 0,0-1 1 0 0,-1 0-1 0 0,0 0 1 0 0,-1-1-1 0 0,0 1 0 0 0,0-2 1 0 0,-1 1-1 0 0,0-1 1 0 0,-1-1-1 0 0,0 0 0 0 0,0 0 1 0 0,0-1-1 0 0,-1 0 1 0 0,-20 8-1 0 0,22-12-6 0 0,0 0 1 0 0,0-1-1 0 0,0 0 1 0 0,0 0-1 0 0,0-1 0 0 0,0 0 1 0 0,-11-2-1 0 0,16 2-14 0 0,-1-1-1 0 0,1 0 0 0 0,0 0 0 0 0,-1 0 1 0 0,1-1-1 0 0,0 1 0 0 0,0-1 1 0 0,0 0-1 0 0,0-1 0 0 0,0 1 1 0 0,1 0-1 0 0,-1-1 0 0 0,1 0 0 0 0,-1 0 1 0 0,1 0-1 0 0,0 0 0 0 0,0-1 1 0 0,0 1-1 0 0,1-1 0 0 0,-1 0 1 0 0,1 0-1 0 0,0 0 0 0 0,0 0 0 0 0,0 0 1 0 0,1 0-1 0 0,-1 0 0 0 0,1-1 1 0 0,0 1-1 0 0,0-5 0 0 0,-1-5 0 0 0,0 0 1 0 0,2-1-1 0 0,-1 1 0 0 0,2 0 0 0 0,0 0 1 0 0,1 0-1 0 0,5-25 0 0 0,16-33-69 0 0,2 0 1 0 0,39-76-1 0 0,-32 79 108 0 0,-3-1 1 0 0,24-89-1 0 0,-47 135 23 0 0,-1-1-1 0 0,-2 1 1 0 0,0-1 0 0 0,-1 0-1 0 0,-4-49 1 0 0,1 64-43 0 0,-1 1 0 0 0,0-1-1 0 0,-1 0 1 0 0,1 1 0 0 0,-2-1 0 0 0,1 1-1 0 0,-10-16 1 0 0,9 20-11 0 0,1-1 0 0 0,-1 1 0 0 0,0 1 0 0 0,-1-1-1 0 0,1 0 1 0 0,-1 1 0 0 0,0 0 0 0 0,0 0 0 0 0,0 1 0 0 0,-1-1-1 0 0,1 1 1 0 0,-1 0 0 0 0,-7-3 0 0 0,4 4 9 0 0,0 0 0 0 0,0 0 0 0 0,0 1 0 0 0,0 0-1 0 0,0 0 1 0 0,0 1 0 0 0,0 0 0 0 0,0 1 0 0 0,0 0 0 0 0,0 0 0 0 0,-18 6 0 0 0,-1 2 78 0 0,1 0 0 0 0,-36 19-1 0 0,39-16-5 0 0,1 1-1 0 0,-42 29 0 0 0,56-35-65 0 0,1 0-1 0 0,-1 1 1 0 0,1 0-1 0 0,0 1 1 0 0,1-1 0 0 0,0 1-1 0 0,0 1 1 0 0,1-1-1 0 0,-7 15 1 0 0,11-19-12 0 0,1-1-1 0 0,-1 1 1 0 0,1-1-1 0 0,0 1 1 0 0,0-1-1 0 0,0 1 1 0 0,1 0-1 0 0,-1 0 1 0 0,1-1-1 0 0,0 1 1 0 0,1 0-1 0 0,-1 0 1 0 0,1-1 0 0 0,0 1-1 0 0,2 5 1 0 0,-1-4-101 0 0,1 1 0 0 0,0-1 0 0 0,0-1 0 0 0,0 1 0 0 0,1 0 1 0 0,0-1-1 0 0,0 0 0 0 0,1 0 0 0 0,9 8 0 0 0,-2-3-356 0 0,0-1 1 0 0,1 0-1 0 0,0-2 0 0 0,1 1 0 0 0,-1-1 1 0 0,2-1-1 0 0,-1-1 0 0 0,25 7 0 0 0,-17-7-899 0 0,0-1 0 0 0,0-1 0 0 0,24 1 1 0 0,-8-5-1831 0 0</inkml:trace>
</inkml:ink>
</file>

<file path=ppt/ink/ink5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3T14:33:26.201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134 1080 0 0,'10'-4'781'0'0,"-7"2"-526"0"0,-1 1 0 0 0,1 0 0 0 0,0-1 0 0 0,0 1 1 0 0,0 0-1 0 0,0 1 0 0 0,0-1 0 0 0,0 0 0 0 0,0 1 0 0 0,0 0 0 0 0,0 0 0 0 0,0 0 0 0 0,0 0 0 0 0,0 0 0 0 0,0 0 0 0 0,0 1 1 0 0,5 1-1 0 0,-6-1-115 0 0,0 0 0 0 0,0 1 0 0 0,0-1 0 0 0,0 0 1 0 0,-1 1-1 0 0,1-1 0 0 0,0 1 0 0 0,-1 0 0 0 0,1-1 1 0 0,-1 1-1 0 0,0 0 0 0 0,0 0 0 0 0,2 4 0 0 0,10 31 829 0 0,-5-13-427 0 0,-1-10-417 0 0,0-1 1 0 0,1 0-1 0 0,0 0 0 0 0,1-1 0 0 0,0 1 1 0 0,1-2-1 0 0,1 0 0 0 0,0 0 0 0 0,0-1 0 0 0,1 0 1 0 0,0-1-1 0 0,0 0 0 0 0,1-1 0 0 0,1-1 1 0 0,-1 0-1 0 0,1 0 0 0 0,0-2 0 0 0,1 0 0 0 0,-1 0 1 0 0,1-1-1 0 0,0-1 0 0 0,0-1 0 0 0,0 0 1 0 0,1-1-1 0 0,-1 0 0 0 0,20-2 0 0 0,-27 0-95 0 0,-1 0 0 0 0,0 0 0 0 0,0-1 1 0 0,0 0-1 0 0,0 0 0 0 0,0 0 0 0 0,-1-1 0 0 0,1 0 0 0 0,-1 0 0 0 0,1-1 0 0 0,-1 0 0 0 0,0 0 0 0 0,-1-1 1 0 0,1 1-1 0 0,-1-1 0 0 0,0 0 0 0 0,9-12 0 0 0,-9 10-19 0 0,-1-1 0 0 0,1 0 0 0 0,-2 0 0 0 0,1 0-1 0 0,-1 0 1 0 0,0 0 0 0 0,-1-1 0 0 0,0 0 0 0 0,0 1 0 0 0,-1-1 0 0 0,0 0 0 0 0,-1 0 0 0 0,0 0 0 0 0,-1-12 0 0 0,0 9 4 0 0,-1 0 0 0 0,0 0 1 0 0,-1 1-1 0 0,0-1 0 0 0,-1 1 1 0 0,0 0-1 0 0,-1 0 1 0 0,0 0-1 0 0,-1 1 0 0 0,0 0 1 0 0,-1 0-1 0 0,-11-14 0 0 0,13 19-76 0 0,1 0 0 0 0,-1 1 0 0 0,0 0 0 0 0,0 0 0 0 0,-1 0 0 0 0,1 0 0 0 0,-1 1 0 0 0,0 0 0 0 0,0 0 0 0 0,0 1 0 0 0,0-1 0 0 0,0 1 0 0 0,-1 1 0 0 0,1-1-1 0 0,0 1 1 0 0,-1 0 0 0 0,0 1 0 0 0,1-1 0 0 0,-1 1 0 0 0,1 0 0 0 0,-1 1 0 0 0,1 0 0 0 0,-1 0 0 0 0,-6 2 0 0 0,1 1-573 0 0,0 1 0 0 0,0 0 0 0 0,1 1 0 0 0,-1 0 0 0 0,2 0 0 0 0,-1 1 0 0 0,1 1 0 0 0,0 0 0 0 0,-11 11-1 0 0,18-17 269 0 0,-26 21-3209 0 0</inkml:trace>
</inkml:ink>
</file>

<file path=ppt/ink/ink5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3T14:33:26.550"/>
    </inkml:context>
    <inkml:brush xml:id="br0">
      <inkml:brushProperty name="width" value="0.2" units="cm"/>
      <inkml:brushProperty name="height" value="0.2" units="cm"/>
    </inkml:brush>
  </inkml:definitions>
  <inkml:trace contextRef="#ctx0" brushRef="#br0">210 417 296 0 0,'-209'134'14980'0'0,"216"-131"-13697"0"0,17-6-445 0 0,574-162 2795 0 0,-432 112-3255 0 0,652-200 506 0 0,-730 225-899 0 0,-37 10-2028 0 0,76-15 1 0 0,-128 43-263 0 0,-1-7 2019 0 0,0 0-1 0 0,1-1 0 0 0,-2 1 1 0 0,1-1-1 0 0,0 0 0 0 0,0 0 0 0 0,-1 0 1 0 0,1 0-1 0 0,-5 3 0 0 0,2-1-296 0 0,-60 41-4950 0 0,20-17 1033 0 0</inkml:trace>
</inkml:ink>
</file>

<file path=ppt/ink/ink5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3T14:33:27.148"/>
    </inkml:context>
    <inkml:brush xml:id="br0">
      <inkml:brushProperty name="width" value="0.2" units="cm"/>
      <inkml:brushProperty name="height" value="0.2" units="cm"/>
    </inkml:brush>
  </inkml:definitions>
  <inkml:trace contextRef="#ctx0" brushRef="#br0">235 1 288 0 0,'2'14'7418'0'0,"-2"-13"-7067"0"0,22 14 2166 0 0,-7-4-1291 0 0,0 0 0 0 0,15 15 0 0 0,-25-21-1053 0 0,0 0 0 0 0,0 1 0 0 0,-1-1 0 0 0,0 1 0 0 0,0 0 0 0 0,-1 1 0 0 0,0-1 0 0 0,0 0 0 0 0,3 10-1 0 0,-3-5-67 0 0,-1 0 0 0 0,-1 0 0 0 0,0 1-1 0 0,0-1 1 0 0,-1 0 0 0 0,0 0 0 0 0,-1 0-1 0 0,0 1 1 0 0,-1-1 0 0 0,0 0-1 0 0,-1 0 1 0 0,-1-1 0 0 0,1 1 0 0 0,-1-1-1 0 0,-8 14 1 0 0,-7 11 6 0 0,-1-1-1 0 0,-2-2 1 0 0,-27 31 0 0 0,32-40-57 0 0,-2-1 1 0 0,-1 0 0 0 0,-1-2-1 0 0,0 0 1 0 0,-1-1 0 0 0,-47 29-1 0 0,68-47-76 0 0,-1-1 0 0 0,1 0 0 0 0,0 1-1 0 0,0-1 1 0 0,0 0 0 0 0,0 1 0 0 0,0-1-1 0 0,-1 0 1 0 0,1 0 0 0 0,0 0 0 0 0,0 0-1 0 0,0 0 1 0 0,0 0 0 0 0,-1 0 0 0 0,1 0-1 0 0,-2-1 1 0 0,0 0-56 0 0,3 1 54 0 0,-1 0 0 0 0,1 0 0 0 0,-1 0 0 0 0,1 0 0 0 0,-1 0 0 0 0,1 0 0 0 0,-1-1 0 0 0,1 1-1 0 0,-1 0 1 0 0,1 0 0 0 0,-1-1 0 0 0,1 1 0 0 0,-1 0 0 0 0,1 0 0 0 0,-1-1 0 0 0,1 1 0 0 0,-1-1 0 0 0,1 1 0 0 0,0 0 0 0 0,-1-1 0 0 0,1 1 0 0 0,0-1 0 0 0,-1 1 0 0 0,1-1 0 0 0,0 1 0 0 0,0-1 0 0 0,0 1 0 0 0,-1-1 0 0 0,1 1 0 0 0,0-1 0 0 0,0 1 0 0 0,0-1 0 0 0,0 1 0 0 0,0-1 0 0 0,0 0 0 0 0,0 1 0 0 0,0-1 0 0 0,0 1 0 0 0,0-1 0 0 0,0 1 0 0 0,0-1 0 0 0,1 0 0 0 0,7-23-445 0 0,-2 16 398 0 0,1 0-1 0 0,1 0 1 0 0,-1 1-1 0 0,1 0 1 0 0,0 0-1 0 0,1 1 1 0 0,0 0-1 0 0,0 0 1 0 0,0 1-1 0 0,0 0 1 0 0,1 1-1 0 0,0 0 1 0 0,13-4-1 0 0,18-3-22 0 0,82-11-1 0 0,-105 20 85 0 0,31-5-13 0 0,148-28 30 0 0,-174 29 12 0 0,0-1-1 0 0,-1-1 1 0 0,1-1 0 0 0,-1-1-1 0 0,-1-1 1 0 0,26-17 0 0 0,-39 22 61 0 0,1-1 1 0 0,-1 0 0 0 0,0 0-1 0 0,-1-1 1 0 0,0 0-1 0 0,0 0 1 0 0,0-1 0 0 0,-1 1-1 0 0,-1-1 1 0 0,1-1-1 0 0,-2 1 1 0 0,1-1 0 0 0,-1 0-1 0 0,-1 0 1 0 0,0 0-1 0 0,0-1 1 0 0,1-13 0 0 0,-4 21-41 0 0,0 0 0 0 0,0 0 0 0 0,0 0 0 0 0,-1 0 0 0 0,0 0 0 0 0,0 1 0 0 0,1-1 1 0 0,-1 0-1 0 0,-1 0 0 0 0,1 1 0 0 0,0-1 0 0 0,-1 1 0 0 0,0-1 0 0 0,1 1 0 0 0,-5-5 1 0 0,5 6-30 0 0,0 1 0 0 0,0-1-1 0 0,0 0 1 0 0,0 1 0 0 0,0-1 0 0 0,0 0 0 0 0,0 1 0 0 0,0-1 0 0 0,0 1 0 0 0,-1 0 0 0 0,1-1 0 0 0,0 1 0 0 0,0 0 0 0 0,-1 0 0 0 0,1 0 0 0 0,-2 0 0 0 0,1 0 16 0 0,0-1-14 0 0,0 1 0 0 0,0-1 0 0 0,1 1-1 0 0,-1 0 1 0 0,0-1 0 0 0,0 1 0 0 0,0 0 0 0 0,0 0 0 0 0,0 0 0 0 0,0 1-1 0 0,0-1 1 0 0,1 0 0 0 0,-4 2 0 0 0,-2-1 16 0 0,2 0 4 0 0,-1 0-1 0 0,1 1 0 0 0,0-1 1 0 0,-1 1-1 0 0,1 0 1 0 0,0 1-1 0 0,0-1 0 0 0,0 1 1 0 0,1 0-1 0 0,-1 0 1 0 0,1 0-1 0 0,-1 1 0 0 0,1 0 1 0 0,0 0-1 0 0,-5 7 1 0 0,7-9-8 0 0,1 0 0 0 0,-1 0 0 0 0,1 0 0 0 0,0 1 0 0 0,0-1 0 0 0,0 0 0 0 0,0 1 0 0 0,0-1 0 0 0,0 1 0 0 0,1-1 0 0 0,-1 1 0 0 0,1-1 0 0 0,0 1 0 0 0,0-1 1 0 0,0 1-1 0 0,0-1 0 0 0,0 1 0 0 0,0-1 0 0 0,1 1 0 0 0,-1-1 0 0 0,1 1 0 0 0,0-1 0 0 0,-1 0 0 0 0,1 1 0 0 0,0-1 0 0 0,1 0 0 0 0,-1 1 0 0 0,0-1 0 0 0,1 0 0 0 0,-1 0 1 0 0,1 0-1 0 0,-1 0 0 0 0,1-1 0 0 0,4 4 0 0 0,3 2 27 0 0,0 0 1 0 0,1-1-1 0 0,0 0 1 0 0,0-1 0 0 0,0 0-1 0 0,1 0 1 0 0,-1-2-1 0 0,1 1 1 0 0,22 4-1 0 0,-10-5 0 0 0,0 0-1 0 0,-1-1 0 0 0,1-1 0 0 0,24-2 0 0 0,-30-1-17 0 0,0 0-1 0 0,-1 0 1 0 0,0-2-1 0 0,0 0 1 0 0,21-8-1 0 0,-32 11-25 0 0,-1-1 1 0 0,1 0-1 0 0,-1-1 1 0 0,0 1-1 0 0,1-1 0 0 0,-1 0 1 0 0,0 0-1 0 0,-1 0 0 0 0,1 0 1 0 0,0-1-1 0 0,-1 1 0 0 0,0-1 1 0 0,0 0-1 0 0,0 0 1 0 0,0 0-1 0 0,-1 0 0 0 0,0-1 1 0 0,1 1-1 0 0,-1-1 0 0 0,-1 1 1 0 0,1-1-1 0 0,0-5 1 0 0,-1 7-13 0 0,-1-1 1 0 0,0 1 0 0 0,0-1 0 0 0,0 1 0 0 0,0-1 0 0 0,0 1 0 0 0,-1-1 0 0 0,0 1 0 0 0,1 0 0 0 0,-1-1 0 0 0,-1 1 0 0 0,1 0 0 0 0,0 0 0 0 0,-4-7 0 0 0,1 6 6 0 0,1-1 1 0 0,-1 1-1 0 0,0 0 1 0 0,0 0-1 0 0,0 0 1 0 0,-1 0-1 0 0,1 1 1 0 0,-8-5-1 0 0,-1 1-51 0 0,0 0-1 0 0,-1 1 1 0 0,0 1 0 0 0,0 0-1 0 0,0 1 1 0 0,-16-2 0 0 0,13 3-507 0 0,1 1 0 0 0,-1 1 1 0 0,0 1-1 0 0,0 0 0 0 0,-23 4 1 0 0,28-2-760 0 0,-1 1 1 0 0,1 0-1 0 0,0 1 1 0 0,-14 6-1 0 0</inkml:trace>
</inkml:ink>
</file>

<file path=ppt/ink/ink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5:35.29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95 254 11400,'21'-17'1620,"-7"-3"-1620,-15 11 0,-5-3 0,-6 5 0,-1 1-90,-1 2 90,-2 0 0,-2 2-90,-1 2 90,0 3 0,-2 2 0,5 1 90,0 1-90,5 0-90,-1 1 180,0 1-180,-1 1 90,1 1 90,-7 7-180,5-3 90,-5 6 0,6-5 90,0 0-90,0 2 90,0 1 89,-1 1-89,2 1 0,-1 0 90,-4 10-90,5-7 90,-4 7-180,7-11 90,1 1-90,-1 0 180,-1 10-90,2-7-90,-2 7 90,4-8-90,0 0 90,0 1 0,1 0 0,0 1 0,1 0 0,-1 1-90,1 0 90,0 1-90,1-1 89,1 1 1,0 0-90,0-1 180,1 14-180,0-10 180,1 9-180,0-11 180,1-2-90,1 2 0,0-2 0,1 0 0,0 0 90,0 0-90,1 0 0,1 1 0,0 0 0,2 1 0,0-1-90,0 0 90,1-1-90,0 0 179,4 10-89,-2-8-90,4 7 90,-4-12 0,0-1 0,1 1 0,0-2 90,1 1-90,1-1 0,0-1 0,2 0 0,0-1 180,9 8-90,-4-7-90,8 6-90,-7-10 179,2 0-179,1-1 180,1 0-90,3-1 0,0 0 0,2-1 90,13 4-180,-9-5 90,10 3 0,-14-7 0,0-1-90,0 0 90,-1-2-90,0-1 90,11-1-90,-11-2 90,10-1-90,-13-2 0,-1 0 90,3-2 0,-1-1 0,1 0 0,-2-2-90,1-1 90,-2-2-1,0 0-89,-1-1 90,0-1 0,-1-2-90,0 1 90,0-3-90,-1 0 90,9-9 0,-8 5-90,6-7 90,-9 8 0,-1-1 0,-1 0-90,0 0 90,0-1-90,-1 1 90,0-1-180,-1 0 90,-2-1 0,7-10 0,-7 8 0,5-7 0,-9 11 0,0 0 0,-1 0 0,-1 0 0,-1 0 0,0 1 0,-1-1-90,2-9 90,-3 6 0,1-6 0,-3 8 0,0 1 0,-1 0 0,0 0 0,-1 1 0,0-1-90,-1-2 90,0 1 0,-2-3 0,1 2 0,-1-2 0,-2-10-90,0 8 90,0-8 0,0 10 0,0 1 0,-1-1 0,-1 1 0,1-1-90,-1 2 90,-1-1 0,0 0 0,0 1-90,-1 0 90,0-1 0,-6-7-90,4 6 90,-5-5 0,5 10 0,-1 0 0,1 0 0,-2 1 0,1 0 0,0 0 0,0 1 0,-4-6 0,3 6 0,-3-5 0,6 8 0,-1 0 0,1 0 0,1 2 0,-1-1 0,1 1 0,-1 0 0,0 0 0,0-1 0,0 2 0,-1-1-90,0 0 90,0 1 0,-1-1 0,0 0 0,-7-5 0,4 4 0,-4-4 0,3 5 0,1 0 0,-9-5 0,6 4 0,-6-4 0,5 4 0,0 1-90,-3-1 180,1 0-180,-2 0 90,0 0 0,-1 0 0,0 1 0,-1 1 0,-1-1 0,1 2 0,-2 0 0,0 1 0,-2 1 0,0 0-90,-1 3-89,0 0-1,1 2-450,-12 1 270,10 3-179,-10 1-91,13 2 0,-1 3-89,1 1-271,2 2-269,2 2-1350,1 2-1528,2 2 4137,1 2 0,2 4 0,0 1 0</inkml:trace>
</inkml:ink>
</file>

<file path=ppt/ink/ink5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3T14:33:27.481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224 1536 0 0,'4'-1'2098'0'0,"22"-3"2320"0"0,-4 4-2310 0 0,-16 47 2209 0 0,-6-44-4180 0 0,0 0 1 0 0,0 0-1 0 0,0 0 0 0 0,1 0 0 0 0,0 0 0 0 0,-1 0 0 0 0,1-1 1 0 0,0 1-1 0 0,0 0 0 0 0,1 0 0 0 0,-1-1 0 0 0,1 1 0 0 0,-1-1 1 0 0,1 1-1 0 0,0-1 0 0 0,2 2 0 0 0,-1 0 14 0 0,1-1 1 0 0,1 1-1 0 0,-1-1 1 0 0,0 0-1 0 0,1-1 0 0 0,-1 1 1 0 0,1-1-1 0 0,7 2 1 0 0,1 1 92 0 0,1-2 0 0 0,0 0 1 0 0,0 0-1 0 0,0-2 0 0 0,23 1 1 0 0,-26-2-152 0 0,1 0 1 0 0,0-1-1 0 0,0-1 0 0 0,-1 0 1 0 0,1-1-1 0 0,0 0 1 0 0,-1 0-1 0 0,0-1 0 0 0,0-1 1 0 0,16-9-1 0 0,-20 10-71 0 0,-1-1 0 0 0,1 1 1 0 0,-1-1-1 0 0,0-1 0 0 0,-1 1 0 0 0,1-1 0 0 0,-1 0 0 0 0,0-1 0 0 0,-1 1 0 0 0,0-1 0 0 0,0 0 0 0 0,0 0 0 0 0,0 0 0 0 0,-1 0 0 0 0,-1-1 1 0 0,4-11-1 0 0,-4 10-24 0 0,-1 1 0 0 0,0-1 0 0 0,0 1 0 0 0,-1-1 0 0 0,0 1 0 0 0,0-1 0 0 0,-1 1 0 0 0,0-1 0 0 0,-1 1 1 0 0,0-1-1 0 0,0 1 0 0 0,-6-13 0 0 0,6 16-38 0 0,0 0-1 0 0,-1 0 1 0 0,0 0 0 0 0,0 0 0 0 0,-1 1 0 0 0,1-1 0 0 0,-1 1 0 0 0,0 0-1 0 0,0 0 1 0 0,0 0 0 0 0,-1 1 0 0 0,1 0 0 0 0,-1 0 0 0 0,0 0-1 0 0,0 0 1 0 0,0 1 0 0 0,0-1 0 0 0,0 1 0 0 0,0 1 0 0 0,-7-3 0 0 0,-1 2-374 0 0,1 0 0 0 0,-1 1 0 0 0,1 1 0 0 0,-1-1 1 0 0,1 2-1 0 0,-1 0 0 0 0,-15 3 0 0 0,5 2-2686 0 0,0 0 0 0 0,-41 18 0 0 0</inkml:trace>
</inkml:ink>
</file>

<file path=ppt/ink/ink5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3T14:33:28.386"/>
    </inkml:context>
    <inkml:brush xml:id="br0">
      <inkml:brushProperty name="width" value="0.2" units="cm"/>
      <inkml:brushProperty name="height" value="0.2" units="cm"/>
    </inkml:brush>
  </inkml:definitions>
  <inkml:trace contextRef="#ctx0" brushRef="#br0">355 1 2448 0 0,'-7'12'8707'0'0,"-42"64"-6579"0"0,27-44-1631 0 0,0 0 0 0 0,3 1 1 0 0,-23 52-1 0 0,-35 115-315 0 0,33-82-2440 0 0,42-110 1602 0 0,-1 0 0 0 0,-1-1-1 0 0,1 0 1 0 0,-1 1 0 0 0,0-2 0 0 0,-1 1 0 0 0,0 0 0 0 0,-10 11 0 0 0,-13-13-4231 0 0</inkml:trace>
</inkml:ink>
</file>

<file path=ppt/ink/ink5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3T14:33:28.773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60 468 0 0,'0'-4'639'0'0,"0"1"-1"0"0,1-1 1 0 0,-1 1-1 0 0,1-1 1 0 0,0 1-1 0 0,0-1 1 0 0,2-5-1 0 0,-2 7-449 0 0,0 1-1 0 0,-1-1 1 0 0,1 1-1 0 0,0-1 0 0 0,0 1 1 0 0,0 0-1 0 0,0-1 1 0 0,1 1-1 0 0,-1 0 1 0 0,0 0-1 0 0,0 0 1 0 0,1 0-1 0 0,-1 0 1 0 0,1 0-1 0 0,-1 0 1 0 0,1 0-1 0 0,-1 1 1 0 0,1-1-1 0 0,0 1 1 0 0,2-2-1 0 0,11 1 407 0 0,0 0-1 0 0,0 1 1 0 0,0 1 0 0 0,-1 0-1 0 0,1 1 1 0 0,0 0-1 0 0,24 8 1 0 0,102 39 811 0 0,-79-24-995 0 0,102 56-1 0 0,-135-63-1600 0 0,43 35 1 0 0,-53-36-1537 0 0,0 1 0 0 0,29 36 0 0 0</inkml:trace>
</inkml:ink>
</file>

<file path=ppt/ink/ink5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3T14:33:29.102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38 1264 0 0,'1'-3'425'0'0,"-1"1"1"0"0,1 0-1 0 0,-1-1 1 0 0,1 1-1 0 0,0 0 0 0 0,0-1 1 0 0,0 1-1 0 0,1 0 0 0 0,-1 0 1 0 0,0 0-1 0 0,1 0 0 0 0,1-2 1 0 0,-2 3-278 0 0,0 0 1 0 0,0 1 0 0 0,0-1-1 0 0,0 1 1 0 0,0-1-1 0 0,0 1 1 0 0,0-1 0 0 0,0 1-1 0 0,0 0 1 0 0,0-1-1 0 0,0 1 1 0 0,0 0-1 0 0,0 0 1 0 0,0 0 0 0 0,0 0-1 0 0,0 0 1 0 0,0 0-1 0 0,1 0 1 0 0,-1 0 0 0 0,2 1-1 0 0,-2-1-91 0 0,-1 0 0 0 0,1 1 0 0 0,0-1 0 0 0,0 1 0 0 0,0 0 0 0 0,-1-1 0 0 0,1 1 1 0 0,0 0-1 0 0,-1-1 0 0 0,1 1 0 0 0,0 0 0 0 0,-1-1 0 0 0,1 1 0 0 0,-1 0 0 0 0,1 0 0 0 0,-1 0 0 0 0,0 0 0 0 0,1 0 0 0 0,-1 0 0 0 0,1 1 0 0 0,-1 0 116 0 0,14 21 608 0 0,-2 2-1 0 0,-1-1 1 0 0,10 33 0 0 0,9 19-9 0 0,-9-29-305 0 0,-5-8-99 0 0,1-2 0 0 0,29 45-1 0 0,-41-73-313 0 0,1-1 0 0 0,0 0 0 0 0,0 0 0 0 0,1-1 0 0 0,0 0 0 0 0,0 0 0 0 0,0-1 0 0 0,1 1 0 0 0,0-2 0 0 0,1 1 0 0 0,-1-1 0 0 0,1 0 0 0 0,0-1 0 0 0,17 6 0 0 0,-3-7 39 0 0,-17-3-76 0 0,-4 0-11 0 0,0 0-1 0 0,-1 0 0 0 0,1 0 0 0 0,0 0 0 0 0,0 0 1 0 0,0 0-1 0 0,-1-1 0 0 0,1 1 0 0 0,0 0 1 0 0,-1-1-1 0 0,1 1 0 0 0,0-1 0 0 0,-1 0 1 0 0,4-1-1 0 0,1-1 10 0 0,-1 0-7 0 0,0 1 1 0 0,0-1 0 0 0,0 1 0 0 0,0-2 0 0 0,0 1 0 0 0,0 0 0 0 0,-1-1-1 0 0,0 0 1 0 0,0 0 0 0 0,0 0 0 0 0,5-7 0 0 0,-3 2-27 0 0,-1 1 1 0 0,-1-1-1 0 0,1 1 1 0 0,-1-1-1 0 0,-1 0 1 0 0,3-11-1 0 0,1-10-69 0 0,-2 0 1 0 0,-2-1-1 0 0,1-36 0 0 0,-4 65 85 0 0,-2-189 916 0 0,2 187-487 0 0,-1 4-401 0 0,0 1-1 0 0,0-1 1 0 0,0 0 0 0 0,0 1-1 0 0,1-1 1 0 0,-1 0 0 0 0,0 1-1 0 0,0-1 1 0 0,0 1 0 0 0,1-1-1 0 0,-1 1 1 0 0,0 0 0 0 0,1-1-1 0 0,-1 1 1 0 0,0 0 0 0 0,1 0-1 0 0,-1-1 1 0 0,1 1-1 0 0,-1 0 1 0 0,1 0 0 0 0,-1 0-1 0 0,1-1 1 0 0,0 1 0 0 0,-1 0-1 0 0,1 0 1 0 0,0 0 0 0 0,0 0-1 0 0,0 0 1 0 0,0 0 0 0 0,0 2-1 0 0,-1 32 334 0 0,5 4-174 0 0,1 0-1 0 0,2 0 0 0 0,2-1 1 0 0,18 50-1 0 0,13 43-657 0 0,28 71-6275 0 0,-42-155 991 0 0</inkml:trace>
</inkml:ink>
</file>

<file path=ppt/ink/ink5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3T14:33:29.467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140 520 0 0,'0'-7'455'0'0,"0"-1"1"0"0,0 0-1 0 0,1 1 1 0 0,0-1-1 0 0,0 1 1 0 0,1-1-1 0 0,0 1 0 0 0,0 0 1 0 0,0-1-1 0 0,1 1 1 0 0,0 0-1 0 0,1 1 0 0 0,0-1 1 0 0,0 1-1 0 0,0-1 1 0 0,1 1-1 0 0,6-6 0 0 0,-10 11-383 0 0,1 0 0 0 0,-1 0 0 0 0,1 0 0 0 0,-1 1 0 0 0,1-1-1 0 0,0 1 1 0 0,-1-1 0 0 0,1 1 0 0 0,0 0 0 0 0,-1-1 0 0 0,1 1-1 0 0,0 0 1 0 0,0 0 0 0 0,0 0 0 0 0,-1 0 0 0 0,1 1 0 0 0,0-1 0 0 0,-1 0-1 0 0,3 1 1 0 0,0 0 9 0 0,0 0 1 0 0,0 1-1 0 0,-1-1 0 0 0,1 1 0 0 0,0 0 0 0 0,-1 0 0 0 0,5 3 1 0 0,1 2 20 0 0,-1 1 0 0 0,-1 1 1 0 0,1-1-1 0 0,-1 1 1 0 0,-1 0-1 0 0,1 1 0 0 0,-2 0 1 0 0,1 0-1 0 0,-1 0 1 0 0,-1 0-1 0 0,0 1 1 0 0,4 14-1 0 0,-5-13-46 0 0,-1 1 0 0 0,0-1 1 0 0,0 1-1 0 0,-2 0 0 0 0,1 0 0 0 0,-2 0 0 0 0,1-1 1 0 0,-2 1-1 0 0,0 0 0 0 0,-5 19 0 0 0,0-11 59 0 0,0 0-1 0 0,-1-1 0 0 0,-1-1 1 0 0,-1 1-1 0 0,0-1 1 0 0,-22 27-1 0 0,25-37-46 0 0,6-8-61 0 0,10-5-9 0 0,-6 2-24 0 0,2 2 33 0 0,45-6 109 0 0,-11 3 119 0 0,148-17 768 0 0,-163 15-838 0 0,0-1-1 0 0,0 0 0 0 0,-1-2 0 0 0,0-1 0 0 0,33-18 0 0 0,50-37-2090 0 0</inkml:trace>
</inkml:ink>
</file>

<file path=ppt/ink/ink5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3T14:33:29.798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53 169 260 0 0,'-49'42'3813'0'0,"16"-15"727"0"0,-38 45 2128 0 0,71-72-6556 0 0,0 1 0 0 0,0 0 0 0 0,8 3 1325 0 0,13-5-481 0 0,-20 0-944 0 0,39-7 1066 0 0,50-17-1 0 0,-20 5-535 0 0,418-124 1260 0 0,-133 37-6863 0 0,-313 98 1841 0 0</inkml:trace>
</inkml:ink>
</file>

<file path=ppt/ink/ink5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3T14:33:30.468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19 429 1308 0 0,'1'-2'1535'0'0,"1"-1"-1310"0"0,0 1-1 0 0,0 0 1 0 0,0 0 0 0 0,1 0-1 0 0,-1 0 1 0 0,0 1 0 0 0,1-1-1 0 0,-1 1 1 0 0,1-1 0 0 0,-1 1-1 0 0,1 0 1 0 0,0 0 0 0 0,0 0-1 0 0,-1 0 1 0 0,1 0 0 0 0,0 1-1 0 0,0 0 1 0 0,0-1 0 0 0,0 1-1 0 0,0 0 1 0 0,0 0 0 0 0,0 0-1 0 0,-1 1 1 0 0,1-1 0 0 0,0 1-1 0 0,0 0 1 0 0,0-1 0 0 0,0 1-1 0 0,2 2 1 0 0,11 4 250 0 0,0 0 0 0 0,0 1 0 0 0,25 18 0 0 0,-36-22-288 0 0,28 18 189 0 0,-1 2 1 0 0,-1 1 0 0 0,-1 1-1 0 0,-2 2 1 0 0,-1 0-1 0 0,25 34 1 0 0,-47-54-313 0 0,0 0-1 0 0,0 0 1 0 0,0 1-1 0 0,-1 0 1 0 0,0-1-1 0 0,-1 2 1 0 0,0-1-1 0 0,0 0 1 0 0,-1 1-1 0 0,-1-1 1 0 0,1 1-1 0 0,-1 12 1 0 0,-1-16-35 0 0,0 1-1 0 0,-1-1 1 0 0,0 0 0 0 0,0 0 0 0 0,0 0-1 0 0,-1 0 1 0 0,0 0 0 0 0,0 0-1 0 0,-1 0 1 0 0,1-1 0 0 0,-1 1 0 0 0,0-1-1 0 0,-1 0 1 0 0,1 0 0 0 0,-1 0 0 0 0,0 0-1 0 0,-1 0 1 0 0,1-1 0 0 0,-1 0 0 0 0,-6 5-1 0 0,5-5-16 0 0,0 0-1 0 0,0-1 0 0 0,0 0 0 0 0,0 0 0 0 0,-1 0 0 0 0,1-1 0 0 0,-1 0 1 0 0,1-1-1 0 0,-1 1 0 0 0,0-1 0 0 0,1 0 0 0 0,-1-1 0 0 0,0 1 0 0 0,0-1 0 0 0,-11-2 1 0 0,13 1-5 0 0,-1 0-1 0 0,1-1 1 0 0,0 1 0 0 0,0-1 0 0 0,0 0 0 0 0,0-1 0 0 0,0 1 0 0 0,0-1 0 0 0,1 0 0 0 0,-1 0 0 0 0,1 0 0 0 0,0-1 0 0 0,0 1-1 0 0,0-1 1 0 0,0 0 0 0 0,1 0 0 0 0,0-1 0 0 0,0 1 0 0 0,0-1 0 0 0,-4-7 0 0 0,3 2-18 0 0,0-1-1 0 0,1 1 1 0 0,0-1 0 0 0,1 0 0 0 0,0 0-1 0 0,1 0 1 0 0,0 0 0 0 0,0 0 0 0 0,1 0-1 0 0,1 0 1 0 0,2-13 0 0 0,4-18-96 0 0,21-66 0 0 0,-14 58 65 0 0,29-152-195 0 0,-37 162 201 0 0,-3-1 0 0 0,-1 1-1 0 0,-3-45 1 0 0,1 79 30 0 0,-1-1 1 0 0,0 1-1 0 0,0 0 1 0 0,0 0-1 0 0,-1 1 1 0 0,0-1-1 0 0,0 0 1 0 0,0 0-1 0 0,-1 1 0 0 0,0-1 1 0 0,0 1-1 0 0,0 0 1 0 0,-1 0-1 0 0,1 0 1 0 0,-1 1-1 0 0,-5-5 0 0 0,4 5 5 0 0,0 1 0 0 0,0-1-1 0 0,0 1 1 0 0,0 1-1 0 0,-1-1 1 0 0,1 1-1 0 0,-1 0 1 0 0,0 0-1 0 0,1 0 1 0 0,-1 1-1 0 0,0 0 1 0 0,0 0 0 0 0,0 0-1 0 0,0 1 1 0 0,0 0-1 0 0,-10 1 1 0 0,2 2 0 0 0,0 0 1 0 0,0 0 0 0 0,1 2 0 0 0,-1-1-1 0 0,1 2 1 0 0,0 0 0 0 0,0 0 0 0 0,0 1-1 0 0,1 1 1 0 0,0 0 0 0 0,1 1 0 0 0,0 0-1 0 0,0 1 1 0 0,-18 21 0 0 0,26-27-82 0 0,-1 0 1 0 0,1 1 0 0 0,0-1 0 0 0,1 1-1 0 0,-1-1 1 0 0,1 1 0 0 0,0 0-1 0 0,0 0 1 0 0,0 0 0 0 0,1 0 0 0 0,0 1-1 0 0,0-1 1 0 0,0 0 0 0 0,0 0-1 0 0,1 1 1 0 0,0-1 0 0 0,0 0 0 0 0,1 1-1 0 0,-1-1 1 0 0,1 0 0 0 0,0 0-1 0 0,1 0 1 0 0,-1 0 0 0 0,1 0 0 0 0,0 0-1 0 0,0 0 1 0 0,1 0 0 0 0,-1 0-1 0 0,1-1 1 0 0,0 0 0 0 0,0 1-1 0 0,1-1 1 0 0,-1 0 0 0 0,1 0 0 0 0,0-1-1 0 0,0 1 1 0 0,5 2 0 0 0,7 5-382 0 0,0-1 0 0 0,1-1 0 0 0,-1 0 0 0 0,2-2 0 0 0,-1 0 0 0 0,33 8 1 0 0,-22-8-541 0 0,1-2 1 0 0,0-1-1 0 0,50 0 1 0 0,-37-4-474 0 0</inkml:trace>
</inkml:ink>
</file>

<file path=ppt/ink/ink5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3T14:33:30.860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215 3308 0 0,'201'-44'7120'0'0,"-197"43"-6752"0"0,0 2-2 0 0,1 1-203 0 0,-1-1 1 0 0,0 1-1 0 0,0 0 1 0 0,1 0-1 0 0,-1 0 1 0 0,-1 1 0 0 0,1-1-1 0 0,0 1 1 0 0,3 3-1 0 0,0 0 30 0 0,0-1-1 0 0,0 0 1 0 0,0-1 0 0 0,1 0-1 0 0,0 0 1 0 0,-1-1-1 0 0,1 0 1 0 0,15 4 0 0 0,-10-3 33 0 0,3 1-103 0 0,1-2 0 0 0,-1 0-1 0 0,1 0 1 0 0,0-2-1 0 0,0 0 1 0 0,-1-1 0 0 0,1-1-1 0 0,0 0 1 0 0,0-1 0 0 0,-1-1-1 0 0,21-6 1 0 0,-32 7-108 0 0,1-1 1 0 0,0 1-1 0 0,-1-1 1 0 0,0 0-1 0 0,0 0 1 0 0,0-1-1 0 0,0 1 0 0 0,0-1 1 0 0,-1 0-1 0 0,1 0 1 0 0,-1-1-1 0 0,0 0 1 0 0,0 1-1 0 0,-1-1 1 0 0,0 0-1 0 0,5-9 1 0 0,-6 10-14 0 0,-1 0 1 0 0,1 1-1 0 0,-1-1 1 0 0,0 0-1 0 0,0 0 1 0 0,0 0-1 0 0,-1 0 1 0 0,1 0-1 0 0,-1 0 1 0 0,0 0-1 0 0,0 0 1 0 0,-1 0-1 0 0,1-1 1 0 0,-1 1-1 0 0,0 0 1 0 0,0 1-1 0 0,0-1 1 0 0,0 0-1 0 0,-1 0 1 0 0,1 0-1 0 0,-1 1 1 0 0,0-1-1 0 0,0 1 1 0 0,-1-1-1 0 0,-3-3 1 0 0,0 0 3 0 0,-1 1 1 0 0,0 0-1 0 0,-1 1 0 0 0,1 0 1 0 0,-1 0-1 0 0,0 0 1 0 0,-1 1-1 0 0,1 0 0 0 0,-1 1 1 0 0,1-1-1 0 0,-1 2 1 0 0,0-1-1 0 0,0 2 0 0 0,0-1 1 0 0,0 1-1 0 0,-1 0 1 0 0,-15 1-1 0 0,6 1-160 0 0,0 0 0 0 0,0 2 1 0 0,0 0-1 0 0,0 1 0 0 0,1 1 0 0 0,-1 0 0 0 0,-28 14 0 0 0,28-9-615 0 0,0 0-1 0 0,-24 18 1 0 0,37-25 166 0 0,1 1 1 0 0,0 0-1 0 0,0 1 1 0 0,0-1-1 0 0,1 1 0 0 0,-1 0 1 0 0,1 0-1 0 0,0 0 1 0 0,1 1-1 0 0,-1 0 0 0 0,-3 9 1 0 0</inkml:trace>
</inkml:ink>
</file>

<file path=ppt/ink/ink5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3T14:33:31.196"/>
    </inkml:context>
    <inkml:brush xml:id="br0">
      <inkml:brushProperty name="width" value="0.2" units="cm"/>
      <inkml:brushProperty name="height" value="0.2" units="cm"/>
    </inkml:brush>
  </inkml:definitions>
  <inkml:trace contextRef="#ctx0" brushRef="#br0">991 0 80 0 0,'2'1'2404'0'0,"0"1"-1992"0"0,-1-1-206 0 0,0 0 0 0 0,-1 0 1 0 0,1 0-1 0 0,0 0 0 0 0,0 0 0 0 0,-1 1 0 0 0,1-1 0 0 0,-1 0 0 0 0,1 0 0 0 0,-1 1 0 0 0,0-1 0 0 0,1 0 0 0 0,-1 0 0 0 0,0 1 0 0 0,0-1 0 0 0,0 0 0 0 0,0 1 0 0 0,0-1 0 0 0,0 0 0 0 0,0 1 1 0 0,0-1-1 0 0,0 0 0 0 0,-1 1 0 0 0,1-1 0 0 0,-1 0 0 0 0,0 2 0 0 0,-2 7 319 0 0,-1-1 0 0 0,1 0 0 0 0,-6 9 0 0 0,-19 30 1743 0 0,-61 80 1 0 0,-50 38 48 0 0,95-114-1737 0 0,-22 25-149 0 0,-220 264 1744 0 0,28 22-4111 0 0,188-244-5212 0 0</inkml:trace>
</inkml:ink>
</file>

<file path=ppt/ink/ink5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3T14:33:31.537"/>
    </inkml:context>
    <inkml:brush xml:id="br0">
      <inkml:brushProperty name="width" value="0.2" units="cm"/>
      <inkml:brushProperty name="height" value="0.2" units="cm"/>
    </inkml:brush>
  </inkml:definitions>
  <inkml:trace contextRef="#ctx0" brushRef="#br0">2688 1 36 0 0,'-50'22'2099'0'0,"1"2"0"0"0,-73 48 0 0 0,56-31-1309 0 0,-222 131 1664 0 0,-531 311 2034 0 0,-311 139-411 0 0,1076-594-4017 0 0,-56 30-4477 0 0</inkml:trace>
</inkml:ink>
</file>

<file path=ppt/ink/ink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5:37.11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18 48 10771,'-17'-21'629,"-2"3"-359,6 13 0,-3 3-90,-1 0 0,-3 3-270,-4 0 180,3 1 0,0 1-90,6-1 90,-1 0-90,0 0 90,-1 1 0,0 0-90,1 0 90,-1 1-90,2-1 0,-1 1 0,1 0 90,0 0-90,2 1-90,-1 0 180,1 1-90,1 1 0,-1-1 0,1 1 0,1 1 0,-1 0 0,-6 6 0,4-2 0,-4 4 0,5-4 0,0 0 0,0 1 0,-1 0 0,1 1 90,0 0-90,1 0 0,-7 7 0,5-4 0,-4 4 90,6-5-90,0 0 90,0 0-1,0 1 1,1 1 0,0-1-90,0 0 90,0 1 0,0 0 0,-3 8-90,3-6 90,-3 6-90,5-7 0,0 0 0,0 1 90,0 0-90,2 1 0,-1 0 90,1 0-90,1 1 90,0-1-90,0 1 0,-2 10 90,3-7-90,-2 8 0,3-11 180,1 0-180,-1 1 180,0 0-180,0 1 90,1-1 0,0 1 0,0 1-90,0 0 90,0 0-1,1 0 1,-1 0 0,1 13-90,0-10 90,1 10-90,1-11 90,0 0-90,1 1 0,0-1 90,1 0 0,0 1-90,1 1 90,1-1 0,0 3-3392,1-2 3392,0 1-51,3 11 51,-1-10-90,3 9 0,-3-13 0,1 0 90,0 0-90,1-1 0,0 0 90,0 0 0,1-1 0,1-1 0,0 1 90,7 9-90,-3-7 3367,5 7-3367,-5-12-15,2 1 15,-1-1 0,2 0 0,1-2-90,0 1 90,2-2-90,0 1 90,1-2 0,1-1 0,2 1 0,12 4 0,-7-4-90,8 2 90,-11-7 0,1-1-90,0-1 90,0-1 0,1-1 0,0 0-90,0-2 90,0 1-90,1-2 90,13 2-1,-10-3-89,11 2 90,-13-5 0,-2 1 0,1-2 0,-2 0 0,0-1 0,2-1 0,0-1 0,1 0 0,1-1 0,-1-1 0,0 0 90,14-5-90,-10 2 0,9-4 0,-13 2 90,-1 0-1,0 0-89,-1-1 0,0-1 0,1-2 0,0 0 0,1-2 0,-3 0 90,1-2-90,-4 2 90,12-12-90,-11 7 0,9-9 0,-14 9 0,-1-2 0,-1 0-90,1-2 180,-3 1-180,1-3 0,-2 2 89,-1 0-89,-1-1 90,4-12-180,-5 9 180,3-10 0,-6 11-90,2-13 0,-3 9 90,1-9-180,-4 11 180,-1 0-180,0 0 180,-1 0-90,-1 0 0,0 1 0,0 0 0,-1 1 0,0 0 0,-1 0 0,-1 0 0,0 1 0,0-1-90,-2-11 180,0 9-180,0-9 180,-1 12-180,-1-1 90,-5-21 0,3 14-90,-5-14 90,4 21 0,1 0 0,-2 1 0,1 1 0,0 1-90,-1-1 90,-4-10 90,2 7-90,-3-8 0,2 12 0,0 0 0,-1 0 0,0 1 0,-1 0 0,0 1 0,-1-1 0,-1 2 0,0 0 0,-1 1 0,-1 0 0,0 1 90,-2 0-90,0 0 0,-3 0 90,-12-8 0,6 5-90,-9-7 0,9 9 90,-1 0-90,1 0 0,-1 0 0,0 0 0,-13-8 0,11 6 0,-10-6 0,15 10 0,0 2 0,1 1-90,1 1-90,0 1 0,0 1-89,0 1-1,2 2-90,0 1 0,1 3-629,-9 0 359,7 4-89,-8 1-91,10 4-989,-3 3 630,-12 8-450,6 1-630,-8 6-1079,9-2 3328,0 2 0,-2 1 0,0 1 0</inkml:trace>
</inkml:ink>
</file>

<file path=ppt/ink/ink5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3T14:33:32.531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50 292 940 0 0,'-150'92'11018'0'0,"152"-92"-10977"0"0,0 0-1 0 0,0 0 1 0 0,0-1 0 0 0,-1 1 0 0 0,1-1 0 0 0,0 0-1 0 0,-1 1 1 0 0,1-1 0 0 0,0 0 0 0 0,-1 0 0 0 0,3-1-1 0 0,3-3 43 0 0,10-3-41 0 0,345-170 873 0 0,12 33-3501 0 0,-374 144 2573 0 0,39-10-2682 0 0,64-13 0 0 0,-73 21-399 0 0</inkml:trace>
</inkml:ink>
</file>

<file path=ppt/ink/ink5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3T14:33:32.921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89 202 1660 0 0,'-33'36'1298'0'0,"-6"5"422"0"0,1 3 0 0 0,-32 48-1 0 0,62-74-794 0 0,8-18-905 0 0,0 1-1 0 0,0-1 1 0 0,0 0-1 0 0,0 1 1 0 0,1-1-1 0 0,-1 0 1 0 0,0 0 0 0 0,0 1-1 0 0,0-1 1 0 0,1 0-1 0 0,-1 0 1 0 0,0 1-1 0 0,0-1 1 0 0,0 0-1 0 0,1 0 1 0 0,-1 1-1 0 0,0-1 1 0 0,1 0 0 0 0,-1 0-1 0 0,0 0 1 0 0,0 0-1 0 0,1 0 1 0 0,-1 0-1 0 0,0 1 1 0 0,1-1-1 0 0,-1 0 1 0 0,0 0 0 0 0,1 0-1 0 0,6 1 96 0 0,3-1 127 0 0,18-7-144 0 0,0 0 0 0 0,0-2 1 0 0,33-16-1 0 0,87-47-551 0 0,-78 36-18 0 0,6-1-916 0 0,-3-3 1 0 0,-1-4-1 0 0,91-72 1 0 0,-112 70-99 0 0</inkml:trace>
</inkml:ink>
</file>

<file path=ppt/ink/ink5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3T14:33:33.303"/>
    </inkml:context>
    <inkml:brush xml:id="br0">
      <inkml:brushProperty name="width" value="0.2" units="cm"/>
      <inkml:brushProperty name="height" value="0.2" units="cm"/>
    </inkml:brush>
  </inkml:definitions>
  <inkml:trace contextRef="#ctx0" brushRef="#br0">85 266 880 0 0,'-9'-57'1931'0'0,"0"-1"1775"0"0,-23-80-1 0 0,32 137-3659 0 0,0 1-1 0 0,0-1 1 0 0,0 0-1 0 0,0 1 1 0 0,-1-1 0 0 0,1 0-1 0 0,0 1 1 0 0,0-1-1 0 0,-1 0 1 0 0,1 1-1 0 0,-1-1 1 0 0,1 1-1 0 0,0-1 1 0 0,-1 1-1 0 0,1-1 1 0 0,-1 1-1 0 0,1-1 1 0 0,-1 1 0 0 0,-1-1-1 0 0,2 1-13 0 0,0 0-1 0 0,-1 0 1 0 0,1 0-1 0 0,0 0 1 0 0,-1 0-1 0 0,1 0 1 0 0,-1 0-1 0 0,1 1 1 0 0,0-1-1 0 0,-1 0 1 0 0,1 0-1 0 0,0 0 1 0 0,-1 0-1 0 0,1 1 1 0 0,0-1-1 0 0,-1 0 1 0 0,1 0-1 0 0,0 1 1 0 0,0-1-1 0 0,-1 0 1 0 0,1 0-1 0 0,0 1 1 0 0,-1 0-1 0 0,-10 22 747 0 0,9-12-638 0 0,0-1-1 0 0,0 1 1 0 0,1 0 0 0 0,1 0-1 0 0,0 0 1 0 0,0-1-1 0 0,1 1 1 0 0,0 0-1 0 0,1 0 1 0 0,0-1 0 0 0,1 1-1 0 0,0-1 1 0 0,1 0-1 0 0,0 0 1 0 0,0 0 0 0 0,9 14-1 0 0,-4-9-53 0 0,1 0 0 0 0,1-1 1 0 0,0 0-1 0 0,1-1 0 0 0,1 0 0 0 0,0-1 0 0 0,1 0 0 0 0,0-1 0 0 0,17 10 0 0 0,9 3 52 0 0,1-2 0 0 0,0-2-1 0 0,54 17 1 0 0,-64-27-69 0 0,0-1-1 0 0,0-2 1 0 0,1-1-1 0 0,0-1 0 0 0,47-1 1 0 0,-68-4-48 0 0,0 0-1 0 0,0-1 1 0 0,0-1 0 0 0,0 0-1 0 0,0 0 1 0 0,0-1 0 0 0,0 0 0 0 0,-1-1-1 0 0,0-1 1 0 0,0 1 0 0 0,12-9-1 0 0,-14 8-15 0 0,-1 0 0 0 0,0-1-1 0 0,-1 1 1 0 0,1-2 0 0 0,-1 1-1 0 0,-1-1 1 0 0,1 0 0 0 0,-1 0-1 0 0,0-1 1 0 0,-1 1-1 0 0,1-1 1 0 0,-1 0 0 0 0,-1 0-1 0 0,4-14 1 0 0,6-29 94 0 0,3-14 477 0 0,-16 65-567 0 0,1-1 1 0 0,-1 1-1 0 0,0-1 0 0 0,0 1 0 0 0,1-1 0 0 0,-1 1 0 0 0,0 0 0 0 0,0-1 0 0 0,0 1 0 0 0,0-1 1 0 0,0 1-1 0 0,0-1 0 0 0,0 1 0 0 0,0-1 0 0 0,0 1 0 0 0,0-1 0 0 0,0 1 0 0 0,0-1 0 0 0,0 1 1 0 0,0-1-1 0 0,-1 1 0 0 0,1 0 0 0 0,0-2 0 0 0,-1 3-2 0 0,1 0-1 0 0,-1-1 1 0 0,1 1-1 0 0,-1-1 1 0 0,1 1-1 0 0,-1 0 1 0 0,1-1-1 0 0,0 1 1 0 0,-1 0-1 0 0,1-1 1 0 0,0 1-1 0 0,0 0 1 0 0,-1-1-1 0 0,1 1 1 0 0,0 0 0 0 0,0 0-1 0 0,0 0 1 0 0,0-1-1 0 0,0 2 1 0 0,-4 36-18 0 0,1 1 1 0 0,2-1 0 0 0,2 1-1 0 0,2-1 1 0 0,14 76 0 0 0,4-26-2337 0 0,45 124 0 0 0,-50-169-1449 0 0,39 71 0 0 0,-38-85 342 0 0</inkml:trace>
</inkml:ink>
</file>

<file path=ppt/ink/ink5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3T14:33:33.632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329 1648 0 0,'7'-11'466'0'0,"6"-10"870"0"0,29-35-1 0 0,-38 51-1168 0 0,1 0 0 0 0,0 1 0 0 0,0-1 0 0 0,0 1 0 0 0,0 0 0 0 0,1 1 0 0 0,-1-1 0 0 0,1 1 0 0 0,0 0 0 0 0,0 0 0 0 0,10-2 0 0 0,-12 4-105 0 0,0 0 1 0 0,0 0-1 0 0,0 1 1 0 0,0 0-1 0 0,0 0 1 0 0,0 0-1 0 0,-1 0 1 0 0,1 0 0 0 0,0 1-1 0 0,0 0 1 0 0,0 0-1 0 0,0 0 1 0 0,-1 0-1 0 0,1 0 1 0 0,0 1-1 0 0,-1 0 1 0 0,0 0 0 0 0,1 0-1 0 0,-1 0 1 0 0,0 0-1 0 0,0 1 1 0 0,0-1-1 0 0,0 1 1 0 0,0 0-1 0 0,-1 0 1 0 0,1 0-1 0 0,-1 0 1 0 0,0 0 0 0 0,2 4-1 0 0,3 5 104 0 0,-1 0 0 0 0,-1 0 0 0 0,0 0 0 0 0,0 1 0 0 0,-2 0 0 0 0,5 25 0 0 0,-4 0 374 0 0,-2 70-1 0 0,-2-69 2 0 0,0-35-416 0 0,3 29 628 0 0,-3-32-729 0 0,0 0 0 0 0,0 0 1 0 0,0 0-1 0 0,1 0 0 0 0,-1 0 1 0 0,0 0-1 0 0,1 0 0 0 0,-1-1 1 0 0,1 1-1 0 0,-1 0 0 0 0,1 0 0 0 0,0 0 1 0 0,-1 0-1 0 0,1-1 0 0 0,0 1 1 0 0,0 0-1 0 0,-1-1 0 0 0,1 1 0 0 0,0 0 1 0 0,0-1-1 0 0,0 1 0 0 0,0-1 1 0 0,0 1-1 0 0,0-1 0 0 0,0 0 1 0 0,0 1-1 0 0,1-1 0 0 0,9 0 33 0 0,0 0 0 0 0,-1-1-1 0 0,1-1 1 0 0,-1 1 0 0 0,0-2-1 0 0,1 0 1 0 0,-1 0 0 0 0,0 0-1 0 0,17-10 1 0 0,87-53 105 0 0,-113 66-161 0 0,21-15-150 0 0,-1-1 0 0 0,0-1 1 0 0,-1-1-1 0 0,-1 0 1 0 0,0-2-1 0 0,-2 0 0 0 0,29-42 1 0 0,-34 41 138 0 0,0 1 1 0 0,-1-2 0 0 0,-1 0-1 0 0,-1 0 1 0 0,0-1 0 0 0,-2 1-1 0 0,-1-2 1 0 0,6-47 0 0 0,-9 9 520 0 0,-3 60-445 0 0,-20 10 40 0 0,19-8-100 0 0,0 1-1 0 0,0-1 0 0 0,0 1 1 0 0,1-1-1 0 0,-1 1 0 0 0,0 0 1 0 0,0-1-1 0 0,0 1 1 0 0,0 0-1 0 0,1-1 0 0 0,-1 1 1 0 0,0 0-1 0 0,1 0 1 0 0,-1 0-1 0 0,1 0 0 0 0,-1 0 1 0 0,1 0-1 0 0,-1 0 0 0 0,1 1 1 0 0,-2 2 13 0 0,-27 39 128 0 0,2 2-1 0 0,-28 62 1 0 0,-31 101-22 0 0,57-133-144 0 0,-62 169-2356 0 0,47-79-4250 0 0,39-140 4211 0 0</inkml:trace>
</inkml:ink>
</file>

<file path=ppt/ink/ink5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3T14:33:33.948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1 1368 0 0,'6'11'3527'0'0,"3"11"-2612"0"0,-1-1 1 0 0,-1 1-1 0 0,-1 1 0 0 0,-1-1 0 0 0,4 41 0 0 0,-5-34-524 0 0,1 15 295 0 0,-3 1 1 0 0,-2 0-1 0 0,-2 0 1 0 0,-10 66-1 0 0,9-77 865 0 0,8-34-1518 0 0,20-8-464 0 0,28-12 0 0 0,-50 19 347 0 0,7-2-744 0 0,1 0 0 0 0,0 1 1 0 0,-1 0-1 0 0,1 1 0 0 0,0 0 0 0 0,0 0 1 0 0,13 2-1 0 0,-14 0-1108 0 0</inkml:trace>
</inkml:ink>
</file>

<file path=ppt/ink/ink5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3:41.584"/>
    </inkml:context>
    <inkml:brush xml:id="br0">
      <inkml:brushProperty name="width" value="0.2" units="cm"/>
      <inkml:brushProperty name="height" value="0.2" units="cm"/>
    </inkml:brush>
  </inkml:definitions>
  <inkml:trace contextRef="#ctx0" brushRef="#br0">7 8 240 0 0,'0'0'568'0'0,"-6"-8"-676"0"0</inkml:trace>
</inkml:ink>
</file>

<file path=ppt/ink/ink5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3:42.173"/>
    </inkml:context>
    <inkml:brush xml:id="br0">
      <inkml:brushProperty name="width" value="0.2" units="cm"/>
      <inkml:brushProperty name="height" value="0.2" units="cm"/>
    </inkml:brush>
  </inkml:definitions>
  <inkml:trace contextRef="#ctx0" brushRef="#br0">81 473 24 0 0,'-8'-9'1117'0'0,"-12"-30"1206"0"0,20 37-1939 0 0,0-1-23 0 0,0-7-56 0 0,0 7 99 0 0,-3-11 1047 0 0,1-10 847 0 0,2 10-693 0 0,-1-3 268 0 0,3 27-1827 0 0,10 128 1574 0 0,-9-76-1016 0 0,13 65 0 0 0,32 170 190 0 0,-35-204-536 0 0,-13-91-228 0 0,0-1-39 0 0,0-1 0 0 0,1 0 1 0 0,-1 0-1 0 0,0 0 0 0 0,0 0 1 0 0,0 1-1 0 0,0-1 0 0 0,0 0 0 0 0,0 0 1 0 0,0 0-1 0 0,0 1 0 0 0,0-1 1 0 0,0 0-1 0 0,0 0 0 0 0,0 0 0 0 0,0 1 1 0 0,0-1-1 0 0,0 0 0 0 0,0 0 1 0 0,0 1-1 0 0,0-1 0 0 0,0 0 1 0 0,0 0-1 0 0,0 0 0 0 0,0 0 0 0 0,0 1 1 0 0,0-1-1 0 0,-1 0 0 0 0,1 0 1 0 0,0 0-1 0 0,0 1 0 0 0,0-1 0 0 0,0 0 1 0 0,0 0-1 0 0,-1 0 0 0 0,1 0 1 0 0,0 0-1 0 0,0 0 0 0 0,0 1 1 0 0,0-1-1 0 0,-1 0 0 0 0,-7-7-179 0 0,-6-16-114 0 0,-8-27 72 0 0,2-1-1 0 0,3 0 1 0 0,1-2-1 0 0,3 0 0 0 0,3 0 1 0 0,-7-99-1 0 0,16 123 238 0 0,1 1 0 0 0,2 0 0 0 0,1-1-1 0 0,1 1 1 0 0,1 1 0 0 0,2-1 0 0 0,1 1-1 0 0,1 0 1 0 0,1 0 0 0 0,15-28 0 0 0,-15 37-1 0 0,0 1 0 0 0,1 0 0 0 0,1 0 0 0 0,0 1 0 0 0,1 1 0 0 0,1 0 0 0 0,1 1 0 0 0,0 0 0 0 0,0 2 0 0 0,2-1 0 0 0,-1 2 0 0 0,1 0 0 0 0,1 1 0 0 0,0 1 0 0 0,21-7 0 0 0,-21 10-16 0 0,0 1-1 0 0,1 1 1 0 0,-1 0-1 0 0,1 2 1 0 0,0 0 0 0 0,0 1-1 0 0,0 1 1 0 0,37 5-1 0 0,-40-3 10 0 0,1 1 0 0 0,-1 1-1 0 0,0 1 1 0 0,0 0-1 0 0,0 1 1 0 0,-1 1-1 0 0,0 0 1 0 0,0 1-1 0 0,0 0 1 0 0,17 15 0 0 0,-25-18 0 0 0,-2 1 1 0 0,1-1 0 0 0,-1 1-1 0 0,1 0 1 0 0,-1 0 0 0 0,-1 1 0 0 0,0-1-1 0 0,1 1 1 0 0,-2 0 0 0 0,1 0-1 0 0,-1 0 1 0 0,0 1 0 0 0,3 14-1 0 0,-5-16 8 0 0,0 1-1 0 0,-1-1 0 0 0,0 1 0 0 0,0-1 0 0 0,0 1 1 0 0,-1-1-1 0 0,0 1 0 0 0,0-1 0 0 0,0 0 0 0 0,-1 1 1 0 0,0-1-1 0 0,-1 0 0 0 0,1 0 0 0 0,-1 0 0 0 0,0-1 1 0 0,-1 1-1 0 0,-4 6 0 0 0,-3 2 26 0 0,-1-2 0 0 0,0 1 1 0 0,-1-2-1 0 0,0 0 0 0 0,0 0 0 0 0,-1-1 0 0 0,-1-1 1 0 0,0 0-1 0 0,0-1 0 0 0,-1-1 0 0 0,1 0 0 0 0,-18 4 1 0 0,0-1 3 0 0,1-2 1 0 0,-1-2 0 0 0,-1 0 0 0 0,1-3 0 0 0,-42 0-1 0 0,-11-10-1477 0 0,53 3-881 0 0</inkml:trace>
</inkml:ink>
</file>

<file path=ppt/ink/ink5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3:42.536"/>
    </inkml:context>
    <inkml:brush xml:id="br0">
      <inkml:brushProperty name="width" value="0.2" units="cm"/>
      <inkml:brushProperty name="height" value="0.2" units="cm"/>
    </inkml:brush>
  </inkml:definitions>
  <inkml:trace contextRef="#ctx0" brushRef="#br0">404 11 848 0 0,'-4'-10'4142'0'0,"3"9"-3982"0"0,-9 5 414 0 0,-1 0 0 0 0,1 0 1 0 0,0 1-1 0 0,0 0 0 0 0,1 1 1 0 0,-10 7-1 0 0,-53 46 751 0 0,44-34-867 0 0,2 1 1 0 0,0 1-1 0 0,2 1 0 0 0,-39 59 0 0 0,51-67-317 0 0,2 0-1 0 0,-1 0 1 0 0,2 1 0 0 0,1 0-1 0 0,1 1 1 0 0,0 0-1 0 0,2 0 1 0 0,1 0-1 0 0,-3 30 1 0 0,7-32-183 0 0,1 0 0 0 0,0 0 1 0 0,2-1-1 0 0,0 1 0 0 0,1-1 0 0 0,1 1 0 0 0,1-1 1 0 0,1-1-1 0 0,14 30 0 0 0,-11-29-632 0 0,0-1 1 0 0,1 0-1 0 0,1-1 1 0 0,1 0-1 0 0,0-1 0 0 0,1 0 1 0 0,1-1-1 0 0,32 25 0 0 0,-22-24-1727 0 0,-1-4-505 0 0</inkml:trace>
</inkml:ink>
</file>

<file path=ppt/ink/ink5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3:43.063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36 165 288 0 0,'28'-33'5633'0'0,"-17"76"-2775"0"0,4 216 1158 0 0,-2-62-2696 0 0,-11-165-1158 0 0,-1-3 60 0 0,0 0 0 0 0,-2 1 0 0 0,-4 28 0 0 0,5-57-212 0 0,0-1 0 0 0,0 1 0 0 0,0 0 1 0 0,0-1-1 0 0,0 1 0 0 0,0-1 0 0 0,0 1 1 0 0,0-1-1 0 0,0 1 0 0 0,0-1 0 0 0,0 1 1 0 0,-1-1-1 0 0,1 1 0 0 0,0-1 0 0 0,0 0 0 0 0,-1 1 1 0 0,1-1-1 0 0,0 1 0 0 0,0-1 0 0 0,-1 1 1 0 0,1-1-1 0 0,0 0 0 0 0,-1 1 0 0 0,1-1 1 0 0,-1 0-1 0 0,1 1 0 0 0,0-1 0 0 0,-1 0 1 0 0,1 0-1 0 0,-1 1 0 0 0,1-1 0 0 0,-1 0 0 0 0,1 0 1 0 0,-1 0-1 0 0,1 0 0 0 0,-1 0 0 0 0,1 0 1 0 0,-1 1-1 0 0,1-1 0 0 0,-1 0 0 0 0,1 0 1 0 0,-1-1-1 0 0,1 1 0 0 0,-1 0 0 0 0,1 0 1 0 0,-1 0-1 0 0,1 0 0 0 0,-1 0 0 0 0,1 0 0 0 0,-2-1 1 0 0,1 0-1 0 0,-1 0 0 0 0,1 0 0 0 0,-1-1 0 0 0,1 1 0 0 0,0 0 0 0 0,-1-1 0 0 0,1 1 0 0 0,0 0 0 0 0,0-1 0 0 0,0 0 0 0 0,0 1 0 0 0,-1-4 0 0 0,-6-18 6 0 0,2 0-1 0 0,1 0 0 0 0,0-1 0 0 0,-1-37 0 0 0,6-99-145 0 0,2 117 82 0 0,2 1-1 0 0,2 0 0 0 0,2 0 0 0 0,1 1 0 0 0,2 0 0 0 0,2 0 1 0 0,26-54-1 0 0,-32 82 23 0 0,0 0-1 0 0,13-17 1 0 0,-16 26 11 0 0,-1-1-1 0 0,1 1 0 0 0,0 0 0 0 0,0 0 1 0 0,1 1-1 0 0,-1-1 0 0 0,1 1 0 0 0,8-5 1 0 0,-11 7 12 0 0,-1 0 1 0 0,0 1 0 0 0,0-1 0 0 0,0 1-1 0 0,1 0 1 0 0,-1-1 0 0 0,0 1-1 0 0,1 0 1 0 0,-1-1 0 0 0,0 1-1 0 0,0 0 1 0 0,1 0 0 0 0,-1 0-1 0 0,0 0 1 0 0,1 1 0 0 0,-1-1 0 0 0,0 0-1 0 0,1 0 1 0 0,-1 1 0 0 0,0-1-1 0 0,0 1 1 0 0,0-1 0 0 0,1 1-1 0 0,0 0 1 0 0,0 1 2 0 0,-1-1 0 0 0,0 1 0 0 0,1 0 0 0 0,-1-1 0 0 0,0 1 0 0 0,0 0 0 0 0,0 0 0 0 0,0 0 0 0 0,0 0 0 0 0,0 0 0 0 0,0 0 0 0 0,-1 0 0 0 0,1 3 0 0 0,1 5 4 0 0,-1 0 0 0 0,0 0 0 0 0,-1 1-1 0 0,-2 17 1 0 0,-16 125 109 0 0,17-142-116 0 0,0 1-1 0 0,1-1 0 0 0,0 1 0 0 0,1 0 0 0 0,0-1 1 0 0,1 1-1 0 0,0-1 0 0 0,5 13 0 0 0,5 9-139 0 0,21 42 0 0 0,-21-49 63 0 0,0 1 1 0 0,12 43-1 0 0,-22-65 78 0 0,-1 0 0 0 0,-1 0 0 0 0,1 0 0 0 0,-1-1 0 0 0,0 1 0 0 0,0 0 0 0 0,0 0 1 0 0,-1 0-1 0 0,1 0 0 0 0,-1 0 0 0 0,0 0 0 0 0,-1 0 0 0 0,1-1 0 0 0,-5 9 0 0 0,2-7 4 0 0,0 1 0 0 0,0-1 0 0 0,0 0 1 0 0,-1 0-1 0 0,0-1 0 0 0,0 0 0 0 0,-1 0 0 0 0,-12 9 0 0 0,0-3 7 0 0,-1 0 0 0 0,0-1-1 0 0,-1-1 1 0 0,0-1 0 0 0,-38 10 0 0 0,24-9-656 0 0,-1-1 1 0 0,1-1 0 0 0,-55 2-1 0 0,87-9 234 0 0,0 0-1 0 0,-1 0 1 0 0,1 0 0 0 0,0 0-1 0 0,0-1 1 0 0,0 1 0 0 0,0-1 0 0 0,0 1-1 0 0,0-1 1 0 0,0 0 0 0 0,0 0-1 0 0,0 0 1 0 0,-6-4-827 0 0</inkml:trace>
</inkml:ink>
</file>

<file path=ppt/ink/ink5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3:43.402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76 1896 0 0,'15'-11'909'0'0,"-4"1"-114"0"0,1 1 0 0 0,1 1 0 0 0,-1-1-1 0 0,1 2 1 0 0,21-9 0 0 0,-30 14-673 0 0,0 1 1 0 0,0 0-1 0 0,-1 1 0 0 0,1-1 1 0 0,0 0-1 0 0,0 1 0 0 0,0 0 0 0 0,0 0 1 0 0,0 0-1 0 0,0 1 0 0 0,0-1 0 0 0,0 1 1 0 0,-1 0-1 0 0,1 0 0 0 0,0 0 1 0 0,0 1-1 0 0,-1-1 0 0 0,1 1 0 0 0,-1 0 1 0 0,1 0-1 0 0,-1 0 0 0 0,0 0 1 0 0,0 1-1 0 0,0-1 0 0 0,0 1 0 0 0,4 4 1 0 0,1 3 138 0 0,1 1 0 0 0,-2 0 1 0 0,1 0-1 0 0,-1 1 0 0 0,9 24 1 0 0,21 67 846 0 0,-33-91-991 0 0,3 18 24 0 0,0 0 1 0 0,-2 1-1 0 0,-1-1 0 0 0,-2 1 0 0 0,-1 0 0 0 0,-1 0 1 0 0,-1 0-1 0 0,-2 0 0 0 0,-2 0 0 0 0,0-1 0 0 0,-2 0 1 0 0,-1 0-1 0 0,-2 0 0 0 0,-1-1 0 0 0,-1-1 0 0 0,-1 0 1 0 0,-20 30-1 0 0,21-39-422 0 0,-1-1 0 0 0,-28 31 0 0 0,34-42-252 0 0,-1-1 1 0 0,1 1-1 0 0,-1-1 1 0 0,0-1 0 0 0,0 1-1 0 0,-1-1 1 0 0,1-1-1 0 0,-15 6 1 0 0,21-9 273 0 0,1-1 0 0 0,-1 0 1 0 0,0 1-1 0 0,0-1 0 0 0,1 0 1 0 0,-1 0-1 0 0,0 0 0 0 0,0 0 1 0 0,0 0-1 0 0,1 0 1 0 0,-1 0-1 0 0,0-1 0 0 0,0 1 1 0 0,-2-1-1 0 0,-1-1-568 0 0,-14-5-2638 0 0</inkml:trace>
</inkml:ink>
</file>

<file path=ppt/ink/ink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5:38.13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 1 12750,'-1'37'1439,"0"-4"-1079,1-14-1,1 1 1,1 1 0,0 2-180,0-1 90,0 1 0,0 0-90,0-1-90,1 0 89,-2-1 1,2-2 0,-2-1 90,1-1 0,-1 5 270,0-2 269,0 4-269,-2-4-450,-4-13-90,0-11-90,-2-10 90,3-8-90,1 1 90,1-3 0,1-1 0,1-2-90,1 0 180,0 0-90,2 1 90,0 1-90,0 2 90,0 1-90,1 2 0,0 1 0,0 3 0,0 2 0,3 0 90,2 3 180,3 5-270,4 9 90,-3 4-1,1 5-89,-4-1 90,1 3-90,0 1 90,-1 2-180,0 0 0,1 1-89,-2 1-181,-1 1 0,0 0-180,-1 1-89,0-1-91,-2 1-1619,2 7-539,-3-8 2878,0 5 0,-3-17 0,0-1 0</inkml:trace>
</inkml:ink>
</file>

<file path=ppt/ink/ink5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3:43.765"/>
    </inkml:context>
    <inkml:brush xml:id="br0">
      <inkml:brushProperty name="width" value="0.2" units="cm"/>
      <inkml:brushProperty name="height" value="0.2" units="cm"/>
    </inkml:brush>
  </inkml:definitions>
  <inkml:trace contextRef="#ctx0" brushRef="#br0">45 0 2344 0 0,'-35'28'19365'0'0,"28"-28"-20635"0"0,4-1 1493 0 0</inkml:trace>
</inkml:ink>
</file>

<file path=ppt/ink/ink5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3:45.949"/>
    </inkml:context>
    <inkml:brush xml:id="br0">
      <inkml:brushProperty name="width" value="0.2" units="cm"/>
      <inkml:brushProperty name="height" value="0.2" units="cm"/>
    </inkml:brush>
  </inkml:definitions>
  <inkml:trace contextRef="#ctx0" brushRef="#br0">59 31 5384 0 0,'-20'-9'-656'0'0,"-1"-3"-840"0"0,3 2 668 0 0</inkml:trace>
</inkml:ink>
</file>

<file path=ppt/ink/ink5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3:47.480"/>
    </inkml:context>
    <inkml:brush xml:id="br0">
      <inkml:brushProperty name="width" value="0.2" units="cm"/>
      <inkml:brushProperty name="height" value="0.2" units="cm"/>
    </inkml:brush>
  </inkml:definitions>
  <inkml:trace contextRef="#ctx0" brushRef="#br0">32 480 1684 0 0,'11'-7'3435'0'0,"-8"7"-3190"0"0,-1 1-118 0 0,0 0 0 0 0,0 0 0 0 0,0 0 0 0 0,0 0 0 0 0,0 1 0 0 0,0-1 0 0 0,0 1 0 0 0,-1 0 0 0 0,1-1 0 0 0,0 1 0 0 0,-1 0 0 0 0,1 0 0 0 0,-1 0 1 0 0,0 0-1 0 0,0 0 0 0 0,0 0 0 0 0,0 0 0 0 0,0 1 0 0 0,0-1 0 0 0,0 0 0 0 0,-1 1 0 0 0,1 3 0 0 0,2 12 329 0 0,0-1 1 0 0,-1 21-1 0 0,0-10 47 0 0,3 64 757 0 0,-4-1 0 0 0,-15 128 1 0 0,11-187-426 0 0,-13 58 1 0 0,7-66 570 0 0,8-22-1079 0 0,-2-3-79 0 0,1 0-221 0 0,0 0-1 0 0,0 1 1 0 0,0-1 0 0 0,0 0-1 0 0,1 0 1 0 0,-1-1-1 0 0,0 1 1 0 0,1 0 0 0 0,-1-1-1 0 0,1 1 1 0 0,0-1 0 0 0,-1 1-1 0 0,1-1 1 0 0,0 1 0 0 0,-2-4-1 0 0,1 0 0 0 0,-1 0 0 0 0,1 0-1 0 0,0-1 1 0 0,0 0 0 0 0,-1-6-1 0 0,0-9-95 0 0,0 0-1 0 0,1-22 1 0 0,3-27-206 0 0,2 1 1 0 0,4 0-1 0 0,2 1 0 0 0,4 0 1 0 0,2 0-1 0 0,37-99 1 0 0,-34 121 160 0 0,2 1 0 0 0,1 1 0 0 0,35-53 0 0 0,-42 77 76 0 0,1 0 0 0 0,0 0 1 0 0,1 2-1 0 0,1 0 0 0 0,1 0 1 0 0,1 2-1 0 0,0 0 0 0 0,29-17 1 0 0,-41 29 21 0 0,1-1 1 0 0,0 1 0 0 0,1 1-1 0 0,-1 0 1 0 0,0 0-1 0 0,1 1 1 0 0,0-1 0 0 0,-1 2-1 0 0,1-1 1 0 0,0 2 0 0 0,0-1-1 0 0,14 1 1 0 0,-17 1 10 0 0,1 1 0 0 0,0-1 0 0 0,-1 1 0 0 0,1 0-1 0 0,-1 1 1 0 0,0-1 0 0 0,0 1 0 0 0,0 0 0 0 0,0 1 0 0 0,0 0 0 0 0,0-1 0 0 0,-1 2 0 0 0,0-1 0 0 0,0 1 0 0 0,0 0 0 0 0,7 9 0 0 0,-5-4 8 0 0,-1 0 0 0 0,1 1 1 0 0,-2-1-1 0 0,1 1 0 0 0,-2 1 1 0 0,1-1-1 0 0,-2 1 0 0 0,1 0 1 0 0,-2 0-1 0 0,1 0 0 0 0,-2 0 1 0 0,0 0-1 0 0,0 0 0 0 0,-1 0 1 0 0,0 0-1 0 0,-1 1 0 0 0,-1-1 0 0 0,0 0 1 0 0,-5 17-1 0 0,3-15 22 0 0,-1 1 0 0 0,0-1 1 0 0,-1 0-1 0 0,-1-1 0 0 0,0 1 0 0 0,-1-1 0 0 0,0 0 0 0 0,-1-1 0 0 0,0 0 1 0 0,-1-1-1 0 0,-1 0 0 0 0,0 0 0 0 0,0-1 0 0 0,-1 0 0 0 0,-16 9 0 0 0,16-11 2 0 0,-1-1 0 0 0,0-1 0 0 0,-1-1-1 0 0,0 0 1 0 0,1 0 0 0 0,-2-1-1 0 0,-24 3 1 0 0,14-5-1141 0 0,0-1-1 0 0,0-1 1 0 0,1-2 0 0 0,-26-3-1 0 0,44 4 644 0 0,-15-3-3255 0 0,5-1 362 0 0</inkml:trace>
</inkml:ink>
</file>

<file path=ppt/ink/ink5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3:47.870"/>
    </inkml:context>
    <inkml:brush xml:id="br0">
      <inkml:brushProperty name="width" value="0.2" units="cm"/>
      <inkml:brushProperty name="height" value="0.2" units="cm"/>
    </inkml:brush>
  </inkml:definitions>
  <inkml:trace contextRef="#ctx0" brushRef="#br0">373 0 1080 0 0,'-4'1'2730'0'0,"-8"2"-2190"0"0,1 0-1 0 0,1 1 1 0 0,-1 0-1 0 0,0 0 1 0 0,1 2-1 0 0,0-1 1 0 0,0 1-1 0 0,1 0 1 0 0,-17 15-1 0 0,0 2 159 0 0,0 2 0 0 0,-22 28-1 0 0,31-32-406 0 0,1 1 0 0 0,1 1-1 0 0,1 0 1 0 0,1 1-1 0 0,1 0 1 0 0,1 1 0 0 0,1 1-1 0 0,1 0 1 0 0,2 0-1 0 0,-6 37 1 0 0,7-24-287 0 0,3 0 0 0 0,1 1 1 0 0,2-1-1 0 0,1 0 0 0 0,2 0 0 0 0,14 61 1 0 0,-12-75-805 0 0,16 43 1 0 0,-17-58-49 0 0,0-1 1 0 0,0 0 0 0 0,1 0 0 0 0,0-1 0 0 0,1 1 0 0 0,0-1 0 0 0,11 11 0 0 0</inkml:trace>
</inkml:ink>
</file>

<file path=ppt/ink/ink5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3:48.916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37 205 1024 0 0,'0'-26'7816'0'0,"-8"45"-6734"0"0,-8 27 52 0 0,-35 217 2072 0 0,9-37-2059 0 0,31-181-753 0 0,5-27 249 0 0,4-14-241 0 0,2-7 42 0 0,5-19-478 0 0,-1 8-94 0 0,13-50-81 0 0,13-60-283 0 0,-4-86 138 0 0,-21 187 321 0 0,0-1-1 0 0,2 1 0 0 0,0 0 1 0 0,2 1-1 0 0,0-1 0 0 0,1 2 0 0 0,2 0 1 0 0,0 0-1 0 0,28-35 0 0 0,-28 41-16 0 0,1 1 0 0 0,28-23 0 0 0,-34 32 28 0 0,1 0 0 0 0,-1 0 0 0 0,1 1 0 0 0,0 0 0 0 0,0 0 0 0 0,0 0 0 0 0,1 1-1 0 0,8-2 1 0 0,-14 5 17 0 0,1 0-1 0 0,-1 0 1 0 0,0 0-1 0 0,0 0 0 0 0,1 0 1 0 0,-1 0-1 0 0,0 1 0 0 0,0 0 1 0 0,0 0-1 0 0,0 0 0 0 0,0 0 1 0 0,0 0-1 0 0,0 0 1 0 0,0 1-1 0 0,0-1 0 0 0,0 1 1 0 0,0 0-1 0 0,4 4 0 0 0,1 1-11 0 0,-1 1 0 0 0,1 0 0 0 0,-2 0 0 0 0,9 11 0 0 0,-5-2 81 0 0,0 0 0 0 0,-1 1 0 0 0,-1 0 0 0 0,-1 0 0 0 0,6 25 0 0 0,18 98 366 0 0,-24-85-554 0 0,-1 0 0 0 0,-3 0 1 0 0,-3 0-1 0 0,-8 77 0 0 0,-2-85-1941 0 0</inkml:trace>
</inkml:ink>
</file>

<file path=ppt/ink/ink5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3:49.268"/>
    </inkml:context>
    <inkml:brush xml:id="br0">
      <inkml:brushProperty name="width" value="0.2" units="cm"/>
      <inkml:brushProperty name="height" value="0.2" units="cm"/>
    </inkml:brush>
  </inkml:definitions>
  <inkml:trace contextRef="#ctx0" brushRef="#br0">92 100 800 0 0,'-80'-46'9702'0'0,"79"46"-9643"0"0,1 0 1 0 0,-1 0 0 0 0,0 0 0 0 0,1-1 0 0 0,-1 1 0 0 0,1 0 0 0 0,-1-1 0 0 0,1 1-1 0 0,-1 0 1 0 0,1-1 0 0 0,-1 1 0 0 0,1-1 0 0 0,-1 1 0 0 0,1-1 0 0 0,-1 1-1 0 0,1-1 1 0 0,0 1 0 0 0,-1-1 0 0 0,1 1 0 0 0,0-1 0 0 0,-1 1 0 0 0,1-1-1 0 0,0 0 1 0 0,0 1 0 0 0,0-1 0 0 0,0 0 0 0 0,0 1 0 0 0,-1-1 0 0 0,1 0-1 0 0,0 1 1 0 0,0-1 0 0 0,0 1 0 0 0,1-1 0 0 0,-1 0 0 0 0,0 1 0 0 0,0-1-1 0 0,0 0 1 0 0,0 1 0 0 0,1-1 0 0 0,-1 0 0 0 0,1-1 5 0 0,0 1 1 0 0,1 0-1 0 0,-1-1 0 0 0,0 1 1 0 0,0 0-1 0 0,1 0 1 0 0,-1-1-1 0 0,1 1 0 0 0,-1 0 1 0 0,1 0-1 0 0,1 0 1 0 0,6-2-32 0 0,1 0 0 0 0,-1 1 0 0 0,1 0 0 0 0,0 1 0 0 0,0 0 0 0 0,-1 1 0 0 0,15 1 0 0 0,3-1-296 0 0,75-2-1532 0 0,34 0-4470 0 0,-101 0 2975 0 0</inkml:trace>
</inkml:ink>
</file>

<file path=ppt/ink/ink5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3:49.638"/>
    </inkml:context>
    <inkml:brush xml:id="br0">
      <inkml:brushProperty name="width" value="0.2" units="cm"/>
      <inkml:brushProperty name="height" value="0.2" units="cm"/>
    </inkml:brush>
  </inkml:definitions>
  <inkml:trace contextRef="#ctx0" brushRef="#br0">45 45 260 0 0,'18'-20'4322'0'0,"-11"14"-2882"0"0,0 1 1 0 0,12-9 692 0 0,-18 15-2026 0 0,0-1 0 0 0,-1 1 0 0 0,1-1 1 0 0,0 0-1 0 0,-1 1 0 0 0,1-1 0 0 0,-1 1 0 0 0,1 0 0 0 0,-1-1 0 0 0,1 1 0 0 0,-1-1 0 0 0,0 1 0 0 0,1 0 0 0 0,-1-1 0 0 0,0 1 1 0 0,1 0-1 0 0,-1 0 0 0 0,-12 154 3336 0 0,1-43-2765 0 0,-20 132-637 0 0,-4-85-3413 0 0,30-137 2291 0 0,-6 17-2509 0 0</inkml:trace>
</inkml:ink>
</file>

<file path=ppt/ink/ink5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3:49.987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74 307 1500 0 0,'2'-3'568'0'0,"-1"2"-379"0"0,0 1 0 0 0,0-1 0 0 0,0 0 0 0 0,0 1 1 0 0,0-1-1 0 0,0 0 0 0 0,0 1 0 0 0,0 0 0 0 0,0-1 0 0 0,0 1 1 0 0,0 0-1 0 0,1-1 0 0 0,-1 1 0 0 0,0 0 0 0 0,0 0 1 0 0,0 0-1 0 0,1 0 0 0 0,-1 0 0 0 0,0 0 0 0 0,0 0 0 0 0,0 1 1 0 0,0-1-1 0 0,0 0 0 0 0,2 1 0 0 0,-2 1-37 0 0,1-1 0 0 0,-1 1 0 0 0,0 0 0 0 0,0 0 0 0 0,0-1 0 0 0,0 1 0 0 0,0 0 0 0 0,-1 0 0 0 0,1 0 0 0 0,-1 0 0 0 0,1 0 0 0 0,-1 0 0 0 0,0 0 0 0 0,0 0 0 0 0,0 3 1 0 0,4 62 1054 0 0,-4 1 1 0 0,-2-1 0 0 0,-16 95 0 0 0,5-101 79 0 0,13-59-867 0 0,-1-2-406 0 0,0 0-1 0 0,0 0 1 0 0,1 0-1 0 0,-1-1 1 0 0,0 1 0 0 0,0 0-1 0 0,1 0 1 0 0,-1-1-1 0 0,0 1 1 0 0,1 0 0 0 0,-1-1-1 0 0,0 1 1 0 0,1-1-1 0 0,-1 1 1 0 0,1-1 0 0 0,-1 1-1 0 0,1-1 1 0 0,-1 1-1 0 0,1-1 1 0 0,-1 0-1 0 0,1 1 1 0 0,-1-1 0 0 0,1 0-1 0 0,0 1 1 0 0,-1-1-1 0 0,1 0 1 0 0,0 1 0 0 0,0-1-1 0 0,-1 0 1 0 0,1 0-1 0 0,0 0 1 0 0,-2-30 18 0 0,2 21 19 0 0,-2-39-58 0 0,4 0 0 0 0,1 0 0 0 0,2 0-1 0 0,2 1 1 0 0,3 0 0 0 0,1 0 0 0 0,20-48 0 0 0,-20 66-27 0 0,1 1 0 0 0,2 0 0 0 0,26-42 1 0 0,-35 63 17 0 0,1-1 0 0 0,1 1 0 0 0,0 0 0 0 0,0 0 0 0 0,0 1 0 0 0,1 0 0 0 0,0 1 0 0 0,0-1 0 0 0,0 1 0 0 0,1 1 0 0 0,0 0 0 0 0,0 0 0 0 0,1 1 0 0 0,15-6 0 0 0,-22 9 15 0 0,0 1-1 0 0,0-1 1 0 0,0 0 0 0 0,-1 1-1 0 0,1 0 1 0 0,0-1 0 0 0,0 1-1 0 0,0 0 1 0 0,0 1-1 0 0,0-1 1 0 0,0 0 0 0 0,0 1-1 0 0,0 0 1 0 0,-1 0 0 0 0,1 0-1 0 0,0 0 1 0 0,0 0 0 0 0,-1 0-1 0 0,1 1 1 0 0,-1-1-1 0 0,1 1 1 0 0,-1-1 0 0 0,0 1-1 0 0,1 0 1 0 0,-1 0 0 0 0,0 0-1 0 0,0 1 1 0 0,-1-1-1 0 0,1 0 1 0 0,0 1 0 0 0,-1-1-1 0 0,1 1 1 0 0,0 2 0 0 0,1 1 6 0 0,-1 0 1 0 0,0 1-1 0 0,-1-1 1 0 0,0 0-1 0 0,0 0 1 0 0,0 1-1 0 0,0-1 1 0 0,-1 0-1 0 0,0 1 1 0 0,-1-1-1 0 0,1 0 1 0 0,-1 1-1 0 0,-4 11 1 0 0,-4 6 26 0 0,-2 1 1 0 0,0-2-1 0 0,-30 44 1 0 0,27-46-34 0 0,0 1 1 0 0,2 1 0 0 0,1-1 0 0 0,-13 38-1 0 0,22-53 5 0 0,1-1 0 0 0,-1 1 0 0 0,2 0 0 0 0,-1 0 0 0 0,1-1-1 0 0,0 1 1 0 0,0 0 0 0 0,1 0 0 0 0,0-1 0 0 0,2 10-1 0 0,3 3 1 0 0,1 0 0 0 0,10 20 0 0 0,10 31-22 0 0,-25-63 11 0 0,-1 0 1 0 0,1 0 0 0 0,-1 1 0 0 0,0-1-1 0 0,-1 0 1 0 0,0 1 0 0 0,-1 13 0 0 0,0-16 13 0 0,0-1-1 0 0,-1 0 1 0 0,1 0 0 0 0,-1 0 0 0 0,0 0 0 0 0,0 0 0 0 0,0 0-1 0 0,0 0 1 0 0,-1-1 0 0 0,0 1 0 0 0,1-1 0 0 0,-1 0 0 0 0,-1 0-1 0 0,1 0 1 0 0,0 0 0 0 0,-1 0 0 0 0,1-1 0 0 0,-1 1 0 0 0,0-1-1 0 0,0 0 1 0 0,-6 2 0 0 0,-8 3 59 0 0,-1 0 1 0 0,-1-1-1 0 0,-25 3 1 0 0,33-6-49 0 0,-32 5-353 0 0,-53 3-1 0 0,3-10-3091 0 0,58-7-1721 0 0</inkml:trace>
</inkml:ink>
</file>

<file path=ppt/ink/ink5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3:50.316"/>
    </inkml:context>
    <inkml:brush xml:id="br0">
      <inkml:brushProperty name="width" value="0.2" units="cm"/>
      <inkml:brushProperty name="height" value="0.2" units="cm"/>
    </inkml:brush>
  </inkml:definitions>
  <inkml:trace contextRef="#ctx0" brushRef="#br0">458 6 1992 0 0,'10'-2'766'0'0,"0"1"1"0"0,0 0-1 0 0,0 0 0 0 0,1 1 0 0 0,-1 0 0 0 0,0 1 1 0 0,0 0-1 0 0,19 5 0 0 0,-24-5-532 0 0,-1 1 0 0 0,1 0 1 0 0,-1 0-1 0 0,0 0 0 0 0,1 1 0 0 0,-1-1 1 0 0,-1 1-1 0 0,1 0 0 0 0,0 0 0 0 0,-1 1 0 0 0,1-1 1 0 0,-1 1-1 0 0,0-1 0 0 0,0 1 0 0 0,0 0 1 0 0,-1 0-1 0 0,1 0 0 0 0,-1 1 0 0 0,0-1 0 0 0,3 10 1 0 0,0 5 159 0 0,-1 0 1 0 0,0 0-1 0 0,-2 0 1 0 0,0 1 0 0 0,-1-1-1 0 0,-1 1 1 0 0,-1-1-1 0 0,-3 21 1 0 0,-2-4-125 0 0,-1-1 0 0 0,-2 0 0 0 0,-19 48 0 0 0,14-49-258 0 0,-1-2-1 0 0,-2 0 1 0 0,-1-1-1 0 0,-1 0 1 0 0,-2-2 0 0 0,-1 0-1 0 0,-2-1 1 0 0,-45 42-1 0 0,45-50-688 0 0,-1 0 0 0 0,-1-2 0 0 0,0 0 0 0 0,-33 15 0 0 0,35-22-745 0 0,0-1 0 0 0,-1-1-1 0 0,0-1 1 0 0,0-1 0 0 0,-36 5-1 0 0,18-6-2796 0 0</inkml:trace>
</inkml:ink>
</file>

<file path=ppt/ink/ink5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4:50.273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422 1216 0 0,'46'233'6756'0'0,"52"108"-2937"0"0,-27-102-1418 0 0,-66-222-1760 0 0,-1 1-1 0 0,-1-1 1 0 0,1 22 0 0 0,-4-36-129 0 0,-4-5-336 0 0,-1-1-158 0 0,0 0 0 0 0,0 0 0 0 0,1-1 0 0 0,-1 0 0 0 0,1 0 0 0 0,0 0 0 0 0,0 0 0 0 0,0 0 0 0 0,1-1 0 0 0,-1 0 0 0 0,1 0 0 0 0,-4-9 0 0 0,-7-14-163 0 0,-10-31 1 0 0,21 52 124 0 0,-21-59-211 0 0,3-2 0 0 0,3 0 0 0 0,4-1 0 0 0,-11-116 1 0 0,21 129 123 0 0,3 0 1 0 0,3 0 0 0 0,2 0 0 0 0,2 0-1 0 0,3 1 1 0 0,21-74 0 0 0,-24 107 61 0 0,2 1-1 0 0,0 1 1 0 0,2-1-1 0 0,0 1 1 0 0,1 1-1 0 0,14-19 1 0 0,-20 31 31 0 0,1 0 1 0 0,0 0-1 0 0,0 0 1 0 0,0 1 0 0 0,1 0-1 0 0,0 0 1 0 0,1 0-1 0 0,-1 1 1 0 0,1 1-1 0 0,0-1 1 0 0,0 1 0 0 0,0 0-1 0 0,1 1 1 0 0,-1 0-1 0 0,1 0 1 0 0,0 1-1 0 0,13-2 1 0 0,-18 4 15 0 0,1-1-1 0 0,-1 1 1 0 0,1 0-1 0 0,-1 0 1 0 0,1 1-1 0 0,0-1 1 0 0,-1 1-1 0 0,1 0 1 0 0,-1 0-1 0 0,0 1 1 0 0,1-1-1 0 0,-1 1 1 0 0,0 0-1 0 0,0 0 1 0 0,0 1-1 0 0,0-1 1 0 0,0 1-1 0 0,-1-1 1 0 0,1 1-1 0 0,-1 1 1 0 0,0-1 0 0 0,4 4-1 0 0,-4-2 17 0 0,-1-1-1 0 0,1 1 1 0 0,-1 0 0 0 0,0-1-1 0 0,0 1 1 0 0,-1 0 0 0 0,1 0-1 0 0,-1 1 1 0 0,0-1 0 0 0,-1 0-1 0 0,1 0 1 0 0,-1 0-1 0 0,0 1 1 0 0,0-1 0 0 0,0 0-1 0 0,-1 0 1 0 0,0 0 0 0 0,0 0-1 0 0,-3 7 1 0 0,-2 7 106 0 0,-2 0 1 0 0,0 0-1 0 0,-1-1 0 0 0,-1 0 1 0 0,0-1-1 0 0,-1 0 0 0 0,-1-1 1 0 0,-1 0-1 0 0,-24 23 0 0 0,15-19-99 0 0,-1-1-1 0 0,0-1 1 0 0,-2 0-1 0 0,0-2 0 0 0,-53 24 1 0 0,72-37-338 0 0,-39 15-808 0 0,22-13-1531 0 0</inkml:trace>
</inkml:ink>
</file>

<file path=ppt/ink/ink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5:38.28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4 159 10861,'-14'-21'3958,"4"0"-3779,14 4 91,3 4-180,6-1-90,0 5-270,2 0-269,3 0-91,1 1-359,2 1-1350,1 0-899,3 1 3238,-1 0 0,5 0 0,1 1 0</inkml:trace>
</inkml:ink>
</file>

<file path=ppt/ink/ink5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4:50.627"/>
    </inkml:context>
    <inkml:brush xml:id="br0">
      <inkml:brushProperty name="width" value="0.2" units="cm"/>
      <inkml:brushProperty name="height" value="0.2" units="cm"/>
    </inkml:brush>
  </inkml:definitions>
  <inkml:trace contextRef="#ctx0" brushRef="#br0">46 0 1428 0 0,'3'2'3596'0'0,"-2"-1"-3408"0"0,1 1-1 0 0,-1-1 0 0 0,1 1 1 0 0,-1 0-1 0 0,0-1 0 0 0,1 1 0 0 0,-1 0 1 0 0,0 0-1 0 0,0 0 0 0 0,0 0 1 0 0,-1 0-1 0 0,1 0 0 0 0,0 0 0 0 0,-1 0 1 0 0,1 0-1 0 0,-1 0 0 0 0,0 1 1 0 0,0-1-1 0 0,0 0 0 0 0,0 0 0 0 0,0 0 1 0 0,0 0-1 0 0,-1 3 0 0 0,-1 13 773 0 0,-8 33 0 0 0,4-28-438 0 0,-11 67 1221 0 0,-11 180 1 0 0,27-237-1636 0 0,2-1 0 0 0,1 0 0 0 0,1 0-1 0 0,2 0 1 0 0,1-1 0 0 0,2 1 0 0 0,1-1 0 0 0,1-1 0 0 0,18 37 0 0 0,-21-54-210 0 0,1 0 0 0 0,0-1 0 0 0,0 0 1 0 0,18 19-1 0 0,-20-25-155 0 0,0 0 0 0 0,0-1 1 0 0,0 0-1 0 0,1 0 0 0 0,0-1 1 0 0,0 0-1 0 0,0 0 0 0 0,0 0 0 0 0,15 4 1 0 0,-17-6-137 0 0,0-1 1 0 0,0-1 0 0 0,0 1-1 0 0,0-1 1 0 0,0 1 0 0 0,0-1 0 0 0,-1-1-1 0 0,1 1 1 0 0,0-1 0 0 0,0 0-1 0 0,0 0 1 0 0,0 0 0 0 0,0-1 0 0 0,-1 1-1 0 0,1-1 1 0 0,-1 0 0 0 0,1-1-1 0 0,4-3 1 0 0,17-12-3201 0 0</inkml:trace>
</inkml:ink>
</file>

<file path=ppt/ink/ink5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4:50.957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240 1360 0 0,'2'-8'619'0'0,"8"-19"2030"0"0,-10 26-2500 0 0,0 0 0 0 0,1 0 1 0 0,-1 0-1 0 0,0 0 0 0 0,1 1 0 0 0,-1-1 1 0 0,1 0-1 0 0,-1 0 0 0 0,1 0 1 0 0,0 0-1 0 0,-1 1 0 0 0,1-1 1 0 0,0 0-1 0 0,0 1 0 0 0,-1-1 1 0 0,1 0-1 0 0,0 1 0 0 0,0-1 1 0 0,2 0-1 0 0,-2 2-17 0 0,1-1 1 0 0,0 1-1 0 0,0 0 0 0 0,0 0 1 0 0,0 0-1 0 0,0 0 0 0 0,-1 0 1 0 0,1 0-1 0 0,0 0 0 0 0,-1 1 1 0 0,1-1-1 0 0,-1 1 0 0 0,1-1 1 0 0,-1 1-1 0 0,0-1 0 0 0,0 1 1 0 0,0 0-1 0 0,0 0 0 0 0,1 2 1 0 0,19 40 1211 0 0,-19-40-1211 0 0,9 23 458 0 0,61 160 2357 0 0,-57-140-2422 0 0,2 4 75 0 0,-2 0-1 0 0,9 60 0 0 0,-23-108-553 0 0,-1 1-1 0 0,0-1 0 0 0,0 1 0 0 0,0-1 0 0 0,0 1 1 0 0,0 0-1 0 0,-2 4 0 0 0,2-7-29 0 0,0 0 0 0 0,-1 0 1 0 0,1 0-1 0 0,-1 0 0 0 0,1 0 0 0 0,-1 0 0 0 0,1 0 0 0 0,-1 0 1 0 0,1 0-1 0 0,-1-1 0 0 0,0 1 0 0 0,0 0 0 0 0,1 0 0 0 0,-1-1 1 0 0,0 1-1 0 0,0 0 0 0 0,0-1 0 0 0,0 1 0 0 0,0-1 0 0 0,0 1 1 0 0,0-1-1 0 0,0 0 0 0 0,0 1 0 0 0,0-1 0 0 0,0 0 1 0 0,-2 1-1 0 0,2-1-14 0 0,0-1 0 0 0,0 1 1 0 0,0 0-1 0 0,0 0 1 0 0,-1-1-1 0 0,1 1 0 0 0,0-1 1 0 0,0 1-1 0 0,0-1 1 0 0,0 1-1 0 0,0-1 0 0 0,0 0 1 0 0,0 1-1 0 0,0-1 1 0 0,0 0-1 0 0,0 0 0 0 0,1 0 1 0 0,-2-2-1 0 0,0 1-1 0 0,-6-7-91 0 0,1-1 0 0 0,0 0 1 0 0,1 0-1 0 0,0-1 1 0 0,1 0-1 0 0,0 0 0 0 0,1 0 1 0 0,-4-15-1 0 0,6 21 53 0 0,-11-35-104 0 0,2 0 0 0 0,2-1 0 0 0,1 0 0 0 0,2-1 1 0 0,2 1-1 0 0,2-1 0 0 0,2 0 0 0 0,1 1 0 0 0,2-1 0 0 0,12-53 0 0 0,-13 84 200 0 0,1 0 0 0 0,1 0 0 0 0,0 0 0 0 0,0 1 0 0 0,1 0 0 0 0,0 0 0 0 0,1 0-1 0 0,0 0 1 0 0,15-16 0 0 0,-18 22 26 0 0,0 1 0 0 0,1 0 0 0 0,-1 0 0 0 0,1 1 0 0 0,0-1 0 0 0,-1 1 0 0 0,1 0 0 0 0,0-1 0 0 0,1 2 0 0 0,-1-1 0 0 0,0 1 0 0 0,0-1 0 0 0,1 1 0 0 0,-1 0 0 0 0,1 1 0 0 0,-1-1 0 0 0,1 1 0 0 0,-1 0 0 0 0,1 0 0 0 0,-1 0 0 0 0,1 0 0 0 0,-1 1 0 0 0,1 0 0 0 0,-1 0 0 0 0,0 0 0 0 0,1 1 0 0 0,6 3 0 0 0,12 6 238 0 0,-1 1 0 0 0,-1 1 0 0 0,0 0 0 0 0,-1 2 0 0 0,-1 1 0 0 0,21 21 0 0 0,96 116 929 0 0,-100-105-908 0 0,59 101 0 0 0,-28-8-4346 0 0,-55-106 725 0 0</inkml:trace>
</inkml:ink>
</file>

<file path=ppt/ink/ink5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4:51.294"/>
    </inkml:context>
    <inkml:brush xml:id="br0">
      <inkml:brushProperty name="width" value="0.2" units="cm"/>
      <inkml:brushProperty name="height" value="0.2" units="cm"/>
    </inkml:brush>
  </inkml:definitions>
  <inkml:trace contextRef="#ctx0" brushRef="#br0">54 603 2872 0 0,'-2'0'86'0'0,"-31"-8"5209"0"0,31 7-5098 0 0,1 0 0 0 0,0 1 0 0 0,0-1 1 0 0,0 0-1 0 0,0 0 0 0 0,0 0 0 0 0,0 1 0 0 0,0-1 1 0 0,0 0-1 0 0,0-1 0 0 0,0 1 0 0 0,0 0 0 0 0,1 0 0 0 0,-1 0 1 0 0,0 0-1 0 0,1-1 0 0 0,-1 1 0 0 0,1 0 0 0 0,-1-1 0 0 0,1 1 1 0 0,0 0-1 0 0,-1-2 0 0 0,1 2-151 0 0,0 0 0 0 0,0 0 0 0 0,1 0 0 0 0,-1 0 0 0 0,0 0 0 0 0,0 1 0 0 0,0-1 0 0 0,1 0 0 0 0,-1 0-1 0 0,1 0 1 0 0,-1 0 0 0 0,0 0 0 0 0,1 1 0 0 0,0-1 0 0 0,-1 0 0 0 0,1 0 0 0 0,-1 1 0 0 0,2-2 0 0 0,0 0 85 0 0,8-12-110 0 0,1 0 0 0 0,1 1 1 0 0,0 0-1 0 0,1 1 0 0 0,0 0 0 0 0,19-12 0 0 0,-4 3-934 0 0,-9 5-648 0 0,0-2 1 0 0,-1 0 0 0 0,-1 0-1 0 0,22-31 1 0 0,-18 20-1261 0 0</inkml:trace>
  <inkml:trace contextRef="#ctx0" brushRef="#br0" timeOffset="1">377 112 2744 0 0,'9'-13'1011'0'0,"0"1"0"0"0,1 0-1 0 0,0 1 1 0 0,1-1 0 0 0,20-15 0 0 0,-26 24-720 0 0,-1 0 0 0 0,1 0 0 0 0,0 1 1 0 0,-1-1-1 0 0,1 1 0 0 0,0 0 0 0 0,0 1 1 0 0,1-1-1 0 0,-1 1 0 0 0,0 0 1 0 0,0 0-1 0 0,1 1 0 0 0,-1-1 0 0 0,0 1 1 0 0,1 0-1 0 0,-1 1 0 0 0,0-1 1 0 0,1 1-1 0 0,-1 0 0 0 0,6 2 0 0 0,6 3 241 0 0,-1 1 0 0 0,0 1 0 0 0,-1 0 0 0 0,0 1-1 0 0,0 1 1 0 0,-1 0 0 0 0,14 13 0 0 0,-5-2-103 0 0,-1 1 0 0 0,-1 0-1 0 0,22 32 1 0 0,-34-41-372 0 0,0 0 0 0 0,-1 1-1 0 0,-1 1 1 0 0,0-1 0 0 0,-1 1-1 0 0,0 0 1 0 0,-1 1 0 0 0,-1-1-1 0 0,3 26 1 0 0,-6-30-561 0 0,0 1-1 0 0,-1-1 1 0 0,0 1-1 0 0,-1-1 1 0 0,-4 23-1 0 0,2-25-646 0 0,0 0 0 0 0,0 0-1 0 0,0 0 1 0 0,-1 0 0 0 0,-1-1-1 0 0,1 1 1 0 0,-12 13 0 0 0</inkml:trace>
</inkml:ink>
</file>

<file path=ppt/ink/ink5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4:51.673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74 2032 0 0,'5'27'11550'0'0,"-3"-24"-10965"0"0,-1-3-510 0 0,0 1 0 0 0,0-1 1 0 0,0 1-1 0 0,1-1 0 0 0,-1 0 0 0 0,0 1 1 0 0,0-1-1 0 0,0 0 0 0 0,0 0 0 0 0,0 0 1 0 0,1 0-1 0 0,-1 0 0 0 0,0 0 1 0 0,0-1-1 0 0,0 1 0 0 0,0 0 0 0 0,0 0 1 0 0,0-1-1 0 0,1 1 0 0 0,0-1 0 0 0,144-50-1045 0 0,-20 6-6874 0 0,-100 37 3315 0 0</inkml:trace>
</inkml:ink>
</file>

<file path=ppt/ink/ink5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4:52.327"/>
    </inkml:context>
    <inkml:brush xml:id="br0">
      <inkml:brushProperty name="width" value="0.2" units="cm"/>
      <inkml:brushProperty name="height" value="0.2" units="cm"/>
    </inkml:brush>
  </inkml:definitions>
  <inkml:trace contextRef="#ctx0" brushRef="#br0">239 21 1324 0 0,'-15'-21'5898'0'0,"11"22"-5132"0"0,-3 2-511 0 0,0 0 0 0 0,-1 1 0 0 0,2-1 0 0 0,-1 1 0 0 0,0 1 0 0 0,1 0 0 0 0,-1-1 0 0 0,1 2 0 0 0,1-1 0 0 0,-1 1 1 0 0,1 0-1 0 0,-5 7 0 0 0,-10 15 482 0 0,-24 43 1 0 0,33-52-522 0 0,1 0-1 0 0,2 0 1 0 0,0 1-1 0 0,0 0 1 0 0,2 1 0 0 0,1-1-1 0 0,0 1 1 0 0,2 0-1 0 0,-2 27 1 0 0,5-37-140 0 0,0 1-1 0 0,1-1 1 0 0,0 0 0 0 0,1 0 0 0 0,0 0 0 0 0,1 0 0 0 0,0-1-1 0 0,0 1 1 0 0,1-1 0 0 0,1 0 0 0 0,0 0 0 0 0,0 0 0 0 0,1 0-1 0 0,0-1 1 0 0,1 0 0 0 0,0 0 0 0 0,0-1 0 0 0,1 0 0 0 0,12 10 0 0 0,-10-10-33 0 0,0-1 0 0 0,1 0 0 0 0,0 0 0 0 0,0-2 0 0 0,1 1 1 0 0,-1-1-1 0 0,1-1 0 0 0,1 0 0 0 0,-1-1 0 0 0,0 0 0 0 0,1-1 1 0 0,0 0-1 0 0,-1-1 0 0 0,1 0 0 0 0,0-1 0 0 0,0-1 0 0 0,-1 0 1 0 0,1 0-1 0 0,15-5 0 0 0,-13 2-35 0 0,1-1 0 0 0,-1 0 0 0 0,-1-1 0 0 0,1-1 1 0 0,-1 0-1 0 0,0-1 0 0 0,0 0 0 0 0,-1-1 0 0 0,-1-1 0 0 0,1 0 0 0 0,-2 0 0 0 0,1-2 1 0 0,-1 1-1 0 0,-1-1 0 0 0,10-15 0 0 0,-4 3-8 0 0,-2-1 1 0 0,23-51-1 0 0,-32 64 56 0 0,-1 0-1 0 0,0-1 1 0 0,-1 1-1 0 0,0-1 1 0 0,-1 0-1 0 0,-1 0 1 0 0,0 0-1 0 0,-1-24 1 0 0,0 33-37 0 0,-1 1 0 0 0,0-1 1 0 0,1 0-1 0 0,-1 1 1 0 0,0-1-1 0 0,-1 1 1 0 0,1-1-1 0 0,-1 1 0 0 0,1 0 1 0 0,-1 0-1 0 0,0-1 1 0 0,0 1-1 0 0,-1 0 1 0 0,-4-4-1 0 0,1 5 26 0 0,0 3-40 0 0,0-1-1 0 0,-1 1 0 0 0,1 0 1 0 0,0 1-1 0 0,0-1 1 0 0,0 1-1 0 0,1 0 0 0 0,-1 1 1 0 0,0-1-1 0 0,-6 6 0 0 0,2-2 3 0 0,1 0-1 0 0,1 1 1 0 0,-1 0-1 0 0,1 1 1 0 0,-12 14-1 0 0,13-14 4 0 0,1 0-1 0 0,0 1 0 0 0,0 0 0 0 0,1 0 0 0 0,0 0 0 0 0,1 0 1 0 0,0 1-1 0 0,0 0 0 0 0,1 0 0 0 0,0 0 0 0 0,1 0 1 0 0,0 0-1 0 0,1 0 0 0 0,-1 13 0 0 0,3-19-3 0 0,-1 1 0 0 0,0 0 0 0 0,1 0 0 0 0,0-1 0 0 0,0 1 0 0 0,1-1 0 0 0,-1 1 0 0 0,1-1 0 0 0,0 1 0 0 0,0-1 1 0 0,0 0-1 0 0,1 0 0 0 0,-1 0 0 0 0,1 0 0 0 0,0 0 0 0 0,0-1 0 0 0,1 1 0 0 0,-1-1 0 0 0,1 0 0 0 0,-1 0 0 0 0,1 0 0 0 0,0 0 0 0 0,0-1 0 0 0,0 0 0 0 0,1 0 0 0 0,-1 0 0 0 0,6 2 0 0 0,-3-2-7 0 0,1-1 0 0 0,-1 1 0 0 0,0-1 1 0 0,1-1-1 0 0,-1 1 0 0 0,1-1 0 0 0,-1-1 0 0 0,1 1 0 0 0,-1-1 0 0 0,0-1 0 0 0,1 1 0 0 0,-1-1 0 0 0,0-1 0 0 0,0 1 0 0 0,0-1 0 0 0,11-6 0 0 0,-1-3 3 0 0,0-1-1 0 0,0-1 0 0 0,-1 0 1 0 0,27-31-1 0 0,12-12 598 0 0,-54 56-591 0 0,0 0-1 0 0,0 1 1 0 0,-1-1 0 0 0,1 0 0 0 0,0 1 0 0 0,0-1 0 0 0,0 1 0 0 0,0-1-1 0 0,0 1 1 0 0,0 0 0 0 0,0-1 0 0 0,0 1 0 0 0,0 0 0 0 0,0 0-1 0 0,0 0 1 0 0,0 0 0 0 0,0 0 0 0 0,0 0 0 0 0,0 0 0 0 0,0 0-1 0 0,0 0 1 0 0,0 0 0 0 0,0 0 0 0 0,0 1 0 0 0,0-1 0 0 0,0 0 0 0 0,0 1-1 0 0,0-1 1 0 0,0 1 0 0 0,0-1 0 0 0,0 1 0 0 0,-1-1 0 0 0,1 1-1 0 0,0 0 1 0 0,0-1 0 0 0,-1 1 0 0 0,1 0 0 0 0,0 0 0 0 0,-1-1 0 0 0,2 2-1 0 0,3 5-31 0 0,0 1 0 0 0,-1-1 0 0 0,0 0 0 0 0,4 9 0 0 0,-2-2-369 0 0,11 15-1180 0 0,12 23-2687 0 0,-12-19-2626 0 0</inkml:trace>
</inkml:ink>
</file>

<file path=ppt/ink/ink5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4:55.655"/>
    </inkml:context>
    <inkml:brush xml:id="br0">
      <inkml:brushProperty name="width" value="0.2" units="cm"/>
      <inkml:brushProperty name="height" value="0.2" units="cm"/>
    </inkml:brush>
  </inkml:definitions>
  <inkml:trace contextRef="#ctx0" brushRef="#br0">62 294 180 0 0,'-3'-1'3438'0'0,"2"1"-3323"0"0,0 0-1 0 0,0 0 0 0 0,0-1 1 0 0,0 1-1 0 0,0 0 0 0 0,0 0 1 0 0,0 0-1 0 0,0 1 0 0 0,0-1 1 0 0,0 0-1 0 0,0 0 0 0 0,0 0 0 0 0,0 1 1 0 0,0-1-1 0 0,0 1 0 0 0,0-1 1 0 0,0 1-1 0 0,0-1 0 0 0,0 1 1 0 0,0-1-1 0 0,1 1 0 0 0,-1 0 1 0 0,0-1-1 0 0,0 1 0 0 0,1 0 1 0 0,-1 0-1 0 0,0-1 0 0 0,1 1 1 0 0,-1 0-1 0 0,1 0 0 0 0,-1 0 1 0 0,1 0-1 0 0,0 0 0 0 0,-1 0 1 0 0,1 0-1 0 0,0 0 0 0 0,0 0 1 0 0,0 0-1 0 0,-1 0 0 0 0,1 0 0 0 0,0 0 1 0 0,1 2-1 0 0,-2 8 275 0 0,2 0 0 0 0,0 0 0 0 0,0 0 0 0 0,1 0 0 0 0,0 0 0 0 0,1-1 0 0 0,8 21 0 0 0,39 71 1037 0 0,-41-86-1161 0 0,35 66 470 0 0,87 173 1316 0 0,-117-226-1686 0 0,-9-20 66 0 0,0 0-1 0 0,-1 1 0 0 0,-1-1 0 0 0,4 13 1 0 0,-7-21-402 0 0,0 0 0 0 0,1-1 0 0 0,-1 1 0 0 0,0-1 0 0 0,0 1 0 0 0,0 0 0 0 0,0-1 0 0 0,0 1 0 0 0,0 0 0 0 0,0-1 0 0 0,-1 1-1 0 0,1-1 1 0 0,0 1 0 0 0,0 0 0 0 0,0-1 0 0 0,-1 1 0 0 0,1-1 0 0 0,0 1 0 0 0,0-1 0 0 0,-1 1 0 0 0,1-1 0 0 0,-1 1 0 0 0,1-1 0 0 0,0 1 0 0 0,-1-1 0 0 0,1 1 0 0 0,-1-1 0 0 0,1 1 0 0 0,-1-1 0 0 0,1 0 0 0 0,-1 0 0 0 0,0 1 0 0 0,1-1 0 0 0,-1 0 0 0 0,1 0 0 0 0,-1 1 0 0 0,0-1 0 0 0,1 0 0 0 0,-2 0 0 0 0,0 0 11 0 0,0 1 0 0 0,-1-1 0 0 0,1 0-1 0 0,0 0 1 0 0,0-1 0 0 0,-1 1 0 0 0,1 0 0 0 0,-4-2 0 0 0,0-1-25 0 0,0 1 0 0 0,1-2 0 0 0,0 1 0 0 0,-1 0-1 0 0,1-1 1 0 0,1 0 0 0 0,-1 0 0 0 0,0 0 0 0 0,-5-8 0 0 0,-32-47-286 0 0,35 49 217 0 0,-20-33-200 0 0,1-2 1 0 0,2 0 0 0 0,3-2-1 0 0,-31-95 1 0 0,44 115 167 0 0,2 0-1 0 0,1 0 1 0 0,0 0 0 0 0,2-1 0 0 0,2 0-1 0 0,0 0 1 0 0,2 0 0 0 0,1 1 0 0 0,1-1 0 0 0,12-49-1 0 0,-10 63 59 0 0,0 0 1 0 0,0 1-1 0 0,1 0 0 0 0,1 1 0 0 0,0-1 0 0 0,1 1 1 0 0,0 1-1 0 0,1-1 0 0 0,0 1 0 0 0,1 1 0 0 0,17-15 1 0 0,-22 20 19 0 0,0 1 0 0 0,1 0-1 0 0,0 1 1 0 0,0-1 0 0 0,0 1 0 0 0,0 0 0 0 0,0 1 0 0 0,0-1 0 0 0,1 1 0 0 0,-1 0 0 0 0,1 1 0 0 0,0 0 0 0 0,-1 0 0 0 0,1 0 0 0 0,0 1 0 0 0,0 0 0 0 0,0 0 0 0 0,-1 1-1 0 0,1 0 1 0 0,0 0 0 0 0,-1 0 0 0 0,1 1 0 0 0,-1 0 0 0 0,1 0 0 0 0,-1 1 0 0 0,7 4 0 0 0,-7-4 13 0 0,0 0 1 0 0,0 1-1 0 0,0 0 1 0 0,-1 1 0 0 0,0-1-1 0 0,0 1 1 0 0,0 0-1 0 0,0 0 1 0 0,-1 0-1 0 0,0 1 1 0 0,0 0-1 0 0,0 0 1 0 0,-1 0-1 0 0,0 0 1 0 0,0 0-1 0 0,-1 1 1 0 0,1-1-1 0 0,-1 1 1 0 0,1 8-1 0 0,-2-5 9 0 0,0 1-1 0 0,0-1 1 0 0,-1 0-1 0 0,-1 1 0 0 0,0-1 1 0 0,0 1-1 0 0,-1-1 1 0 0,0 0-1 0 0,-1 0 0 0 0,0 0 1 0 0,-1 0-1 0 0,-5 10 1 0 0,-3 2-167 0 0,-1 0 1 0 0,-1-1-1 0 0,-1-1 1 0 0,-1 0-1 0 0,0-1 1 0 0,-2-1-1 0 0,0-1 0 0 0,-1 0 1 0 0,0-2-1 0 0,-2 0 1 0 0,-38 22-1 0 0,32-30-3268 0 0</inkml:trace>
</inkml:ink>
</file>

<file path=ppt/ink/ink5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4:56.025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20 1308 0 0,'26'-19'3595'0'0,"-12"22"-1631"0"0,-13-2-1867 0 0,0 0 0 0 0,0 0 0 0 0,-1 0 0 0 0,1 0-1 0 0,0 0 1 0 0,-1 1 0 0 0,1-1 0 0 0,-1 0 0 0 0,1 0-1 0 0,-1 0 1 0 0,0 1 0 0 0,0-1 0 0 0,1 0 0 0 0,-1 0 0 0 0,0 1-1 0 0,0-1 1 0 0,0 0 0 0 0,0 2 0 0 0,-4 30 997 0 0,3-21-715 0 0,-3 32 386 0 0,-5 174 1252 0 0,10-190-1890 0 0,2 0 0 0 0,0 0 0 0 0,2 0 0 0 0,1 0 0 0 0,17 47 0 0 0,-14-52-126 0 0,2 0-1 0 0,0 0 1 0 0,26 38 0 0 0,-29-51-456 0 0,0 0 0 0 0,0-1 0 0 0,18 16 0 0 0,-19-20-321 0 0,-1 0-1 0 0,1-1 0 0 0,0 1 1 0 0,0-1-1 0 0,1-1 0 0 0,13 6 1 0 0,1-5-3291 0 0</inkml:trace>
</inkml:ink>
</file>

<file path=ppt/ink/ink5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4:56.440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269 2100 0 0,'17'-52'7122'0'0,"-14"53"-6553"0"0,0 0-444 0 0,0 0 1 0 0,-1 1-1 0 0,1-1 1 0 0,-1 1-1 0 0,0-1 1 0 0,1 1-1 0 0,-1 0 1 0 0,0 0-1 0 0,0 0 1 0 0,0 1-1 0 0,0-1 0 0 0,0 0 1 0 0,-1 1-1 0 0,1-1 1 0 0,1 5-1 0 0,26 54 1002 0 0,-17-33-656 0 0,128 260 3055 0 0,-133-271-2595 0 0,0 1 1 0 0,9 35 685 0 0,-18-54-1600 0 0,-1 1 0 0 0,1-1 0 0 0,-1 0 0 0 0,1 1 0 0 0,0-1 0 0 0,-1 0-1 0 0,1-1 1 0 0,0 1 0 0 0,0 0 0 0 0,0-1 0 0 0,0 1 0 0 0,0-1 0 0 0,0 0 0 0 0,0 0 0 0 0,0 1 0 0 0,1-1 0 0 0,-1 0 0 0 0,-2-5 0 0 0,-3-3-85 0 0,1-1 1 0 0,-8-17 0 0 0,-2-8-123 0 0,3-1 0 0 0,0-1 0 0 0,3 0 0 0 0,-12-76 0 0 0,19 85 130 0 0,1 0 0 0 0,1 0-1 0 0,2 0 1 0 0,1 0 0 0 0,1 0-1 0 0,1 1 1 0 0,13-43 0 0 0,-15 63 43 0 0,1 0-1 0 0,0 1 1 0 0,0-1 0 0 0,1 1 0 0 0,0 0 0 0 0,0 0-1 0 0,0 0 1 0 0,1 1 0 0 0,0-1 0 0 0,1 1 0 0 0,-1 0 0 0 0,9-6-1 0 0,-13 11 16 0 0,1 0-1 0 0,-1 1 0 0 0,1-1 1 0 0,-1 0-1 0 0,1 1 0 0 0,0-1 1 0 0,-1 1-1 0 0,1-1 0 0 0,0 1 1 0 0,-1 0-1 0 0,1 0 0 0 0,0 0 1 0 0,-1 0-1 0 0,1 0 0 0 0,0 0 1 0 0,-1 0-1 0 0,1 1 0 0 0,0-1 1 0 0,-1 0-1 0 0,1 1 0 0 0,0 0 1 0 0,2 1-1 0 0,0 0 1 0 0,0 0 0 0 0,0 0-1 0 0,0 1 1 0 0,0 0 0 0 0,0-1 0 0 0,5 7 0 0 0,-6-4-2 0 0,1-1 1 0 0,-1 1-1 0 0,0 0 0 0 0,0 0 1 0 0,-1 0-1 0 0,0 0 1 0 0,1 1-1 0 0,-2-1 1 0 0,1 1-1 0 0,-1-1 0 0 0,1 7 1 0 0,1 13-10 0 0,1 31 0 0 0,-3-30 31 0 0,0 3 7 0 0,-1-14-10 0 0,0 1 0 0 0,2-1 1 0 0,5 27-1 0 0,-6-37-11 0 0,1-1-1 0 0,0 1 0 0 0,-1-1 1 0 0,2 0-1 0 0,-1 1 0 0 0,0-1 1 0 0,1 0-1 0 0,0 0 1 0 0,0-1-1 0 0,0 1 0 0 0,0 0 1 0 0,0-1-1 0 0,1 0 0 0 0,0 0 1 0 0,-1 0-1 0 0,8 4 0 0 0,41 20 4 0 0,-18-10-18 0 0,32 22 1 0 0,-58-33 9 0 0,1 0 1 0 0,-1 1-1 0 0,-1-1 1 0 0,1 2-1 0 0,-1-1 1 0 0,0 1-1 0 0,-1 0 1 0 0,9 14-1 0 0,-13-18 8 0 0,0-1 0 0 0,0 1 0 0 0,-1 0 0 0 0,1 0 1 0 0,-1 0-1 0 0,0 0 0 0 0,0 1 0 0 0,-1-1 0 0 0,1 0 0 0 0,-1 0 0 0 0,0 0 0 0 0,0 1 0 0 0,-1 4 1 0 0,-1-2 14 0 0,1 0 0 0 0,-1 0 0 0 0,-1 0 0 0 0,1-1 0 0 0,-1 1 1 0 0,0-1-1 0 0,-5 8 0 0 0,-5 3 41 0 0,0 0-1 0 0,0-1 1 0 0,-2 0-1 0 0,-20 17 1 0 0,28-27-294 0 0,-1 1 0 0 0,0-1 0 0 0,-1-1 0 0 0,1 1 0 0 0,-16 6 1 0 0,19-10-519 0 0,1-1 0 0 0,-2 1 0 0 0,1-1 0 0 0,0 0 1 0 0,0 0-1 0 0,0 0 0 0 0,-6 0 0 0 0</inkml:trace>
</inkml:ink>
</file>

<file path=ppt/ink/ink5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4:56.829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49 1416 0 0,'9'-7'998'0'0,"1"0"-1"0"0,0 1 1 0 0,1 0-1 0 0,0 1 1 0 0,13-5-1 0 0,-18 8-630 0 0,0 0-1 0 0,0 1 0 0 0,0 0 1 0 0,0 0-1 0 0,0 1 0 0 0,0 0 1 0 0,1 0-1 0 0,-1 0 1 0 0,0 1-1 0 0,0 0 0 0 0,12 3 1 0 0,-2 1 61 0 0,-1 1 0 0 0,0 1-1 0 0,-1 0 1 0 0,0 1 0 0 0,0 1 0 0 0,0 0 0 0 0,-1 0 0 0 0,-1 2 0 0 0,16 15 0 0 0,-8-6-121 0 0,-2 2-1 0 0,0 0 1 0 0,-2 0 0 0 0,23 41 0 0 0,-31-46-224 0 0,0 0 0 0 0,-2 1-1 0 0,0 0 1 0 0,-1 0 0 0 0,0 0 0 0 0,-2 1 0 0 0,0-1 0 0 0,-1 1 0 0 0,-1 0-1 0 0,-1 0 1 0 0,-3 29 0 0 0,1-27-599 0 0,-1 0-1 0 0,-2 0 1 0 0,0-1-1 0 0,-1 0 1 0 0,-1 0 0 0 0,-1 0-1 0 0,0-1 1 0 0,-2 0-1 0 0,0 0 1 0 0,-14 18 0 0 0,17-29-880 0 0,1 0 0 0 0,-1 0 0 0 0,-14 12 0 0 0</inkml:trace>
</inkml:ink>
</file>

<file path=ppt/ink/ink5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4:57.173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49 1028 0 0,'21'-9'1832'0'0,"-3"3"-496"0"0,-1 0-272 0 0,0 0-247 0 0,3 0-145 0 0,-5 3-120 0 0,2-3-124 0 0,2 4-64 0 0,-4 0-68 0 0,18 0-616 0 0,-3 6-1252 0 0,-15-2-465 0 0</inkml:trace>
  <inkml:trace contextRef="#ctx0" brushRef="#br0" timeOffset="1">309 224 772 0 0,'8'24'6793'0'0,"-7"-23"-6651"0"0,0-1 0 0 0,-1 0 0 0 0,1 1 0 0 0,0-1 0 0 0,-1 0 0 0 0,1 0 0 0 0,0 0 0 0 0,0 0 0 0 0,-1 1 0 0 0,1-1 1 0 0,0 0-1 0 0,0-1 0 0 0,-1 1 0 0 0,1 0 0 0 0,0 0 0 0 0,-1 0 0 0 0,1 0 0 0 0,0 0 0 0 0,0-1 0 0 0,-1 1 0 0 0,1 0 0 0 0,0-1 0 0 0,106-51 1912 0 0,-36 12-5694 0 0,-52 27 698 0 0</inkml:trace>
</inkml:ink>
</file>

<file path=ppt/ink/ink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5:38.85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1 0 13559,'-1'35'2519,"0"-7"-2069,-2-5-91,1-4-89,0 1 0,0 2-90,0 1-90,1 0 90,0 0-90,0 1 0,1 0-180,0-1-180,0 0 0,-1-1-180,1 0 91,0-2-181,-1-1-90,0-1-89,0 0-1170,0-2-3598,-1 3 5487,-1-4 0,0-3 0,2-6 0</inkml:trace>
</inkml:ink>
</file>

<file path=ppt/ink/ink5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4:57.925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275 376 0 0,'5'-7'5794'0'0,"-2"8"-5607"0"0,1 0 0 0 0,-1 0 1 0 0,0 0-1 0 0,0 1 0 0 0,0-1 0 0 0,0 1 0 0 0,-1 0 1 0 0,1-1-1 0 0,0 1 0 0 0,-1 1 0 0 0,1-1 0 0 0,-1 0 1 0 0,0 1-1 0 0,0-1 0 0 0,1 1 0 0 0,0 2 0 0 0,9 12 632 0 0,12 27 0 0 0,-12-23-251 0 0,98 158 1990 0 0,57 106-982 0 0,-146-236-726 0 0,-20-49-839 0 0,-1 1 0 0 0,0-1 1 0 0,0 0-1 0 0,0 1 0 0 0,0-1 1 0 0,0 0-1 0 0,0 1 1 0 0,0-1-1 0 0,0 1 0 0 0,0-1 1 0 0,0 0-1 0 0,0 1 1 0 0,0-1-1 0 0,0 1 0 0 0,0-1 1 0 0,0 0-1 0 0,-1 1 1 0 0,1-1-1 0 0,0 0 0 0 0,0 1 1 0 0,0-1-1 0 0,0 0 0 0 0,-1 1 1 0 0,1-1-1 0 0,0 0 1 0 0,0 1-1 0 0,-1-1 0 0 0,1 0 1 0 0,0 0-1 0 0,-1 1 1 0 0,1-1-1 0 0,0 0 0 0 0,-1 0 1 0 0,1 0-1 0 0,0 1 0 0 0,-1-1 1 0 0,1 0-1 0 0,-1 0 1 0 0,1 0-1 0 0,0 0 0 0 0,-1 0 1 0 0,1 0-1 0 0,0 0 1 0 0,-1 0-1 0 0,1 0 0 0 0,-1 0 1 0 0,1 0-1 0 0,0 0 1 0 0,-1 0-1 0 0,1 0 0 0 0,-1 0 1 0 0,1-1-1 0 0,-18 0 99 0 0,13-1-95 0 0,1 0 1 0 0,-1 0-1 0 0,1 0 0 0 0,0-1 1 0 0,0 1-1 0 0,0-1 0 0 0,0 0 0 0 0,-7-7 1 0 0,-25-31 31 0 0,33 37-42 0 0,-21-28-13 0 0,2-1 0 0 0,1-1-1 0 0,1 0 1 0 0,2-2 0 0 0,-14-39 0 0 0,12 19-111 0 0,3 1-1 0 0,-18-105 1 0 0,32 136-72 0 0,0 0 0 0 0,2 0 1 0 0,0 0-1 0 0,4-28 1 0 0,-1 40-47 0 0,-1 1 0 0 0,2-1-1 0 0,-1 1 1 0 0,2 0 0 0 0,-1-1 0 0 0,2 2 0 0 0,-1-1-1 0 0,1 0 1 0 0,1 1 0 0 0,9-13 0 0 0,-13 20 20 0 0,1-1 0 0 0,0 1 0 0 0,0 1 0 0 0,0-1 0 0 0,0 0-1 0 0,0 1 1 0 0,1-1 0 0 0,-1 1 0 0 0,1 0 0 0 0,-1 0 0 0 0,8-2 0 0 0,-8 3-124 0 0,-1 1 0 0 0,0-1-1 0 0,1 1 1 0 0,-1 0 0 0 0,1-1 0 0 0,-1 1-1 0 0,1 0 1 0 0,-1 1 0 0 0,0-1 0 0 0,1 0 0 0 0,-1 1-1 0 0,1-1 1 0 0,2 2 0 0 0</inkml:trace>
</inkml:ink>
</file>

<file path=ppt/ink/ink5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4:52.677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78 1840 0 0,'3'-8'684'0'0,"-1"1"0"0"0,2 0 1 0 0,-1 0-1 0 0,1 0 0 0 0,0 0 0 0 0,5-6 0 0 0,-7 11-529 0 0,0 0-1 0 0,-1 0 0 0 0,1 0 1 0 0,0 1-1 0 0,0-1 1 0 0,0 1-1 0 0,0 0 1 0 0,0 0-1 0 0,1-1 0 0 0,-1 1 1 0 0,0 0-1 0 0,1 1 1 0 0,-1-1-1 0 0,0 0 1 0 0,1 1-1 0 0,-1-1 1 0 0,1 1-1 0 0,-1 0 0 0 0,1 0 1 0 0,-1 0-1 0 0,1 0 1 0 0,-1 0-1 0 0,5 2 1 0 0,5 1 181 0 0,0 1 0 0 0,-1 0 1 0 0,1 1-1 0 0,-1 0 0 0 0,0 1 1 0 0,0 0-1 0 0,-1 1 1 0 0,0 0-1 0 0,0 1 0 0 0,-1 0 1 0 0,0 0-1 0 0,0 1 0 0 0,-1 0 1 0 0,10 14-1 0 0,-6-7-135 0 0,-1 0 0 0 0,-1 1 0 0 0,-1 0 1 0 0,0 1-1 0 0,-1 0 0 0 0,-1 1 0 0 0,0-1 0 0 0,4 27 0 0 0,-9-33-123 0 0,0-1 1 0 0,-1 1-1 0 0,-1 1 1 0 0,0-1-1 0 0,-3 19 1 0 0,2-24-40 0 0,0 0 1 0 0,0 0-1 0 0,-1-1 1 0 0,-1 1-1 0 0,1 0 1 0 0,-1-1-1 0 0,0 1 0 0 0,0-1 1 0 0,-1 0-1 0 0,-6 8 1 0 0,10-13-39 0 0,-1 0 1 0 0,1-1 0 0 0,-1 0 0 0 0,1 1-1 0 0,-1-1 1 0 0,1 1 0 0 0,-1-1 0 0 0,1 1-1 0 0,-1-1 1 0 0,0 0 0 0 0,1 0 0 0 0,-1 1-1 0 0,0-1 1 0 0,1 0 0 0 0,-1 0 0 0 0,0 0-1 0 0,1 0 1 0 0,-1 1 0 0 0,0-1 0 0 0,1 0-1 0 0,-1 0 1 0 0,0 0 0 0 0,1-1 0 0 0,-1 1 0 0 0,0 0-1 0 0,1 0 1 0 0,-1 0 0 0 0,0 0 0 0 0,1-1-1 0 0,-1 1 1 0 0,0 0 0 0 0,1-1 0 0 0,-1 1-1 0 0,1 0 1 0 0,-1-1 0 0 0,1 1 0 0 0,-1-1-1 0 0,1 1 1 0 0,-1-1 0 0 0,1 1 0 0 0,-1-1-1 0 0,1 1 1 0 0,-1-1 0 0 0,1 1 0 0 0,0-1-1 0 0,-1 0 1 0 0,1 0 0 0 0,-2-2-2 0 0,0 0-1 0 0,0 0 1 0 0,1 0 0 0 0,-1 0-1 0 0,1-1 1 0 0,0 1 0 0 0,-2-7 0 0 0,2-6-38 0 0,1 0 0 0 0,0 0 1 0 0,1 0-1 0 0,1 0 0 0 0,0 0 1 0 0,1 1-1 0 0,1-1 0 0 0,1 1 1 0 0,7-19-1 0 0,1 6-147 0 0,0 0 0 0 0,2 1 0 0 0,34-47 0 0 0,-40 63 18 0 0,1 0-1 0 0,0 0 1 0 0,1 1 0 0 0,0 1-1 0 0,22-15 1 0 0,-30 22-78 0 0,1 1 0 0 0,-1 0 0 0 0,1-1 0 0 0,0 1 0 0 0,-1 1 0 0 0,1-1-1 0 0,0 0 1 0 0,6 1 0 0 0,14-3-3863 0 0</inkml:trace>
</inkml:ink>
</file>

<file path=ppt/ink/ink5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4:53.094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81 848 0 0,'1'-13'2199'0'0,"1"-1"-1"0"0,0 1 1 0 0,5-17 0 0 0,-7 28-1911 0 0,0 1-234 0 0,0 1 1 0 0,0 0-1 0 0,0-1 1 0 0,0 1-1 0 0,0 0 1 0 0,0-1-1 0 0,0 1 0 0 0,0 0 1 0 0,1-1-1 0 0,1-2 763 0 0,-2 3-762 0 0,1-1-1 0 0,-1 1 0 0 0,0 0 1 0 0,1 0-1 0 0,-1 0 1 0 0,0 0-1 0 0,0 0 1 0 0,1 0-1 0 0,-1-1 1 0 0,0 1-1 0 0,1 0 0 0 0,-1 0 1 0 0,0 0-1 0 0,1 0 1 0 0,-1 0-1 0 0,0 0 1 0 0,0 0-1 0 0,1 0 1 0 0,-1 1-1 0 0,0-1 0 0 0,1 0 1 0 0,-1 0-1 0 0,10 9 1267 0 0,-8-8-1414 0 0,8 12 867 0 0,0 1 0 0 0,-1 0 0 0 0,0 0 0 0 0,9 21 0 0 0,2 2-1 0 0,78 146 1719 0 0,-83-149-2239 0 0,-2-1 0 0 0,-1 2 0 0 0,13 60 0 0 0,-23-85-173 0 0,0 0 1 0 0,-1-1-1 0 0,0 1 0 0 0,-1 0 0 0 0,0 0 0 0 0,-1 0 0 0 0,0 0 0 0 0,0 0 0 0 0,-1-1 1 0 0,-4 12-1 0 0,6-21-74 0 0,0 1-1 0 0,0-1 1 0 0,0 1 0 0 0,0-1 0 0 0,0 1 0 0 0,0-1-1 0 0,0 0 1 0 0,0 1 0 0 0,-1-1 0 0 0,1 1 0 0 0,0-1 0 0 0,0 0-1 0 0,-1 1 1 0 0,1-1 0 0 0,0 0 0 0 0,0 1 0 0 0,-1-1-1 0 0,1 0 1 0 0,0 1 0 0 0,-1-1 0 0 0,1 0 0 0 0,0 0-1 0 0,-1 1 1 0 0,1-1 0 0 0,-1 0 0 0 0,1 0 0 0 0,0 0 0 0 0,-1 0-1 0 0,1 1 1 0 0,-1-1 0 0 0,1 0 0 0 0,-1 0 0 0 0,1 0-1 0 0,0 0 1 0 0,-1 0 0 0 0,1 0 0 0 0,-1 0 0 0 0,1 0 0 0 0,-1 0-1 0 0,1 0 1 0 0,0-1 0 0 0,-1 1 0 0 0,1 0 0 0 0,-1 0-1 0 0,1 0 1 0 0,0 0 0 0 0,-1-1 0 0 0,1 1 0 0 0,-1 0-1 0 0,1 0 1 0 0,0-1 0 0 0,-1 1 0 0 0,1 0 0 0 0,0-1 0 0 0,0 1-1 0 0,-1 0 1 0 0,1-1 0 0 0,-2-1-3 0 0,1 0 0 0 0,0 1 0 0 0,0-1 1 0 0,0 0-1 0 0,0 0 0 0 0,0 0 0 0 0,1 0 0 0 0,-1 0 1 0 0,1 0-1 0 0,-1 0 0 0 0,1-3 0 0 0,0-6-28 0 0,2 1 0 0 0,0-1-1 0 0,0 0 1 0 0,1 1 0 0 0,0 0-1 0 0,1-1 1 0 0,0 1 0 0 0,0 1-1 0 0,1-1 1 0 0,1 1 0 0 0,0 0-1 0 0,0 0 1 0 0,12-14 0 0 0,-7 11-28 0 0,1-1 0 0 0,0 2 0 0 0,1-1 0 0 0,0 2 0 0 0,1 0 0 0 0,0 0 0 0 0,0 2 0 0 0,18-9 0 0 0,-21 12 33 0 0,1 1 0 0 0,-1 1 0 0 0,1 0 0 0 0,0 0 1 0 0,0 2-1 0 0,1-1 0 0 0,-1 1 0 0 0,18 1 0 0 0,-25 0 27 0 0,0 1 0 0 0,0-1 0 0 0,0 1 0 0 0,0 0 0 0 0,0 0 0 0 0,0 0 0 0 0,0 1 0 0 0,-1 0 0 0 0,1 0 0 0 0,0 0 0 0 0,-1 0 0 0 0,0 1 0 0 0,1-1 0 0 0,-1 1 0 0 0,0 0 0 0 0,0 1 0 0 0,-1-1 0 0 0,1 1 0 0 0,-1 0 0 0 0,1 0 0 0 0,-1 0 0 0 0,4 7 0 0 0,-6-7-4 0 0,1 0-1 0 0,-1 0 0 0 0,0 1 1 0 0,-1-1-1 0 0,1 0 0 0 0,-1 1 1 0 0,0-1-1 0 0,0 0 0 0 0,0 1 1 0 0,0-1-1 0 0,-1 0 0 0 0,0 1 1 0 0,0-1-1 0 0,0 0 0 0 0,0 0 1 0 0,-1 1-1 0 0,1-1 0 0 0,-1 0 1 0 0,-5 7-1 0 0,1-1-2 0 0,-1 1 0 0 0,0-1 0 0 0,-1-1 0 0 0,0 1 1 0 0,-18 15-1 0 0,10-12-459 0 0,0 0 1 0 0,-1-2 0 0 0,-31 17-1 0 0,36-22-700 0 0,-1-1 0 0 0,-18 5 0 0 0,21-7-875 0 0,1-1-1 0 0,-1-1 1 0 0,-19 1 0 0 0</inkml:trace>
</inkml:ink>
</file>

<file path=ppt/ink/ink5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4:53.559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95 2156 0 0,'26'-16'11137'0'0,"-24"16"-10806"0"0,0 1-90 0 0,0 0 1 0 0,0 0 0 0 0,0 0 0 0 0,0 0-1 0 0,0 1 1 0 0,0-1 0 0 0,0 0 0 0 0,0 1-1 0 0,0 0 1 0 0,-1-1 0 0 0,1 1-1 0 0,2 4 1 0 0,7 8 38 0 0,1 0 0 0 0,1-1-1 0 0,0 0 1 0 0,1-1 0 0 0,0-1-1 0 0,1 0 1 0 0,0 0-1 0 0,1-2 1 0 0,0 0 0 0 0,30 12-1 0 0,-41-20-280 0 0,-1 1-1 0 0,1-1 1 0 0,0 1-1 0 0,0-2 1 0 0,0 1-1 0 0,0 0 1 0 0,0-1 0 0 0,0 0-1 0 0,0 0 1 0 0,0 0-1 0 0,0-1 1 0 0,0 0-1 0 0,0 0 1 0 0,0 0-1 0 0,0 0 1 0 0,-1-1-1 0 0,1 0 1 0 0,0 0-1 0 0,-1 0 1 0 0,1-1-1 0 0,-1 1 1 0 0,6-5-1 0 0,-2-1-82 0 0,0 0 1 0 0,0-1-1 0 0,-1 0 0 0 0,0 0 1 0 0,0-1-1 0 0,-1 0 0 0 0,0 0 1 0 0,6-17-1 0 0,35-84-271 0 0,-47 111 353 0 0,0-1 1 0 0,0 0 0 0 0,1 1 0 0 0,-1-1-1 0 0,0 1 1 0 0,0-1 0 0 0,1 1-1 0 0,-1-1 1 0 0,0 1 0 0 0,0 0 0 0 0,1-1-1 0 0,-1 1 1 0 0,1-1 0 0 0,-1 1-1 0 0,0 0 1 0 0,1-1 0 0 0,-1 1 0 0 0,1 0-1 0 0,-1-1 1 0 0,1 1 0 0 0,-1 0-1 0 0,1-1 1 0 0,-1 1 0 0 0,1 0-1 0 0,-1 0 1 0 0,1 0 0 0 0,-1 0 0 0 0,1 0-1 0 0,-1 0 1 0 0,1-1 0 0 0,0 1-1 0 0,-1 0 1 0 0,1 0 0 0 0,-1 1 0 0 0,1-1-1 0 0,-1 0 1 0 0,1 0 0 0 0,-1 0-1 0 0,1 0 1 0 0,-1 0 0 0 0,1 1 0 0 0,-1-1-1 0 0,1 0 1 0 0,-1 0 0 0 0,1 1-1 0 0,-1-1 1 0 0,1 0 0 0 0,-1 1 0 0 0,1-1-1 0 0,-1 0 1 0 0,0 1 0 0 0,1 0-1 0 0,18 23 177 0 0,-18-23-165 0 0,22 39 185 0 0,-1 1-1 0 0,-2 1 1 0 0,-2 0 0 0 0,-2 2 0 0 0,-1 0 0 0 0,-3 0 0 0 0,9 59 0 0 0,-18-74-140 0 0,-1 1 1 0 0,-2-1 0 0 0,0 1 0 0 0,-3-1 0 0 0,0 1 0 0 0,-2-1 0 0 0,-1 0 0 0 0,-1 0-1 0 0,-19 46 1 0 0,24-69-35 0 0,-2 1 0 0 0,1 0-1 0 0,-1-1 1 0 0,1 0 0 0 0,-2 1-1 0 0,1-2 1 0 0,-1 1 0 0 0,0 0-1 0 0,0-1 1 0 0,0 0 0 0 0,-1 0-1 0 0,0-1 1 0 0,-9 6 0 0 0,10-7-14 0 0,1-1 1 0 0,-1 0 0 0 0,0-1-1 0 0,1 1 1 0 0,-1-1 0 0 0,0 0-1 0 0,0 0 1 0 0,0 0-1 0 0,0-1 1 0 0,0 1 0 0 0,0-1-1 0 0,0-1 1 0 0,0 1-1 0 0,0-1 1 0 0,0 0 0 0 0,0 0-1 0 0,0 0 1 0 0,0-1-1 0 0,0 1 1 0 0,-5-4 0 0 0,0-1-177 0 0,0 1 0 0 0,0-2 0 0 0,1 1 0 0 0,0-2 0 0 0,1 1 0 0 0,0-1 1 0 0,0 0-1 0 0,0-1 0 0 0,1 0 0 0 0,0 0 0 0 0,1 0 0 0 0,0-1 1 0 0,1 0-1 0 0,-7-16 0 0 0,4 8-1214 0 0,2 0 1 0 0,-9-39-1 0 0,12 37-1138 0 0,0-1 0 0 0,1-29 0 0 0,2 22-2214 0 0</inkml:trace>
</inkml:ink>
</file>

<file path=ppt/ink/ink5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4:53.891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62 36 0 0,'28'-45'8263'0'0,"-27"44"-8125"0"0,0-1 0 0 0,0 1 0 0 0,0-1 0 0 0,0 1-1 0 0,0-1 1 0 0,0 1 0 0 0,1 0 0 0 0,-1-1-1 0 0,0 1 1 0 0,3-1 0 0 0</inkml:trace>
</inkml:ink>
</file>

<file path=ppt/ink/ink5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4:58.427"/>
    </inkml:context>
    <inkml:brush xml:id="br0">
      <inkml:brushProperty name="width" value="0.2" units="cm"/>
      <inkml:brushProperty name="height" value="0.2" units="cm"/>
    </inkml:brush>
  </inkml:definitions>
  <inkml:trace contextRef="#ctx0" brushRef="#br0">24 535 1432 0 0,'-5'18'1176'0'0,"0"1"467"0"0,0-1 0 0 0,2 0-1 0 0,-3 30 1 0 0,6-48-1598 0 0,0 1 0 0 0,0 0 0 0 0,1-1 1 0 0,-1 1-1 0 0,0-1 0 0 0,0 1 0 0 0,1-1 0 0 0,-1 1 0 0 0,0-1 1 0 0,1 0-1 0 0,-1 1 0 0 0,0-1 0 0 0,1 1 0 0 0,-1-1 0 0 0,0 0 1 0 0,1 1-1 0 0,-1-1 0 0 0,1 0 0 0 0,-1 1 0 0 0,1-1 0 0 0,-1 0 1 0 0,1 1-1 0 0,-1-1 0 0 0,1 0 0 0 0,-1 0 0 0 0,1 0 0 0 0,-1 0 1 0 0,1 0-1 0 0,-1 0 0 0 0,1 0 0 0 0,0 1 0 0 0,-1-1 0 0 0,1-1 1 0 0,-1 1-1 0 0,1 0 0 0 0,0 0 0 0 0,20-3 373 0 0,-21 3-396 0 0,20-5 176 0 0,0-2 0 0 0,-1 0 0 0 0,0-1 0 0 0,0 0 0 0 0,27-18 1 0 0,-40 22-176 0 0,55-31 204 0 0,97-76-1 0 0,-132 89-194 0 0,0-1-1 0 0,-1-1 1 0 0,-1-1-1 0 0,-1-2 1 0 0,30-45 0 0 0,-41 51 349 0 0,-1 0 0 0 0,-1-1 0 0 0,-1-1 1 0 0,-1 1-1 0 0,9-40 0 0 0,-17 62-354 0 0,0-1-1 0 0,0 0 1 0 0,0 1 0 0 0,0-1-1 0 0,0 1 1 0 0,0-1 0 0 0,0 1-1 0 0,1-1 1 0 0,-1 1 0 0 0,0-1-1 0 0,0 1 1 0 0,0 0 0 0 0,1-1-1 0 0,-1 1 1 0 0,0-1 0 0 0,1 1-1 0 0,-1-1 1 0 0,0 1 0 0 0,1 0-1 0 0,-1-1 1 0 0,0 1 0 0 0,1 0-1 0 0,-1-1 1 0 0,1 1 0 0 0,0 0-1 0 0,6 8 384 0 0,8 33 45 0 0,-11-28-192 0 0,12 20 93 0 0,1-1 0 0 0,1-1 0 0 0,28 38 0 0 0,-14-23-83 0 0,-21-33 10 0 0,-9-12-182 0 0,-1 1 0 0 0,1-1 0 0 0,-1 1 0 0 0,0-1 0 0 0,1 1 0 0 0,-1 0 0 0 0,0 0 0 0 0,0 0 0 0 0,0-1 0 0 0,0 1 0 0 0,0 2 0 0 0,10-34 511 0 0,-7-93-566 0 0,7-63-276 0 0,-11 184 226 0 0,0 0 1 0 0,0 0-1 0 0,1 0 0 0 0,-1 0 0 0 0,0 0 1 0 0,1 0-1 0 0,-1 0 0 0 0,1 1 0 0 0,0-1 1 0 0,0 0-1 0 0,0 0 0 0 0,0 1 0 0 0,0-1 0 0 0,0 1 1 0 0,0-1-1 0 0,0 1 0 0 0,0-1 0 0 0,1 1 1 0 0,-1-1-1 0 0,1 1 0 0 0,-1 0 0 0 0,1 0 0 0 0,0 0 1 0 0,-1 0-1 0 0,1 0 0 0 0,0 0 0 0 0,-1 1 1 0 0,1-1-1 0 0,0 0 0 0 0,0 1 0 0 0,0-1 0 0 0,0 1 1 0 0,0 0-1 0 0,0 0 0 0 0,0 0 0 0 0,0 0 1 0 0,-1 0-1 0 0,1 0 0 0 0,0 0 0 0 0,3 1 1 0 0,3 2-39 0 0,1 0 0 0 0,-1 1 0 0 0,0 0 1 0 0,-1 0-1 0 0,1 1 0 0 0,-1 0 0 0 0,11 9 0 0 0,43 48-2076 0 0,-50-49 444 0 0,1 1 1 0 0,1-2-1 0 0,0 0 0 0 0,1 0 0 0 0,25 15 0 0 0</inkml:trace>
</inkml:ink>
</file>

<file path=ppt/ink/ink5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4:58.876"/>
    </inkml:context>
    <inkml:brush xml:id="br0">
      <inkml:brushProperty name="width" value="0.2" units="cm"/>
      <inkml:brushProperty name="height" value="0.2" units="cm"/>
    </inkml:brush>
  </inkml:definitions>
  <inkml:trace contextRef="#ctx0" brushRef="#br0">62 103 616 0 0,'1'-24'2069'0'0,"-1"8"-155"0"0,0 1 0 0 0,-3-21 0 0 0,3 35-1859 0 0,0 1 0 0 0,0-1-1 0 0,0 1 1 0 0,0 0 0 0 0,0-1-1 0 0,0 1 1 0 0,0-1-1 0 0,0 1 1 0 0,0-1 0 0 0,-1 1-1 0 0,1 0 1 0 0,0-1-1 0 0,0 1 1 0 0,-1-1 0 0 0,1 1-1 0 0,0 0 1 0 0,0-1 0 0 0,-1 1-1 0 0,1 0 1 0 0,0-1-1 0 0,-1 1 1 0 0,1 0 0 0 0,0 0-1 0 0,-1-1 1 0 0,1 1 0 0 0,-1 0-1 0 0,1 0 1 0 0,-1-1-1 0 0,1 1 1 0 0,0 0 0 0 0,-1 0-1 0 0,1 0 1 0 0,-1 0 0 0 0,1 0-1 0 0,-1 0 1 0 0,1 0-1 0 0,-1 0 1 0 0,1 0 0 0 0,0 0-1 0 0,-1 0 1 0 0,1 0-1 0 0,-1 0 1 0 0,1 0 0 0 0,-1 0-1 0 0,1 1 1 0 0,-1-1 0 0 0,0 0-1 0 0,-1 1 32 0 0,1 0 0 0 0,-1 1 1 0 0,0-1-1 0 0,0 0 0 0 0,0 1 0 0 0,1-1 0 0 0,-1 1 0 0 0,1-1 0 0 0,-3 4 0 0 0,0 1 38 0 0,1 0-1 0 0,0 0 0 0 0,0 1 1 0 0,1 0-1 0 0,0-1 0 0 0,0 1 1 0 0,0 0-1 0 0,1 0 0 0 0,0 0 0 0 0,0 0 1 0 0,1 14-1 0 0,0-6 14 0 0,2 0 1 0 0,-1-1-1 0 0,2 1 1 0 0,7 25-1 0 0,-6-30-75 0 0,0 0 0 0 0,0 1 0 0 0,1-2 0 0 0,0 1 1 0 0,1-1-1 0 0,0 1 0 0 0,1-2 0 0 0,0 1 0 0 0,0-1 0 0 0,1 0 0 0 0,14 11 0 0 0,-18-15-43 0 0,1-1 0 0 0,0 1 1 0 0,0-1-1 0 0,0-1 0 0 0,0 1 1 0 0,1-1-1 0 0,-1 0 0 0 0,1 0 0 0 0,-1-1 1 0 0,1 1-1 0 0,0-1 0 0 0,0 0 1 0 0,-1-1-1 0 0,1 0 0 0 0,0 0 0 0 0,0 0 1 0 0,0 0-1 0 0,0-1 0 0 0,-1 0 1 0 0,1 0-1 0 0,0-1 0 0 0,-1 1 0 0 0,9-5 1 0 0,-6 2-31 0 0,0-1 0 0 0,0 0 1 0 0,0-1-1 0 0,-1 1 0 0 0,0-1 1 0 0,0-1-1 0 0,0 0 1 0 0,-1 0-1 0 0,0 0 0 0 0,-1 0 1 0 0,1-1-1 0 0,-1 0 0 0 0,7-16 1 0 0,0-3-7 0 0,-2-1 0 0 0,0 0 0 0 0,6-33 0 0 0,-15 41-56 0 0,-2 17-7 0 0,1 14 63 0 0,0-5 72 0 0,1 0 1 0 0,0 0-1 0 0,0 0 1 0 0,0 0-1 0 0,0-1 1 0 0,1 1-1 0 0,0 0 1 0 0,0-1-1 0 0,1 1 0 0 0,0-1 1 0 0,0 0-1 0 0,0 0 1 0 0,0 0-1 0 0,1 0 1 0 0,0 0-1 0 0,0-1 1 0 0,0 0-1 0 0,1 1 0 0 0,-1-2 1 0 0,1 1-1 0 0,0 0 1 0 0,0-1-1 0 0,0 0 1 0 0,0 0-1 0 0,1-1 1 0 0,-1 0-1 0 0,1 1 0 0 0,0-2 1 0 0,-1 1-1 0 0,1-1 1 0 0,10 1-1 0 0,-7-1 3 0 0,-1-1 0 0 0,1 0-1 0 0,0-1 1 0 0,0 0 0 0 0,-1 0-1 0 0,1-1 1 0 0,-1 0 0 0 0,1-1-1 0 0,-1 0 1 0 0,0 0 0 0 0,0-1-1 0 0,14-8 1 0 0,-19 10-44 0 0,0 0-1 0 0,0 0 0 0 0,0 0 1 0 0,0-1-1 0 0,0 1 1 0 0,0-1-1 0 0,-1 0 0 0 0,1 0 1 0 0,-1 0-1 0 0,0 0 1 0 0,0 0-1 0 0,0-1 1 0 0,0 1-1 0 0,-1-1 0 0 0,1 1 1 0 0,-1-1-1 0 0,0 1 1 0 0,0-1-1 0 0,0 0 1 0 0,-1 0-1 0 0,1 1 0 0 0,-1-1 1 0 0,0 0-1 0 0,0 0 1 0 0,0 0-1 0 0,0 1 1 0 0,-1-1-1 0 0,0 0 0 0 0,0 0 1 0 0,0 1-1 0 0,-2-8 1 0 0,1 8-90 0 0,-1-1 0 0 0,1 0 0 0 0,-1 0 1 0 0,1 1-1 0 0,-1 0 0 0 0,0-1 1 0 0,0 1-1 0 0,0 0 0 0 0,-1 0 0 0 0,1 1 1 0 0,-1-1-1 0 0,1 1 0 0 0,-1 0 0 0 0,0 0 1 0 0,0 0-1 0 0,0 0 0 0 0,0 1 0 0 0,-1-1 1 0 0,1 1-1 0 0,0 0 0 0 0,0 0 1 0 0,-6 0-1 0 0,-6 0-1288 0 0,-1-1 1 0 0,0 2 0 0 0,1 0-1 0 0,-25 4 1 0 0,20-2-1633 0 0,3-2-897 0 0</inkml:trace>
</inkml:ink>
</file>

<file path=ppt/ink/ink5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4:59.392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249 2228 0 0,'3'-2'409'0'0,"-1"1"1"0"0,0 0-1 0 0,1-1 0 0 0,-1 1 0 0 0,1 0 1 0 0,-1 0-1 0 0,1 0 0 0 0,0 1 0 0 0,-1-1 1 0 0,1 1-1 0 0,0-1 0 0 0,-1 1 0 0 0,1 0 1 0 0,0 0-1 0 0,3 1 0 0 0,-1-1 23 0 0,1 1-1 0 0,-1 1 0 0 0,0-1 1 0 0,0 1-1 0 0,0 0 0 0 0,0 0 1 0 0,6 4-1 0 0,7 6 220 0 0,-1 1 0 0 0,0 0 0 0 0,16 17 0 0 0,-18-16-32 0 0,130 126 2693 0 0,-145-141-3293 0 0,1 0 0 0 0,-1 0 0 0 0,1-1 0 0 0,-1 1 0 0 0,0 0-1 0 0,1-1 1 0 0,-1 1 0 0 0,0 0 0 0 0,0 0 0 0 0,0-1 0 0 0,0 1-1 0 0,0 0 1 0 0,0-1 0 0 0,0 1 0 0 0,-1-2 0 0 0,-5-20 15 0 0,1 1 0 0 0,1-1 0 0 0,2 0 1 0 0,-1-36-1 0 0,3 52-46 0 0,0 1 0 0 0,1-1 0 0 0,0 0 0 0 0,0 0 1 0 0,0 0-1 0 0,1 1 0 0 0,0-1 0 0 0,0 0 0 0 0,1 1 1 0 0,0 0-1 0 0,0 0 0 0 0,0-1 0 0 0,1 2 0 0 0,0-1 0 0 0,0 0 1 0 0,0 1-1 0 0,1 0 0 0 0,0 0 0 0 0,8-7 0 0 0,-7 9 7 0 0,-1 0 0 0 0,0 1-1 0 0,1-1 1 0 0,-1 1-1 0 0,1 0 1 0 0,0 1 0 0 0,0 0-1 0 0,-1 0 1 0 0,1 0-1 0 0,0 0 1 0 0,0 1 0 0 0,0 0-1 0 0,0 0 1 0 0,0 1-1 0 0,0-1 1 0 0,0 1 0 0 0,10 3-1 0 0,3 2 81 0 0,0 1 0 0 0,0 1-1 0 0,32 17 423 0 0,-53-26-436 0 0,-1-3-54 0 0,0 0 0 0 0,0-1 0 0 0,1 1 0 0 0,-1 0-1 0 0,1-1 1 0 0,0 0 0 0 0,0 1 0 0 0,0-1 0 0 0,0 0 0 0 0,1 0 0 0 0,0 0-1 0 0,0 0 1 0 0,1 0 0 0 0,-1 0 0 0 0,1 0 0 0 0,0 0 0 0 0,0 0 0 0 0,2-6-1 0 0,-2 5-17 0 0,1 0 0 0 0,0 1-1 0 0,0-1 1 0 0,0 0-1 0 0,1 1 1 0 0,-1 0 0 0 0,1-1-1 0 0,1 1 1 0 0,-1 0-1 0 0,1 0 1 0 0,0 0 0 0 0,0 0-1 0 0,0 0 1 0 0,1 1 0 0 0,0 0-1 0 0,5-6 1 0 0,-6 8 15 0 0,0 0-1 0 0,1 0 1 0 0,-1 1 0 0 0,0-1 0 0 0,1 1 0 0 0,-1 0 0 0 0,0 0 0 0 0,1 0-1 0 0,0 0 1 0 0,-1 1 0 0 0,1-1 0 0 0,-1 1 0 0 0,1 0 0 0 0,5 0 0 0 0,-2 1-98 0 0,1 1 0 0 0,0-1 0 0 0,-1 1 0 0 0,0 1 0 0 0,1-1 0 0 0,9 6 0 0 0,1 2-1077 0 0,0 0 0 0 0,-1 2-1 0 0,0 0 1 0 0,19 18 0 0 0,-2-2-6024 0 0</inkml:trace>
</inkml:ink>
</file>

<file path=ppt/ink/ink5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4:59.812"/>
    </inkml:context>
    <inkml:brush xml:id="br0">
      <inkml:brushProperty name="width" value="0.2" units="cm"/>
      <inkml:brushProperty name="height" value="0.2" units="cm"/>
    </inkml:brush>
  </inkml:definitions>
  <inkml:trace contextRef="#ctx0" brushRef="#br0">34 272 628 0 0,'-28'-69'9806'0'0,"24"60"-9029"0"0,2 12-127 0 0,6 18-226 0 0,-3-19-343 0 0,0 0-1 0 0,0 1 1 0 0,1-1-1 0 0,-1 0 0 0 0,0 0 1 0 0,1 0-1 0 0,-1 0 1 0 0,1 0-1 0 0,0-1 1 0 0,-1 1-1 0 0,1 0 1 0 0,0-1-1 0 0,0 1 1 0 0,0-1-1 0 0,0 0 1 0 0,0 0-1 0 0,1 0 1 0 0,-1 0-1 0 0,0 0 1 0 0,0 0-1 0 0,1 0 0 0 0,-1-1 1 0 0,0 1-1 0 0,1-1 1 0 0,2 0-1 0 0,5-1-25 0 0,-1 0-1 0 0,0-1 0 0 0,-1 0 1 0 0,1-1-1 0 0,0 0 0 0 0,-1 0 1 0 0,1-1-1 0 0,-1 0 1 0 0,0-1-1 0 0,0 0 0 0 0,-1 0 1 0 0,1 0-1 0 0,-1-1 0 0 0,0 0 1 0 0,-1-1-1 0 0,0 1 0 0 0,0-1 1 0 0,0-1-1 0 0,-1 1 1 0 0,0-1-1 0 0,0 0 0 0 0,-1 0 1 0 0,0 0-1 0 0,0 0 0 0 0,-1-1 1 0 0,0 0-1 0 0,-1 0 0 0 0,1 0 1 0 0,-2 0-1 0 0,0 0 0 0 0,1-12 1 0 0,-2 19-45 0 0,0-1-1 0 0,-1 0 1 0 0,1 1 0 0 0,-1-1-1 0 0,1 0 1 0 0,-1 1 0 0 0,0-1 0 0 0,0 1-1 0 0,0-1 1 0 0,0 1 0 0 0,0-1-1 0 0,-1 1 1 0 0,1 0 0 0 0,-1 0 0 0 0,0 0-1 0 0,1 0 1 0 0,-1 0 0 0 0,-2-2-1 0 0,-3 2 65 0 0,-1 3-23 0 0,1 0 0 0 0,0 0 1 0 0,0 1-1 0 0,0 0 0 0 0,-1 0 1 0 0,2 0-1 0 0,-1 1 0 0 0,0 0 0 0 0,0 1 1 0 0,1-1-1 0 0,-11 9 0 0 0,6-4 47 0 0,0 1 0 0 0,1 0 0 0 0,0 1 0 0 0,1 0 0 0 0,0 1 0 0 0,1 0 1 0 0,0 0-1 0 0,-13 23 0 0 0,19-28-61 0 0,-1 0 0 0 0,0 0 0 0 0,1 0 1 0 0,1 1-1 0 0,-1-1 0 0 0,1 0 1 0 0,0 1-1 0 0,0-1 0 0 0,1 1 0 0 0,-1 0 1 0 0,2-1-1 0 0,-1 1 0 0 0,1-1 1 0 0,0 1-1 0 0,0-1 0 0 0,1 1 1 0 0,-1-1-1 0 0,2 0 0 0 0,-1 0 0 0 0,5 10 1 0 0,0-6-53 0 0,1 0 1 0 0,-1 0-1 0 0,2 0 1 0 0,-1-1-1 0 0,1 0 0 0 0,0-1 1 0 0,1 0-1 0 0,0 0 1 0 0,1-1-1 0 0,-1 0 1 0 0,1-1-1 0 0,23 9 1 0 0,-19-9-782 0 0,1-1 1 0 0,-1 0 0 0 0,33 5-1 0 0,-36-9-564 0 0,1 0-1 0 0,-1 0 1 0 0,1-1-1 0 0,-1-1 1 0 0,17-3-1 0 0</inkml:trace>
</inkml:ink>
</file>

<file path=ppt/ink/ink5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02.623"/>
    </inkml:context>
    <inkml:brush xml:id="br0">
      <inkml:brushProperty name="width" value="0.2" units="cm"/>
      <inkml:brushProperty name="height" value="0.2" units="cm"/>
    </inkml:brush>
  </inkml:definitions>
  <inkml:trace contextRef="#ctx0" brushRef="#br0">29 470 1460 0 0,'-1'0'194'0'0,"0"0"1"0"0,0 1-1 0 0,0-1 0 0 0,-1 0 1 0 0,1 1-1 0 0,0-1 0 0 0,0 1 1 0 0,-6 5 1359 0 0,6-5-1360 0 0,1 0 1 0 0,-1 0-1 0 0,0 0 0 0 0,1 0 1 0 0,-1 0-1 0 0,1 0 0 0 0,-1 2 1 0 0,0 0 5 0 0,1-1 0 0 0,0 1 0 0 0,0-1 0 0 0,0 1 0 0 0,0-1 0 0 0,0 1 0 0 0,0 0 0 0 0,1-1 0 0 0,-1 1 0 0 0,3 3 0 0 0,2 7 231 0 0,0 0-1 0 0,2-1 0 0 0,9 15 1 0 0,-13-22-161 0 0,81 123 1740 0 0,-32-51-757 0 0,56 109 1 0 0,-102-172-1125 0 0,8 12 341 0 0,-2 1 0 0 0,-1 0 0 0 0,14 52 0 0 0,-25-79-456 0 0,0 1 0 0 0,1-1 0 0 0,-1 1 0 0 0,0-1 0 0 0,0 0 0 0 0,0 1 0 0 0,0-1 0 0 0,1 1 0 0 0,-1-1 0 0 0,0 1 0 0 0,0-1 1 0 0,0 1-1 0 0,0-1 0 0 0,0 0 0 0 0,0 1 0 0 0,0-1 0 0 0,0 1 0 0 0,0-1 0 0 0,-1 1 0 0 0,1-1 0 0 0,0 1 0 0 0,0-1 0 0 0,0 0 1 0 0,0 1-1 0 0,-1-1 0 0 0,1 1 0 0 0,0-1 0 0 0,0 0 0 0 0,-1 1 0 0 0,1-1 0 0 0,0 0 0 0 0,-1 1 0 0 0,1-1 0 0 0,0 0 0 0 0,-1 1 0 0 0,1-1 1 0 0,0 0-1 0 0,-1 0 0 0 0,1 1 0 0 0,-1-1 0 0 0,1 0 0 0 0,0 0 0 0 0,-1 0 0 0 0,1 0 0 0 0,-1 0 0 0 0,1 0 0 0 0,-1 0 0 0 0,1 0 1 0 0,-1 1-1 0 0,1-1 0 0 0,-1-1 0 0 0,1 1 0 0 0,0 0 0 0 0,-1 0 0 0 0,1 0 0 0 0,-1 0 0 0 0,-23-12 173 0 0,8-4-226 0 0,1 0 0 0 0,1 0 0 0 0,0-1 0 0 0,1-1 0 0 0,1 0 0 0 0,-13-28 0 0 0,15 28-14 0 0,-25-44-192 0 0,4-2 0 0 0,-40-112 0 0 0,54 122 88 0 0,3 0 0 0 0,2-1 1 0 0,-10-109-1 0 0,21 133 79 0 0,1 1-1 0 0,1-1 1 0 0,8-44 0 0 0,-7 60 44 0 0,1 1 0 0 0,1 0 0 0 0,1 0 1 0 0,0 0-1 0 0,0 0 0 0 0,2 1 0 0 0,0 0 0 0 0,0 0 0 0 0,12-15 0 0 0,-16 24 28 0 0,0 0-1 0 0,1 1 0 0 0,-1-1 0 0 0,1 1 0 0 0,-1 0 0 0 0,1 0 0 0 0,0 0 0 0 0,0 1 0 0 0,0-1 0 0 0,1 1 1 0 0,-1 0-1 0 0,1 0 0 0 0,-1 1 0 0 0,1-1 0 0 0,-1 1 0 0 0,1 0 0 0 0,0 0 0 0 0,0 0 0 0 0,0 1 0 0 0,-1 0 1 0 0,1 0-1 0 0,0 0 0 0 0,0 1 0 0 0,0-1 0 0 0,-1 1 0 0 0,1 0 0 0 0,4 2 0 0 0,1 0 14 0 0,-1 1 0 0 0,0 0 0 0 0,0 1 1 0 0,-1 0-1 0 0,1 0 0 0 0,-1 1 0 0 0,0 0 0 0 0,0 0 0 0 0,-1 1 0 0 0,0 0 0 0 0,0 0 0 0 0,6 10 0 0 0,-6-7 50 0 0,0 1 0 0 0,0 0-1 0 0,-1 1 1 0 0,0 0 0 0 0,-1-1 0 0 0,-1 2 0 0 0,0-1-1 0 0,0 0 1 0 0,-1 1 0 0 0,-1 0 0 0 0,0 0-1 0 0,-1 0 1 0 0,0 0 0 0 0,-1 0 0 0 0,0 0-1 0 0,-1-1 1 0 0,-1 1 0 0 0,0 0 0 0 0,0 0 0 0 0,-2-1-1 0 0,1 1 1 0 0,-2-1 0 0 0,0 0 0 0 0,0 0-1 0 0,-1 0 1 0 0,0-1 0 0 0,-1 0 0 0 0,0 0 0 0 0,-1-1-1 0 0,0 0 1 0 0,-11 10 0 0 0,0-2-5 0 0,0 0-1 0 0,-2-1 1 0 0,0-2 0 0 0,-43 26-1 0 0,-4-9-2966 0 0,56-29 1232 0 0</inkml:trace>
</inkml:ink>
</file>

<file path=ppt/ink/ink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5:39.23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330 8792,'1'-30'2608,"0"1"-1888,1 11-180,1-2 89,1 1-179,0-2 0,1 0 0,2 0-91,0 2 1,2-1-90,1 2-90,0 1 0,2 1-90,-1 2 0,2 1 0,-1 2 0,1 1 0,0 4-90,5 0 90,0 5-90,3 5 0,-3 8 90,-7 1-90,-5 10 89,-5-7 1,-3 6-90,-1-5 90,-2 1-90,-1 1 0,-1-1 0,1 1 90,-1 0-90,2-1 0,0-1 90,0-1-90,3 0 90,1 6-90,3-6 90,3 5-90,3-7 0,1 0 0,2 0 0,2-1 0,0 0 0,1 0 0,-1 0 0,0-1 0,-1-1 180,-2-1 450,-1-1 359,0 4-449,-6 1-360,-6 0 90,-6-2-180,-5-5 89,0-4-89,-2 0 0,0-1-90,-1 0-180,1 0-89,-1-1-271,0 0-180,0 0-269,1-1-180,-1 1-3239,1-1 4408,-6 0 0,-3-2 0,-7 0 0</inkml:trace>
</inkml:ink>
</file>

<file path=ppt/ink/ink5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02.971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1 952 0 0,'0'2'4472'0'0,"3"28"-2561"0"0,-2 32 1 0 0,1 16-703 0 0,6 10 171 0 0,37 169-1 0 0,-36-223-1238 0 0,1 1 0 0 0,2-2 0 0 0,1 0 0 0 0,2 0 0 0 0,1-1 0 0 0,2-1 0 0 0,37 51 0 0 0,-47-73-145 0 0,-1-1 0 0 0,1 1 0 0 0,0-2 0 0 0,1 1 1 0 0,0-1-1 0 0,0 0 0 0 0,0-1 0 0 0,1 0 0 0 0,0-1 1 0 0,12 5-1 0 0,-15-7-263 0 0,0-1 0 0 0,0-1 0 0 0,0 1 0 0 0,0-1 0 0 0,0 0 0 0 0,0-1-1 0 0,9 0 1 0 0,-9 0-371 0 0,0-1-1 0 0,0 0 0 0 0,0-1 1 0 0,-1 0-1 0 0,1 0 1 0 0,0 0-1 0 0,-1-1 0 0 0,8-3 1 0 0,7-6-3375 0 0</inkml:trace>
</inkml:ink>
</file>

<file path=ppt/ink/ink5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03.421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02 304 1260 0 0,'9'17'8773'0'0,"25"53"-7348"0"0,-2-10 972 0 0,46 122 0 0 0,-75-174-2109 0 0,0 0 0 0 0,0 1-1 0 0,-1-1 1 0 0,0 1 0 0 0,0-1 0 0 0,-1 1 0 0 0,0 17-1 0 0,-1-25-265 0 0,0-1 0 0 0,0 1 0 0 0,0-1 0 0 0,0 1 0 0 0,-1 0 0 0 0,1-1 0 0 0,0 1 0 0 0,0-1 0 0 0,-1 1 0 0 0,1-1 0 0 0,0 1 0 0 0,-1-1 0 0 0,1 1 0 0 0,-1-1 0 0 0,1 1 0 0 0,-1-1 0 0 0,1 1-1 0 0,-1-1 1 0 0,1 0 0 0 0,-1 1 0 0 0,1-1 0 0 0,-1 0 0 0 0,1 1 0 0 0,-1-1 0 0 0,0 0 0 0 0,1 0 0 0 0,-1 0 0 0 0,1 1 0 0 0,-1-1 0 0 0,0 0 0 0 0,0 0 0 0 0,-16-1 155 0 0,16 1-193 0 0,-2-1 17 0 0,0 0-1 0 0,0 0 0 0 0,0 0 0 0 0,0-1 0 0 0,0 1 0 0 0,0-1 0 0 0,1 1 0 0 0,-1-1 0 0 0,0 0 0 0 0,1 0 0 0 0,0 0 0 0 0,-1-1 0 0 0,-3-4 1 0 0,-24-37-259 0 0,24 35 184 0 0,-17-29-79 0 0,1-1-1 0 0,3 0 1 0 0,0-1-1 0 0,3-1 0 0 0,1-1 1 0 0,3-1-1 0 0,1 1 1 0 0,2-2-1 0 0,-6-77 0 0 0,14 111 160 0 0,1 0 1 0 0,1 0-1 0 0,-1 0 0 0 0,2 0 0 0 0,0 0 0 0 0,0 0 0 0 0,0 0 0 0 0,8-17 1 0 0,-8 23 34 0 0,0 1 0 0 0,-1 0 0 0 0,2 0 1 0 0,-1-1-1 0 0,0 1 0 0 0,0 1 0 0 0,1-1 1 0 0,0 0-1 0 0,-1 1 0 0 0,1-1 1 0 0,0 1-1 0 0,0 0 0 0 0,1 0 0 0 0,-1 0 1 0 0,0 0-1 0 0,1 0 0 0 0,-1 1 0 0 0,1 0 1 0 0,-1-1-1 0 0,1 1 0 0 0,0 1 0 0 0,-1-1 1 0 0,1 0-1 0 0,0 1 0 0 0,0 0 0 0 0,5 0 1 0 0,4 2 101 0 0,0-1 0 0 0,-1 2 0 0 0,1 0 0 0 0,-1 0 0 0 0,1 2 1 0 0,-1-1-1 0 0,-1 1 0 0 0,15 9 0 0 0,88 60 608 0 0,-86-54-560 0 0,23 17 133 0 0,-3 2-1 0 0,68 70 1 0 0,-35-18-3250 0 0,-78-87 2149 0 0,17 23-1332 0 0</inkml:trace>
</inkml:ink>
</file>

<file path=ppt/ink/ink5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03.792"/>
    </inkml:context>
    <inkml:brush xml:id="br0">
      <inkml:brushProperty name="width" value="0.2" units="cm"/>
      <inkml:brushProperty name="height" value="0.2" units="cm"/>
    </inkml:brush>
  </inkml:definitions>
  <inkml:trace contextRef="#ctx0" brushRef="#br0">73 297 2312 0 0,'-4'0'2091'0'0,"0"0"-1641"0"0,0-1 0 0 0,0 0 0 0 0,-1 1 0 0 0,1-1 0 0 0,0-1 0 0 0,0 1 0 0 0,0-1 0 0 0,1 1 0 0 0,-1-1 0 0 0,0 0 1 0 0,1-1-1 0 0,-1 1 0 0 0,1 0 0 0 0,-1-1 0 0 0,1 0 0 0 0,-3-3 0 0 0,5-1 24 0 0,3 1-365 0 0,0-1 0 0 0,0 1 0 0 0,1-1 0 0 0,0 1-1 0 0,0 0 1 0 0,1 0 0 0 0,0 0 0 0 0,0 1 0 0 0,0-1 0 0 0,10-9 0 0 0,10-7-433 0 0,27-21 1 0 0,-29 26-368 0 0,78-62-5832 0 0,-78 58 3062 0 0</inkml:trace>
</inkml:ink>
</file>

<file path=ppt/ink/ink5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04.122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162 800 0 0,'7'-10'1192'0'0,"0"0"1"0"0,-1-1-1 0 0,-1 1 1 0 0,8-19-1 0 0,4-9 1756 0 0,7-7 1935 0 0,-23 43-4588 0 0,-1 1-270 0 0,0 1 1 0 0,0 0-1 0 0,1-1 1 0 0,-1 1-1 0 0,0 0 1 0 0,0-1-1 0 0,0 1 1 0 0,1 0-1 0 0,-1-1 1 0 0,0 1-1 0 0,0 0 1 0 0,1 0-1 0 0,-1-1 1 0 0,0 1-1 0 0,1 0 0 0 0,-1 0 1 0 0,0 0-1 0 0,0-1 1 0 0,1 1-1 0 0,-1 0 1 0 0,1 0-1 0 0,-1 0 1 0 0,0 0-1 0 0,1 0 1 0 0,-1-1-1 0 0,0 1 1 0 0,1 0-1 0 0,-1 0 1 0 0,0 0-1 0 0,1 0 0 0 0,5 3 162 0 0,-1 0 0 0 0,0 1-1 0 0,-1-1 1 0 0,1 1 0 0 0,0 0-1 0 0,-1 0 1 0 0,0 1-1 0 0,7 8 1 0 0,30 50 1067 0 0,-17-24-611 0 0,37 54 953 0 0,70 144 1 0 0,-121-217-1714 0 0,-1 0 0 0 0,-1 1 0 0 0,-1 0 0 0 0,-1 1 0 0 0,0-1 0 0 0,-2 1 0 0 0,0 0 0 0 0,-2 0 0 0 0,0 28 0 0 0,-8-23-2526 0 0</inkml:trace>
  <inkml:trace contextRef="#ctx0" brushRef="#br0" timeOffset="1">833 238 3572 0 0,'15'-2'10281'0'0,"5"-6"-9693"0"0,-10 2-844 0 0,3-1-1944 0 0</inkml:trace>
</inkml:ink>
</file>

<file path=ppt/ink/ink5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05.622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4 299 1428 0 0,'-11'-24'4952'0'0,"10"24"-4856"0"0,1-1 1 0 0,0 1-1 0 0,0-1 1 0 0,-1 1-1 0 0,1-1 0 0 0,0 1 1 0 0,0-1-1 0 0,0 1 1 0 0,0-1-1 0 0,0 1 0 0 0,0-1 1 0 0,0 1-1 0 0,0-1 1 0 0,0 0-1 0 0,0 1 0 0 0,0-1 1 0 0,0 1-1 0 0,0-1 1 0 0,0 1-1 0 0,0-1 0 0 0,1 1 1 0 0,-1-1-1 0 0,0 1 1 0 0,1-2 288 0 0,0 1-288 0 0,19 17 795 0 0,27 36 454 0 0,-2 3 1 0 0,53 83-1 0 0,-50-68-582 0 0,148 242 1813 0 0,-155-229-1565 0 0,-41-81-937 0 0,1 0 1 0 0,0 0-1 0 0,-1 0 1 0 0,1 0-1 0 0,-1 0 1 0 0,1 0-1 0 0,-1 0 1 0 0,0 0-1 0 0,0 0 1 0 0,0 1-1 0 0,-1 2 1 0 0,1-5-60 0 0,0 1 1 0 0,0 0 0 0 0,0 0 0 0 0,-1-1-1 0 0,1 1 1 0 0,0 0 0 0 0,-1-1 0 0 0,1 1-1 0 0,0 0 1 0 0,-1-1 0 0 0,1 1-1 0 0,-1 0 1 0 0,1-1 0 0 0,-1 1 0 0 0,1-1-1 0 0,-1 1 1 0 0,0-1 0 0 0,1 1-1 0 0,-1-1 1 0 0,0 1 0 0 0,1-1 0 0 0,-1 0-1 0 0,0 1 1 0 0,1-1 0 0 0,-1 0 0 0 0,0 0-1 0 0,0 0 1 0 0,1 1 0 0 0,-1-1-1 0 0,0 0 1 0 0,0 0 0 0 0,1 0 0 0 0,-1 0-1 0 0,0 0 1 0 0,-1-1 0 0 0,-4 0-5 0 0,-1 0 0 0 0,1-1 1 0 0,0 0-1 0 0,0-1 0 0 0,1 1 1 0 0,-1-1-1 0 0,0 0 0 0 0,1-1 1 0 0,-1 1-1 0 0,1-1 0 0 0,0 0 1 0 0,1-1-1 0 0,-1 1 0 0 0,-4-6 1 0 0,-11-13-165 0 0,-27-41 1 0 0,46 63 147 0 0,-25-39-234 0 0,1-2-1 0 0,2 0 1 0 0,2-2 0 0 0,1 0-1 0 0,-20-73 1 0 0,32 87 139 0 0,1 0-1 0 0,1-1 1 0 0,2 0-1 0 0,1 0 1 0 0,1 0-1 0 0,2 0 1 0 0,1 0 0 0 0,1-1-1 0 0,12-51 1 0 0,-11 69 68 0 0,2 1 1 0 0,-1-1-1 0 0,2 1 0 0 0,0 1 1 0 0,0-1-1 0 0,1 1 1 0 0,0 0-1 0 0,1 1 1 0 0,1 0-1 0 0,19-20 1 0 0,-23 27 23 0 0,-1-1 1 0 0,1 1 0 0 0,0 1 0 0 0,0-1-1 0 0,1 1 1 0 0,-1 0 0 0 0,1 0-1 0 0,0 0 1 0 0,0 1 0 0 0,0 0-1 0 0,0 0 1 0 0,0 1 0 0 0,0-1 0 0 0,0 1-1 0 0,0 1 1 0 0,1-1 0 0 0,-1 1-1 0 0,0 0 1 0 0,1 1 0 0 0,-1-1-1 0 0,0 1 1 0 0,0 0 0 0 0,0 1-1 0 0,0-1 1 0 0,0 1 0 0 0,7 4 0 0 0,-8-4 5 0 0,-1 0 1 0 0,0 0 0 0 0,0 0 0 0 0,0 1 0 0 0,0 0 0 0 0,0 0-1 0 0,-1 0 1 0 0,1 0 0 0 0,-1 1 0 0 0,0-1 0 0 0,0 1 0 0 0,0 0 0 0 0,-1 0-1 0 0,1 0 1 0 0,-1 0 0 0 0,3 6 0 0 0,-3-3 10 0 0,0 0 0 0 0,0 0 0 0 0,-1 1 0 0 0,0-1 0 0 0,0 0 0 0 0,-1 0 0 0 0,0 1 0 0 0,0-1 1 0 0,-3 13-1 0 0,-1 0 25 0 0,-1 0 1 0 0,-1-1-1 0 0,-1 0 1 0 0,0 0 0 0 0,-2-1-1 0 0,-19 32 1 0 0,-56 68-542 0 0,21-44-3681 0 0</inkml:trace>
</inkml:ink>
</file>

<file path=ppt/ink/ink5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05.939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37 1104 0 0,'30'-36'6883'0'0,"-31"97"-3058"0"0,0-29-3110 0 0,0-1 1 0 0,3 0-1 0 0,0 0 0 0 0,13 58 1 0 0,-7-61-530 0 0,2 0 1 0 0,1-1 0 0 0,1-1-1 0 0,1 0 1 0 0,1 0 0 0 0,2-1-1 0 0,0-1 1 0 0,30 33 0 0 0,-27-37-1000 0 0,1 0 0 0 0,1-1-1 0 0,1-1 1 0 0,1-1 0 0 0,30 17 0 0 0,-26-24-4288 0 0</inkml:trace>
</inkml:ink>
</file>

<file path=ppt/ink/ink5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06.792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269 2100 0 0,'0'-1'216'0'0,"1"0"1"0"0,-1-1-1 0 0,1 1 0 0 0,0 0 1 0 0,-1 0-1 0 0,1 0 0 0 0,0 0 1 0 0,0 0-1 0 0,1-2 433 0 0,-1 2-433 0 0,0 0 0 0 0,0 0 1 0 0,0 0-1 0 0,1 1 0 0 0,-1-1 1 0 0,0 0-1 0 0,0 1 0 0 0,0-1 1 0 0,1 1-1 0 0,-1-1 0 0 0,0 1 0 0 0,1 0 1 0 0,-1-1-1 0 0,0 1 0 0 0,1 0 1 0 0,-1 0-1 0 0,0 0 0 0 0,1 0 1 0 0,-1 0-1 0 0,0 0 0 0 0,1 1 0 0 0,-1-1 1 0 0,0 0-1 0 0,1 1 0 0 0,-1-1 1 0 0,2 2-1 0 0,3 1 99 0 0,0 2 0 0 0,-1-1 0 0 0,1 1 0 0 0,-1-1 0 0 0,0 2 0 0 0,5 5 0 0 0,-4-5 69 0 0,50 56 1278 0 0,-2 2-1 0 0,-3 3 0 0 0,62 107 0 0 0,-109-165-1494 0 0,0 1 0 0 0,0-1-1 0 0,-1 1 1 0 0,3 16-1 0 0,-6-26-147 0 0,1 1 0 0 0,-1 0 0 0 0,0 0 0 0 0,0 0 1 0 0,1 0-1 0 0,-1 0 0 0 0,0 0 0 0 0,0 0 0 0 0,0 0 0 0 0,0 0 0 0 0,0 0 0 0 0,0 0 0 0 0,0 0 0 0 0,0 0 0 0 0,-1 0 0 0 0,1 0 0 0 0,0 0 0 0 0,-1 0 0 0 0,1-1 0 0 0,0 1 1 0 0,-1 0-1 0 0,1 0 0 0 0,-1 0 0 0 0,1 0 0 0 0,-1-1 0 0 0,0 1 0 0 0,1 0 0 0 0,-1-1 0 0 0,0 1 0 0 0,0 0 0 0 0,1-1 0 0 0,-1 1 0 0 0,0-1 0 0 0,0 1 0 0 0,0-1 0 0 0,0 1 1 0 0,1-1-1 0 0,-1 0 0 0 0,0 1 0 0 0,0-1 0 0 0,-2 0 0 0 0,0 1-2 0 0,0-1-1 0 0,0-1 1 0 0,0 1 0 0 0,1 0 0 0 0,-1-1-1 0 0,0 1 1 0 0,0-1 0 0 0,0 0 0 0 0,1 0-1 0 0,-4-1 1 0 0,-2-3-36 0 0,1 0-1 0 0,0-1 1 0 0,0 1-1 0 0,0-2 1 0 0,0 1 0 0 0,1-1-1 0 0,0 1 1 0 0,1-2 0 0 0,0 1-1 0 0,-6-10 1 0 0,-2-6-199 0 0,-20-52 1 0 0,22 45 125 0 0,2 0 0 0 0,1-1 0 0 0,1 0 0 0 0,1 0 1 0 0,2 0-1 0 0,0-54 0 0 0,4 66 63 0 0,1 0-1 0 0,1 1 1 0 0,1-1 0 0 0,0 0-1 0 0,1 1 1 0 0,1 0 0 0 0,1 0-1 0 0,1 1 1 0 0,0-1 0 0 0,1 1-1 0 0,1 1 1 0 0,18-26 0 0 0,-25 38 19 0 0,1 0 1 0 0,-1 1 0 0 0,1 0-1 0 0,0-1 1 0 0,0 1 0 0 0,0 0-1 0 0,1 1 1 0 0,-1-1-1 0 0,1 1 1 0 0,0-1 0 0 0,0 1-1 0 0,-1 0 1 0 0,1 0 0 0 0,1 1-1 0 0,-1-1 1 0 0,8-1-1 0 0,-8 3 9 0 0,-1 0-1 0 0,1 0 1 0 0,0 0-1 0 0,-1 0 1 0 0,1 1-1 0 0,0-1 1 0 0,-1 1-1 0 0,1 0 1 0 0,-1 0-1 0 0,1 1 1 0 0,-1-1-1 0 0,1 1 1 0 0,-1 0-1 0 0,0-1 0 0 0,0 1 1 0 0,0 1-1 0 0,0-1 1 0 0,0 0-1 0 0,3 5 1 0 0,2 5 0 0 0,0 1 0 0 0,-1 0 0 0 0,-1 0 1 0 0,0 0-1 0 0,-1 1 0 0 0,0 0 0 0 0,3 18 0 0 0,-4-13 4 0 0,1-1 1 0 0,2-1-1 0 0,13 30 0 0 0,-15-39 4 0 0,0 0 1 0 0,1-1-1 0 0,-1 1 0 0 0,2-1 1 0 0,-1 0-1 0 0,1-1 0 0 0,0 0 1 0 0,12 9-1 0 0,7 1 3 0 0,37 17-1 0 0,-40-22-6 0 0,-1 2 1 0 0,32 22-1 0 0,-48-31 5 0 0,0 1-1 0 0,-1 0 1 0 0,1 0-1 0 0,-1 0 1 0 0,-1 1 0 0 0,1-1-1 0 0,-1 1 1 0 0,0 1-1 0 0,0-1 1 0 0,-1 0-1 0 0,5 12 1 0 0,-7-13 15 0 0,1 0 0 0 0,-2 0 0 0 0,1 0 0 0 0,0 0 1 0 0,-1 0-1 0 0,0 0 0 0 0,0 0 0 0 0,-1 0 0 0 0,1-1 0 0 0,-1 1 0 0 0,0 0 0 0 0,-1 0 0 0 0,1 0 0 0 0,-1-1 1 0 0,0 1-1 0 0,0 0 0 0 0,-5 7 0 0 0,0 0-1 0 0,-1-1 0 0 0,0 1-1 0 0,-1-2 1 0 0,-1 1 0 0 0,1-1 0 0 0,-2 0 0 0 0,1-1 0 0 0,-23 15 0 0 0,21-18-598 0 0,1 1 1 0 0,-1-1 0 0 0,-1-1 0 0 0,1 0 0 0 0,-20 5 0 0 0,30-10 239 0 0,0 1 0 0 0,0 0 0 0 0,0-1 0 0 0,0 0-1 0 0,0 1 1 0 0,0-1 0 0 0,-1 0 0 0 0,1 0 0 0 0,0 0-1 0 0,0 0 1 0 0,0 0 0 0 0,0-1 0 0 0,0 1 0 0 0,0-1 0 0 0,0 1-1 0 0,0-1 1 0 0,0 0 0 0 0,0 0 0 0 0,0 0 0 0 0,0 0-1 0 0,0 0 1 0 0,0 0 0 0 0,1 0 0 0 0,-1-1 0 0 0,1 1 0 0 0,-3-3-1 0 0</inkml:trace>
</inkml:ink>
</file>

<file path=ppt/ink/ink5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07.107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50 1148 0 0,'6'-6'827'0'0,"1"1"-1"0"0,0-1 1 0 0,0 1-1 0 0,0 1 1 0 0,1-1-1 0 0,-1 1 1 0 0,15-5-1 0 0,-17 7-495 0 0,0 1 0 0 0,0 0 0 0 0,0 0 0 0 0,0 1 0 0 0,1-1 0 0 0,-1 1 0 0 0,0 0 0 0 0,0 1-1 0 0,1-1 1 0 0,-1 1 0 0 0,0 0 0 0 0,0 1 0 0 0,0-1 0 0 0,6 3 0 0 0,11 6 371 0 0,1 1 0 0 0,-1 1 1 0 0,-1 1-1 0 0,0 1 0 0 0,-1 1 0 0 0,-1 1 0 0 0,18 18 1 0 0,-13-9-339 0 0,0 1 0 0 0,-3 0 0 0 0,0 2 0 0 0,27 46 1 0 0,-37-53-394 0 0,-1 1 0 0 0,0 0 0 0 0,-2 0 0 0 0,0 1 0 0 0,-2 0 0 0 0,-1 0 1 0 0,0 0-1 0 0,2 43 0 0 0,-7-46-703 0 0,0 0 0 0 0,-2 0 1 0 0,0 0-1 0 0,-7 26 0 0 0,4-28-904 0 0,0 0 0 0 0,-2 0 0 0 0,0-1 1 0 0,-18 31-1 0 0,2-12-4025 0 0</inkml:trace>
</inkml:ink>
</file>

<file path=ppt/ink/ink5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07.606"/>
    </inkml:context>
    <inkml:brush xml:id="br0">
      <inkml:brushProperty name="width" value="0.2" units="cm"/>
      <inkml:brushProperty name="height" value="0.2" units="cm"/>
    </inkml:brush>
  </inkml:definitions>
  <inkml:trace contextRef="#ctx0" brushRef="#br0">20 235 616 0 0,'-18'52'10203'0'0,"17"-38"-9101"0"0,19-19 64 0 0,-8 1-884 0 0,-1-1 1 0 0,0 0-1 0 0,0 0 0 0 0,14-13 0 0 0,-2 3-37 0 0,84-59 267 0 0,48-32-1610 0 0,-48 43-6552 0 0</inkml:trace>
</inkml:ink>
</file>

<file path=ppt/ink/ink5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07.942"/>
    </inkml:context>
    <inkml:brush xml:id="br0">
      <inkml:brushProperty name="width" value="0.2" units="cm"/>
      <inkml:brushProperty name="height" value="0.2" units="cm"/>
    </inkml:brush>
  </inkml:definitions>
  <inkml:trace contextRef="#ctx0" brushRef="#br0">56 382 2128 0 0,'-54'133'9077'0'0,"54"-133"-8999"0"0,-1 1-1 0 0,1-1 1 0 0,0 1 0 0 0,0-1 0 0 0,0 0 0 0 0,0 1-1 0 0,0-1 1 0 0,0 0 0 0 0,0 1 0 0 0,0-1 0 0 0,0 1-1 0 0,0-1 1 0 0,0 1 0 0 0,0-1 0 0 0,0 0 0 0 0,0 1-1 0 0,2 3 779 0 0,-1-4-778 0 0,12-1 1680 0 0,14-13-258 0 0,290-244 3325 0 0,-138 106-3818 0 0,-161 138-1162 0 0,43-37 493 0 0,-26 16-5037 0 0</inkml:trace>
</inkml:ink>
</file>

<file path=ppt/ink/ink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5:40.48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8 44 10951,'-27'0'5756,"16"0"-5666,41-3 0,-5 1-90,22-2 90,-24 1-90,-1 0 180,27-5-540,-23 4-269,23-3-361,-31 3 990,3 1 0,-10 1 0,-4 1 0</inkml:trace>
</inkml:ink>
</file>

<file path=ppt/ink/ink5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08.889"/>
    </inkml:context>
    <inkml:brush xml:id="br0">
      <inkml:brushProperty name="width" value="0.2" units="cm"/>
      <inkml:brushProperty name="height" value="0.2" units="cm"/>
    </inkml:brush>
  </inkml:definitions>
  <inkml:trace contextRef="#ctx0" brushRef="#br0">21 209 1464 0 0,'-3'-1'3528'0'0,"3"1"-3384"0"0,-1 0 0 0 0,0-1 0 0 0,0 1 0 0 0,1 0 0 0 0,-1 0 0 0 0,0 0 0 0 0,0 0 0 0 0,1 0 0 0 0,-1 0 0 0 0,0 0 0 0 0,0 0 0 0 0,1 0 0 0 0,-1 0 0 0 0,0 0 0 0 0,1 0 0 0 0,-1 1 0 0 0,0-1 0 0 0,0 0 0 0 0,1 1 0 0 0,-1-1 0 0 0,0 1 0 0 0,0-1-68 0 0,1 1 0 0 0,0 0 0 0 0,0 0 1 0 0,0 0-1 0 0,0-1 0 0 0,0 1 0 0 0,0 0 1 0 0,0 0-1 0 0,0 0 0 0 0,0-1 0 0 0,0 1 1 0 0,0 0-1 0 0,1 0 0 0 0,-1 0 0 0 0,0-1 1 0 0,0 1-1 0 0,1 0 0 0 0,-1-1 0 0 0,1 1 1 0 0,-1 0-1 0 0,0-1 0 0 0,1 1 0 0 0,-1 0 1 0 0,1-1-1 0 0,0 1 0 0 0,0 0 0 0 0,45 68 2890 0 0,56 111 0 0 0,-90-158-2694 0 0,268 447 3364 0 0,-210-362-3215 0 0,-58-91-509 0 0,-15-26-728 0 0,-20-27-133 0 0,-165-235-1350 0 0,108 147 1889 0 0,57 90 325 0 0,1-1 1 0 0,2-1-1 0 0,-28-74 0 0 0,42 93 60 0 0,0-1 0 0 0,1 1 0 0 0,1-2 0 0 0,1 1 0 0 0,1 0 0 0 0,0-1 0 0 0,2 1-1 0 0,0 0 1 0 0,1-1 0 0 0,6-31 0 0 0,-4 39 5 0 0,0-1 0 0 0,1 1 1 0 0,1 1-1 0 0,-1-1 0 0 0,2 1 0 0 0,0-1 0 0 0,0 2 0 0 0,15-20 1 0 0,-16 24 12 0 0,0 0 0 0 0,0 1 0 0 0,1 0 0 0 0,0 0 0 0 0,0 1 0 0 0,0-1 0 0 0,0 1 1 0 0,1 1-1 0 0,0-1 0 0 0,-1 1 0 0 0,1 0 0 0 0,0 1 0 0 0,1-1 0 0 0,-1 1 0 0 0,0 1 1 0 0,9-1-1 0 0,-2 1 37 0 0,0 0 1 0 0,-1 2 0 0 0,1 0 0 0 0,0 0-1 0 0,0 1 1 0 0,-1 1 0 0 0,1 0 0 0 0,-1 1-1 0 0,0 1 1 0 0,0 0 0 0 0,0 0-1 0 0,-1 1 1 0 0,24 16 0 0 0,-29-17 28 0 0,1 1 0 0 0,-1 0 0 0 0,0 0 0 0 0,0 1 0 0 0,-1 0 1 0 0,1 0-1 0 0,-2 0 0 0 0,1 1 0 0 0,-1 0 0 0 0,0 0 0 0 0,-1 0 0 0 0,0 1 0 0 0,0 0 1 0 0,-1-1-1 0 0,0 1 0 0 0,0 1 0 0 0,-1-1 0 0 0,0 0 0 0 0,-1 0 0 0 0,0 1 0 0 0,0 11 1 0 0,-3-4 4 0 0,0 0 1 0 0,0 0 0 0 0,-2-1 0 0 0,0 1-1 0 0,-1-1 1 0 0,0 0 0 0 0,-2-1 0 0 0,0 1-1 0 0,-13 21 1 0 0,7-17-318 0 0,-1 1 0 0 0,-1-2 0 0 0,-1 0-1 0 0,-1-1 1 0 0,-35 30 0 0 0,19-27-3837 0 0</inkml:trace>
</inkml:ink>
</file>

<file path=ppt/ink/ink5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09.671"/>
    </inkml:context>
    <inkml:brush xml:id="br0">
      <inkml:brushProperty name="width" value="0.2" units="cm"/>
      <inkml:brushProperty name="height" value="0.2" units="cm"/>
    </inkml:brush>
  </inkml:definitions>
  <inkml:trace contextRef="#ctx0" brushRef="#br0">63 348 1220 0 0,'-54'-51'8930'0'0,"53"54"-8406"0"0,1 0-403 0 0,-1 0-1 0 0,1 0 0 0 0,0 0 1 0 0,1 1-1 0 0,-1-1 0 0 0,1 0 1 0 0,-1 0-1 0 0,1 0 1 0 0,0 0-1 0 0,0 0 0 0 0,0 0 1 0 0,3 5-1 0 0,24 42 968 0 0,-17-33-778 0 0,46 80 1275 0 0,102 195 1661 0 0,-137-247-2935 0 0,-10-21 269 0 0,16 42-1 0 0,-28-64-464 0 0,0-2-111 0 0,1 0 0 0 0,-1 0 0 0 0,0 1 0 0 0,0-1 1 0 0,0 0-1 0 0,0 0 0 0 0,0 0 0 0 0,0 0 1 0 0,0 1-1 0 0,0-1 0 0 0,0 0 0 0 0,0 0 1 0 0,0 1-1 0 0,0-1 0 0 0,0 0 0 0 0,0 0 1 0 0,0 0-1 0 0,0 0 0 0 0,0 1 0 0 0,0-1 1 0 0,0 0-1 0 0,0 0 0 0 0,-1 0 0 0 0,1 1 1 0 0,0-1-1 0 0,0 0 0 0 0,0 0 0 0 0,0 0 1 0 0,0 0-1 0 0,0 1 0 0 0,-1-1 0 0 0,1 0 1 0 0,0 0-1 0 0,0 0 0 0 0,0 0 0 0 0,0 0 1 0 0,-1 0-1 0 0,1 0 0 0 0,0 0 0 0 0,0 1 1 0 0,0-1-1 0 0,-1 0 0 0 0,1 0 0 0 0,0 0 1 0 0,0 0-1 0 0,0 0 0 0 0,-1 0 0 0 0,1 0 1 0 0,0 0-1 0 0,0 0 0 0 0,-1 0 0 0 0,0 0-8 0 0,1 0-1 0 0,-1 0 1 0 0,0 0-1 0 0,0-1 1 0 0,0 1-1 0 0,0 0 1 0 0,0 0-1 0 0,0-1 0 0 0,0 1 1 0 0,1 0-1 0 0,-1-1 1 0 0,0 1-1 0 0,0-1 1 0 0,0 1-1 0 0,0-2 1 0 0,-24-21-408 0 0,2-2 1 0 0,1-1 0 0 0,2 0 0 0 0,-31-52 0 0 0,19 21-190 0 0,-38-94 1 0 0,54 111 453 0 0,1-2 0 0 0,3 0 0 0 0,-9-53 0 0 0,17 75 112 0 0,2 0 1 0 0,1-1-1 0 0,0 1 1 0 0,2-1 0 0 0,0 1-1 0 0,1-1 1 0 0,1 1-1 0 0,1 0 1 0 0,7-22-1 0 0,-9 36 55 0 0,1 0-1 0 0,-1 0 0 0 0,1 0 1 0 0,0 0-1 0 0,0 0 0 0 0,1 1 0 0 0,0 0 1 0 0,0 0-1 0 0,0 0 0 0 0,0 0 1 0 0,1 0-1 0 0,0 1 0 0 0,0 0 0 0 0,8-5 1 0 0,-5 5 66 0 0,-1 0 1 0 0,1 1 0 0 0,0 0-1 0 0,0 0 1 0 0,0 1 0 0 0,1 0-1 0 0,-1 0 1 0 0,0 1 0 0 0,17 0 0 0 0,1 2 148 0 0,0 2 1 0 0,-1 0-1 0 0,1 2 1 0 0,-1 1-1 0 0,0 1 1 0 0,30 12-1 0 0,19 12-185 0 0,-2 2 0 0 0,-1 4 0 0 0,-1 2 0 0 0,-2 4-1 0 0,111 92 1 0 0,-165-123-898 0 0,38 35-2544 0 0</inkml:trace>
</inkml:ink>
</file>

<file path=ppt/ink/ink5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10.041"/>
    </inkml:context>
    <inkml:brush xml:id="br0">
      <inkml:brushProperty name="width" value="0.2" units="cm"/>
      <inkml:brushProperty name="height" value="0.2" units="cm"/>
    </inkml:brush>
  </inkml:definitions>
  <inkml:trace contextRef="#ctx0" brushRef="#br0">62 284 1100 0 0,'-4'0'2174'0'0,"0"0"-1893"0"0,0-1 372 0 0,0 1 1 0 0,-1-1 0 0 0,1 1-1 0 0,0-1 1 0 0,-8-3 0 0 0,10 4-548 0 0,1-1 1 0 0,0 0 0 0 0,0 1-1 0 0,0-1 1 0 0,-1 0 0 0 0,1 0-1 0 0,0 0 1 0 0,0 1-1 0 0,0-1 1 0 0,0 0 0 0 0,0 0-1 0 0,1-1 1 0 0,-1 1 0 0 0,0 0-1 0 0,0 0 1 0 0,1 0-1 0 0,-1-1 1 0 0,1 1 0 0 0,-1 0-1 0 0,1 0 1 0 0,-1-1 0 0 0,1 1-1 0 0,0 0 1 0 0,0-1-1 0 0,-1 1 1 0 0,1-3 0 0 0,1 0-25 0 0,-1-1 1 0 0,1 1-1 0 0,0 0 1 0 0,0-1-1 0 0,1 1 1 0 0,-1 0-1 0 0,1 0 1 0 0,0 0-1 0 0,0 0 1 0 0,3-3-1 0 0,27-37 21 0 0,-28 39-142 0 0,61-70-1693 0 0,-21 26-2178 0 0,-22 26 629 0 0</inkml:trace>
</inkml:ink>
</file>

<file path=ppt/ink/ink5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10.376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538 436 0 0,'3'-11'3182'0'0,"6"-13"116"0"0,-9 23-3198 0 0,0 0-1 0 0,1 0 1 0 0,-1 0-1 0 0,1 1 1 0 0,-1-1-1 0 0,1 0 1 0 0,-1 1-1 0 0,1-1 1 0 0,-1 0 0 0 0,1 1-1 0 0,0-1 1 0 0,0 1-1 0 0,-1-1 1 0 0,1 1-1 0 0,0-1 1 0 0,0 1 0 0 0,-1-1-1 0 0,1 1 1 0 0,0 0-1 0 0,0-1 1 0 0,0 1-1 0 0,0 0 1 0 0,1 0 0 0 0,6 0 257 0 0,0 1 1 0 0,-1 1-1 0 0,1 0 1 0 0,-1 0-1 0 0,1 0 1 0 0,-1 1 0 0 0,0 0-1 0 0,0 0 1 0 0,0 1-1 0 0,0 0 1 0 0,10 8-1 0 0,11 9 788 0 0,32 33-1 0 0,-47-41-744 0 0,18 16 355 0 0,-2 2 0 0 0,-1 1 0 0 0,-1 0 0 0 0,29 49 0 0 0,-55-78-719 0 0,18 35 787 0 0,-18-36-777 0 0,0 0 0 0 0,-1 1 0 0 0,0-1 0 0 0,1 1 0 0 0,-1-1 0 0 0,0 0 0 0 0,0 1 0 0 0,0-1 0 0 0,-1 1 1 0 0,1-1-1 0 0,0 0 0 0 0,-1 1 0 0 0,0-1 0 0 0,-1 4 0 0 0,2-6-40 0 0,-1 1 0 0 0,0 0-1 0 0,1-1 1 0 0,-1 1 0 0 0,0-1 0 0 0,1 1 0 0 0,-1-1-1 0 0,0 1 1 0 0,0-1 0 0 0,1 0 0 0 0,-1 1 0 0 0,0-1-1 0 0,0 0 1 0 0,0 0 0 0 0,1 1 0 0 0,-1-1 0 0 0,0 0-1 0 0,0 0 1 0 0,0 0 0 0 0,0 0 0 0 0,1 0 0 0 0,-1 0-1 0 0,0 0 1 0 0,0 0 0 0 0,0 0 0 0 0,0-1 0 0 0,1 1-1 0 0,-1 0 1 0 0,0-1 0 0 0,0 1 0 0 0,0 0 0 0 0,0-1-1 0 0,-26-13-63 0 0,17 5-72 0 0,0 1 0 0 0,0-2 0 0 0,1 1 1 0 0,0-2-1 0 0,-13-19 0 0 0,-28-55-560 0 0,41 68 571 0 0,-18-33-115 0 0,3 0 1 0 0,2-1-1 0 0,2-2 1 0 0,2 0 0 0 0,-19-104-1 0 0,32 129 157 0 0,2 0 0 0 0,0-1 0 0 0,3-34 0 0 0,0 54 77 0 0,1 1-1 0 0,0 0 1 0 0,0-1 0 0 0,0 1 0 0 0,1 0 0 0 0,1 0 0 0 0,-1 0 0 0 0,1 1 0 0 0,1-1 0 0 0,-1 1 0 0 0,1-1 0 0 0,1 1 0 0 0,-1 0 0 0 0,1 1 0 0 0,10-11 0 0 0,-12 15 49 0 0,0-1-1 0 0,0 2 1 0 0,1-1-1 0 0,-1 0 1 0 0,1 1-1 0 0,-1 0 1 0 0,1 0-1 0 0,0 0 1 0 0,-1 0-1 0 0,1 0 1 0 0,0 1 0 0 0,0-1-1 0 0,0 1 1 0 0,-1 0-1 0 0,1 1 1 0 0,0-1-1 0 0,0 0 1 0 0,0 1-1 0 0,5 2 1 0 0,5 0 196 0 0,0 2 1 0 0,0 0-1 0 0,23 11 1 0 0,13 12 440 0 0,-2 2 1 0 0,64 50 0 0 0,78 85 533 0 0,-67-34-511 0 0,-25-25-2387 0 0,-96-104 1696 0 0,22 18-3909 0 0</inkml:trace>
</inkml:ink>
</file>

<file path=ppt/ink/ink5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11.993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16 9 1288 0 0,'-2'-1'1355'0'0,"-13"-6"1739"0"0,12 7-2935 0 0,0 2 1 0 0,0-1-1 0 0,0 0 0 0 0,0 1 1 0 0,1-1-1 0 0,-1 1 1 0 0,0 0-1 0 0,0 0 1 0 0,1 0-1 0 0,0 0 1 0 0,-1 0-1 0 0,1 1 1 0 0,0-1-1 0 0,0 1 1 0 0,0-1-1 0 0,0 1 1 0 0,1 0-1 0 0,-3 4 1 0 0,-5 16 305 0 0,0 0 1 0 0,1 0-1 0 0,1 1 0 0 0,2 0 1 0 0,0 1-1 0 0,2-1 1 0 0,0 1-1 0 0,2 0 0 0 0,2 31 1 0 0,4 10 347 0 0,2 1 0 0 0,20 77 1 0 0,-8-65-217 0 0,3 0 1 0 0,4-1 0 0 0,3-1-1 0 0,3-2 1 0 0,4-1-1 0 0,3-2 1 0 0,3-1 0 0 0,90 115-1 0 0,-102-152-469 0 0,0-1 0 0 0,42 34 0 0 0,-52-51-1135 0 0,1-1 1 0 0,41 24-1 0 0,-59-38 555 0 0,29 12-1363 0 0</inkml:trace>
</inkml:ink>
</file>

<file path=ppt/ink/ink5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12.904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6 240 1420 0 0,'-1'3'1866'0'0,"-6"11"776"0"0,6-10-1774 0 0,-1 0 0 0 0,1 0 0 0 0,0 1 0 0 0,0-1 0 0 0,0 7 1056 0 0,5-12-1806 0 0,1-1-1 0 0,-1 0 1 0 0,0 1-1 0 0,0-1 1 0 0,0-1-1 0 0,0 1 1 0 0,0-1-1 0 0,-1 1 0 0 0,1-1 1 0 0,-1 0-1 0 0,1-1 1 0 0,3-4-1 0 0,9-7 129 0 0,172-128 277 0 0,-53 59-5500 0 0,-115 74 1955 0 0</inkml:trace>
</inkml:ink>
</file>

<file path=ppt/ink/ink5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13.296"/>
    </inkml:context>
    <inkml:brush xml:id="br0">
      <inkml:brushProperty name="width" value="0.2" units="cm"/>
      <inkml:brushProperty name="height" value="0.2" units="cm"/>
    </inkml:brush>
  </inkml:definitions>
  <inkml:trace contextRef="#ctx0" brushRef="#br0">82 232 128 0 0,'-37'87'5628'0'0,"-5"14"966"0"0,42-101-6480 0 0,0 1 0 0 0,-1-1 1 0 0,1 1-1 0 0,0 0 0 0 0,0-1 1 0 0,-1 1-1 0 0,1 0 0 0 0,0-1 0 0 0,0 1 1 0 0,0 0-1 0 0,0-1 0 0 0,0 1 1 0 0,0 0-1 0 0,0 0 0 0 0,0-1 1 0 0,0 1-1 0 0,0 0 0 0 0,0-1 0 0 0,0 1 1 0 0,1 0-1 0 0,-1-1 0 0 0,0 1 1 0 0,1 1-1 0 0,0-2-32 0 0,-1 0 0 0 0,1 0 1 0 0,-1 0-1 0 0,1 0 0 0 0,0 0 0 0 0,-1 1 1 0 0,1-1-1 0 0,-1 0 0 0 0,1 0 0 0 0,0-1 1 0 0,-1 1-1 0 0,1 0 0 0 0,-1 0 0 0 0,1 0 1 0 0,0 0-1 0 0,-1 0 0 0 0,1-1 0 0 0,-1 1 1 0 0,1 0-1 0 0,0-1 0 0 0,34-21 1368 0 0,-32 19-1340 0 0,31-25 445 0 0,-1-1 0 0 0,30-35 1 0 0,-15 15-239 0 0,15-13-8 0 0,79-81-3679 0 0,-112 109-650 0 0</inkml:trace>
</inkml:ink>
</file>

<file path=ppt/ink/ink5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13.622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704 1264 0 0,'5'-17'2126'0'0,"-4"11"-1218"0"0,1-1-1 0 0,0 1 1 0 0,1 0 0 0 0,-1 0-1 0 0,1 0 1 0 0,0 0-1 0 0,6-8 1 0 0,-8 14-844 0 0,0-1-1 0 0,-1 1 1 0 0,1 0-1 0 0,0-1 1 0 0,0 1-1 0 0,0 0 1 0 0,-1-1-1 0 0,1 1 1 0 0,0 0 0 0 0,0 0-1 0 0,0 0 1 0 0,0 0-1 0 0,0 0 1 0 0,-1 0-1 0 0,1 0 1 0 0,0 0 0 0 0,0 0-1 0 0,0 0 1 0 0,0 0-1 0 0,-1 0 1 0 0,2 1-1 0 0,16 6 641 0 0,20 13 553 0 0,0 2 0 0 0,47 36 1 0 0,62 62 759 0 0,-129-104-1813 0 0,23 19 434 0 0,-1 1-1 0 0,-2 2 0 0 0,55 70 0 0 0,-91-104-587 0 0,1-1 0 0 0,-1 0 0 0 0,0 1 0 0 0,-1-1 0 0 0,1 1 0 0 0,-1-1 0 0 0,1 1 0 0 0,-1 0 0 0 0,0-1-1 0 0,-1 1 1 0 0,1 0 0 0 0,-1 0 0 0 0,1 0 0 0 0,-1 0 0 0 0,0 4 0 0 0,-1-7-41 0 0,0 0 1 0 0,1 0-1 0 0,-1 1 1 0 0,0-1-1 0 0,1 0 0 0 0,-1 0 1 0 0,0 0-1 0 0,0 0 0 0 0,0 0 1 0 0,0 0-1 0 0,0 0 0 0 0,0-1 1 0 0,0 1-1 0 0,0 0 1 0 0,0 0-1 0 0,0-1 0 0 0,-1 1 1 0 0,1-1-1 0 0,0 1 0 0 0,0-1 1 0 0,-1 0-1 0 0,1 1 1 0 0,0-1-1 0 0,0 0 0 0 0,-1 0 1 0 0,1 0-1 0 0,0 0 0 0 0,-1 0 1 0 0,1 0-1 0 0,0 0 1 0 0,-1 0-1 0 0,1 0 0 0 0,-2-1 1 0 0,-11-4-61 0 0,0 1 0 0 0,1-2 0 0 0,0 0 0 0 0,0 0 0 0 0,0-2 0 0 0,1 1 0 0 0,0-2 0 0 0,0 1 0 0 0,1-1 0 0 0,-11-12 1 0 0,-6-8-145 0 0,1-1 1 0 0,-35-51 0 0 0,38 46 116 0 0,1-2 0 0 0,3-1 0 0 0,0 0 0 0 0,3-2 0 0 0,1 0 1 0 0,2 0-1 0 0,2-2 0 0 0,-10-57 0 0 0,18 71 44 0 0,2 0 0 0 0,0-1 0 0 0,2 1-1 0 0,2 0 1 0 0,7-51 0 0 0,-4 58 21 0 0,0 0-1 0 0,2 0 1 0 0,0 0-1 0 0,1 1 1 0 0,1 0-1 0 0,1 0 1 0 0,1 1-1 0 0,15-20 1 0 0,-18 27 1 0 0,2 1 1 0 0,0 1 0 0 0,0-1 0 0 0,1 2-1 0 0,0-1 1 0 0,20-12 0 0 0,-25 18 5 0 0,0 1 1 0 0,0 0-1 0 0,0 0 0 0 0,1 1 1 0 0,-1 0-1 0 0,1 0 1 0 0,8-1-1 0 0,-11 2 5 0 0,0 1-1 0 0,0 0 0 0 0,0 0 1 0 0,-1 0-1 0 0,1 1 0 0 0,0-1 1 0 0,0 1-1 0 0,0 0 1 0 0,-1 0-1 0 0,1 0 0 0 0,0 0 1 0 0,-1 1-1 0 0,6 3 1 0 0,-5-2 2 0 0,0 0 0 0 0,-1 0 0 0 0,1 1 0 0 0,-1-1 0 0 0,0 1 0 0 0,0 0 0 0 0,0 0 0 0 0,-1 0 0 0 0,1 0 0 0 0,-1 1 0 0 0,0-1 0 0 0,0 1 0 0 0,0-1 0 0 0,-1 1 0 0 0,0 0 1 0 0,0-1-1 0 0,0 1 0 0 0,0 0 0 0 0,-1 0 0 0 0,0 8 0 0 0,0 6 4 0 0,-1 0 0 0 0,-1-1 0 0 0,0 1 0 0 0,-6 19 0 0 0,-11 37-72 0 0,-37 89-1 0 0,-10-12-6854 0 0,62-142 5949 0 0,0 1-693 0 0</inkml:trace>
</inkml:ink>
</file>

<file path=ppt/ink/ink5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13.974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1 1848 0 0,'2'0'1666'0'0,"0"0"-1492"0"0,-1 0 0 0 0,0 0 1 0 0,0 0-1 0 0,0 0 0 0 0,0 0 0 0 0,1 0 1 0 0,-1 0-1 0 0,0 1 0 0 0,0-1 1 0 0,0 0-1 0 0,0 1 0 0 0,0-1 1 0 0,0 1-1 0 0,0-1 0 0 0,0 1 0 0 0,0 0 1 0 0,0-1-1 0 0,0 1 0 0 0,0 0 1 0 0,0 0-1 0 0,0 0 0 0 0,-1 0 1 0 0,1-1-1 0 0,0 1 0 0 0,-1 0 1 0 0,1 0-1 0 0,0 0 0 0 0,-1 1 0 0 0,1-1 1 0 0,-1 0-1 0 0,1 1 0 0 0,14 48 1981 0 0,-9-30-1384 0 0,8 22-255 0 0,2-1 1 0 0,2-1-1 0 0,1 0 0 0 0,2-2 0 0 0,2 0 0 0 0,2-1 1 0 0,1-2-1 0 0,2 0 0 0 0,1-2 0 0 0,1-1 0 0 0,69 54 1 0 0,-84-74-690 0 0,2-2-1 0 0,-1 0 1 0 0,1-1 0 0 0,1 0 0 0 0,-1-2 0 0 0,1 0 0 0 0,30 7-1 0 0,-41-12-196 0 0,0-1 0 0 0,1 0 0 0 0,-1-1 0 0 0,0 1-1 0 0,1-2 1 0 0,-1 1 0 0 0,1-1 0 0 0,-1 0 0 0 0,14-4-1 0 0,-16 3-50 0 0,-1 0-1 0 0,1 0 0 0 0,-1 0 0 0 0,1-1 1 0 0,-1 1-1 0 0,0-1 0 0 0,0 0 0 0 0,0-1 0 0 0,0 1 1 0 0,-1-1-1 0 0,1 0 0 0 0,-1 1 0 0 0,0-2 0 0 0,0 1 1 0 0,4-8-1 0 0,4-11-3550 0 0</inkml:trace>
</inkml:ink>
</file>

<file path=ppt/ink/ink5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14.362"/>
    </inkml:context>
    <inkml:brush xml:id="br0">
      <inkml:brushProperty name="width" value="0.2" units="cm"/>
      <inkml:brushProperty name="height" value="0.2" units="cm"/>
    </inkml:brush>
  </inkml:definitions>
  <inkml:trace contextRef="#ctx0" brushRef="#br0">29 485 1956 0 0,'8'-66'5747'0'0,"-8"65"-5671"0"0,0 0-1 0 0,1 1 1 0 0,-1-1-1 0 0,0 1 0 0 0,0-1 1 0 0,1 1-1 0 0,-1-1 1 0 0,0 1-1 0 0,1-1 1 0 0,-1 1-1 0 0,1-1 0 0 0,-1 1 1 0 0,1-1-1 0 0,-1 1 1 0 0,1 0-1 0 0,-1-1 1 0 0,1 1-1 0 0,-1 0 0 0 0,1-1 1 0 0,-1 1-1 0 0,1 0 1 0 0,0 0-1 0 0,-1 0 0 0 0,1-1 1 0 0,-1 1-1 0 0,1 0 1 0 0,0 0-1 0 0,-1 0 1 0 0,1 0-1 0 0,0 0 0 0 0,-1 0 1 0 0,1 0-1 0 0,-1 0 1 0 0,1 0-1 0 0,0 1 1 0 0,-1-1-1 0 0,1 0 0 0 0,0 1 1 0 0,23 9 1355 0 0,-3 7-509 0 0,-2 0 0 0 0,0 1-1 0 0,17 21 1 0 0,-10-10-164 0 0,17 16 483 0 0,-2 3 0 0 0,-2 2 1 0 0,48 80-1 0 0,-86-127-1169 0 0,1-1 0 0 0,-1 1 0 0 0,0 0 0 0 0,0 0 0 0 0,0-1 0 0 0,0 1 0 0 0,-1 0 0 0 0,1 0 1 0 0,-1 4-1 0 0,0-6-54 0 0,0 0 0 0 0,0 0 0 0 0,0 0 0 0 0,0 0 0 0 0,0 0 0 0 0,0 0 0 0 0,-1 0 0 0 0,1-1 0 0 0,0 1 0 0 0,-1 0 0 0 0,1 0 0 0 0,0 0 0 0 0,-1 0 0 0 0,1-1 0 0 0,-1 1 0 0 0,1 0 0 0 0,-1 0 0 0 0,0-1 0 0 0,1 1 0 0 0,-1-1 0 0 0,0 1 0 0 0,1 0 0 0 0,-1-1 0 0 0,0 1 0 0 0,0-1 0 0 0,0 0 0 0 0,1 1 0 0 0,-1-1 0 0 0,0 0 0 0 0,-1 1 0 0 0,1-1-17 0 0,-1 0 1 0 0,1 0 0 0 0,0 0-1 0 0,0 0 1 0 0,0 0 0 0 0,-1 0-1 0 0,1 0 1 0 0,0 0 0 0 0,0-1-1 0 0,0 1 1 0 0,0 0-1 0 0,-1-1 1 0 0,1 1 0 0 0,0-1-1 0 0,0 1 1 0 0,0-1 0 0 0,-1-1-1 0 0,-2 0-10 0 0,-5-4-62 0 0,-1-1-1 0 0,1 0 0 0 0,0 0 0 0 0,1-1 0 0 0,0 0 1 0 0,0-1-1 0 0,-13-18 0 0 0,13 16-12 0 0,-36-49-247 0 0,3-3-1 0 0,2-1 1 0 0,3-1 0 0 0,-37-98 0 0 0,60 132 231 0 0,2-1 1 0 0,-14-59-1 0 0,23 83 102 0 0,0-1-1 0 0,1 0 1 0 0,0 0 0 0 0,1 1-1 0 0,0-1 1 0 0,0 0 0 0 0,1 0-1 0 0,0 1 1 0 0,0-1 0 0 0,1 0-1 0 0,0 1 1 0 0,1 0 0 0 0,0-1-1 0 0,0 1 1 0 0,1 0 0 0 0,5-8 0 0 0,-6 12 46 0 0,1 0 1 0 0,0 0 0 0 0,0 0 0 0 0,0 1 0 0 0,1-1 0 0 0,-1 1-1 0 0,1 0 1 0 0,-1 0 0 0 0,1 1 0 0 0,0 0 0 0 0,0 0 0 0 0,1 0-1 0 0,-1 0 1 0 0,0 1 0 0 0,0 0 0 0 0,1 0 0 0 0,-1 0 0 0 0,1 1-1 0 0,-1-1 1 0 0,1 1 0 0 0,5 1 0 0 0,9 1 99 0 0,0 0 1 0 0,0 1-1 0 0,-1 1 0 0 0,28 10 1 0 0,7 5-26 0 0,-1 3 0 0 0,-2 1 0 0 0,0 3 0 0 0,52 37 0 0 0,18 24-2202 0 0,-86-52-786 0 0</inkml:trace>
</inkml:ink>
</file>

<file path=ppt/ink/ink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5:40.92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22 15358,'28'-5'720,"0"1"-450,-4-1-90,3 0-90,4 0 89,4 0-89,2-2 90,34-5-90,-26 5-425,23-5 425,-36 7-90,-2 0 0,-4 0 90,0 0-90,-4 1 0,-1 0 0,-3 0 0,-1 1-90,-3 0-115,5-2-514,-2 2 719,2-2 0,-9 3 0,-4 0 0</inkml:trace>
</inkml:ink>
</file>

<file path=ppt/ink/ink5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15.138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466 496 0 0,'2'-30'3437'0'0,"-1"19"-1640"0"0,0 1 0 0 0,4-23 1374 0 0,-2 34-3001 0 0,0-1 0 0 0,0 1 0 0 0,0 0 0 0 0,0 0 0 0 0,0 0 0 0 0,-1 0-1 0 0,1 0 1 0 0,0 1 0 0 0,-1-1 0 0 0,1 1 0 0 0,-1 0 0 0 0,1 0 0 0 0,2 2 0 0 0,32 34 1170 0 0,-24-24-962 0 0,284 329 5930 0 0,-296-341-6231 0 0,0 0 0 0 0,0 1 1 0 0,0-1-1 0 0,0 0 1 0 0,0 1-1 0 0,0-1 0 0 0,-1 1 1 0 0,1-1-1 0 0,0 4 0 0 0,-1-5-68 0 0,0 0-1 0 0,0-1 0 0 0,0 1 0 0 0,0-1 0 0 0,0 1 0 0 0,0-1 1 0 0,0 1-1 0 0,0 0 0 0 0,0-1 0 0 0,0 1 0 0 0,-1-1 1 0 0,1 1-1 0 0,0-1 0 0 0,0 1 0 0 0,-1-1 0 0 0,1 1 0 0 0,0-1 1 0 0,0 1-1 0 0,-1-1 0 0 0,1 1 0 0 0,-1-1 0 0 0,1 1 1 0 0,0-1-1 0 0,-1 1 0 0 0,1-1 0 0 0,-1 0 0 0 0,1 1 0 0 0,-1-1 1 0 0,1 0-1 0 0,-1 0 0 0 0,1 1 0 0 0,-1-1 0 0 0,1 0 1 0 0,-1 0-1 0 0,1 0 0 0 0,-1 1 0 0 0,0-1 0 0 0,1 0 0 0 0,-1 0 1 0 0,1 0-1 0 0,-1 0 0 0 0,0 0 0 0 0,1 0 0 0 0,-1 0 0 0 0,1-1 1 0 0,-1 1-1 0 0,1 0 0 0 0,-1 0 0 0 0,0-1 0 0 0,-10-2-91 0 0,1-1 0 0 0,0 0 0 0 0,0-1 0 0 0,0 0 0 0 0,1-1 1 0 0,0 0-1 0 0,0 0 0 0 0,0-1 0 0 0,1 0 0 0 0,0 0 0 0 0,-8-11 0 0 0,-12-13-231 0 0,-37-57 1 0 0,44 57 212 0 0,2-2 0 0 0,1 0 1 0 0,2 0-1 0 0,1-2 1 0 0,-17-57-1 0 0,27 72 67 0 0,0 0-1 0 0,1 0 1 0 0,1 0-1 0 0,1-1 1 0 0,1 1 0 0 0,1-1-1 0 0,1 1 1 0 0,0-1-1 0 0,2 1 1 0 0,0 0-1 0 0,12-37 1 0 0,-13 50 26 0 0,0 0 0 0 0,0 1 0 0 0,1-1 0 0 0,0 1 0 0 0,1 0 0 0 0,-1 0 0 0 0,1 0 0 0 0,0 1 0 0 0,1-1 1 0 0,-1 1-1 0 0,1 0 0 0 0,0 0 0 0 0,1 0 0 0 0,-1 1 0 0 0,1 0 0 0 0,10-6 0 0 0,-13 9 6 0 0,-1 0-1 0 0,0 0 1 0 0,1 1-1 0 0,-1-1 1 0 0,0 1 0 0 0,1 0-1 0 0,-1 0 1 0 0,1 0-1 0 0,-1 0 1 0 0,0 0-1 0 0,1 0 1 0 0,-1 1-1 0 0,0-1 1 0 0,1 1 0 0 0,-1 0-1 0 0,0-1 1 0 0,1 1-1 0 0,2 2 1 0 0,-2-1 3 0 0,1 0 1 0 0,-1 0-1 0 0,0 0 1 0 0,0 0-1 0 0,0 1 0 0 0,0 0 1 0 0,0-1-1 0 0,-1 1 1 0 0,1 0-1 0 0,3 6 0 0 0,2 7 65 0 0,-1 0 0 0 0,-1 1-1 0 0,0-1 1 0 0,-1 2 0 0 0,4 21-1 0 0,-7-25-44 0 0,1 1 0 0 0,1-1 0 0 0,0 1-1 0 0,1-1 1 0 0,1 0 0 0 0,0-1 0 0 0,1 0-1 0 0,9 14 1 0 0,-8-19-17 0 0,0 0 0 0 0,1-1 0 0 0,0 0 0 0 0,0 0 0 0 0,0-1 0 0 0,1 0 0 0 0,0-1-1 0 0,1 0 1 0 0,16 5 0 0 0,-9-2-5 0 0,27 14 1 0 0,-38-17 9 0 0,0-1 1 0 0,0 1 0 0 0,-1 0-1 0 0,1 1 1 0 0,-1-1 0 0 0,-1 1-1 0 0,1 0 1 0 0,-1 1 0 0 0,0 0 0 0 0,8 14-1 0 0,-11-17 5 0 0,0 1-1 0 0,-1-1 1 0 0,1 1-1 0 0,-1 0 0 0 0,0 0 1 0 0,0 0-1 0 0,-1 0 0 0 0,1-1 1 0 0,-1 1-1 0 0,0 0 1 0 0,0 0-1 0 0,-1 0 0 0 0,0 0 1 0 0,1 0-1 0 0,-2 0 1 0 0,1 0-1 0 0,0-1 0 0 0,-1 1 1 0 0,-3 6-1 0 0,2-5-218 0 0,-1 1-1 0 0,0-1 1 0 0,0 0 0 0 0,0 0-1 0 0,-1 0 1 0 0,-9 9-1 0 0,-10 1-3165 0 0</inkml:trace>
</inkml:ink>
</file>

<file path=ppt/ink/ink5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14.746"/>
    </inkml:context>
    <inkml:brush xml:id="br0">
      <inkml:brushProperty name="width" value="0.2" units="cm"/>
      <inkml:brushProperty name="height" value="0.2" units="cm"/>
    </inkml:brush>
  </inkml:definitions>
  <inkml:trace contextRef="#ctx0" brushRef="#br0">50 943 732 0 0,'-4'-1'1979'0'0,"1"1"-1534"0"0,0 0 0 0 0,0-1 0 0 0,0 1 0 0 0,0-1-1 0 0,0 0 1 0 0,0 0 0 0 0,-5-3 0 0 0,7 4-337 0 0,-1-1 0 0 0,1 0 0 0 0,0 0 0 0 0,0 0 0 0 0,0 0 0 0 0,0 1 0 0 0,0-1 0 0 0,0 0 0 0 0,1-1 0 0 0,-1 1 0 0 0,0 0 0 0 0,0 0 1 0 0,1 0-1 0 0,-1 0 0 0 0,1-1 0 0 0,-1 1 0 0 0,1 0 0 0 0,-1-1 0 0 0,1 1 0 0 0,0 0 0 0 0,0-1 0 0 0,0 1 0 0 0,-1 0 0 0 0,1-1 0 0 0,1-1 0 0 0,0-8 38 0 0,1 1 1 0 0,1 0-1 0 0,0-1 1 0 0,0 1-1 0 0,1 0 1 0 0,0 0 0 0 0,0 1-1 0 0,13-18 1 0 0,56-71-1546 0 0,-56 77 742 0 0,34-42-2783 0 0,-29 34 942 0 0</inkml:trace>
  <inkml:trace contextRef="#ctx0" brushRef="#br0" timeOffset="1">324 55 1836 0 0,'0'-11'1487'0'0,"-1"8"-992"0"0,1 1-1 0 0,0-1 0 0 0,0 0 1 0 0,0 0-1 0 0,0 0 0 0 0,1 0 1 0 0,-1 0-1 0 0,1 0 0 0 0,-1 0 1 0 0,1 0-1 0 0,0 0 1 0 0,0 1-1 0 0,3-5 0 0 0,-3 7-273 0 0,1 0 0 0 0,0 1-1 0 0,0-1 1 0 0,0 0 0 0 0,0 0-1 0 0,0 1 1 0 0,0 0 0 0 0,0-1-1 0 0,-1 1 1 0 0,1 0 0 0 0,0-1 0 0 0,0 1-1 0 0,-1 0 1 0 0,3 2 0 0 0,25 19 1376 0 0,0 2 0 0 0,34 38 0 0 0,-24-24-837 0 0,30 29-183 0 0,-2 2 1 0 0,62 87-1 0 0,-57-55-6510 0 0</inkml:trace>
</inkml:ink>
</file>

<file path=ppt/ink/ink5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19.986"/>
    </inkml:context>
    <inkml:brush xml:id="br0">
      <inkml:brushProperty name="width" value="0.2" units="cm"/>
      <inkml:brushProperty name="height" value="0.2" units="cm"/>
    </inkml:brush>
  </inkml:definitions>
  <inkml:trace contextRef="#ctx0" brushRef="#br0">39 187 268 0 0,'-39'33'7328'0'0,"44"-35"-7060"0"0,104-53 541 0 0,-29 13-565 0 0,77-28-864 0 0,-51 30-2985 0 0,-71 30 1317 0 0</inkml:trace>
</inkml:ink>
</file>

<file path=ppt/ink/ink5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20.322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15 56 1800 0 0,'-46'64'3587'0'0,"28"-40"-1425"0"0,-21 34 0 0 0,27-29 132 0 0,17-29-1918 0 0,3-2-224 0 0,1 1 0 0 0,-1-2 1 0 0,0 1-1 0 0,1-1 0 0 0,-1 0 0 0 0,0-1 0 0 0,10-6 0 0 0,58-39 500 0 0,-60 38-515 0 0,149-109 961 0 0,-158 115-1337 0 0,14-12-1061 0 0</inkml:trace>
</inkml:ink>
</file>

<file path=ppt/ink/ink5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32.140"/>
    </inkml:context>
    <inkml:brush xml:id="br0">
      <inkml:brushProperty name="width" value="0.2" units="cm"/>
      <inkml:brushProperty name="height" value="0.2" units="cm"/>
    </inkml:brush>
  </inkml:definitions>
  <inkml:trace contextRef="#ctx0" brushRef="#br0">234 245 668 0 0,'-3'0'3234'0'0,"1"0"-2889"0"0,0 0-1 0 0,0 0 0 0 0,-1 1 1 0 0,1-1-1 0 0,0 1 1 0 0,0-1-1 0 0,0 1 0 0 0,0 0 1 0 0,0-1-1 0 0,0 1 0 0 0,0 0 1 0 0,0 0-1 0 0,0 1 1 0 0,-1 0-1 0 0,2 0-244 0 0,0-1 0 0 0,1 1 0 0 0,-1-1-1 0 0,1 1 1 0 0,0-1 0 0 0,-1 1 0 0 0,1-1 0 0 0,0 1 0 0 0,0-1 0 0 0,0 1 0 0 0,0 0-1 0 0,0-1 1 0 0,0 1 0 0 0,1-1 0 0 0,-1 1 0 0 0,0-1 0 0 0,1 1 0 0 0,-1-1 0 0 0,1 1-1 0 0,0-1 1 0 0,-1 0 0 0 0,2 3 0 0 0,60 123 2694 0 0,-54-111-2584 0 0,117 218 1864 0 0,-56-108-1503 0 0,-21-44-272 0 0,24 50 552 0 0,-72-132-838 0 0,0 1 0 0 0,0-1 0 0 0,1 0 0 0 0,-1 1 0 0 0,0-1 0 0 0,0 0 0 0 0,0 1 0 0 0,1-1-1 0 0,-1 1 1 0 0,0-1 0 0 0,0 0 0 0 0,0 1 0 0 0,0-1 0 0 0,0 1 0 0 0,0-1 0 0 0,0 0 0 0 0,0 1 0 0 0,0-1-1 0 0,0 1 1 0 0,0-1 0 0 0,0 1 0 0 0,0-1 0 0 0,0 0 0 0 0,0 1 0 0 0,-1-1 0 0 0,1 1 0 0 0,0-1 0 0 0,0 0-1 0 0,0 1 1 0 0,-1 0 0 0 0,-12-2 27 0 0,-15-14-297 0 0,-33-30-525 0 0,2-4 0 0 0,2-1 0 0 0,-71-82 1 0 0,97 95 592 0 0,1-2 1 0 0,2-1 0 0 0,2-1 0 0 0,1-1 0 0 0,2-1 0 0 0,-23-65 0 0 0,39 88 124 0 0,1 1 1 0 0,1-1 0 0 0,1 0 0 0 0,1-1-1 0 0,1 1 1 0 0,0-1 0 0 0,2 1 0 0 0,3-34-1 0 0,-2 45 42 0 0,1 0-1 0 0,0 0 1 0 0,1 0 0 0 0,0 0-1 0 0,0 0 1 0 0,1 0-1 0 0,0 1 1 0 0,0 0 0 0 0,7-10-1 0 0,-6 12 15 0 0,-1 1 0 0 0,1 0-1 0 0,1-1 1 0 0,-1 2 0 0 0,1-1 0 0 0,-1 1-1 0 0,1-1 1 0 0,1 2 0 0 0,-1-1-1 0 0,0 1 1 0 0,1 0 0 0 0,0 0-1 0 0,7-2 1 0 0,-5 3 30 0 0,-1 0 0 0 0,1 1 0 0 0,0-1 0 0 0,0 2 0 0 0,-1-1 0 0 0,1 1 0 0 0,0 1 0 0 0,-1 0-1 0 0,1 0 1 0 0,0 0 0 0 0,-1 1 0 0 0,1 1 0 0 0,-1-1 0 0 0,0 1 0 0 0,0 1 0 0 0,0 0 0 0 0,0 0 0 0 0,0 0 0 0 0,-1 1 0 0 0,0 0-1 0 0,12 11 1 0 0,-9-6 75 0 0,1 0-1 0 0,-2 1 0 0 0,0 0 0 0 0,0 0 1 0 0,-1 1-1 0 0,0 0 0 0 0,-1 1 0 0 0,0 0 1 0 0,-2 0-1 0 0,1 0 0 0 0,-1 1 0 0 0,4 23 1 0 0,-6-23-48 0 0,-1 1 0 0 0,-1 0 0 0 0,-1-1-1 0 0,0 1 1 0 0,-1 0 0 0 0,-1 0 0 0 0,0-1 0 0 0,-1 1 0 0 0,0-1 0 0 0,-1 1 0 0 0,-1-1 0 0 0,-8 17 0 0 0,0-4 43 0 0,-1-1 1 0 0,-2-1-1 0 0,0-1 1 0 0,-2 0-1 0 0,-24 25 0 0 0,22-28-445 0 0,-13 15-875 0 0,26-29 420 0 0</inkml:trace>
</inkml:ink>
</file>

<file path=ppt/ink/ink5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32.523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12 640 0 0,'11'-12'5959'0'0,"-11"13"-5898"0"0,8 34 2675 0 0,-5-21-2351 0 0,15 52 1329 0 0,38 90 1 0 0,-42-125-1549 0 0,1-1 1 0 0,2 0-1 0 0,0-1 1 0 0,42 51-1 0 0,-43-61-190 0 0,1-1 1 0 0,0-1 0 0 0,39 29-1 0 0,-50-41-183 0 0,0-1-1 0 0,0 0 1 0 0,0-1-1 0 0,1 1 1 0 0,0-1-1 0 0,-1-1 1 0 0,1 1 0 0 0,0-1-1 0 0,0 0 1 0 0,1-1-1 0 0,-1 0 1 0 0,0 0-1 0 0,0 0 1 0 0,1-1 0 0 0,-1 0-1 0 0,0 0 1 0 0,13-3-1 0 0,-15 1-193 0 0,1 0 0 0 0,-1 0 1 0 0,0-1-1 0 0,0 0 0 0 0,0 0 0 0 0,0 0 0 0 0,0 0 0 0 0,-1-1 0 0 0,1 0 0 0 0,-1 0 0 0 0,0 0 1 0 0,0 0-1 0 0,4-7 0 0 0,4-12-1797 0 0</inkml:trace>
</inkml:ink>
</file>

<file path=ppt/ink/ink5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32.855"/>
    </inkml:context>
    <inkml:brush xml:id="br0">
      <inkml:brushProperty name="width" value="0.2" units="cm"/>
      <inkml:brushProperty name="height" value="0.2" units="cm"/>
    </inkml:brush>
  </inkml:definitions>
  <inkml:trace contextRef="#ctx0" brushRef="#br0">23 398 1464 0 0,'-4'-8'790'0'0,"0"0"-1"0"0,1-1 1 0 0,0 1 0 0 0,1-1-1 0 0,0 0 1 0 0,-2-17 657 0 0,9 25-490 0 0,-5 1-912 0 0,1 0 1 0 0,-1 0-1 0 0,1-1 0 0 0,-1 1 1 0 0,1 0-1 0 0,0 0 1 0 0,-1 0-1 0 0,1 0 1 0 0,0 0-1 0 0,-1 0 1 0 0,1 0-1 0 0,-1 0 0 0 0,1 0 1 0 0,0 0-1 0 0,-1 0 1 0 0,1 0-1 0 0,-1 0 1 0 0,1 1-1 0 0,0-1 1 0 0,-1 0-1 0 0,2 1 1 0 0,37 28 1023 0 0,0 2 0 0 0,-2 2 0 0 0,38 42 0 0 0,-19-19-280 0 0,57 75 289 0 0,-34-36-312 0 0,-77-94-676 0 0,-1 1 1 0 0,1 0-1 0 0,-1 0 0 0 0,1 0 1 0 0,-1 0-1 0 0,0 0 0 0 0,1 0 1 0 0,-1 0-1 0 0,0 0 0 0 0,0 4 1 0 0,-1-6-83 0 0,0 0 0 0 0,0 0 0 0 0,0 0 0 0 0,0 1 1 0 0,0-1-1 0 0,0 0 0 0 0,0 0 0 0 0,0 0 0 0 0,0 0 1 0 0,0 0-1 0 0,0 0 0 0 0,0 0 0 0 0,0 0 0 0 0,0 1 1 0 0,0-1-1 0 0,0 0 0 0 0,0 0 0 0 0,-1 0 0 0 0,1 0 1 0 0,0 0-1 0 0,0 0 0 0 0,0 0 0 0 0,0 0 0 0 0,0 0 1 0 0,0 0-1 0 0,0 0 0 0 0,0 0 0 0 0,-1 0 0 0 0,1 1 0 0 0,0-1 1 0 0,0 0-1 0 0,0 0 0 0 0,0 0 0 0 0,0 0 0 0 0,0 0 1 0 0,0 0-1 0 0,-1 0 0 0 0,1 0 0 0 0,0 0 0 0 0,0 0 1 0 0,0 0-1 0 0,0-1 0 0 0,0 1 0 0 0,0 0 0 0 0,0 0 1 0 0,-1 0-1 0 0,1 0 0 0 0,0 0 0 0 0,0 0 0 0 0,0 0 1 0 0,0 0-1 0 0,0 0 0 0 0,0 0 0 0 0,0 0 0 0 0,-16-12-79 0 0,-23-25-932 0 0,-60-75 1 0 0,-22-50-375 0 0,110 145 1304 0 0,-26-35-212 0 0,-28-56 0 0 0,50 80 184 0 0,2 0 0 0 0,1 0-1 0 0,2-1 1 0 0,-9-35 0 0 0,18 59 111 0 0,0-1 0 0 0,0 1 0 0 0,0-1 0 0 0,1 1 0 0 0,0-1 0 0 0,0 1-1 0 0,0-1 1 0 0,0 1 0 0 0,1-1 0 0 0,0 1 0 0 0,1 0 0 0 0,2-10 0 0 0,-2 12 48 0 0,-1 1 1 0 0,1-1-1 0 0,0 0 1 0 0,0 1-1 0 0,0-1 1 0 0,0 1-1 0 0,0 0 1 0 0,1 0-1 0 0,-1 0 1 0 0,1 0-1 0 0,-1 0 1 0 0,1 0-1 0 0,0 1 1 0 0,0-1-1 0 0,-1 1 1 0 0,1 0-1 0 0,0 0 1 0 0,0 0-1 0 0,0 0 1 0 0,1 0-1 0 0,-1 1 1 0 0,0-1 0 0 0,3 1-1 0 0,9-1 204 0 0,-1 1 1 0 0,0 1-1 0 0,0 0 0 0 0,0 1 1 0 0,0 1-1 0 0,0 0 0 0 0,22 9 1 0 0,92 44 854 0 0,-103-45-971 0 0,174 102 719 0 0,-46-24-4774 0 0,-132-76 2119 0 0,9 3-4706 0 0</inkml:trace>
</inkml:ink>
</file>

<file path=ppt/ink/ink5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33.242"/>
    </inkml:context>
    <inkml:brush xml:id="br0">
      <inkml:brushProperty name="width" value="0.2" units="cm"/>
      <inkml:brushProperty name="height" value="0.2" units="cm"/>
    </inkml:brush>
  </inkml:definitions>
  <inkml:trace contextRef="#ctx0" brushRef="#br0">72 214 512 0 0,'-14'7'2935'0'0,"-30"9"4618"0"0,44-16-7528 0 0,0 0 0 0 0,0 0 0 0 0,0 0 1 0 0,0-1-1 0 0,-1 1 0 0 0,1 0 0 0 0,0 0 0 0 0,0-1 1 0 0,0 1-1 0 0,0 0 0 0 0,0 0 0 0 0,0 0 0 0 0,0-1 1 0 0,-1 1-1 0 0,1 0 0 0 0,0 0 0 0 0,0 0 0 0 0,0-1 1 0 0,-1 1-1 0 0,1 0 0 0 0,0 0 0 0 0,0 0 1 0 0,0 0-1 0 0,-1 0 0 0 0,1 0 0 0 0,0 0 0 0 0,0-1 1 0 0,0 1-1 0 0,-1 0 0 0 0,1 0 0 0 0,-1 0 0 0 0,1 0-8 0 0,0 0-1 0 0,-1 0 1 0 0,1 0-1 0 0,0 0 1 0 0,-1 0-1 0 0,1 0 0 0 0,0-1 1 0 0,-1 1-1 0 0,1 0 1 0 0,0 0-1 0 0,-1 0 1 0 0,1-1-1 0 0,0 1 0 0 0,-1 0 1 0 0,1 0-1 0 0,0-1 1 0 0,0 1-1 0 0,-1 0 1 0 0,1-1-1 0 0,0 1 0 0 0,0 0 1 0 0,0-1-1 0 0,-1 1 1 0 0,1 0-1 0 0,0-1 1 0 0,0 1-1 0 0,0 0 1 0 0,0-1-1 0 0,0 1 0 0 0,0 0 1 0 0,0-1-1 0 0,0 1 1 0 0,0-1-1 0 0,0-4 39 0 0,1 1 1 0 0,0-1-1 0 0,0 0 1 0 0,0 1-1 0 0,1 0 0 0 0,0-1 1 0 0,-1 1-1 0 0,2 0 0 0 0,4-8 1 0 0,30-40-1205 0 0,-22 33 272 0 0,40-55-4452 0 0,-39 49 2169 0 0</inkml:trace>
</inkml:ink>
</file>

<file path=ppt/ink/ink5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34.009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145 36 0 0,'2'-19'6610'0'0,"-1"17"-6396"0"0,1 3-107 0 0,-1-1 0 0 0,0 0 0 0 0,1 0 0 0 0,-1 0 0 0 0,1 1 0 0 0,-1-1 0 0 0,0 1 0 0 0,1-1 0 0 0,-1 1 0 0 0,0 0 0 0 0,0-1 0 0 0,0 1 0 0 0,1 0 0 0 0,-1 0 0 0 0,0 0 0 0 0,1 1 0 0 0,46 36 1510 0 0,19 16 1118 0 0,93 94-1 0 0,-140-127-2089 0 0,-2 1-1 0 0,0 0 0 0 0,-1 1 0 0 0,-1 1 0 0 0,16 34 0 0 0,-32-56-562 0 0,1 0 1 0 0,-1 1-1 0 0,1-1 0 0 0,-1 0 1 0 0,0 1-1 0 0,1-1 0 0 0,-1 0 1 0 0,-1 1-1 0 0,1 2 1 0 0,0-4-70 0 0,0 0 1 0 0,0-1 0 0 0,0 1-1 0 0,0 0 1 0 0,-1 0 0 0 0,1-1-1 0 0,0 1 1 0 0,0 0 0 0 0,-1 0-1 0 0,1-1 1 0 0,0 1 0 0 0,-1 0-1 0 0,1-1 1 0 0,0 1 0 0 0,-1-1 0 0 0,1 1-1 0 0,-1 0 1 0 0,1-1 0 0 0,-1 1-1 0 0,0-1 1 0 0,1 1 0 0 0,-1-1-1 0 0,1 1 1 0 0,-1-1 0 0 0,0 0-1 0 0,1 1 1 0 0,-1-1 0 0 0,0 0 0 0 0,0 1-1 0 0,1-1 1 0 0,-1 0 0 0 0,-1 0-1 0 0,-7-1-18 0 0,0 0 1 0 0,0-1-1 0 0,0 0 0 0 0,0 0 0 0 0,0-1 0 0 0,0 0 0 0 0,1-1 1 0 0,0 0-1 0 0,-1 0 0 0 0,1-1 0 0 0,1 0 0 0 0,-1 0 1 0 0,1-1-1 0 0,0 0 0 0 0,0-1 0 0 0,-9-9 0 0 0,-3-7-226 0 0,0 0 0 0 0,2-1 0 0 0,-29-52 0 0 0,38 60 145 0 0,0 0 0 0 0,0-1 1 0 0,2 0-1 0 0,0 0 0 0 0,1-1 0 0 0,1 1 0 0 0,1-1 0 0 0,0 0 0 0 0,1 0 0 0 0,1-1 1 0 0,1 1-1 0 0,1 0 0 0 0,0 0 0 0 0,6-28 0 0 0,-6 41 64 0 0,0 1-1 0 0,1 0 1 0 0,-1 0-1 0 0,1 0 1 0 0,0 0-1 0 0,0 0 1 0 0,0 0-1 0 0,0 1 1 0 0,1-1-1 0 0,0 1 1 0 0,-1-1 0 0 0,1 1-1 0 0,0 0 1 0 0,1 0-1 0 0,-1 0 1 0 0,1 1-1 0 0,-1-1 1 0 0,1 1-1 0 0,0 0 1 0 0,-1 0-1 0 0,6-2 1 0 0,-7 4 16 0 0,0-1 0 0 0,0 1 1 0 0,0 0-1 0 0,0 0 0 0 0,0 0 0 0 0,0 0 0 0 0,0 0 0 0 0,-1 0 1 0 0,1 0-1 0 0,0 1 0 0 0,0-1 0 0 0,0 1 0 0 0,0-1 1 0 0,0 1-1 0 0,-1 0 0 0 0,1 0 0 0 0,0 0 0 0 0,2 1 0 0 0,27 23 101 0 0,-27-21-84 0 0,6 6-2 0 0,-1 1 0 0 0,0 0 1 0 0,-1 0-1 0 0,9 16 0 0 0,-13-18-5 0 0,1 0 1 0 0,1-1-1 0 0,-1 0 0 0 0,1 0 1 0 0,1-1-1 0 0,-1 0 0 0 0,1 0 1 0 0,1 0-1 0 0,12 9 1 0 0,-16-14-1 0 0,1-1 0 0 0,-1 0 0 0 0,0 0 1 0 0,0 0-1 0 0,0-1 0 0 0,1 1 0 0 0,-1-1 1 0 0,0 0-1 0 0,7-1 0 0 0,-4 1 2 0 0,52-1 73 0 0,-31-1-90 0 0,0 1 0 0 0,0 2 0 0 0,0 1 0 0 0,31 6 0 0 0,-52-7 82 0 0,0 1 0 0 0,-1 0 0 0 0,1 0 1 0 0,0 1-1 0 0,-1 0 0 0 0,0 0 1 0 0,0 0-1 0 0,0 1 0 0 0,0 0 0 0 0,0 0 1 0 0,-1 1-1 0 0,1-1 0 0 0,-1 1 1 0 0,-1 0-1 0 0,1 1 0 0 0,-1-1 0 0 0,1 1 1 0 0,-2 0-1 0 0,1 0 0 0 0,-1 0 1 0 0,4 10-1 0 0,-4-8 43 0 0,-1 0 0 0 0,0 0 1 0 0,0 0-1 0 0,-1 0 0 0 0,0 0 1 0 0,-1 1-1 0 0,1-1 0 0 0,-2 0 1 0 0,1 1-1 0 0,-1-1 0 0 0,0 0 0 0 0,-1 0 1 0 0,0 0-1 0 0,-1 0 0 0 0,1 0 1 0 0,-6 10-1 0 0,1-4-284 0 0,-1 0 0 0 0,0 0 0 0 0,-1 0 0 0 0,0-1 0 0 0,-1-1 0 0 0,-1 0 0 0 0,-17 16 0 0 0,24-25-249 0 0,1 0 1 0 0,-1 0 0 0 0,0 0 0 0 0,0 0 0 0 0,-1-1-1 0 0,1 0 1 0 0,-6 2 0 0 0,4-2-929 0 0,4-1 898 0 0,0-1 0 0 0,0 0 0 0 0,-1 1 0 0 0,1-1 0 0 0,0 0 0 0 0,0 0 0 0 0,0-1 0 0 0,0 1 0 0 0,0 0 1 0 0,0-1-1 0 0,-1 1 0 0 0,-7-5-1347 0 0</inkml:trace>
</inkml:ink>
</file>

<file path=ppt/ink/ink5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33.641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28 1844 0 0,'11'-27'7243'0'0,"-3"30"-6766"0"0,0 0 0 0 0,0 1-1 0 0,-1 0 1 0 0,0 1-1 0 0,1 0 1 0 0,-1 0-1 0 0,-1 0 1 0 0,12 13-1 0 0,50 61 1574 0 0,-43-49-1459 0 0,68 86 568 0 0,18 21-883 0 0,-33-51-3668 0 0,-68-74 2190 0 0,1 1-663 0 0</inkml:trace>
</inkml:ink>
</file>

<file path=ppt/ink/ink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5:41.28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5 64 12390,'-13'22'4497,"12"-7"-4137,17-12-90,7-5 90,-2 0-90,4-2-1,3 1-89,3-2 0,2 0-90,3-1 0,1 0 0,3 0 0,-1-1-90,-2 2 90,-1-1-90,-2 1-90,-2 0-90,-3 0-90,-1 0-89,-4 1-1,-2 0-180,-3 1-90,-2-1-629,-2 2-1439,2-2 2698,0 2 0,-6 0 0,-2 0 0</inkml:trace>
</inkml:ink>
</file>

<file path=ppt/ink/ink5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11.074"/>
    </inkml:context>
    <inkml:brush xml:id="br0">
      <inkml:brushProperty name="width" value="0.2" units="cm"/>
      <inkml:brushProperty name="height" value="0.2" units="cm"/>
    </inkml:brush>
  </inkml:definitions>
  <inkml:trace contextRef="#ctx0" brushRef="#br0">9 382 112 0 0,'-8'-4'10700'0'0,"38"50"-7994"0"0,-30-45-2698 0 0,308 428 7275 0 0,-307-427-7241 0 0,1 0-1 0 0,0 0 1 0 0,-1 0-1 0 0,0 1 1 0 0,1-1 0 0 0,-1 0-1 0 0,0 1 1 0 0,0-1-1 0 0,0 1 1 0 0,0-1-1 0 0,-1 1 1 0 0,1 0 0 0 0,-1-1-1 0 0,1 1 1 0 0,-1-1-1 0 0,0 1 1 0 0,0 0-1 0 0,0-1 1 0 0,-1 1-1 0 0,1 0 1 0 0,-1-1 0 0 0,1 1-1 0 0,-2 2 1 0 0,1-3 12 0 0,-4-2 34 0 0,-2-2-97 0 0,0 1-1 0 0,1-2 0 0 0,-1 1 0 0 0,0-1 0 0 0,1 0 0 0 0,0 0 1 0 0,-1 0-1 0 0,1-1 0 0 0,0 0 0 0 0,1-1 0 0 0,-1 1 1 0 0,1-1-1 0 0,0 0 0 0 0,-5-6 0 0 0,-14-17-271 0 0,-29-42 1 0 0,33 40 198 0 0,1-1 1 0 0,2-1 0 0 0,0-1 0 0 0,3 0 0 0 0,0-1-1 0 0,3 0 1 0 0,0-1 0 0 0,-5-41 0 0 0,12 54 55 0 0,1-1 1 0 0,1 1 0 0 0,1-1-1 0 0,1 0 1 0 0,2 1 0 0 0,0-1-1 0 0,1 0 1 0 0,1 1-1 0 0,1 0 1 0 0,1 0 0 0 0,1 0-1 0 0,1 1 1 0 0,0 0 0 0 0,15-24-1 0 0,-20 40 17 0 0,0 0-1 0 0,0 1 0 0 0,1-1 1 0 0,-1 0-1 0 0,1 1 0 0 0,0 0 1 0 0,0 0-1 0 0,1 0 0 0 0,-1 0 1 0 0,1 1-1 0 0,0 0 1 0 0,0 0-1 0 0,0 0 0 0 0,1 0 1 0 0,-1 1-1 0 0,0 0 0 0 0,10-2 1 0 0,-13 3 8 0 0,1 1 0 0 0,0 0 1 0 0,-1 0-1 0 0,1 0 0 0 0,-1 0 0 0 0,1 1 1 0 0,-1-1-1 0 0,1 1 0 0 0,-1 0 1 0 0,1-1-1 0 0,-1 1 0 0 0,0 0 0 0 0,1 0 1 0 0,-1 1-1 0 0,4 1 0 0 0,-3-1 1 0 0,3 2 3 0 0,-1-1-1 0 0,0 1 0 0 0,-1 0 1 0 0,1 1-1 0 0,-1-1 0 0 0,1 1 0 0 0,-1-1 1 0 0,-1 1-1 0 0,1 0 0 0 0,-1 1 1 0 0,0-1-1 0 0,0 1 0 0 0,0-1 0 0 0,2 10 1 0 0,3 9 1 0 0,-2 0 0 0 0,4 34 0 0 0,-3-21 11 0 0,-2-3-11 0 0,-4-20-5 0 0,2 0-1 0 0,-1-1 0 0 0,7 17 1 0 0,-8-26 4 0 0,1-1 0 0 0,-1 1 0 0 0,1-1 0 0 0,0 1 0 0 0,0-1 0 0 0,0 0 0 0 0,1 0 0 0 0,-1 0 0 0 0,1 0-1 0 0,0 0 1 0 0,-1-1 0 0 0,1 1 0 0 0,1-1 0 0 0,-1 1 0 0 0,7 2 0 0 0,13 5 4 0 0,1-1 0 0 0,28 5 0 0 0,-5 0-13 0 0,-34-10 9 0 0,0 0 1 0 0,-1 1 0 0 0,1 1-1 0 0,-1 0 1 0 0,0 1 0 0 0,-1 0-1 0 0,0 1 1 0 0,15 13 0 0 0,-21-17 35 0 0,-1 1 0 0 0,0-1 0 0 0,0 1 0 0 0,-1-1 0 0 0,0 1 0 0 0,1 0 0 0 0,-2 0 0 0 0,1 1 0 0 0,-1-1 0 0 0,1 1 0 0 0,-1-1 0 0 0,-1 1 0 0 0,1-1 0 0 0,-1 1 0 0 0,0 0 0 0 0,0 0 0 0 0,-1 0 0 0 0,0 0 0 0 0,0 0 0 0 0,0 0 0 0 0,-3 10 0 0 0,0-2 11 0 0,0-1 0 0 0,-2 1 0 0 0,0-1 0 0 0,0-1 0 0 0,-1 1 0 0 0,-1-1 0 0 0,-10 15 0 0 0,3-8-607 0 0,0 0 1 0 0,-2-1-1 0 0,-26 23 0 0 0,35-34-122 0 0,-1-1 0 0 0,0-1 0 0 0,-1 1 0 0 0,-8 3 0 0 0,-17 3-6431 0 0</inkml:trace>
</inkml:ink>
</file>

<file path=ppt/ink/ink5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11.410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163 140 0 0,'13'-20'1672'0'0,"0"1"1"0"0,1 0-1 0 0,1 0 0 0 0,20-18 0 0 0,-30 32-1272 0 0,1 0 0 0 0,1 0 0 0 0,-1 1 0 0 0,0 0 0 0 0,1 0-1 0 0,0 0 1 0 0,0 1 0 0 0,0 0 0 0 0,0 1 0 0 0,1-1 0 0 0,-1 1 0 0 0,1 1-1 0 0,-1 0 1 0 0,1 0 0 0 0,-1 0 0 0 0,16 1 0 0 0,-5 2 153 0 0,1 1 0 0 0,-1 1 0 0 0,0 0 0 0 0,0 2 0 0 0,0 0 0 0 0,-1 1 0 0 0,32 17 1 0 0,-20-7-104 0 0,-1 1 1 0 0,0 2 0 0 0,37 34 0 0 0,-36-27-223 0 0,-1 2 0 0 0,-1 0 1 0 0,-2 2-1 0 0,-1 1 0 0 0,21 37 1 0 0,-34-49-304 0 0,-1-1 0 0 0,-1 2 0 0 0,0-1 0 0 0,-2 1 0 0 0,-1 1 0 0 0,0-1 0 0 0,-2 1 0 0 0,0 0 0 0 0,-2 0 0 0 0,0 0 0 0 0,-2 27 0 0 0,-2-19-581 0 0,-2 0-1 0 0,0 0 1 0 0,-3-1-1 0 0,0 1 0 0 0,-17 41 1 0 0,6-33-1305 0 0,-1-1 0 0 0,-2-1 0 0 0,-1-1 0 0 0,-44 53 0 0 0,12-25-3888 0 0</inkml:trace>
</inkml:ink>
</file>

<file path=ppt/ink/ink5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15.507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88 300 0 0,'10'-9'975'0'0,"0"0"0"0"0,1 0 0 0 0,0 1 0 0 0,0 0 0 0 0,0 1 0 0 0,1 0 0 0 0,0 1 0 0 0,15-5 0 0 0,-17 8-475 0 0,0 0 0 0 0,0 0 1 0 0,1 2-1 0 0,-1-1 0 0 0,0 1 0 0 0,1 1 1 0 0,-1 0-1 0 0,1 0 0 0 0,-1 1 1 0 0,1 0-1 0 0,11 3 0 0 0,4 3 168 0 0,0 2 1 0 0,0 0-1 0 0,-1 1 0 0 0,0 2 1 0 0,-1 0-1 0 0,0 2 0 0 0,-1 1 1 0 0,24 20-1 0 0,-32-24-504 0 0,0 2 0 0 0,-2 0 0 0 0,0 1 0 0 0,0 0 0 0 0,-1 1 0 0 0,-1 0-1 0 0,0 1 1 0 0,-1 0 0 0 0,-1 1 0 0 0,-1 0 0 0 0,0 0 0 0 0,8 29 0 0 0,-13-31-146 0 0,0 1 0 0 0,-1-1 0 0 0,-1 1 0 0 0,-1-1 0 0 0,0 1 1 0 0,-1 0-1 0 0,-1-1 0 0 0,0 1 0 0 0,-1-1 0 0 0,-1 0 0 0 0,-8 22 0 0 0,6-20-593 0 0,-2-1 0 0 0,0 1 0 0 0,-19 28 0 0 0,19-33-645 0 0,-2 0 0 0 0,1-1 0 0 0,-2 0 0 0 0,-20 17 0 0 0,5-11-3805 0 0</inkml:trace>
</inkml:ink>
</file>

<file path=ppt/ink/ink5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15.942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147 3284 0 0,'29'-19'3944'0'0,"-12"9"-869"0"0,0-1 0 0 0,0-1-1 0 0,-1-1 1 0 0,27-26 0 0 0,-20 17-1392 0 0,-1 1-4612 0 0</inkml:trace>
</inkml:ink>
</file>

<file path=ppt/ink/ink5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16.308"/>
    </inkml:context>
    <inkml:brush xml:id="br0">
      <inkml:brushProperty name="width" value="0.2" units="cm"/>
      <inkml:brushProperty name="height" value="0.2" units="cm"/>
    </inkml:brush>
  </inkml:definitions>
  <inkml:trace contextRef="#ctx0" brushRef="#br0">31 464 392 0 0,'-6'-6'12683'0'0,"28"22"-10798"0"0,27 21-668 0 0,135 137 2216 0 0,-149-135-2606 0 0,-2 1 1 0 0,52 81-1 0 0,-76-106-555 0 0,-1 0 0 0 0,0 0-1 0 0,-1 1 1 0 0,6 20 0 0 0,-12-31-208 0 0,0 0-1 0 0,0-1 1 0 0,0 1-1 0 0,-1 0 1 0 0,0 0-1 0 0,0 0 1 0 0,0-1-1 0 0,-1 10 1 0 0,0-12-43 0 0,0 1 0 0 0,0-1 1 0 0,1 1-1 0 0,-2-1 1 0 0,1 0-1 0 0,0 1 1 0 0,0-1-1 0 0,-1 0 1 0 0,1 0-1 0 0,-1 0 1 0 0,0 0-1 0 0,1 0 1 0 0,-1 0-1 0 0,0 0 1 0 0,0-1-1 0 0,0 1 0 0 0,-3 1 1 0 0,1-1-12 0 0,0-1 0 0 0,1 1 1 0 0,-1-1-1 0 0,0 0 0 0 0,0 0 0 0 0,0 0 1 0 0,0-1-1 0 0,1 1 0 0 0,-1-1 0 0 0,0 0 1 0 0,0 0-1 0 0,0 0 0 0 0,0-1 0 0 0,-5 0 1 0 0,0-1-35 0 0,-1-1 0 0 0,1 0-1 0 0,-1 0 1 0 0,-14-8 0 0 0,7 1-99 0 0,1 0-1 0 0,1-1 1 0 0,0-1 0 0 0,0 0-1 0 0,1-1 1 0 0,1 0 0 0 0,0-1-1 0 0,-15-22 1 0 0,6 4-175 0 0,2 0-1 0 0,1-2 1 0 0,-17-39 0 0 0,20 32 80 0 0,1 1 0 0 0,1-2 0 0 0,3 0 0 0 0,-9-69 0 0 0,16 78 112 0 0,2-1 0 0 0,1 1 0 0 0,1-1 0 0 0,3 1 0 0 0,0 0 0 0 0,13-51 0 0 0,-12 69 68 0 0,1 0 0 0 0,1 0 0 0 0,0 0 0 0 0,1 1-1 0 0,0 0 1 0 0,1 0 0 0 0,1 1 0 0 0,12-15 0 0 0,-16 23 23 0 0,0 0 0 0 0,0 0 0 0 0,0 0 0 0 0,1 0 0 0 0,0 1 0 0 0,0 0 0 0 0,0 0 0 0 0,13-5 0 0 0,-15 7 9 0 0,1 1 1 0 0,-1 0 0 0 0,1-1-1 0 0,0 2 1 0 0,-1-1-1 0 0,1 0 1 0 0,0 1 0 0 0,0 0-1 0 0,0 0 1 0 0,-1 1-1 0 0,1-1 1 0 0,0 1 0 0 0,0 0-1 0 0,6 3 1 0 0,-8-3 10 0 0,1 0 0 0 0,-1 1 0 0 0,0-1 0 0 0,1 1 0 0 0,-1 0 0 0 0,0 0 0 0 0,0 0 0 0 0,-1 0-1 0 0,1 1 1 0 0,0-1 0 0 0,-1 1 0 0 0,1 0 0 0 0,-1 0 0 0 0,0 0 0 0 0,3 5 0 0 0,-2-2 9 0 0,-1 0-1 0 0,1 0 1 0 0,-1 0 0 0 0,-1 0-1 0 0,1 1 1 0 0,-1-1 0 0 0,0 1-1 0 0,0 7 1 0 0,-1 4 41 0 0,-1-1 0 0 0,-1 1-1 0 0,0 0 1 0 0,-1-1 0 0 0,-8 27 0 0 0,-5 1 51 0 0,-2-1 1 0 0,-2-1-1 0 0,-1 0 1 0 0,-30 42-1 0 0,-19 16-2745 0 0,45-67-2174 0 0</inkml:trace>
</inkml:ink>
</file>

<file path=ppt/ink/ink5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16.663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 29 860 0 0,'22'-28'9324'0'0,"-22"28"-9252"0"0,4 19 1232 0 0,-1 7-701 0 0,1 1-1 0 0,1-1 1 0 0,1 0-1 0 0,1-1 1 0 0,2 1-1 0 0,0-1 1 0 0,2-1-1 0 0,1 0 1 0 0,0-1-1 0 0,23 32 1 0 0,-21-36-624 0 0,0-1-1 0 0,1-1 1 0 0,1 0 0 0 0,1-1 0 0 0,0 0-1 0 0,1-1 1 0 0,1-2 0 0 0,0 1 0 0 0,1-2-1 0 0,0-1 1 0 0,1 0 0 0 0,27 9 0 0 0,-40-18-403 0 0,0 1 1 0 0,0-2 0 0 0,0 1 0 0 0,1-1 0 0 0,-1 0-1 0 0,0 0 1 0 0,1-1 0 0 0,-1-1 0 0 0,1 1 0 0 0,13-4-1 0 0,-15 2-406 0 0,0 0 0 0 0,0 0 0 0 0,0-1 0 0 0,0 0 0 0 0,-1 0 0 0 0,1-1-1 0 0,10-7 1 0 0,2-6-3381 0 0</inkml:trace>
</inkml:ink>
</file>

<file path=ppt/ink/ink5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17.219"/>
    </inkml:context>
    <inkml:brush xml:id="br0">
      <inkml:brushProperty name="width" value="0.2" units="cm"/>
      <inkml:brushProperty name="height" value="0.2" units="cm"/>
    </inkml:brush>
  </inkml:definitions>
  <inkml:trace contextRef="#ctx0" brushRef="#br0">71 480 1680 0 0,'0'-15'1480'0'0,"-1"4"15"0"0,1 1 0 0 0,1-1 0 0 0,2-16 0 0 0,-2 26-1435 0 0,-1 1 0 0 0,0-1 0 0 0,0 1-1 0 0,0-1 1 0 0,0 1 0 0 0,1-1 0 0 0,-1 1 0 0 0,0-1-1 0 0,0 1 1 0 0,1-1 0 0 0,-1 1 0 0 0,0 0 0 0 0,1-1-1 0 0,-1 1 1 0 0,1 0 0 0 0,-1-1 0 0 0,0 1 0 0 0,1 0 0 0 0,-1-1-1 0 0,1 1 1 0 0,-1 0 0 0 0,1 0 0 0 0,-1-1 0 0 0,1 1-1 0 0,-1 0 1 0 0,1 0 0 0 0,-1 0 0 0 0,1 0 0 0 0,-1 0-1 0 0,1 0 1 0 0,-1 0 0 0 0,1 0 0 0 0,-1 0 0 0 0,1 0-1 0 0,-1 0 1 0 0,1 0 0 0 0,-1 0 0 0 0,1 0 0 0 0,-1 0 0 0 0,1 1-1 0 0,-1-1 1 0 0,2 1 0 0 0,17 10 1184 0 0,6 13-95 0 0,0 1 0 0 0,-2 2 0 0 0,-1 0 0 0 0,23 37 0 0 0,-32-45-796 0 0,-5-9-45 0 0,0 2 0 0 0,-1-1 0 0 0,0 1 0 0 0,0 0 0 0 0,-2 1 0 0 0,9 24 0 0 0,-14-36-292 0 0,0 0 1 0 0,1-1-1 0 0,-1 1 1 0 0,0 0-1 0 0,1 0 1 0 0,-1 0-1 0 0,0 0 0 0 0,0 0 1 0 0,0 0-1 0 0,0 0 1 0 0,0 0-1 0 0,0 1 1 0 0,0-1-1 0 0,-1 0 0 0 0,1-1 1 0 0,0 1-1 0 0,0 0 1 0 0,-1 0-1 0 0,1 0 1 0 0,-1 0-1 0 0,1 0 0 0 0,-1 0 1 0 0,1 0-1 0 0,-1 0 1 0 0,1-1-1 0 0,-1 1 1 0 0,0 0-1 0 0,1 0 0 0 0,-1-1 1 0 0,0 1-1 0 0,0 0 1 0 0,0-1-1 0 0,1 1 1 0 0,-1-1-1 0 0,0 1 0 0 0,0-1 1 0 0,0 0-1 0 0,0 1 1 0 0,0-1-1 0 0,0 0 1 0 0,0 1-1 0 0,0-1 0 0 0,0 0 1 0 0,0 0-1 0 0,0 0 1 0 0,0 0-1 0 0,0 0 1 0 0,0 0-1 0 0,-2-1 0 0 0,-2 1-9 0 0,1-1 0 0 0,-1 0 0 0 0,0-1 0 0 0,1 1 0 0 0,-1-1 0 0 0,1 0 0 0 0,0 0-1 0 0,-8-4 1 0 0,-10-12-53 0 0,2-1-1 0 0,0-1 0 0 0,1 0 0 0 0,1-2 0 0 0,1 0 0 0 0,1-1 1 0 0,1 0-1 0 0,-15-32 0 0 0,17 29-35 0 0,1-1-1 0 0,2 0 1 0 0,-12-45 0 0 0,18 56 18 0 0,1 0 1 0 0,1 0-1 0 0,0-1 1 0 0,1 1 0 0 0,1 0-1 0 0,1-1 1 0 0,4-30-1 0 0,-1 31 14 0 0,-1 0-1 0 0,2 1 0 0 0,0 0 1 0 0,1 0-1 0 0,9-19 0 0 0,-11 29 38 0 0,-1 0-1 0 0,0 0 0 0 0,1 0 1 0 0,0 0-1 0 0,1 0 0 0 0,-1 1 1 0 0,1 0-1 0 0,-1 0 0 0 0,1 0 0 0 0,0 0 1 0 0,1 1-1 0 0,-1 0 0 0 0,1 0 1 0 0,-1 0-1 0 0,1 1 0 0 0,10-3 1 0 0,5 3-19 0 0,-16 3 29 0 0,0 0 0 0 0,0 0 1 0 0,0 0-1 0 0,0 1 0 0 0,0 0 1 0 0,0 0-1 0 0,0 0 0 0 0,-1 0 1 0 0,1 1-1 0 0,-1 0 1 0 0,1 0-1 0 0,-1 0 0 0 0,0 0 1 0 0,4 5-1 0 0,2 4 0 0 0,0 1-1 0 0,0-1 1 0 0,9 19-1 0 0,20 27-32 0 0,-25-43 29 0 0,1 0 0 0 0,30 23 1 0 0,-28-26 12 0 0,-2 1-1 0 0,0 1 1 0 0,15 16 0 0 0,-23-21 41 0 0,-1 0-1 0 0,0 1 1 0 0,0 0 0 0 0,-1 0-1 0 0,0 0 1 0 0,-1 1 0 0 0,0-1-1 0 0,0 1 1 0 0,-1 0 0 0 0,1 14 0 0 0,0 8 333 0 0,-2 0 1 0 0,-1 37-1 0 0,-2-31-172 0 0,1-37-195 0 0,0 0 0 0 0,0 0 1 0 0,0-1-1 0 0,0 1 0 0 0,0 0 1 0 0,-1 0-1 0 0,1-1 0 0 0,-1 1 1 0 0,1 0-1 0 0,-2 2 0 0 0,2-4-22 0 0,-1 0-1 0 0,1 1 0 0 0,0-1 0 0 0,0 0 1 0 0,-1 1-1 0 0,1-1 0 0 0,0 0 1 0 0,0 1-1 0 0,-1-1 0 0 0,1 0 0 0 0,0 0 1 0 0,-1 0-1 0 0,1 1 0 0 0,0-1 1 0 0,-1 0-1 0 0,1 0 0 0 0,-1 0 0 0 0,1 0 1 0 0,0 0-1 0 0,-1 1 0 0 0,1-1 1 0 0,-1 0-1 0 0,1 0 0 0 0,0 0 0 0 0,-1 0 1 0 0,1 0-1 0 0,-1-1 0 0 0,-1 1-49 0 0,1-1 0 0 0,0 0 0 0 0,-1 0 0 0 0,1 1 0 0 0,0-1-1 0 0,-1 0 1 0 0,1 0 0 0 0,0-1 0 0 0,0 1 0 0 0,0 0 0 0 0,0 0 0 0 0,0 0 0 0 0,0-1-1 0 0,1 1 1 0 0,-1 0 0 0 0,0-1 0 0 0,1 1 0 0 0,-1-1 0 0 0,0-2 0 0 0,0-1-78 0 0,0 1 0 0 0,0-1 1 0 0,0 0-1 0 0,1 0 1 0 0,0 0-1 0 0,0 0 1 0 0,0 0-1 0 0,1 0 0 0 0,-1 0 1 0 0,1 0-1 0 0,1 0 1 0 0,-1 0-1 0 0,1 0 0 0 0,-1 1 1 0 0,1-1-1 0 0,0 1 1 0 0,1-1-1 0 0,-1 1 1 0 0,1 0-1 0 0,0 0 0 0 0,0 0 1 0 0,1 0-1 0 0,-1 0 1 0 0,1 1-1 0 0,-1 0 0 0 0,9-6 1 0 0,-10 8 53 0 0,2 1 31 0 0,-4 0 50 0 0,2-1-3 0 0,-1 1-1 0 0,1 0 1 0 0,-1 0-1 0 0,1 0 1 0 0,-1 0-1 0 0,1 0 1 0 0,-1 0 0 0 0,1 1-1 0 0,-1-1 1 0 0,1 0-1 0 0,-1 1 1 0 0,1-1-1 0 0,-1 1 1 0 0,0 0 0 0 0,1-1-1 0 0,-1 1 1 0 0,0 0-1 0 0,0 0 1 0 0,1 0-1 0 0,-1 0 1 0 0,0 0 0 0 0,0 0-1 0 0,0 0 1 0 0,0 0-1 0 0,0 0 1 0 0,0 1-1 0 0,0-1 1 0 0,-1 0 0 0 0,1 1-1 0 0,0-1 1 0 0,0 3-1 0 0,0 4-70 0 0,0 1 0 0 0,0-1 0 0 0,-1 0 0 0 0,0 1 0 0 0,0-1 0 0 0,-1 0 1 0 0,0 0-1 0 0,-1 1 0 0 0,0-1 0 0 0,0 0 0 0 0,-1 0 0 0 0,0-1 0 0 0,0 1 0 0 0,0-1 0 0 0,-9 13 0 0 0,6-10-746 0 0,-1-1 0 0 0,0 0 0 0 0,-1 0 0 0 0,0-1-1 0 0,0 0 1 0 0,0 0 0 0 0,-1-1 0 0 0,0 0 0 0 0,-1 0 0 0 0,0-1 0 0 0,-13 6 0 0 0,5-6-2430 0 0</inkml:trace>
</inkml:ink>
</file>

<file path=ppt/ink/ink5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17.559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98 200 0 0,'8'-9'646'0'0,"1"0"0"0"0,0 1 0 0 0,0 0 0 0 0,0 0 0 0 0,1 1 1 0 0,0 1-1 0 0,1-1 0 0 0,0 2 0 0 0,-1-1 0 0 0,2 2 0 0 0,-1-1 0 0 0,1 2 0 0 0,-1-1 0 0 0,1 2 0 0 0,0-1 0 0 0,0 2 1 0 0,0-1-1 0 0,0 2 0 0 0,20 1 0 0 0,-10 1-183 0 0,1 1 1 0 0,-1 2-1 0 0,1 0 1 0 0,-1 1-1 0 0,-1 2 1 0 0,1 0-1 0 0,-1 1 1 0 0,-1 1-1 0 0,0 1 0 0 0,0 1 1 0 0,-1 0-1 0 0,0 2 1 0 0,32 30-1 0 0,-39-32-600 0 0,-1 0 1 0 0,-1 1-1 0 0,1 0 0 0 0,-2 0 0 0 0,0 1 0 0 0,-1 0 0 0 0,0 1 1 0 0,-1 0-1 0 0,-1 0 0 0 0,0 1 0 0 0,-1-1 0 0 0,0 1 0 0 0,-2 0 1 0 0,0 1-1 0 0,-1-1 0 0 0,0 0 0 0 0,-1 1 0 0 0,-1-1 1 0 0,-1 1-1 0 0,-2 16 0 0 0,-1-12-1468 0 0,-1 0 0 0 0,-1 0 0 0 0,-1-1 0 0 0,-13 30 0 0 0,-5-2-4703 0 0</inkml:trace>
</inkml:ink>
</file>

<file path=ppt/ink/ink5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34.388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313 1148 0 0,'2'-7'640'0'0,"1"1"0"0"0,0 0 0 0 0,0 0 0 0 0,0 0 0 0 0,0 0 0 0 0,1 0 0 0 0,0 0 0 0 0,9-8 0 0 0,-10 11-405 0 0,0 1 0 0 0,0 0 0 0 0,0 0 0 0 0,1 0 0 0 0,-1 0 0 0 0,1 0 0 0 0,0 1 0 0 0,-1-1 0 0 0,1 1 0 0 0,0 0 0 0 0,0 0 0 0 0,-1 1 1 0 0,1-1-1 0 0,0 1 0 0 0,0 0 0 0 0,7 0 0 0 0,7 2 395 0 0,0 1 1 0 0,0 0 0 0 0,0 1-1 0 0,0 1 1 0 0,32 13-1 0 0,80 48 1403 0 0,-105-52-1708 0 0,0 1 0 0 0,-1 2 0 0 0,-1 0-1 0 0,-1 2 1 0 0,-1 0 0 0 0,36 42 0 0 0,-45-46-242 0 0,-1 1 1 0 0,0 1 0 0 0,-1-1-1 0 0,-1 2 1 0 0,-1-1 0 0 0,0 1-1 0 0,-1 1 1 0 0,-1-1 0 0 0,-1 1 0 0 0,-1 0-1 0 0,3 22 1 0 0,-7-39-99 0 0,5 76-682 0 0,-5-70 167 0 0,0 1 0 0 0,-1 0 0 0 0,0-1 0 0 0,-1 1 0 0 0,0-1 0 0 0,-6 16 0 0 0,0-10-1272 0 0</inkml:trace>
  <inkml:trace contextRef="#ctx0" brushRef="#br0" timeOffset="1">615 328 1672 0 0,'11'-19'1612'0'0,"-2"-1"-144"0"0,3 1-435 0 0,4-2-25 0 0,-1-5-312 0 0,4 1 68 0 0,1-2-312 0 0,1 4 60 0 0,1-1-260 0 0,1 1 108 0 0,1 0-220 0 0,2 5-128 0 0,-2 1-404 0 0,-3 3-160 0 0,1 3-308 0 0,-1 1-164 0 0,-3 4-1205 0 0,1 4-291 0 0</inkml:trace>
</inkml:ink>
</file>

<file path=ppt/ink/ink5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34.771"/>
    </inkml:context>
    <inkml:brush xml:id="br0">
      <inkml:brushProperty name="width" value="0.2" units="cm"/>
      <inkml:brushProperty name="height" value="0.2" units="cm"/>
    </inkml:brush>
  </inkml:definitions>
  <inkml:trace contextRef="#ctx0" brushRef="#br0">5 0 1740 0 0,'-4'108'7600'0'0,"4"-108"-7517"0"0,0 1 1 0 0,0-1 0 0 0,0 1 0 0 0,0-1 0 0 0,0 1 0 0 0,0-1 0 0 0,0 1-1 0 0,0-1 1 0 0,0 1 0 0 0,0-1 0 0 0,0 1 0 0 0,0 0 0 0 0,0-1 0 0 0,0 1 0 0 0,0-1-1 0 0,0 1 1 0 0,1-1 0 0 0,-1 1 0 0 0,0-1 0 0 0,0 1 0 0 0,1-1 0 0 0,-1 0 0 0 0,0 1-1 0 0,1-1 1 0 0,0 1 0 0 0,10-3 80 0 0,10-15-987 0 0,-14 9 388 0 0,1-1-897 0 0,-1 0 1 0 0,0 0-1 0 0,6-11 1 0 0,-5 6-1365 0 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3:39:17.171"/>
    </inkml:context>
    <inkml:brush xml:id="br0">
      <inkml:brushProperty name="width" value="0.17143" units="cm"/>
      <inkml:brushProperty name="height" value="0.17143" units="cm"/>
    </inkml:brush>
  </inkml:definitions>
  <inkml:trace contextRef="#ctx0" brushRef="#br0">67 113 9062,'-21'-15'4677,"3"2"-3238,5 3-179,4 0-631,4-2 1,7 2-90,10 1-91,4 4 1,8-1-90,3 1 0,6 0-1,5 2-179,2 0 90,4 0-90,-1 2-90,-1-1 0,-4 2 0,-1 1-90,-2 1 0,-2-1-90,-4 1-180,-2 0 0,-4 0-89,-3 0-91,-1 0-630,-3 1-179,4 1-180,-3 1-900,1 1-3867,-5 2 6206,-2-1 0,-6-2 0,-1-2 0</inkml:trace>
</inkml:ink>
</file>

<file path=ppt/ink/ink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5:41.66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84 14189,'4'16'1799,"2"-4"-1439,15-14-90,0 0-1,5-2-89,3 0 90,3 0-90,2-2 0,2 0-90,1 0-3392,3 0 3302,-3 0-49,0 1 49,-4-1 89,0 2-89,-2-1 0,-2 1 0,-3-1 90,-2 2-180,-3-1 1,-1 1-91,-2 0 2963,-3 1-3683,4-1-241,-1-1-3356,2 0 4497,-3-1 0,-8 3 0,-2-1 0</inkml:trace>
</inkml:ink>
</file>

<file path=ppt/ink/ink6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35.159"/>
    </inkml:context>
    <inkml:brush xml:id="br0">
      <inkml:brushProperty name="width" value="0.2" units="cm"/>
      <inkml:brushProperty name="height" value="0.2" units="cm"/>
    </inkml:brush>
  </inkml:definitions>
  <inkml:trace contextRef="#ctx0" brushRef="#br0">203 437 1848 0 0,'8'-8'6807'0'0,"-7"8"-6629"0"0,11 7 532 0 0,0 1-1 0 0,-1 0 1 0 0,0 0 0 0 0,14 15 0 0 0,-1-1 128 0 0,15 11 34 0 0,72 63 1245 0 0,-90-75-1493 0 0,-1 0 1 0 0,34 47 0 0 0,-54-67-618 0 0,4 5 199 0 0,0 0 0 0 0,0 1 0 0 0,-1 0 0 0 0,6 13 0 0 0,-9-19-174 0 0,1 1 0 0 0,-1-1 0 0 0,1 1 0 0 0,-1-1 0 0 0,0 1 0 0 0,0-1 0 0 0,1 1 1 0 0,-1-1-1 0 0,0 1 0 0 0,0-1 0 0 0,-1 1 0 0 0,1-1 0 0 0,0 1 0 0 0,0-1 0 0 0,-1 0 0 0 0,1 1 0 0 0,-1-1 0 0 0,1 1 0 0 0,-1-1 0 0 0,0 0 0 0 0,1 1 1 0 0,-1-1-1 0 0,0 0 0 0 0,0 0 0 0 0,0 1 0 0 0,0-1 0 0 0,0 0 0 0 0,0 0 0 0 0,0 0 0 0 0,-1 0 0 0 0,1 0 0 0 0,0-1 0 0 0,0 1 0 0 0,-3 1 1 0 0,-1 0-18 0 0,0-1 0 0 0,0 1 0 0 0,0-1 1 0 0,0 0-1 0 0,0 0 0 0 0,0 0 0 0 0,0-1 1 0 0,0 0-1 0 0,0 0 0 0 0,0 0 1 0 0,-1-1-1 0 0,-4 0 0 0 0,-1-2-81 0 0,0 0-1 0 0,1 0 0 0 0,0-1 1 0 0,-1 0-1 0 0,-11-8 1 0 0,-7-6-315 0 0,0-2 1 0 0,-42-37 0 0 0,40 30 144 0 0,2-2 1 0 0,0-1-1 0 0,2-1 0 0 0,2-1 0 0 0,-29-47 1 0 0,42 58 167 0 0,0 0 0 0 0,1-1 1 0 0,1 0-1 0 0,2-1 0 0 0,0 0 1 0 0,1-1-1 0 0,1 0 0 0 0,2 0 1 0 0,0 0-1 0 0,0-31 0 0 0,3 43 44 0 0,2 0 0 0 0,0-1 0 0 0,0 1 0 0 0,1 0 0 0 0,1 1 0 0 0,0-1 0 0 0,1 0 0 0 0,0 1 0 0 0,0 0 0 0 0,9-14 0 0 0,-10 20 16 0 0,0 0-1 0 0,0 0 1 0 0,1 1 0 0 0,0 0 0 0 0,0-1 0 0 0,0 2 0 0 0,0-1 0 0 0,0 0 0 0 0,1 1 0 0 0,0 0 0 0 0,0 0 0 0 0,0 0 0 0 0,0 0 0 0 0,0 1 0 0 0,0 0 0 0 0,1 0 0 0 0,-1 1 0 0 0,1-1-1 0 0,-1 1 1 0 0,1 0 0 0 0,0 1 0 0 0,-1-1 0 0 0,11 2 0 0 0,-7-1 50 0 0,-1 1-1 0 0,1 1 1 0 0,-1-1-1 0 0,0 2 1 0 0,1-1-1 0 0,-1 1 1 0 0,0 0-1 0 0,-1 0 1 0 0,1 1 0 0 0,-1 0-1 0 0,1 1 1 0 0,-1 0-1 0 0,0 0 1 0 0,-1 0-1 0 0,1 1 1 0 0,-1 0-1 0 0,0 0 1 0 0,-1 0-1 0 0,0 1 1 0 0,0 0-1 0 0,0 0 1 0 0,-1 1 0 0 0,1-1-1 0 0,-2 1 1 0 0,1 0-1 0 0,-1 0 1 0 0,-1 0-1 0 0,1 0 1 0 0,-1 0-1 0 0,-1 1 1 0 0,0-1-1 0 0,1 15 1 0 0,-3 1 74 0 0,0 0 0 0 0,-2 1 0 0 0,-1-1 1 0 0,0 0-1 0 0,-2-1 0 0 0,-17 45 0 0 0,15-50-1057 0 0,0-1 1 0 0,-1-1-1 0 0,-1 1 0 0 0,-1-1 1 0 0,-18 22-1 0 0,15-29-1843 0 0</inkml:trace>
</inkml:ink>
</file>

<file path=ppt/ink/ink6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35.525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21 1984 0 0,'15'-21'9008'0'0,"-13"23"-8839"0"0,0 1-1 0 0,0-1 1 0 0,-1 1-1 0 0,1-1 1 0 0,-1 1-1 0 0,0-1 1 0 0,0 1-1 0 0,0 0 1 0 0,0 0-1 0 0,1 5 1 0 0,6 39 963 0 0,-4-15-585 0 0,5 7-142 0 0,1-1 0 0 0,1-1-1 0 0,3 0 1 0 0,1-1 0 0 0,21 38 0 0 0,-26-57-303 0 0,1 0 0 0 0,1 0 0 0 0,1-1 0 0 0,26 26-1 0 0,-29-33-84 0 0,0 0-1 0 0,0-1 0 0 0,1-1 0 0 0,1 1 0 0 0,-1-2 0 0 0,1 0 0 0 0,0 0 0 0 0,16 4 0 0 0,-21-8-262 0 0,-1 0 0 0 0,1-1-1 0 0,0 0 1 0 0,-1 0 0 0 0,1-1 0 0 0,0 0-1 0 0,0 0 1 0 0,0-1 0 0 0,0 0-1 0 0,-1 0 1 0 0,1 0 0 0 0,0-1 0 0 0,-1 0-1 0 0,1 0 1 0 0,9-6 0 0 0,-9 5-287 0 0,-1 0-1 0 0,-1-1 1 0 0,1 0 0 0 0,0 0 0 0 0,-1-1 0 0 0,0 1 0 0 0,0-1-1 0 0,0 0 1 0 0,-1-1 0 0 0,0 1 0 0 0,0-1 0 0 0,0 0 0 0 0,0 0-1 0 0,-1 0 1 0 0,3-9 0 0 0,3-10-2200 0 0</inkml:trace>
</inkml:ink>
</file>

<file path=ppt/ink/ink6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35.904"/>
    </inkml:context>
    <inkml:brush xml:id="br0">
      <inkml:brushProperty name="width" value="0.2" units="cm"/>
      <inkml:brushProperty name="height" value="0.2" units="cm"/>
    </inkml:brush>
  </inkml:definitions>
  <inkml:trace contextRef="#ctx0" brushRef="#br0">28 612 696 0 0,'-2'-11'777'0'0,"-7"-23"2407"0"0,3-1-1 0 0,-5-62 1 0 0,11 97-3135 0 0,0-1 1 0 0,0 1-1 0 0,0-1 1 0 0,1 1-1 0 0,-1-1 1 0 0,0 1-1 0 0,0-1 1 0 0,0 1 0 0 0,1-1-1 0 0,-1 1 1 0 0,0-1-1 0 0,1 1 1 0 0,-1 0-1 0 0,0-1 1 0 0,1 1-1 0 0,-1 0 1 0 0,0-1-1 0 0,1 1 1 0 0,-1 0 0 0 0,1-1-1 0 0,-1 1 1 0 0,1 0-1 0 0,-1 0 1 0 0,0-1-1 0 0,1 1 1 0 0,-1 0-1 0 0,1 0 1 0 0,-1 0-1 0 0,1 0 1 0 0,-1 0-1 0 0,1 0 1 0 0,-1 0 0 0 0,1 0-1 0 0,-1 0 1 0 0,1 0-1 0 0,0 0 1 0 0,-1 0-1 0 0,1 0 1 0 0,-1 0-1 0 0,0 0 1 0 0,2 1-1 0 0,16 4 662 0 0,2 4-24 0 0,-1 1 25 0 0,-1 1 1 0 0,1 1 0 0 0,30 27-1 0 0,-32-26-277 0 0,21 19 586 0 0,37 39 1 0 0,-75-70-992 0 0,1-1 1 0 0,0 1-1 0 0,0 0 0 0 0,0 0 1 0 0,0 0-1 0 0,0 0 0 0 0,-1 0 1 0 0,1 0-1 0 0,0 0 1 0 0,-1 0-1 0 0,1 0 0 0 0,-1 0 1 0 0,1 1-1 0 0,-1-1 0 0 0,0 0 1 0 0,1 0-1 0 0,-1 0 1 0 0,0 1-1 0 0,0-1 0 0 0,0 0 1 0 0,0 0-1 0 0,0 1 0 0 0,0-1 1 0 0,0 2-1 0 0,-1-1 27 0 0,-2-3-12 0 0,-5-2-95 0 0,1-1-1 0 0,0 1 0 0 0,0-1 0 0 0,0-1 1 0 0,1 1-1 0 0,-1-1 0 0 0,1-1 0 0 0,0 1 1 0 0,1-1-1 0 0,-1 0 0 0 0,-8-12 1 0 0,-6-12-318 0 0,-22-40 1 0 0,42 69 363 0 0,-24-41-223 0 0,3 0 1 0 0,-24-67 0 0 0,40 94 181 0 0,1-1 0 0 0,0 0 0 0 0,1 0 0 0 0,0 0-1 0 0,1 0 1 0 0,1 0 0 0 0,1 0 0 0 0,1-1 0 0 0,0 1 0 0 0,6-32 0 0 0,-6 43 76 0 0,1 1 1 0 0,-1-1-1 0 0,1 1 0 0 0,0-1 1 0 0,0 1-1 0 0,0 0 0 0 0,1 0 1 0 0,-1 0-1 0 0,1 0 0 0 0,0 0 1 0 0,0 1-1 0 0,0-1 0 0 0,1 1 1 0 0,-1 0-1 0 0,1 0 0 0 0,0 0 1 0 0,7-4-1 0 0,-5 4 50 0 0,-1 1-1 0 0,1 0 1 0 0,0 0-1 0 0,0 1 1 0 0,0-1 0 0 0,-1 1-1 0 0,2 1 1 0 0,-1-1-1 0 0,0 1 1 0 0,0 0-1 0 0,0 0 1 0 0,0 1 0 0 0,8 1-1 0 0,27 8 247 0 0,-1 1 0 0 0,-1 2-1 0 0,48 22 1 0 0,107 65 68 0 0,-185-95-495 0 0,97 57-2482 0 0,-87-49-1399 0 0,25 22-1 0 0</inkml:trace>
</inkml:ink>
</file>

<file path=ppt/ink/ink6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36.270"/>
    </inkml:context>
    <inkml:brush xml:id="br0">
      <inkml:brushProperty name="width" value="0.2" units="cm"/>
      <inkml:brushProperty name="height" value="0.2" units="cm"/>
    </inkml:brush>
  </inkml:definitions>
  <inkml:trace contextRef="#ctx0" brushRef="#br0">37 971 1220 0 0,'-3'-1'1833'0'0,"0"0"-1627"0"0,1-1 0 0 0,0 1-1 0 0,0 0 1 0 0,0-1 0 0 0,0 1 0 0 0,1-1 0 0 0,-1 0 0 0 0,0 1 0 0 0,0-1-1 0 0,1 0 1 0 0,0 0 0 0 0,-1 0 0 0 0,1 0 0 0 0,0 0 0 0 0,0-1 0 0 0,0 1-1 0 0,0 0 1 0 0,0-1 0 0 0,0-2 0 0 0,0-1-50 0 0,0 1-1 0 0,1-1 1 0 0,0 0 0 0 0,0 0 0 0 0,0 1-1 0 0,1-1 1 0 0,0 0 0 0 0,2-6 0 0 0,3-10-129 0 0,2 1 0 0 0,0 0 0 0 0,16-28 0 0 0,108-171-1127 0 0,-34 78 3219 0 0,-94 137-1822 0 0,-1 0 0 0 0,1 1 1 0 0,-1-1-1 0 0,1 1 0 0 0,0 0 0 0 0,1 1 0 0 0,-1-1 1 0 0,10-5-1 0 0,-11 7-121 0 0,1 1-1 0 0,-1-1 1 0 0,1 1 0 0 0,0 0-1 0 0,-1 1 1 0 0,1-1 0 0 0,0 1-1 0 0,0-1 1 0 0,-1 1 0 0 0,1 0 0 0 0,0 1-1 0 0,0-1 1 0 0,-1 1 0 0 0,6 1-1 0 0,6 2 178 0 0,0 1-1 0 0,-1 1 0 0 0,1 0 0 0 0,-1 1 0 0 0,18 12 0 0 0,-10-7 98 0 0,-4 0-3 0 0,0 0 1 0 0,0 1-1 0 0,-1 1 1 0 0,19 21-1 0 0,-36-36-427 0 0,0 1 0 0 0,0 0 0 0 0,0 0-1 0 0,0 1 1 0 0,-1-1 0 0 0,1 0 0 0 0,0 0 0 0 0,0 0 0 0 0,0 0-1 0 0,-1 0 1 0 0,1 0 0 0 0,0 0 0 0 0,0 0 0 0 0,0 0 0 0 0,0 0-1 0 0,-1 0 1 0 0,1 0 0 0 0,0 1 0 0 0,0-1 0 0 0,0 0 0 0 0,0 0-1 0 0,0 0 1 0 0,-1 0 0 0 0,1 0 0 0 0,0 1 0 0 0,0-1 0 0 0,0 0-1 0 0,0 0 1 0 0,0 0 0 0 0,0 0 0 0 0,0 1 0 0 0,0-1 0 0 0,0 0-1 0 0,0 0 1 0 0,0 0 0 0 0,0 1 0 0 0,0-1 0 0 0,0 0 0 0 0,0 0-1 0 0,0 0 1 0 0,0 1 0 0 0,0-1 0 0 0,0 0 0 0 0,0 0 0 0 0,0 0-1 0 0,0 0 1 0 0,0 1 0 0 0,0-1 0 0 0,0 0 0 0 0,0 0 0 0 0,0 0-1 0 0,0 1 1 0 0,1-1 0 0 0,-1 0 0 0 0,0 0 0 0 0,-2 0-22 0 0,0-1 0 0 0,0 1 0 0 0,0-1 0 0 0,1 0 1 0 0,-1 0-1 0 0,0 1 0 0 0,0-1 0 0 0,1 0 0 0 0,-4-3 0 0 0,-11-13 23 0 0,1-2 1 0 0,0 0-1 0 0,1 0 0 0 0,-19-38 0 0 0,14 20 0 0 0,-25-76 0 0 0,39 100-31 0 0,1-1 0 0 0,1 0 1 0 0,0 0-1 0 0,1-1 0 0 0,0 1 0 0 0,1-21 0 0 0,1 31 27 0 0,0 0 0 0 0,1 1 0 0 0,-1-1 0 0 0,1 0 0 0 0,0 0 1 0 0,0 1-1 0 0,0-1 0 0 0,0 1 0 0 0,1-1 0 0 0,-1 1 0 0 0,1-1 0 0 0,0 1 0 0 0,0 0 0 0 0,0 0 1 0 0,1 0-1 0 0,-1 0 0 0 0,1 0 0 0 0,-1 0 0 0 0,1 1 0 0 0,0-1 0 0 0,0 1 0 0 0,0 0 1 0 0,0 0-1 0 0,1 0 0 0 0,-1 0 0 0 0,1 1 0 0 0,-1-1 0 0 0,1 1 0 0 0,3-1 0 0 0,2 0 38 0 0,0 1 0 0 0,1 0 0 0 0,-1 1-1 0 0,0 0 1 0 0,0 0 0 0 0,0 1-1 0 0,1 0 1 0 0,-1 0 0 0 0,0 1 0 0 0,10 4-1 0 0,15 5 32 0 0,39 20-1 0 0,-73-31-84 0 0,35 16-916 0 0,-1 2 1 0 0,0 2-1 0 0,38 29 0 0 0,-25-18-4488 0 0</inkml:trace>
</inkml:ink>
</file>

<file path=ppt/ink/ink6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36.673"/>
    </inkml:context>
    <inkml:brush xml:id="br0">
      <inkml:brushProperty name="width" value="0.2" units="cm"/>
      <inkml:brushProperty name="height" value="0.2" units="cm"/>
    </inkml:brush>
  </inkml:definitions>
  <inkml:trace contextRef="#ctx0" brushRef="#br0">9 408 2212 0 0,'-1'-4'531'0'0,"-1"-1"159"0"0,1 1-1 0 0,0-1 1 0 0,-1 1 0 0 0,2-1-1 0 0,-1 1 1 0 0,1-1-1 0 0,-1 0 1 0 0,1 1 0 0 0,0-1-1 0 0,3-9 1240 0 0,2 14-1708 0 0,0 1 0 0 0,0 0-1 0 0,0 0 1 0 0,-1 0 0 0 0,1 0-1 0 0,0 1 1 0 0,0 0 0 0 0,6 3-1 0 0,38 25 974 0 0,-23-13-516 0 0,-19-13-506 0 0,18 10 561 0 0,0 1 1 0 0,-1 2-1 0 0,-1 0 1 0 0,38 38-1 0 0,-60-54-659 0 0,0 0-1 0 0,0 1 0 0 0,0-1 1 0 0,0 1-1 0 0,0-1 1 0 0,0 1-1 0 0,-1 0 0 0 0,1-1 1 0 0,-1 1-1 0 0,1-1 1 0 0,-1 1-1 0 0,0 0 0 0 0,0 0 1 0 0,0-1-1 0 0,0 3 1 0 0,0-3-59 0 0,0-1 1 0 0,0 1-1 0 0,0 0 1 0 0,0 0 0 0 0,0 0-1 0 0,-1-1 1 0 0,1 1-1 0 0,0 0 1 0 0,-1-1 0 0 0,1 1-1 0 0,0 0 1 0 0,-1-1-1 0 0,1 1 1 0 0,-1 0 0 0 0,1-1-1 0 0,-1 1 1 0 0,1-1-1 0 0,-1 1 1 0 0,0-1 0 0 0,1 1-1 0 0,-1-1 1 0 0,0 1-1 0 0,1-1 1 0 0,-1 0 0 0 0,0 1-1 0 0,0-1 1 0 0,1 0-1 0 0,-1 1 1 0 0,0-1 0 0 0,0 0-1 0 0,1 0 1 0 0,-1 0-1 0 0,0 0 1 0 0,0 0 0 0 0,-1 0-1 0 0,-4 0 7 0 0,1-1-1 0 0,-1 1 0 0 0,1-1 0 0 0,-1-1 1 0 0,1 1-1 0 0,-1-1 0 0 0,1 0 1 0 0,0 0-1 0 0,0 0 0 0 0,-8-5 0 0 0,3 0-5 0 0,1 0 0 0 0,0 0-1 0 0,0 0 1 0 0,-12-16 0 0 0,-1-3-34 0 0,2-1 1 0 0,-25-44 0 0 0,36 54-37 0 0,1 0 1 0 0,0 0-1 0 0,1-1 1 0 0,1 0-1 0 0,1 0 0 0 0,-6-36 1 0 0,9 42 20 0 0,1 0 1 0 0,0 0 0 0 0,1-1-1 0 0,1 1 1 0 0,-1 0 0 0 0,2 0-1 0 0,0-1 1 0 0,0 1 0 0 0,2 0-1 0 0,-1 1 1 0 0,8-18 0 0 0,-9 25 24 0 0,1 0 0 0 0,-1 0 1 0 0,1 0-1 0 0,-1 0 1 0 0,1 1-1 0 0,0 0 1 0 0,0-1-1 0 0,1 1 0 0 0,-1 0 1 0 0,1 1-1 0 0,-1-1 1 0 0,1 1-1 0 0,6-4 1 0 0,-8 5 5 0 0,1 0 0 0 0,-1 1 1 0 0,1-1-1 0 0,-1 0 1 0 0,1 1-1 0 0,-1-1 0 0 0,1 1 1 0 0,-1 0-1 0 0,1 0 0 0 0,-1 0 1 0 0,1 0-1 0 0,0 0 1 0 0,-1 1-1 0 0,1-1 0 0 0,-1 1 1 0 0,0 0-1 0 0,1 0 0 0 0,-1 0 1 0 0,1 0-1 0 0,-1 0 1 0 0,0 0-1 0 0,0 0 0 0 0,0 1 1 0 0,0-1-1 0 0,4 4 1 0 0,3 5 25 0 0,0 1 0 0 0,0-1 0 0 0,-1 2 0 0 0,0-1 0 0 0,-1 1 0 0 0,6 15 0 0 0,-7-15-22 0 0,0 0 0 0 0,1-1 0 0 0,0 0 0 0 0,1 0 0 0 0,0 0 0 0 0,0-1 0 0 0,12 10 0 0 0,-5-9-66 0 0,0-2 0 0 0,0 0 1 0 0,1-1-1 0 0,30 12 0 0 0,-24-12-18 0 0,0 2 1 0 0,26 16-1 0 0,-42-23 77 0 0,-1 1 0 0 0,0 0 0 0 0,0 0 0 0 0,0 1 0 0 0,-1-1 0 0 0,1 1 0 0 0,-1 0-1 0 0,0 0 1 0 0,0 0 0 0 0,-1 1 0 0 0,0-1 0 0 0,5 13 0 0 0,-6-12-5 0 0,0 1-1 0 0,-1-1 0 0 0,-1 1 1 0 0,1-1-1 0 0,-1 1 0 0 0,0-1 1 0 0,0 1-1 0 0,-1 0 1 0 0,0-1-1 0 0,0 1 0 0 0,0-1 1 0 0,-1 0-1 0 0,0 1 1 0 0,0-1-1 0 0,-1 0 0 0 0,0 0 1 0 0,0 0-1 0 0,0 0 0 0 0,-5 6 1 0 0,2-4-385 0 0,0 0 0 0 0,-1 0 0 0 0,0 0 0 0 0,0-1 0 0 0,-9 7 0 0 0,11-9-404 0 0,-1-1 1 0 0,0-1-1 0 0,0 1 0 0 0,0-1 1 0 0,0 0-1 0 0,0 0 0 0 0,-10 2 1 0 0</inkml:trace>
</inkml:ink>
</file>

<file path=ppt/ink/ink6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37.055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76 1184 0 0,'5'-6'473'0'0,"-1"0"-1"0"0,1 0 1 0 0,0 0-1 0 0,1 1 1 0 0,0 0 0 0 0,-1 0-1 0 0,2 1 1 0 0,-1-1-1 0 0,0 1 1 0 0,1 1 0 0 0,0-1-1 0 0,0 1 1 0 0,0 0-1 0 0,0 1 1 0 0,0-1 0 0 0,0 2-1 0 0,1-1 1 0 0,-1 1-1 0 0,1 0 1 0 0,-1 0 0 0 0,1 1-1 0 0,0 0 1 0 0,-1 1-1 0 0,1-1 1 0 0,-1 1 0 0 0,1 1-1 0 0,-1 0 1 0 0,9 2-1 0 0,7 4-140 0 0,1 0 0 0 0,-2 1-1 0 0,1 2 1 0 0,-1 0-1 0 0,-1 1 1 0 0,0 2 0 0 0,-1 0-1 0 0,0 1 1 0 0,-1 0-1 0 0,-1 2 1 0 0,25 29 0 0 0,-33-33-511 0 0,-1 0 0 0 0,0 1 0 0 0,0 0 0 0 0,-2 1 0 0 0,1-1 0 0 0,-2 2 0 0 0,9 30 0 0 0,-12-31-379 0 0,0 0-1 0 0,-1 1 1 0 0,-1-1 0 0 0,0 1-1 0 0,-1-1 1 0 0,-1 1-1 0 0,0-1 1 0 0,-1 0-1 0 0,-6 21 1 0 0,-11 33-3863 0 0,-3-18-607 0 0</inkml:trace>
</inkml:ink>
</file>

<file path=ppt/ink/ink6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37.445"/>
    </inkml:context>
    <inkml:brush xml:id="br0">
      <inkml:brushProperty name="width" value="0.2" units="cm"/>
      <inkml:brushProperty name="height" value="0.2" units="cm"/>
    </inkml:brush>
  </inkml:definitions>
  <inkml:trace contextRef="#ctx0" brushRef="#br0">227 1803 2792 0 0,'-82'84'4089'0'0,"-62"55"5360"0"0,144-140-9370 0 0,0-1 1 0 0,1 0-1 0 0,-1 0 0 0 0,1 0 0 0 0,-1 0 0 0 0,1 1 0 0 0,0-1 1 0 0,-1 0-1 0 0,1 0 0 0 0,0 1 0 0 0,0-1 0 0 0,1 1 1 0 0,-1-1-1 0 0,0 1 0 0 0,2-2 0 0 0,4-6 146 0 0,195-222 1585 0 0,19 14-961 0 0,-121 121-462 0 0,22-22 25 0 0,837-783 2825 0 0,-472 503-4118 0 0,-444 371-1795 0 0</inkml:trace>
</inkml:ink>
</file>

<file path=ppt/ink/ink6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37.804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2 230 1432 0 0,'-3'10'672'0'0,"1"1"0"0"0,-1-1 0 0 0,2 1 0 0 0,-1-1 0 0 0,2 1 0 0 0,-1 0 0 0 0,2-1 0 0 0,-1 1 0 0 0,1 0 0 0 0,1-1 0 0 0,0 1 0 0 0,0-1 0 0 0,7 16 1 0 0,5 12 99 0 0,2-1 1 0 0,26 43-1 0 0,-28-56-263 0 0,66 112 691 0 0,-45-80-617 0 0,-3 0-1 0 0,49 118 0 0 0,-76-159-450 0 0,0 1-1 0 0,-1-1 1 0 0,2 22 0 0 0,-5-33-109 0 0,-1-1-1 0 0,1 0 1 0 0,-1 0 0 0 0,0 0 0 0 0,0 0-1 0 0,0 1 1 0 0,-1-1 0 0 0,1 0 0 0 0,-1 0-1 0 0,0 0 1 0 0,0 0 0 0 0,0 0 0 0 0,0 0-1 0 0,0 0 1 0 0,-1 0 0 0 0,1 0 0 0 0,-1 0-1 0 0,0-1 1 0 0,1 1 0 0 0,-1-1 0 0 0,-1 1 0 0 0,-3 3-1 0 0,4-5-17 0 0,0 0-1 0 0,0-1 1 0 0,0 1-1 0 0,0-1 1 0 0,1 0-1 0 0,-1 1 1 0 0,0-1-1 0 0,0 0 1 0 0,0 0-1 0 0,0 0 0 0 0,0-1 1 0 0,0 1-1 0 0,0 0 1 0 0,1-1-1 0 0,-1 1 1 0 0,0-1-1 0 0,0 1 1 0 0,0-1-1 0 0,1 0 1 0 0,-1 0-1 0 0,0 0 1 0 0,1 0-1 0 0,-3-2 1 0 0,-4-2-5 0 0,0-1 0 0 0,1 0 1 0 0,-8-7-1 0 0,-2-5-26 0 0,1-2 0 0 0,0 0 0 0 0,1 0 0 0 0,2-2-1 0 0,0 1 1 0 0,1-2 0 0 0,-14-37 0 0 0,11 19-51 0 0,2-1 1 0 0,2-1-1 0 0,-8-67 1 0 0,13 61 61 0 0,3 0 0 0 0,1-1 0 0 0,3 1 1 0 0,8-52-1 0 0,-5 72-2 0 0,1 0-1 0 0,2 1 1 0 0,1 0 0 0 0,1 0 0 0 0,1 1 0 0 0,1 0-1 0 0,2 1 1 0 0,19-31 0 0 0,-24 46 3 0 0,-1 1 0 0 0,2 1 0 0 0,-1-1 0 0 0,10-7 0 0 0,-13 13 11 0 0,0 0 0 0 0,0 0 0 0 0,0 0 0 0 0,1 1 1 0 0,-1 0-1 0 0,1 0 0 0 0,0 0 0 0 0,-1 1 0 0 0,10-2 0 0 0,-12 3 8 0 0,-1 0-1 0 0,1 1 1 0 0,-1-1 0 0 0,1 1-1 0 0,0 0 1 0 0,-1 0-1 0 0,1 0 1 0 0,0 0 0 0 0,-1 1-1 0 0,1-1 1 0 0,-1 1-1 0 0,1-1 1 0 0,-1 1 0 0 0,1 0-1 0 0,-1 0 1 0 0,1 0-1 0 0,-1 0 1 0 0,1 0 0 0 0,2 3-1 0 0,-2-1 13 0 0,-1-1-1 0 0,0 1 1 0 0,0-1 0 0 0,-1 1-1 0 0,1 0 1 0 0,0-1 0 0 0,-1 1-1 0 0,0 0 1 0 0,1 0 0 0 0,-1 0-1 0 0,0 0 1 0 0,-1 1 0 0 0,2 4-1 0 0,-1 7 31 0 0,0 0 0 0 0,-1 0 0 0 0,-1 0 0 0 0,-1 0 1 0 0,-3 18-1 0 0,1-13-598 0 0,-1 1 1 0 0,-1-1-1 0 0,-17 37 1 0 0,18-46-1063 0 0,-1 0-1 0 0,0-1 1 0 0,0 0 0 0 0,-15 16-1 0 0</inkml:trace>
</inkml:ink>
</file>

<file path=ppt/ink/ink6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38.137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488 2080 0 0,'3'1'2937'0'0,"10"1"-1749"0"0,-13-2-1165 0 0,1 0 0 0 0,-1 0 1 0 0,0 0-1 0 0,0 0 1 0 0,0 0-1 0 0,0 0 0 0 0,0 0 1 0 0,1 0-1 0 0,-1 0 1 0 0,0 0-1 0 0,0 0 0 0 0,0 0 1 0 0,0 1-1 0 0,0-1 1 0 0,0 0-1 0 0,1 0 1 0 0,-1 0-1 0 0,0 0 71 0 0,0 0-71 0 0,0 0 0 0 0,0 1 1 0 0,1-1-1 0 0,-1 0 1 0 0,0 0-1 0 0,0 0 0 0 0,0 0 1 0 0,0 0-1 0 0,0 1 1 0 0,0-1-1 0 0,0 0 0 0 0,0 0 1 0 0,0 0-1 0 0,0 0 1 0 0,0 0-1 0 0,0 1 1 0 0,0-1-1 0 0,0 0 0 0 0,0 0 1 0 0,0 0-1 0 0,0 0 1 0 0,0 1-1 0 0,4 61 3010 0 0,-3-28-1458 0 0,12 62 0 0 0,-11-84-1455 0 0,1-1 1 0 0,1 0-1 0 0,0 0 0 0 0,0 0 0 0 0,1-1 0 0 0,1 1 0 0 0,0-1 0 0 0,0 0 1 0 0,11 13-1 0 0,-7-12-166 0 0,1 0 1 0 0,1 0 0 0 0,0-1-1 0 0,0-1 1 0 0,1 0 0 0 0,0-1-1 0 0,0 0 1 0 0,1-1 0 0 0,0 0 0 0 0,1-1-1 0 0,-1-1 1 0 0,1 0 0 0 0,0-1-1 0 0,27 4 1 0 0,-32-7-205 0 0,-1 0-1 0 0,1-1 1 0 0,0 0 0 0 0,0 0 0 0 0,-1-1-1 0 0,1 0 1 0 0,0-1 0 0 0,-1 0 0 0 0,1-1-1 0 0,-1 0 1 0 0,0 0 0 0 0,0-1 0 0 0,0 0-1 0 0,0-1 1 0 0,-1 1 0 0 0,0-2 0 0 0,0 1-1 0 0,0-1 1 0 0,0-1 0 0 0,-1 1 0 0 0,0-1-1 0 0,-1 0 1 0 0,1-1 0 0 0,6-11 0 0 0,-6 8 206 0 0,-2 0 1 0 0,1 0 0 0 0,-1-1-1 0 0,-1 0 1 0 0,0 0 0 0 0,-1 0-1 0 0,2-15 1 0 0,6-92 1674 0 0,-8 80-869 0 0,-2 5-87 0 0,-1 18-309 0 0,1 0 1 0 0,1 1-1 0 0,0-1 1 0 0,8-29-1 0 0,-10 44-316 0 0,1 0 0 0 0,-1 0 0 0 0,1 0 0 0 0,-1-1 0 0 0,1 1 0 0 0,-1 0-1 0 0,1 0 1 0 0,0 0 0 0 0,-1 0 0 0 0,1 0 0 0 0,0 0 0 0 0,0 0 0 0 0,0 0-1 0 0,0 1 1 0 0,0-1 0 0 0,0 0 0 0 0,0 0 0 0 0,0 1 0 0 0,0-1 0 0 0,0 1-1 0 0,0-1 1 0 0,1 1 0 0 0,-1-1 0 0 0,0 1 0 0 0,0 0 0 0 0,1 0 0 0 0,-1-1-1 0 0,0 1 1 0 0,0 0 0 0 0,1 0 0 0 0,-1 0 0 0 0,0 0 0 0 0,0 1 0 0 0,1-1-1 0 0,-1 0 1 0 0,0 0 0 0 0,0 1 0 0 0,0-1 0 0 0,1 1 0 0 0,-1-1 0 0 0,0 1-1 0 0,0-1 1 0 0,0 1 0 0 0,0 0 0 0 0,0 0 0 0 0,0-1 0 0 0,0 1-1 0 0,1 2 1 0 0,10 8 270 0 0,0 1 0 0 0,-1 0 0 0 0,-1 1 0 0 0,0 1 0 0 0,-1-1 0 0 0,8 16 0 0 0,0-2 191 0 0,26 45 772 0 0,43 99-1 0 0,-86-170-1275 0 0,1-1 1 0 0,-1 1-1 0 0,0-1 0 0 0,1 1 0 0 0,-1 0 0 0 0,0-1 1 0 0,0 1-1 0 0,0-1 0 0 0,0 1 0 0 0,1-1 0 0 0,-1 1 1 0 0,0 0-1 0 0,0-1 0 0 0,0 1 0 0 0,0-1 0 0 0,0 1 1 0 0,-1 0-1 0 0,1-1 0 0 0,0 2 0 0 0,-9-1 100 0 0,7-2-118 0 0,0-1 0 0 0,0 1-1 0 0,-1 0 1 0 0,1 0-1 0 0,0-1 1 0 0,0 1 0 0 0,0-1-1 0 0,1 0 1 0 0,-4-2 0 0 0,-13-22-142 0 0,1 0 1 0 0,1-1 0 0 0,2-1 0 0 0,-22-58-1 0 0,22 43 1 0 0,1 0-1 0 0,-11-84 1 0 0,21 100 103 0 0,1 0 0 0 0,2 1 1 0 0,0-1-1 0 0,2 0 0 0 0,5-28 1 0 0,-4 41 20 0 0,0-1 1 0 0,1 1-1 0 0,1-1 1 0 0,0 1-1 0 0,1 0 1 0 0,0 1-1 0 0,1 0 1 0 0,1 0-1 0 0,0 0 1 0 0,14-17-1 0 0,-20 29 14 0 0,-1-1 0 0 0,1 1 1 0 0,0-1-1 0 0,0 1 0 0 0,0 0 0 0 0,0 0 1 0 0,0 0-1 0 0,0 0 0 0 0,0 0 0 0 0,3 0 0 0 0,-4 1 25 0 0,2-1-75 0 0,2 2 75 0 0,3 2-22 0 0,0 1-1 0 0,-1 0 1 0 0,1 0 0 0 0,-1 1 0 0 0,0 0-1 0 0,0 0 1 0 0,7 7 0 0 0,-14-12 11 0 0,14 11 34 0 0,1 0 1 0 0,0-1-1 0 0,0-1 1 0 0,1-1-1 0 0,1 0 1 0 0,-1-1-1 0 0,1 0 1 0 0,33 7-1 0 0,-43-12-41 0 0,26 5-112 0 0,-1 2 1 0 0,61 25-1 0 0,-85-30 112 0 0,-1 0 0 0 0,1 0 0 0 0,-1 1 0 0 0,1-1 0 0 0,-2 2 1 0 0,1-1-1 0 0,0 1 0 0 0,-1 0 0 0 0,0 0 0 0 0,0 1 0 0 0,-1 0 0 0 0,0 0 0 0 0,0 0 0 0 0,-1 0 0 0 0,0 1 0 0 0,6 13 0 0 0,-9-15 37 0 0,0 0 0 0 0,0 0-1 0 0,-1 0 1 0 0,1 0 0 0 0,-1 0-1 0 0,-1 0 1 0 0,1 0 0 0 0,-1 0-1 0 0,0 0 1 0 0,0 0 0 0 0,-1 0-1 0 0,1-1 1 0 0,-1 1 0 0 0,-1 0-1 0 0,-3 7 1 0 0,0-3-305 0 0,1 0 0 0 0,-1 0 1 0 0,-1-1-1 0 0,0 0 0 0 0,0 0 0 0 0,-1 0 1 0 0,-9 7-1 0 0,12-12-642 0 0,1-1 0 0 0,-1 1 0 0 0,0-1 0 0 0,0 0 0 0 0,-1-1 0 0 0,1 1 0 0 0,0-1 0 0 0,-12 3 0 0 0</inkml:trace>
</inkml:ink>
</file>

<file path=ppt/ink/ink6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7-24T02:25:38.487"/>
    </inkml:context>
    <inkml:brush xml:id="br0">
      <inkml:brushProperty name="width" value="0.2" units="cm"/>
      <inkml:brushProperty name="height" value="0.2" units="cm"/>
    </inkml:brush>
  </inkml:definitions>
  <inkml:trace contextRef="#ctx0" brushRef="#br0">0 25 1904 0 0,'12'-5'1012'0'0,"0"1"-1"0"0,0 0 0 0 0,0 1 1 0 0,0 0-1 0 0,1 1 0 0 0,0 0 1 0 0,24 0-1 0 0,-27 3-585 0 0,-1 0-1 0 0,0 0 1 0 0,1 1 0 0 0,-1 0-1 0 0,0 1 1 0 0,0 0 0 0 0,0 1-1 0 0,-1-1 1 0 0,1 1-1 0 0,-1 1 1 0 0,11 8 0 0 0,-4-2-177 0 0,-1 1 0 0 0,0 0 0 0 0,-1 2 0 0 0,0-1 1 0 0,-1 2-1 0 0,-1 0 0 0 0,0 0 0 0 0,-1 1 0 0 0,-1 0 0 0 0,0 0 1 0 0,-2 1-1 0 0,1 0 0 0 0,-2 1 0 0 0,6 25 0 0 0,-6-18-694 0 0,-2 0 0 0 0,-1 0-1 0 0,-1 1 1 0 0,0-1 0 0 0,-2 0 0 0 0,-2 1 0 0 0,0-1-1 0 0,-1 1 1 0 0,-1-1 0 0 0,-9 25 0 0 0,3-20-995 0 0,-1-1 0 0 0,-1-1 0 0 0,-1 0 0 0 0,-18 27 0 0 0,-5-1-2899 0 0</inkml:trace>
</inkml:ink>
</file>

<file path=ppt/ink/ink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5:42.36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0 15088,'9'29'1440,"-2"1"-1081,-6-6 91,-1 3 0,0 5-90,0 2-91,0 3 361,0 19 0,1 24-450,-1-13-90,0 10 0,0-37 0,-1-1-1,1-1 1,0-2-90,-1 0 0,0-5-90,1-1-179,-1-4-91,-1-1-90,2-3-719,-2-2-720,2 3-3328,-1-4 5217,-2 1 0,2-10 0,-1-4 0</inkml:trace>
</inkml:ink>
</file>

<file path=ppt/ink/ink6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1:10.74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50 123 9332,'-15'-19'1439,"1"1"-989,5 7-91,-4 0-269,-2 0 0,-3 0 0,-1 0-90,-1 1 0,-3 1 0,4 3 0,-1 2 0,4 3 0,-1 0-90,-2 1 180,-1 2-90,-2 0 0,-1 3 90,0 0 0,-2 3-90,0 1-90,0 1 180,0 2-90,1 2 0,0 2 0,2 0 0,-2 4 0,3 0 90,0 2-90,2 0 0,1 1 0,1 0 90,2 2-90,-1-1 0,3 2 0,0-1 0,1 2 90,1-1-90,-3 13 0,5-9 0,-2 7 90,5-12-90,0 0 0,2-2-3392,2 1 3392,0-1-88,1 1 88,2-1 0,1 0 0,0-1 0,3 0 0,0 0 0,6 9 90,-1-6 0,4 6-90,-2-9 3438,2 0-3438,0-2 222,2 1-132,1-2 90,9 6-180,-5-6 90,7 5-1,-7-10-89,-1 1 90,1-3-90,0 0 0,-1-1 90,0-2-90,0 0 0,1-1 0,0-1 90,1-1-90,0-1 0,0 0 0,0-1 0,1 1 0,0-2 0,0 1 0,0-2 90,10 1-90,-7-2 0,8 0-90,-11-1 90,0-1 90,0 0-180,0-1 90,0 0 90,-1-1-90,0 0 90,11-3-90,0-2 90,0 0-90,-4-1 90,-9 3 90,7-5-180,-6 3 90,5-4-90,-9 3 90,0 0 0,-1-1 0,-1-1 0,0 1 0,0-2-90,-1 1 180,0-2-90,-1 0-1,0-1-89,0 0 90,-1 0-90,0-2 90,0 0 0,-2-1 0,1-1-90,-1 0 90,-1-1 0,0-1 90,2-10-90,-2 8 90,1-9 0,-4 10-90,-1 0 0,-1-1 90,-1 1-90,-1-1 89,-2-11-179,-2 7 90,-2-8 0,-2 9-90,-2-1 90,-2 0 0,-3-1-90,-2 0 0,-3-1 0,-3-1 90,-1 1-90,-3 1 0,-2 1 90,-2 1-90,-1 0 0,-1 3-360,-18-8 91,11 9-586,-12-3 135,14 10-269,1 4-450,0 3-4138,-12 4 5577,11 4 0,-13 4 0,14 2 0</inkml:trace>
</inkml:ink>
</file>

<file path=ppt/ink/ink6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1:12.11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76 213 9871,'-9'-22'1529,"0"1"-1259,1 9 0,-2 0-90,0 1-90,-2 1 0,-3 0 0,-3 2-90,-4 0 0,3 3 0,0 1 0,3 3 90,1 0-180,-2 0 180,0 2 0,-3 1-90,0 0 90,-2 1-90,0 2 0,-3 1 90,0 1 0,-3 2 0,0 1 90,-14 10-91,10-3 1,-10 8 0,14-6 180,-8 12-90,9-5-90,-5 7 0,12-9 0,3-1 0,1 2 0,1 0 0,1 2-90,2 0 90,2 1 0,1 1 0,2 0-90,2 1 90,1-1 0,2 1-90,2 0 0,2 0 89,2 3-89,2-1 0,1 0 0,1 0 0,4 1 90,9 16-90,-2-12-90,8 11 180,-6-16-180,1-1 90,1-1 0,2 0 0,1-2 90,13 11-180,-8-10-1305,10 7 1395,-12-13 6,1 0-6,1-2 0,0-1 90,0-2-90,2 0 180,16 3 0,-10-5-90,13 2 0,-15-6 0,3-2-90,0-2 90,1-1-253,0-1 252,1 0 1,-2-2 0,-1-1 90,-1-1-180,0-1 90,-1-1 0,0-1 0,0-1 1343,-1 0-1343,0-2 0,-1-1 89,15-4 1,-13 1-180,14-5 180,-18 3-378,2-1 378,-2-2-90,-2 0 90,0-1-90,-4 0 0,3-2-90,-5 1 377,2-2-197,-3 1-90,-2-2-90,1-1 90,-3-1 90,8-11-180,-8 6 390,4-8-300,-8 8-90,-2-1 0,-2 0 90,0-2-90,-3-1 0,0-2 90,-2 0-90,0-17 90,-4 10-90,0-12 0,-4 14 90,-5-18-90,-1 11-313,-5-15 313,-2 15 0,-2 1 0,-5-2 0,-2 1 89,-4 2-89,-2 0 0,-3 4 90,-4 0-90,-4 3 0,-4 0 0,-8 1-940,-4 1 850,-8 1 0,-3 3-180,-2 3 0,-4 3-269,2 4-1624,20 8 0,-1 1 1083,-26-1 315,26 5 1,0 1-2148,-23 3-1316,-6 5 4228,-1 3 0,31-1 0,0 0 0,-2 1 0,0 0 0</inkml:trace>
</inkml:ink>
</file>

<file path=ppt/ink/ink6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3:41.72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3 32 10141,'-7'-20'7466,"10"9"-7286,7 21-90,2 3 90,1 12-90,-8-8 0,-1 4 89,0 2 271,-2 31-360,-1-17-225,-2 25 225,-2-26 0,-2 4-90,0-1 90,-1 3-90,-1-2 0,-1 0 90,0-3-90,0-2 0,0-1-90,0-2-90,-4 13 0,3-13 0,-1 8-180,2-16 0,2-2-89,1-1-541,-2 2 990,0 2 0,2-9 0,1-3 0</inkml:trace>
</inkml:ink>
</file>

<file path=ppt/ink/ink6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3:42.32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3 147 9602,'-20'-15'4047,"3"2"-2788,4 5-1079,11-2-90,2 3 0,13 0 0,5 4-90,6 0 90,5 0-90,6 1 90,5-1-459,5 2 369,8-2 0,3 1-581,5-1 581,1 1 0,1-1 0,0 1 0,0 0 0,0-1 0,0 1 0,0 0 0,-2 1 0,-5-1 0,-2 0 90,-4 1-468,-3-1 378,-1 0 0,-5 1 0,-2-2 90,9 0 0,-13 0 0,7 0 90,-17 1 419,9-1-419,-10 1 668,6-1-758,-11 1 420,-2 0-420,-1 0 90,0 1-90,4-1 0,1 0 0,5 0-90,-2 1 0,-1 1 90,-1 0-90,-2 0 0,0 0 180,0 1 180,-3 0 89,-1 2-89,-2 4 90,-6 5-270,-1 9 90,-5-2-90,0 7 89,-1-4-89,-1 4 0,0 2 0,0 3-90,-1 1 90,1 2-90,-1 2 0,0-2 0,-1 1 0,0-1 0,-1 0-90,1-1 90,-1-1-90,0 0 90,0-3-90,0-1-90,-1-3 0,1-1-180,0-1-90,0-3-629,0 7 269,0-9-1169,0 5-809,0-6 2698,-1-2 0,2-3 0,0-6 0</inkml:trace>
</inkml:ink>
</file>

<file path=ppt/ink/ink6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3:42.67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87 35 8972,'-30'9'2159,"4"-1"-900,11-3 990,1 1-1890,13 2 1,2-3 0,17 2-90,3-5 90,7 0-90,5 0-1,7-1 91,6-1-90,8 0-1221,5-2 1131,6 1 0,4-2-164,2 0 164,1 0-1505,2-1 1595,0 1-90,0-1-529,-3 0 529,-1 0-90,-4-1 0,-3 0 0,-8 1 0,-4-1-90,-6 1 89,-4 0 921,-4 0-1010,-5 1 0,-3-1 233,-4 1-233,-2 0-180,-3 0 1614,-3 1-2243,-1 0-794,3-1 1603,-2 1 0,-5 0 0,-3 1 0</inkml:trace>
</inkml:ink>
</file>

<file path=ppt/ink/ink6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3:43.67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 0 11850,'-2'26'2429,"0"0"-1710,4-7-89,-1 3 0,2 3-91,0 4-89,1 1 0,1 3-90,0 0-1,1 2-89,1 0-90,0 1 0,0 0-90,0 0 0,-1-2 0,0 0 0,1 0 0,-2-1 0,1-1-180,-1-1-90,-1-2-90,-1-2-90,0-2-89,-1-2-91,0-2-90,-1-1-449,0-3-1350,0 3 2429,-2-1 0,1-6 0,-1-4 0</inkml:trace>
</inkml:ink>
</file>

<file path=ppt/ink/ink6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3:44.25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7 263 8342,'-7'-25'2699,"-1"1"-1170,5 11-270,-2-6-359,2 0-541,3-5-89,3 7 0,5 0 0,4 5-90,5 0 0,5 1-90,6-1 0,5 1 0,6 1 0,7 1-515,4 1 425,7 1 90,3 2-785,3 1 695,2 2 90,2 1-90,0 1 0,2 0 0,-2 1 0,1 0-2168,-3 0 2168,-2 1 0,-6-1-317,-2 1 317,-6-1 0,-2 0 0,-4 0 269,-3-1-269,-3 1 0,-3-1 614,-3 1-524,-2-1 90,-4 1 2318,-3-1-1868,7 0 108,-3 1-468,3 0 114,-5-1-114,-4 1-90,-2 1 0,-1 2-180,0 2 90,-2 5 0,-3 0 0,-2 2-90,-4-2 90,0 1-90,0 2 90,-1 2 0,0 2-90,0 2 90,0 3-90,1 13 89,-2-6-89,2 11 0,-2 5 90,1-10-90,0 13 0,-1-16 0,-1 1 0,-1-1-90,1 0 180,-1 1-90,-1-4 0,-1 1 0,0-4 90,-1 0-90,-1-1 0,-2 0 0,-1-2 0,-1 1 0,-1 0 90,-3 0 0,-1-2-90,-1 0 90,-3-2-90,-1 0 180,-3-2-90,-3-2 90,-3 0-90,-4-2 90,-5-1 0,-3-1 90,-3-3 179,-32 2-269,15-5-1756,-24 1 1756,25-6 0,1 0-594,-19-3 414,18 1-89,-14-3-91,24 1-90,5 0-270,2-2 90,4 1-179,3 0-181,3-1-179,3 1-91,4-1 1267,1 1-1986,3 0 1979,-5-2 1,0 0 0,-7-2 0</inkml:trace>
</inkml:ink>
</file>

<file path=ppt/ink/ink6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2:33.02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6 5767,'1'-16'0</inkml:trace>
</inkml:ink>
</file>

<file path=ppt/ink/ink6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2:34.25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7 166 9871,'4'-28'2699,"0"3"-2339,1 8-180,-1 3 179,1 11-269,0 7 90,-2 9 0,-1 6 0,0-1 0,-1 4-3392,1 3 3392,0 5 0,-1 0 89,1 5-89,0-1 0,-1 3 0,0-1 0,0 1 0,-1 0 0,1 0 0,-1-2 0,-1 0-1,1-2 1,-2-2 180,0 10-270,0-12 0,-1 6 0,2-15 450,-1-2 3841,0 4-3661,0-2-1,-1 1-629,-6-15-90,2-6-180,-3-14 180,4-3-180,0-7 91,1-5-91,0-8 90,1-4-362,2-6 362,2-2 0,2-6-90,8-26 180,1 17-1422,7-16 1422,-2 28-90,3 4 90,2 5-324,1 4 324,1 6-90,0 6 90,1 6 0,0 4 0,0 6 215,-2 4-215,0 5 0,0 3 0,-1 4 0,0 4 1343,-1 3-1343,-1 3 280,-2 3-280,-2 1 90,-3 1-90,-3 1 0,-3-1 0,-2 2 0,-2 0 0,-4-1 90,-6 10-90,-2-7 0,-5 5 90,0-9-90,-2-2 90,-2-2 0,-1-1-90,-2-3 90,2-1-90,-1-2 90,-8 1-180,8-6 0,-6 2-90,10-6 0,0 1-90,2-3-449,0 1-541,-4-3-359,3 0-3598,-2-3 5217,4 0 0,8 3 0,2 0 0</inkml:trace>
</inkml:ink>
</file>

<file path=ppt/ink/ink6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2:34.77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52 1 12930,'-23'8'2428,"1"3"-1618,2 7-181,-3 4 1,-1 4-90,-2 5-91,2 1-89,2 3 0,3 0-90,2 0-90,3 3 90,5-2-180,3-1 90,4 0-91,3 0 1,5 1 0,3 0-90,3 1-180,4-1 1,1-2-181,2-2-90,0-1-90,2-4-89,1-1-271,0-4 1,0-3-91,-1-3-179,1-3-270,0-3-720,-1-2-989,-1-4 3148,1-3 0,2-5 0,2-1 0</inkml:trace>
</inkml:ink>
</file>

<file path=ppt/ink/ink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5:42.71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8 0 11131,'-15'11'3508,"3"3"-3059,12 5 1,3 0-90,3 2 0,1-4-90,2 1-1,2 2 1,1 0-90,3 1 0,1 0 0,1-1-90,0-1 90,2-1 90,0-2-90,0-2 89,0-1-89,-2-3 360,7 0 90,-6-4-181,17-3-179,-17-6-90,7-3 90,-12-3-180,-1-2 0,1-2 90,-2-1-90,0 0 0,-2-2-90,0 1-90,0-1-90,-2 0-90,1 1-180,-2 0-89,0 1-181,0 2-1349,-1-1-2698,1-1 4767,-1 0 0,-1 4 0,-2 3 0</inkml:trace>
</inkml:ink>
</file>

<file path=ppt/ink/ink6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2:35.45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57 8612,'10'-20'3328,"1"-2"-2698,-3 8 89,1-1 451,1 4-631,3 8 1,0 6-270,1 9 0,-5-1 0,0 5 0,-4-3-1,0 3 1,0 1-90,0 1 90,-1 2 0,-1 0-90,0 1 90,0 0-91,-1-1 1,0 0 0,-1 0 0,-1-1 0,0 0 0,-1-1 0,0-1 180,1 0-1,-2 5 271,1-1 180,-2 2 539,2-3-450,-3-4-719,-3-10 0,0-7-180,-2-16 0,3 0 0,1-6 0,3 4-90,0-4-3302,0 0 3302,2-2 0,0-1 0,1-1 0,2 1 0,0-1 90,2 1-90,-1 1 3393,3 0-3483,-1 2 180,3 0-180,-1 3 90,1 0-90,1 3 90,1 0-180,1 2 90,0 2 0,0 2-180,6-2 1,-4 6 89,9-1 0,-4 7 0,3 5 90,-1 4 0,-4 5 180,-5 4-90,-5 2 90,-5 1 0,-4 1 0,-3 1 0,-1-1 0,0 1 0,2-2 0,2 0 0,4 0 0,6-1 0,2-3 0,2-2 0,-1-2 0,1-1 0,0 1-90,0 1 180,0-1-180,0 1 90,-1 1 0,-2-2 0,-1 1 90,-1-1 0,-2 6 0,-4 1 0,-2 0-90,-5-2 90,-1-6 0,-2-1 90,-1 0-180,0-1 90,-2-1 0,0-1-90,0-1 90,0 0-90,-5 0-360,0-2-359,-4 1-541,1-2-1708,3-3-5577,1-2 8545,4-5 0,4 4 0,5-2 0</inkml:trace>
</inkml:ink>
</file>

<file path=ppt/ink/ink6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2:35.75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38 10411,'17'-17'3688,"-1"3"-2069,-1 7-809,2 9-91,-1 1 1,0 9-1,-5 1-89,0 5-180,0 3 89,0 4-89,-2 1-180,0 3 0,-3 0-90,-1 2 0,-2 0 0,-1 0-91,-3 2 1,-2-2-90,-1 2-179,-2 0-91,-1-2-180,-3 0-90,0-1-89,-1-2-91,-1 0-179,0-2-91,0-1-269,0-3-2969,-5 4-269,6-10 4497,-4 3 0,11-13 0,0-3 0</inkml:trace>
</inkml:ink>
</file>

<file path=ppt/ink/ink6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2:35.93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2 13110,'36'-1'2698,"2"1"-2698,-16 0-360,2 0-180,-4 2-269,-1-1-360,2 2-1080,-1-1-1079,1 1 3328,-3 0 0,-8-1 0,-3-1 0</inkml:trace>
</inkml:ink>
</file>

<file path=ppt/ink/ink6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2:36.09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 0 13289,'-7'22'5127,"8"-4"-4767,21-11-90,-1-3-90,2-2-270,-3 0-270,0-1-89,2 1-181,0-1-360,-2 0-269,0 0-1799,-1-1-1979,-1 0 5037,-1-1 0,-8 1 0,-2 0 0</inkml:trace>
</inkml:ink>
</file>

<file path=ppt/ink/ink6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2:37.07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36 327 11670,'20'18'1709,"-3"1"-1259,-9-2 0,1 3-90,1 1-1,0 4 1,-1 0-90,0 2 0,-1 0-90,-2 0 90,-1 0-90,-3-1 89,-1-1-89,-2 0 0,-3 0 0,-2-1-90,-3 0 90,-1 0 0,-3-3-90,-2-1 90,-2-2-90,-1-2 0,-2-3 89,1-2-89,-1-3 180,-9-2-270,8-3 90,-7-4 0,10-4-90,1-2 0,1-2 0,2-4 0,2-1-90,1-11 90,4 4 0,2-7-90,5 6 90,3 0 0,2-3 0,3-2-90,3-2 90,3-1 0,2-2 0,3 0-90,0 0 90,12-16 0,-6 10 0,15-24-90,-17 23 90,4-7 0,-13 17 0,-2 0 0,-3 4 0,-2 0 0,-3 3 0,-3 1 0,-3 0 0,-4 3 90,-3 1-90,-2 2 90,-4 2-90,-3 2 90,-1 3 0,-3 3 0,0 3 0,-2 2 0,1 2-90,1 3 90,0 2 0,-6 9 0,9-2-90,-4 7 0,13-5-90,2 2 0,4 0-180,3 1-180,4 1-719,8 13 450,1-8-1,7 10-270,-2-13-179,1 0-1349,2-2-1350,1-1 3868,1-2 0,4-1 0,1-1 0</inkml:trace>
</inkml:ink>
</file>

<file path=ppt/ink/ink6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2:37.44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03 0 13110,'-19'16'1619,"1"0"-1080,8-4-89,0 3-90,0 1 0,0 1 89,2 2-179,1 0 90,2 2 0,1-1-90,2 0-1,2 2 1,2-2 0,2 1 0,2-1 90,1-1 0,2-1-91,2-1 1,1-2 90,2-2 0,0-3-90,1-2 269,-1-3-269,7-4 0,-6-2-180,5-4 0,-8-4 0,0-2 0,-1-4-90,-2-3 0,-2-3 0,-1-2-90,-2-13-180,-1 8 90,-2-9-180,-3 12 1,0 1-181,-2 1 0,0 2-179,-2 2-91,-1 2 1,-2 4-91,0 2-269,-2 4-7646,-8 2 8815,-16 12 0,3 2 0,-9 8 0</inkml:trace>
</inkml:ink>
</file>

<file path=ppt/ink/ink6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2:37.80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15 28 8792,'-28'4'4947,"2"0"-3688,3 0 630,4-1 360,1 0-1529,21 0 719,8-2-810,57-1 1,-4-1-1062,-13 1 0,3-1 1062,40-1-1296,-43 1 1,1 0 935,1 0 0,0 0-45,2 0 0,-1-1-1,1 1 1,0 0-45,0 0 0,0 0 0,0 0 0,-1 0-344,-1 0 1,0 0 252,-2 0 1,-1 0 90,40-2-674,-7 0 584,-12 0 0,-7 0 0,-8 0 0,-9 0 903,-7 2-1083,-9-1-270,-2 0 1789,-5 0-3048,-3 0-1797,-2 0 2157,-22 4 951,-1 0-1401,-21 4-1709,1 0-2518,-5 3 5936,-6 0 0,-5 3 0,-1 1 0</inkml:trace>
</inkml:ink>
</file>

<file path=ppt/ink/ink6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2:38.52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30 76 9332,'6'-24'4407,"1"5"-3687,2 4 539,-1 6-270,7 2-629,2 5 0,0 3-90,0 6-90,-7 2 0,0 3 0,-2 2-90,-2 1-1,-3 2 1,-2 0 0,-3 3 0,-2 0-90,-4 3 90,-2-1-90,-4 1 90,-1-1 0,-2-2 0,-2 0 0,0-3 0,-1-2 90,1-1 0,1-3-90,0-3 270,2-1-91,-5-3-89,4-3 90,-2-3-270,11-8 0,9 2 0,11-3 0,7 7 0,-1 3 0,2 1 0,-3 2 0,1 0 0,2 1 0,2 0 0,1 1 0,0-1 0,1 2 0,-1-2 0,2 1 0,-1-1 90,0 0-180,0-1 180,-1 0-90,0-2 90,-1-1-90,-1-1 0,-1-2 90,0 0-90,-2-2 0,0-1 90,-1-2-90,-2-1 90,-1-1 90,-1-2 0,-1 0 179,2-5-89,-6 4-90,2-8 0,-7 7-90,-5-3 0,-6 6 0,-5 5 180,-1 7-90,2 5-90,2 6 0,10 11 0,2-5-90,6 4 0,0-9 90,1-1-90,1 0 0,0-2 89,1 1-89,0-3 90,0 0-90,4-2 90,0-2-180,3-6 90,-4-8-90,-4-9 90,-7-5-179,-4 3-1,-4-1-180,-1 8-90,-2-1-90,-2 1 1,-1 1-91,-1 2-179,-2 1-1,0 2-89,0 1-1170,0 2-270,-3 1-4227,1 3 6566,-1 3 0,8 0 0,3 1 0</inkml:trace>
</inkml:ink>
</file>

<file path=ppt/ink/ink6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2:38.82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1 115 18596,'-9'24'1530,"2"1"-1081,2-4-269,8 2-90,2-4 90,4-2-90,1-5 90,-1-2-90,3 0 90,0-3-90,1-1 179,0-1 1,8-4-90,-6-2 90,5-3-180,-6-3 90,-1-2 0,0-4 0,-2-1 0,0-1-90,-3-2 89,0-1-89,-2-1 0,-2 1-90,-2-1 90,-1 2-180,-2 0-90,-1 0-179,-2 1-91,-1 2-180,-3 0-179,-1 2-181,-2 1-179,-1 3-180,-3 1-360,0 3-1619,-1 1-2249,0 2 5577,-2 2 0,9-1 0,1 1 0</inkml:trace>
</inkml:ink>
</file>

<file path=ppt/ink/ink6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2:45.85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60 248 9602,'-21'-13'3777,"0"6"-2787,12 11-540,0 11-1,6 3 91,3 5-90,1-2-90,1 1 89,0 3 1,2 3-90,-1 0 0,1 3-91,0 0-89,-1 1 90,0-1 0,0-1-90,-1-2 0,-1-1-3392,0-2 3302,-1-2-21,1-1 110,-2-3 271,0-1 0,-1 4-90,-3-6-360,-6-3 3427,1-10-3517,-4-9 0,5-6 90,-1-4-180,1-5 0,0-5 166,1-5-166,2-7 0,1-3-321,3-6 322,3-2 89,4-5-90,3-1 90,4-1 0,12-19 0,-3 21-2060,9-11 2060,-7 29 0,1 5 90,0 8-90,-1 5 1,1 5-91,-2 4 344,-1 4-164,-2 3 2036,-1 5-2126,4 9 0,-5 0 90,2 7 0,-9-3 0,-3 2 0,-2 0 0,-3 1 0,-2 0 0,-3 1 0,-3 1 90,-4 1-180,-2 0 180,-4 0-90,-2-1 0,-2-1 0,-1-1 90,-13 5-180,7-6 0,-8 2-90,10-7 1,1-2-1,1-2-450,-7 2 180,9-3 1,-4 0-811,10-3-3867,-1-1 5127,3-4 0,2 1 0,6-3 0</inkml:trace>
</inkml:ink>
</file>

<file path=ppt/ink/ink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5:43.46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71 14819,'1'24'1259,"0"1"-899,2-6-91,1 1 91,0 3-90,1 1 450,4 24-361,-2-5-89,2 8-180,-5-16 90,-1-12-90,-1-2 0,0-1 90,-1-3 90,1 5 0,-1-3 0,-2 1-270,-7-14-90,2-7-90,-5-13 0,6-2 90,0-5-90,1-2 90,1-3 0,1-2 0,2-4 0,1 0 90,1-3-90,2 1 90,2-1-90,2 2 90,1 1 0,2 3 0,0 1 90,2 3-90,1 3 90,0 2 90,1 3 0,8 2 0,-6 8-90,5 2 0,-4 6 0,-1 4 90,3 3-90,2 3-1,-1 4 1,2 2 0,-1 3 0,0 1 0,1 3-90,5 10-90,-8-8-180,4 7-89,-9-10-91,-2 0-90,-2-2-89,-1-1-181,-3-3-1529,-2 0-1618,-2 2 3957,-3-3 0,0-3 0,-2-7 0</inkml:trace>
</inkml:ink>
</file>

<file path=ppt/ink/ink6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2:46.09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72 1 16797,'-20'26'2159,"-1"2"-1529,2-2-90,-1 4-91,0 1 1,2 2-90,2 0-90,3 0-1,2 0-89,4 0 0,2-1-90,3 0 0,3 0-90,3-1-90,2 0-90,4 1-90,2-2-89,4-1-181,1-4-90,2-1-179,1-3-91,1-4 1,1-2-360,0-4-1620,9-3 361,-8-5-1260,6-5 3778,-8-5 0,2-6 0,0-3 0</inkml:trace>
</inkml:ink>
</file>

<file path=ppt/ink/ink6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2:46.42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76 9422,'13'-18'4137,"0"11"-3507,-4 13-90,-1 10 89,-3 1-89,0 3 0,1 3-1,-1 3-89,0 2 0,0 2-90,-1 1 89,0 0-89,0 0 0,-1-1-90,-1-1-90,0-1 90,-1-2-91,-1-1-3391,0-1 3392,-1-3 90,0-2 90,-1-3 90,-3 3 89,-2-5-449,-6-4-90,0-15 0,0-7-90,4-10 3392,3-2-3302,1-4-90,1-4 90,2-3-90,2-2 90,2-5-90,2 0 90,4-3 0,3-2-767,3 2 678,4-1 89,2 4-90,2 6 90,2 3-432,0 6 252,2 4-242,0 5-28,-1 3-89,-3 7-181,-1 3 0,-2 4-89,-1 3 561,-1 5-921,-1 2-181,-3 3-1348,-3 4-1530,-4 2 4228,-4 4 0,-5 6 0,-4 3 0</inkml:trace>
</inkml:ink>
</file>

<file path=ppt/ink/ink6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2:46.58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67 37 7533,'-42'38'5127,"12"-12"-4138,-4 4 1,17-15-91,1-1-89,3-3 989,2-1-1350,8 1-269,11-6-180,7 0-90,10-7-90,0-1-179,2-2-91,4-1-180,3-1-89,1-1-91,1-2 1,1-2-91,-2 0-89,-1-2-1,-1-1 1,-2-2-630,-3 1-270,-3-1 1889,-2 0 0,-1-3 0,1 0 0</inkml:trace>
</inkml:ink>
</file>

<file path=ppt/ink/ink6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2:46.89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76 9242,'18'-20'1979,"-2"2"-630,-8 9-360,3-4 1350,-2 3-900,6 4-90,-6 10-719,1 12-90,-7 2 89,1 5-89,-3-4-90,1 2-1,0 1-89,0 1-90,0-1 90,-1 1-180,0-2 90,0 0-90,0-2 179,-1-2 361,0 5 179,1-2-539,-1 2-450,1-18 0,3-12 0,1-11 0,3-5 90,1 3-90,2-1 1,7-11 89,-2 9-90,4-6 0,-6 13 90,0 1-90,0 3 0,0 2 0,-1 2-180,0 4-180,5 1 270,2 5-90,-1 1-89,-2 4-91,-5 1 0,-1 1-90,-1 0 1,0 2-91,0 1-89,-1 0-91,-1 1-89,0 0-990,-2 0-810,1 5 2699,-2 0 0,-1-4 0,-3-4 0</inkml:trace>
</inkml:ink>
</file>

<file path=ppt/ink/ink6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2:47.57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77 2 12840,'-31'-1'2428,"3"3"-1798,13 6 90,-1 4-181,0 2 1,0 2 359,-4 10-539,7-5 0,0 6-90,8-7 0,2 0-90,4 1-1,2-1 1,5 3-90,2-2 0,3 1 90,13 6-180,-6-8 90,10 3-90,-8-11-90,-1-2 0,2-3-90,-2-3 90,-2-2-359,10-5 269,-9-2-90,12-11 180,-15 3 0,3-6 0,-9 4 0,1-6 180,-5 5-90,0-7 0,-7 8 0,-3 0 180,-8 7 270,-1 9-91,3 8-179,5 4 0,9 4 0,5-3 0,4-2 180,2-1 0,-1-5-180,1-5-91,-5-5-178,-2-7-361,-7-4 180,-7-4-180,-1 3-179,-3 1-1,1 4-90,-1 2-179,-1-1-91,1 1-1438,-1 1-1350,-2-3 3778,2 1 0,2 2 0,3 3 0</inkml:trace>
</inkml:ink>
</file>

<file path=ppt/ink/ink6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2:47.89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0 10951,'16'22'2878,"-2"-2"-2068,-9-7-1,0 1-89,0 0-91,-2 1-89,0 0 450,0-1-271,0 7 91,0-3 269,1 5 990,-1-6-1709,2-4-90,2-11-181,4-11-89,-2-5 90,2-5-90,0 4 0,0-3 0,3 0 0,1-1 90,0 2-90,-1 0 0,0 3 0,0 2 0,-1 1 90,0 3 90,4 2-90,0 5 90,0 2-90,2 8 0,-9 0 0,3 4-90,-6-2 0,0 0-180,0 2-90,-1 1-180,-1 0 1,0 0-271,-1 0-809,-1 0-270,1 3-360,0 1-3238,-1 1 5397,2-2 0,-3-8 0,0-3 0</inkml:trace>
</inkml:ink>
</file>

<file path=ppt/ink/ink6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2:48.46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6 21 14189,'-24'-8'3238,"3"1"-270,8 3-2698,0 3-180,9 5 0,5 3-90,12 2 90,1-3-90,27 5 0,-18-6 0,20 4 0,-22-5-90,1 0 90,0 0-90,0 0 90,-1 0 0,0-1 0,-1 1-90,-2 0 90,-1 0-90,-2 0 90,-1 0 0,-1 0 0,-1 1 90,-1 1 180,1 4 180,-4 2-180,-4 5-1,-6-3 181,-5 0-90,-3-2 0,-2-1-90,-3 0 0,-1 1-91,-1-2 1,-3 3-90,1-3 0,0 2 0,1-2 0,-1 0-180,2-1-450,-6 4 91,7-4-1080,-4 2-450,5-2-360,1-1 2339,0 1 0,7-5 0,3 0 0</inkml:trace>
</inkml:ink>
</file>

<file path=ppt/ink/ink6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2:48.99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15 10051,'9'-21'3328,"-2"3"-2248,2 3-181,0 1-179,4-2-270,2 2-1,1 3-89,0 5-90,2 7-90,1 7-90,-5 1 0,-1 3 0,-4 0-90,0 0 90,-1 2-90,0 2-90,-1 0-90,-1 1-90,-1 0-270,0 0 1,-1-1-181,-1 0-269,0 0-2699,-1 0 3688,1 4 0,-2-10 0,1 1 0</inkml:trace>
</inkml:ink>
</file>

<file path=ppt/ink/ink6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2:49.72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14459,'6'9'7915,"-4"-9"-7465,4 44-90,-4-22-4252,0 3 4072,-1 0 949,1 2-1039,0 0-90,0 0-449,1 13-1,-1-11 0,1 10-90,0-13 3213,-1-2-3393,1-1-89,-1-1-1,1-3-809,-1-2-540,2 3-2698,0-5 4857,6-3 0,3-17 0,4-9 0</inkml:trace>
</inkml:ink>
</file>

<file path=ppt/ink/ink6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2:50.00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9 0 14279,'6'36'2788,"1"-1"-2428,-4-13 90,3 0-180,1-6-1,1-1 1,1 0-90,1-1 90,1-2-90,0-1 0,2-2 270,-2-2-91,6-1-89,1-3-270,3-6 180,-6-4-180,-3-4 90,-6 0 90,-1-2-180,-4-8 90,-1 4-180,-4-5 180,-2 5-90,-3 1 0,-3 0 0,-3 3-90,-1 0-90,-3 2-180,0 2 1,0 1-2160,-1 2 720,-21 2-540,14 4 2339,-13 4 0,28-1 0,5 0 0</inkml:trace>
</inkml:ink>
</file>

<file path=ppt/ink/ink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5:43.94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2 270 8972,'-22'-10'3778,"2"1"-2789,5 0-179,4 0-540,7-10-360,6 6-180,11-4-90,3 9-90,2 1 0,2 0-179,3 0 89,2 0-179,1 0 89,1 0-90,0 1 181,0-1 179,-2 2 180,10-2 180,-12 2 360,8-1-90,-13 3 269,-1 0 541,-1 0-91,2 0 90,0 1 91,2 2-181,-1 3-449,-2 6-180,-3 1 0,-2 3 89,-3-1-179,0 1 0,-1 2-90,1 0 0,-1 1 0,1 0 89,1 6-179,-2-5 90,1 3 0,-2-2 90,-1-1 0,-1 1-180,-7-4-90,-3-13 0,-4-10-90,2-7 90,2-4-90,4 2 90,1-3-90,1-1 90,1-2 0,5-11 90,-1 9-90,3-7 0,0 12 90,0 2-90,1 1 0,0 2 90,1 4-90,0 1 90,-1 3 0,7 4 0,2 6-90,0 3 0,-1 5 90,-4 1-90,-1 1 90,0 3-90,-1 1-90,0 1-180,-1 0 0,-1 1-180,0 0 0,-1 0-179,-1-1-1,-2 0-2338,1 4-630,-3-1 3598,0 1 0,-2-10 0,-1-4 0</inkml:trace>
</inkml:ink>
</file>

<file path=ppt/ink/ink6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2:50.26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6 10591,'26'-6'5667,"-5"7"-4228,-8 9-809,-4 8 89,-4 1-89,-1 1 89,-3-3 1,1-1-90,-1 2-1,0-1 91,0 0-91,1 1 1,0-1-90,-1 0-1,2-1-89,0-1 0,0 0-90,2-2-90,0-1-1,2-1-89,1 0 0,1-3 0,8 2-180,-4-3-360,5-1-539,1-2-630,0-2-360,6 0-450,-3-4-449,-3-1-2249,-3-3 5037,-3-2 0,-6 3 0,-2 0 0</inkml:trace>
</inkml:ink>
</file>

<file path=ppt/ink/ink6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2:50.63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2 204 15628,'20'25'2069,"-4"-2"-1439,-11-8-91,0 2-89,0 0-90,0 2 0,0-1-91,-1 1 1,1-1-90,-1-1 270,-2-2 90,2 5 449,-1-3-449,-4 4-270,-6-12-180,-3-7-90,-1-9-90,2-6 0,4-1-90,1-3-90,1-4 0,3-3 90,1-5 0,3-2-90,3-3 180,2-2-89,2-1 89,3 2-90,2 2 90,1 2 0,0 4-180,6-3 180,-6 11-90,5-2-90,-10 12 90,4 2 0,-3 7 91,-2 7-1,-22 17 0,0-4-180,-15 7 0,8-13-180,-2 1 0,0-2 1,-2 1-181,1-1 630,-7 3 0,-11 3 0,-10 4 0</inkml:trace>
</inkml:ink>
</file>

<file path=ppt/ink/ink6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2:50.99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65 9332,'21'10'3328,"-1"0"-2429,-8 1 1,0 1-91,-1 2-89,0 1-90,-2 1-1,-1 1-179,0 0-90,-1 0-1,-1-1-89,-1 0 270,-1-1-90,0 4 359,0-1-449,-3 5 0,-4-9-270,-9-5-90,-1-12 90,0-4-270,3-5 180,4 0-180,1-4 0,3-3 0,1-3 90,3-5-90,5-16 90,1 6 90,5-10-90,1 13 90,0 4-89,2 2-1,-1 5 90,3 1-90,0 4 90,-1 3 180,8 2-91,-1 7 271,6 9-180,-7 5-90,-3 7 180,-7-1 0,3 11-180,-4-4 0,2 8 0,-6-7-90,0 0 0,-1 0-90,0 0-180,-2 0-180,0 0-90,-1-2-179,-1-1-1350,0-1-1079,-2 5-3868,-2-3 7016,-2 2 0,1-11 0,0-5 0</inkml:trace>
</inkml:ink>
</file>

<file path=ppt/ink/ink6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2:51.14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9 167 12390,'-18'-16'3418,"8"3"-3328,18 0-180,4 5-180,5-1-180,-1 3-179,2-1-181,2 0-179,2-1-181,2-1-629,0-1-539,2-2 2338,1-2 0,3-2 0,1-2 0</inkml:trace>
</inkml:ink>
</file>

<file path=ppt/ink/ink6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2:51.29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27 9422,'31'-12'2968,"-4"3"-2159,-10 5 91,-1 3-1,-1 1 1,-1 3-91,0 4-89,-1 3 0,-1 4-181,-1 1 1,-1 3 0,-2 2-180,0 2-1,-3 2-89,0 0 0,-1 1-90,-3 0 0,0 0-180,-4 10-270,0-9-90,-3 8-269,0-11-91,-1-2-180,-1-1-269,0-1-360,0-3-1619,0-2 3148,-1-2 0,5-6 0,0-2 0</inkml:trace>
</inkml:ink>
</file>

<file path=ppt/ink/ink6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2:51.46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0 9332,'26'4'2518,"-1"0"-1978,-7-1-180,2 1-360,0 1-360,1 1-360,-1-1-1169,0 1-539,-2 0 2428,-2-1 0,-6-2 0,-4 0 0</inkml:trace>
</inkml:ink>
</file>

<file path=ppt/ink/ink6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2:51.61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3 0 12030,'-8'22'4048,"4"-6"-3329,19-10-89,2-2-180,4 0 0,3-1-181,2-1 1,1 0-90,12 1-450,-9-1-90,7 0-449,-14 0-180,-1-1-3509,-3 0 4498,1-1 0,-10 0 0,0 0 0</inkml:trace>
</inkml:ink>
</file>

<file path=ppt/ink/ink6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3:00.17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21 325 11850,'19'5'1439,"-1"2"-1079,-6 5-90,1 4 0,1 3 0,0 3-180,1 1 90,-2 2-1,0 1 1,-1 0 0,-1 1 90,-2 0 90,0 9-180,-4-9 90,-2 6-90,-4-11 89,-2-2-89,-3 0 90,-2-2-90,-2 0 0,-2-3-90,-2-1 90,-1-2-90,-1-2 0,1-2 90,-1-4-90,-6-3-1,4-4-89,-4-4 0,7-3 0,0-3 0,1-5 0,2-3-89,1-4 89,1-2 0,2-4 0,2-2 0,2-2-90,2-2 180,2-1-180,2-24 90,1 15 0,2-16-267,0 23 177,-2 2 50,1 2 40,-1 4 0,0 1 0,-2 3 0,0 4 0,-2 0 266,-1 3-356,-5-4 131,0 8-131,-5-1 90,1 10 0,-2 3 0,-2 4 0,-3 3 0,-1 2-90,-2 4 180,-1 3-180,1 1 180,1 3-90,2 1 0,3 1 0,-1 10 0,7-6 0,1 7-90,7-6 0,3-1-90,4 1-90,2 2-90,3-1-89,2 0-181,2 0-90,2-2-89,1 0-1260,11 5 0,-5-8-809,7 3 2878,-8-10 0,4-3 0,0 0 0</inkml:trace>
</inkml:ink>
</file>

<file path=ppt/ink/ink6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3:00.51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51 27 10321,'2'-17'2878,"-3"7"-2518,-13 15-90,1 6 0,-1 4-90,4 0 90,0 2 0,1 1-91,1 1 1,2 1 0,1 1 0,3 0 90,1-1-90,3 0 90,2 0-90,2 1 89,2-1-89,2-2 90,1-1 0,2-2 0,2-2 270,8 1-1,-6-6-359,13-2 90,-14-8-90,6-4 0,-8-4-90,-1-3 0,-1-3 0,-3-2 0,-2-3-90,-1-2 0,-4-11 0,-5-3-180,-1 1-90,-6 5-90,0 12-90,-2 1 1,-1 3-181,-2 3 0,-1 2-1978,-2 3 1528,-20 7-269,11 3-630,-13 7-629,15 1 2608,3 3 0,-1 2 0,0 3 0</inkml:trace>
</inkml:ink>
</file>

<file path=ppt/ink/ink6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3:00.82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26 83 9242,'-40'9'4587,"4"-1"-3328,2 0-89,4-2-181,3 0-89,4-1-1,4 0 2069,2-2-2338,19 0-90,10-3-1,23-1-179,12-4-485,12 0 395,16-3-890,6-1 800,11-1-1116,1-1 1026,2 0-90,-2 0-90,-1 1-1255,-3-1 986,-9 2-91,-6 1-169,-12 2-101,-8 0-89,-8 2-91,-9-1 91,-7 2 751,-4 1-1471,-5 1 685,-4 3-145,-11 4 1378,-6 0-1378,-12 5-2160,-20 7 361,2-2 2788,-19 7 0,8-5 0,-4 1 0</inkml:trace>
</inkml:ink>
</file>

<file path=ppt/ink/ink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5:44.59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293 12030,'11'-21'4767,"-1"3"-4227,-1 15-180,-3 8 0,3 7-90,-5 7-91,1-1 1,0 3-90,0-1 0,0 0 0,-1-2 180,-1-1 809,1-1-989,-9-9-90,0-8 0,-4-9 90,3-6-90,2 1 0,0-2 0,1-3 0,0-1 0,2-2 0,1 0 0,2-2 0,1-2 0,2 0 0,3-1 0,1 2 0,1 1 0,3 1-90,1 2 90,1 4-90,5-3 90,-5 8-179,3-1-1,-1 8 90,-3 4 0,2 6 90,-5 8-90,-6 7 180,-4 5-90,-2-2 0,0 1 0,0-7 0,1 1 0,0 0 0,2 0 0,1 1 0,2 1 0,0 0 0,3 0-90,-1 0 90,3-1 0,-2 0-90,1-2 0,-2 0-180,1 4 270,-3-2-180,-5 4 0,-8-5-90,-3-4-89,-4-5-91,2-3-1079,-7-1 449,4-1-89,-7 0-5487,8-3 6656,-8 1 0,12-1 0,-3 0 0</inkml:trace>
</inkml:ink>
</file>

<file path=ppt/ink/ink6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3:01.26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15 1 8612,'-28'6'8095,"17"1"-7555,8-3-90,15 3 0,-1 2-91,1 0-179,1 4 90,-1 0-90,-2 4 0,-1 0-90,-1 3 90,-3 1-180,-2-1 180,-3 2-180,-3-1 180,-1 3-90,-2-3 0,-2 1-1,-2 0 91,-1-3-180,-1 0 90,1-2 0,-1-2-90,0-2 90,1-2-180,0-2 0,-3-1 90,0-5-90,0-5 0,4-5 90,6-5-90,6-2 90,4 0-89,7 2 178,4 1-178,0 4 178,0 2-178,-3 2 89,0 1 0,2 0 0,-1 0-90,2 1 90,-2 0 0,1 0-90,5 0 90,-1 0 0,3 1 90,-4-1 0,-1 1-1889,-2-2-900,-12-1-1169,-5 3 3868,-10 0 0,3 3 0,4 0 0</inkml:trace>
</inkml:ink>
</file>

<file path=ppt/ink/ink6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3:01.56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244 10411,'22'-24'3688,"-2"3"-2699,-10 11-539,4 6-90,-2 3-180,5 8 0,-5 1-90,1-1 0,-1 0 0,0-2 0,1 0-1,1 0 1,1-1 0,0-1 0,1-1 0,0 0 90,1-3 90,-2 0 0,1-2 0,-2-2-90,-1-2-1,-1-1 1,-3-2 0,-1-3-90,-2-1 90,-3-1-90,-3 0-90,-2-2 90,-4 0-90,-2 0 90,-15-7-90,4 7 0,-11-3-180,6 9 0,0 2-180,0 3-89,1 1-91,0 3 0,1 1-89,2 1-1,3 1-899,1 2-3059,0 2 4588,14 5 0,11-1 0,16 2 0</inkml:trace>
</inkml:ink>
</file>

<file path=ppt/ink/ink6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3:01.81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72 8702,'30'-3'5037,"-5"3"-3688,-7 5-269,-7 5-361,-4 6 91,-3 5-450,1 3-90,0-3 89,2-2-89,1-5-90,1-1 90,3 0-90,1-1 0,2-2-90,0-1 0,1-2 0,-1-2 0,1-2-1,-1-2 91,0-3-90,0-1 0,-1-4 0,-1-1 0,-2-5 0,-2-2 0,-3-2-90,-2-2 90,-3-1-90,-3-1 0,-2 0 0,-2-1 0,-1 2-180,-4 1-629,-10-4 179,4 8-180,-10-2-269,6 10-450,-2 4-1709,-3 4-2159,-1 4 5397,-5 4 0,-3 4 0,-3 3 0</inkml:trace>
</inkml:ink>
</file>

<file path=ppt/ink/ink6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3:07.41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42 204 8792,'-7'-23'3148,"1"2"-2518,1 8-630,-1 2-90,-2 7 0,2 9 90,1 9 180,6 11-90,0-3 180,1 5-90,1-5 89,-1 3-89,1 2 90,0 2-90,0 2 0,1 1 0,-1-1 0,0 1-90,0-1 0,-1-1 269,1 10-269,-2-12 90,1 9-90,-2-14 0,1-2-90,-1-2 270,0-1 270,0 4 269,0-2-89,-2 2-450,-3-9-180,-3-11-90,-2-5 0,1-11 0,2-2 0,-1-5-90,1-4 0,1-5 0,0-4-3392,2-5 3392,1-2 0,3-4-257,0-1 167,4-1 0,2 1 91,4-3-271,5 3 270,13-20-90,-2 20 90,9-8 0,-7 24 0,0 6 0,1 3 0,-1 6 90,0 4-90,-4 4 90,0 4 0,-2 3-90,-1 3 3355,-2 3-3265,-2 2 474,-1 2-474,-4 3 0,-1 0 0,-4 2-3392,-3 8 3482,-5-5-90,-4 6 90,-6-5 0,-5 0 0,-5 2 90,-3-1-90,-5 0-1,-3-2-89,-1 0 90,-1-2 0,0-1-90,0-2 90,-1 0-180,3-2 0,0-1 3392,2-1-3931,-9 2 179,11-4-90,-6 2-89,14-4-91,2 1 91,1-2-1170,3 1 1799,-2 2 0,8-4 0,0 1 0</inkml:trace>
</inkml:ink>
</file>

<file path=ppt/ink/ink6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3:07.68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80 1 12480,'1'26'1619,"-3"-1"-1259,-8-7 89,0 2-179,-1 3 90,1 1-90,0 2 0,1 0 0,1 2-90,2-1 179,2 12-179,3 1-90,3 1 0,3-3 0,1-12 90,12 20-180,-6-19-270,9 12-90,-9-23-89,1-2-181,1-2-180,-1-2 1,0-2-1440,0-2-2338,6-2 4587,1-6 0,-6 2 0,-3-3 0</inkml:trace>
</inkml:ink>
</file>

<file path=ppt/ink/ink6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3:08.35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4 149 11580,'17'7'1889,"-3"0"-1439,-10 12-90,0-2 90,-1 2-91,0 2 1,0 2 0,-1 0 0,0 0-90,0 1 89,-1 0-89,0 0-90,0 0 0,-1-2 0,1-1 0,-2-2-90,0-1 90,1-1 269,-2 5 361,1-3 0,-1 3-361,-3-5-359,-4-12 0,-4-8-180,0-7 90,2-7-90,3 2 0,0-4 0,1-2 0,-1-3 0,2-1 1,0-3-91,2 0 0,0 0 90,3-1-90,1 1 90,2-1 0,1 0 0,2-1 0,1 2 0,5-9 0,1 11 90,3-7-90,-2 14 90,1 1-90,0 3 90,1 2-90,0 2 90,1 2 0,0 2-90,0 3 90,6 2 0,-5 2 0,4 3 0,-8 1-90,-1 3 90,-1 1 0,-1 1 0,-2 2 0,-2 7 0,-4-2 0,-2 4 0,-4-3 0,-2 0 0,-2 1 0,-1 0 0,-1-1 0,0 0 0,-1-1 0,0 0 0,1-1 0,1-1 0,1-1 0,1-2 90,-2 4-90,4 0 0,5 4 0,5-6 0,7-1 0,1-4 0,2 2 0,2-1 0,0 1 0,1 0 0,-1 1 0,0-1-90,-1 1-3302,-1-1 3392,-2 1 0,-2-1 0,-1 0 90,-2 4 90,-5-1-90,-6 5 90,-3-6 3392,-7-1-3482,1-5 0,-2 0 0,-3-1 0,-1 0 0,-2 0-90,-2-2 90,1 1-90,-2-1-90,1-1 0,0 1-90,0-1 0,1 0-180,2-1-90,1 1-719,1-1-360,-3 0-360,1 0-4587,-2 0 6476,7-6 0,6 4 0,4-4 0</inkml:trace>
</inkml:ink>
</file>

<file path=ppt/ink/ink6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3:09.20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8 160 11221,'-1'12'3508,"1"-9"-3059,-5 39-89,2-18 90,1 1-90,0 2-90,0 0-1,0 2 1,-1 0-90,2 0-252,-1-1 252,0-1 0,0-1 0,0-1 0,0-1-90,0-1 359,0 4 361,-1-3 359,1 3-629,-1-5-378,-2-17-432,1-11-90,0-11 90,3-8-179,1 1 179,2-5-90,1-3 180,1-6-90,3-2 0,2-3 91,1 0-1290,3-2 1289,0 3 0,10-16-757,-4 18 847,6-10-88,-6 20 88,0 4 90,0 4 0,-1 4 1064,-1 3-974,1 4 958,-3 4-958,1 3 0,-1 4 202,1 3-22,-1 4-1,1 3 91,-2 3 0,1 3 0,-1 4 0,0 2-1,-2 2-89,0 2-3302,-2 1 3302,0 1-701,-1 1 611,-1 1-374,-1 0 284,-2-1 90,0-1-90,-1-1 90,0 9-90,-1-9 2725,-1 5-2725,-1-11 879,0-2-1329,-1-1 503,0 5-1043,0-2-89,0 4-2069,-1-5 3058,-1-4 0,1-8 0,-1-2 0</inkml:trace>
</inkml:ink>
</file>

<file path=ppt/ink/ink6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3:10.51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0 9961,'18'20'1979,"-5"-4"-1619,-9 5 90,-2-4-180,0 1 89,0 1-89,-1 1 90,1 1-90,-1-1 0,0 0-90,0-1 89,0 0-89,-1 0 0,1-1-90,-1 0 180,0-2 0,0 7 0,-1-1-180,0 4 90,0-4 359,0-1 631,0-2-1,1 0-809,-1-2 1439,0 0-1619,10-8-270,10-7-180,0-5-90,7-3-180,-12 3-179,1 0-1,1 0-1349,-2 1-719,6-1-4048,-2 1 6836,2-2 0,-10 2 0,-3-1 0</inkml:trace>
</inkml:ink>
</file>

<file path=ppt/ink/ink6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3:10.70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8 160 11311,'-6'-31'2068,"4"6"-1798,11 8 0,1 5-90,3 0 0,2-1-90,2 2 0,1 1-180,0 0-270,1 3-90,-1 1-1079,-2 2-3148,4 2 4677,-3 4 0,-4-1 0,-5 2 0</inkml:trace>
</inkml:ink>
</file>

<file path=ppt/ink/ink6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3:11.22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1 212 8792,'-12'22'4318,"3"1"-3779,14-8 1,2-2-180,7-3-1,1-4-89,3-2 0,3 1-180,2-3 90,1 0-180,3-2-90,3-1-360,15-4 180,-9 0 1,10-3-91,-15 1 0,-1-2 0,-1-2 0,-2-1 91,-1-1-1,-1 0 90,-2-2 90,-1 1-90,-2-1 90,-1-1 0,-2 1 0,0 0 180,-2 1 0,-1-1 90,0 1 0,-1 0 90,0 0 90,-1 1-91,1 1-89,-2 1 0,0 1 0,0 1 180,-1 2 0,5 2-180,3 4-1,-1 2 91,-1 5 0,-5 3-90,0 1 90,-1 4 0,0 1 0,-1 1-91,-1 1 1,-1 1 0,-1 1 0,-1-1 90,-2 0-90,0-1 270,-2 0 89,0 5 1,-3-1 0,-3 3 89,-2-6-359,-6-9-90,2-8-180,-2-13 0,7-3 0,4-5-90,6-7 90,2 5-90,5-8 90,1 8-90,3 2 0,3 0-3302,1 1 3302,2 4 0,1 1 0,-1 4 90,0 2-89,-2 3 89,0 3-90,-2 2 3482,2 3-3482,-2 2-90,0 2 90,-2 3-90,0 2-180,-3 2 0,0 1 0,-2 2-89,-1 1-91,-2 0 0,-1 0-89,-2 1-1,-2-1 0,0-1 1,-2 1-91,-1-2 91,-1 1-2789,-2 4 3418,0-2 0,1-4 0,0-6 0</inkml:trace>
</inkml:ink>
</file>

<file path=ppt/ink/ink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5:45.12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6 35 12300,'-15'-25'6027,"1"15"-5488,10 24 91,1 10-90,6 10-1,2-1 91,2 4-180,3 8-91,2 2-1122,2 3 943,0 2 0,0 0-1,-1 1-353,-1-4 84,-2 0 0,-2-4-180,-1-1 0,-2-3-270,-1-3-89,-2-6-91,0-2-89,-2-4 910,0-3-1270,-1-2-1862,0-4 3031,-4-1 0,-8-15 0,-3-3 0</inkml:trace>
</inkml:ink>
</file>

<file path=ppt/ink/ink6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3:11.69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3 1 10951,'-19'16'1349,"2"0"-1079,9-4 90,-1 3-91,1 1 91,0 1-90,1 2 0,1-1 0,1 2 0,2 0-1,1-1 1,2 0-90,1-1 0,2 1-90,1 0 90,2-2-90,0 0 0,1-1 0,1-2 0,1-2-90,1-2 90,0-2 0,2-1 0,5-3-90,4-5 0,-1-3 90,0-4-90,-5-3 0,-2-1 0,1-2 0,-2-1 0,0 0 0,-3 0-90,0 1 90,-1 1-180,0-2 180,-6 2-90,-3 7 270,-4 6 0,-1 14-1,7 4 91,1-1-90,4 0 0,1-4 0,2 0 0,1-1 0,1 0 0,1-1 0,-1-3-1,1 0 1,0-2 0,6-2-180,0-5 90,1-1-90,-3-5 90,-7-1-90,0-2-90,-3-1-180,-1-2 1,-2-8-181,-4 5 0,-2-6-90,-2 8-89,-2 1-91,-2 0 90,-1 1-179,-2 1 89,1 3 1,-2 1-271,0 1-3327,0 2 4317,-6-1 0,11 3 0,-3 0 0</inkml:trace>
</inkml:ink>
</file>

<file path=ppt/ink/ink6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3:12.19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7 7803,'19'8'2338,"-2"1"-1528,-7-1-181,0 1 1,-1 2-90,0 3 89,0 0-179,-2 2 0,1 0 0,-2 1-91,0-1 1,-1 1 0,-1-1 0,-1-1 179,0 1 181,1 3 449,-1-2 540,1 3-1619,1-15-90,1-11-90,2-9 90,1-6 0,0 3-90,2-1 90,2 0 0,2 0-89,0 0 89,2 2 0,-1 1-90,0 3 90,0 2 0,0 1-90,0 3 0,4 2 90,1 5-90,2 4 90,-4 6 0,-5 3 90,-5 2 180,-6 3 449,-5-5 1,-7 0-361,-3-10-179,0-6 0,2-8-90,8-6-90,3-4 90,4 4-90,2-1 0,1 7 0,1 0 0,0 0-90,2 3 90,0-1 0,0 3-90,1 1 0,5 0-90,1 5 90,3 3-89,-6 3-91,-1 3-90,-6-1 0,-1 2 0,-1 1-719,-2 0-180,1 7-270,-2 4-180,-1 5 899,-3 2-1079,-2-7-899,-1 3 2788,1-7 0,1-5 0,1-4 0</inkml:trace>
</inkml:ink>
</file>

<file path=ppt/ink/ink6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3:12.53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80 9961,'26'-7'2699,"-3"0"-2339,-4 2-91,1-2-89,-4 1-90,0-2 180,-5 1-180,0-1 90,-1 0 0,0-2 0,-1 0-90,-1 0 90,-2-2-1,0-3-89,-5-1-90,-4-3 270,-10 5 0,-6 6-90,-4 5-90,-1 8 0,6 1 0,3 3 0,7 0 0,2 2 90,0 0-180,3 9 90,1-4-90,3 5 90,2-4-90,3 1 0,0 0-180,3 0-90,0-1-90,1 1-90,1-2-89,0-1-91,-1 0-90,0-2-89,0-2-2070,-2 0 2879,4 0 0,-7-6 0,2 0 0</inkml:trace>
</inkml:ink>
</file>

<file path=ppt/ink/ink6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3:13.51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6 24 8612,'14'-20'3868,"-5"16"-2699,-6 9-629,-7 24 0,0-7-1,-2 12-179,0-6 180,0 2-180,1 2-1,-1 0 1,0 1-90,0 1 0,1-1-90,-1 0 0,1-1-90,0 0 0,0-1-1,0-2 1,1-1 0,0-2 0,0-2 0,0-1-90,0-2 0,1-2 0,0-1-180,0-2-269,1-1-181,-1 3-1079,0-1-6746,-1 3 8455,4-19 0,0 5 0,2-14 0</inkml:trace>
</inkml:ink>
</file>

<file path=ppt/ink/ink6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3:18.93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3 1 9242,'2'27'1889,"-1"1"-6920,-3-8 6110,-2 18-717,-3 22-2,0-9 1087,-1 10-1087,3-29-90,0-1 0,0-2 90,1-2 449,-3 17-629,3-19 2499,-2 13-2049,3-17 3512,0-2-3242,-1 3-93,3-4-897,5-7-719,4-6-720,5-6-360,0-6-540,-2 0-4227,-1-1 6656,-1 0 0,-5 3 0,0 0 0</inkml:trace>
</inkml:ink>
</file>

<file path=ppt/ink/ink6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3:19.27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1 0 10861,'-13'27'2249,"4"-5"-1800,2-3-179,3-4 90,1 1 0,0 0-90,2 1-1,0 1 1,2-1 0,0 1 0,2-1 0,0 0-90,2-2 90,0 0-1,0-1-89,0-1 270,1-2-90,4 3-90,2-4-180,5-3 0,1-7-1,-4-4-89,-1-6 0,-4 0 0,-2-3-89,0-2-1,-1-3 0,-2 1-90,-1-2-90,-2 1 0,-1 0-90,-1-1-89,-2 1-91,-2 1 90,-2 0-90,-1 1 1,-3 3-91,-2 2 0,-1 2 1,1 1-91,-2 3-1888,2 0 2608,-5 1 0,10 2 0,-2 1 0</inkml:trace>
</inkml:ink>
</file>

<file path=ppt/ink/ink6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3:19.89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49 8342,'23'5'3778,"-5"4"-3328,-13 9-90,-3 0-1,-2 2 91,-2-4-90,0 1 0,0 0-90,0 0-1,-1 0-89,1 0 270,1-1 0,-2 7-90,3-1-91,0 4-179,5-2 90,0-8-90,8 0-180,-3-8-449,9 1 89,0-6 0,1-3-90,0-3 1,-5-4-91,1 0 90,0-4 91,1-2-1,0-2 180,0-1 0,0-1 90,-2 0 1440,38-33-451,-30 36-179,25-18-1,-38 49-269,-5 6-90,-1-3 90,0 1-90,-2-5 0,-1-1 89,1 1-89,1 4 270,-1-1 809,0 3 0,0-2-1259,-7-15-180,-1-7-90,-3-12 1,2-6-1,3 2-90,0-4 90,0-1-90,2-2 90,1 0 90,2-1-90,2-1 0,0 2 90,2 0 1,3 1-1,0 2 0,2 1 0,0 3 0,1 2 0,1 3 0,-1 2 0,1 3-90,5 1 90,-2 5 90,3 2 0,-5 5 0,-4 5 0,-7 4 0,-8 1 0,-2-2-90,-5 1-90,1-5-180,-1 1 1,-2 0-91,1-2-90,-1 1-89,1-1-91,0-1-809,2 0-1350,-3 1 2879,2-2 0,3-1 0,5-3 0</inkml:trace>
</inkml:ink>
</file>

<file path=ppt/ink/ink6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3:20.29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28 9332,'23'13'2338,"-4"0"-1618,-9-2-90,-1 3-91,-1 1-89,-1 2 0,0 1-90,-1 0-91,-1 1 1,0 1-90,-1-2 0,-1 0 0,0-1 90,-1-1-90,0 6 179,0-2 541,0 4-180,-3-3-361,-5-9-179,-2-5-90,-4-13-180,4-4 90,0-5-180,4 1 0,1-3 1,1-2-1,3-3 0,1-2 90,2-2-90,2-1 90,2 0 0,2 2 0,2 0 0,3 3 0,0 2 0,3 3 90,-1 2 0,1 4 0,0 2-1397,-1 3 1487,0 3 0,0 3 0,0 3 90,-1 4 0,-1 2 0,0 4 0,-1 3 1397,0 3-1398,-2 2 1,0 2-90,-2 1 0,-2 0 0,-1 0 0,-2 1 0,-1-1 0,-1 1-90,-1-1 90,-2 0-90,-1-1-90,-1-1-180,-2 0 0,0-2-269,-1-2-91,-1-1-90,-2-1-899,-4 2-629,2-6-3329,-8 1 5577,3-11 0,4 0 0,2-5 0</inkml:trace>
</inkml:ink>
</file>

<file path=ppt/ink/ink6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3:20.42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0 59 10681,'-7'-25'2518,"4"5"-3237,11 10-810,5 6-2069,5 5 3598,2 1 0,-10 0 0,1-1 0</inkml:trace>
</inkml:ink>
</file>

<file path=ppt/ink/ink6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3:20.65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22 3 9422,'30'-2'2518,"-5"1"-1978,-9 5-90,-5 2-1,0 1-89,0 2 0,-1 3-90,0 1 90,3 10-181,-5-5 91,3 15-180,-7-14 0,-1 8 0,-4-9 0,-6 10-90,0-6 90,-21 24-180,11-24-180,-15 12 0,12-19-539,-10 3-270,-1-2 359,0-2-449,4-5-2699,10-4 3020,-1-4 0,9 1 0,-1-3 0</inkml:trace>
</inkml:ink>
</file>

<file path=ppt/ink/ink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5:45.57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477 10321,'2'-26'2609,"1"2"-1980,2 9-89,2-1-180,5-1 0,4 1-181,5 0 91,5 0 0,6 1-90,9-1-550,6 1 550,8 1-90,4 2-709,4 1 619,5 1-932,8 0 932,3-1 0,7 1 0,0 0 0,1 1-180,-1 0 91,-6 1-91,-3 0 0,-5 1 0,-1 1 90,0-1 0,-3 1 0,-1-1 0,-1 1 32,-1-1-32,24-3 0,-23 2 556,14-1 73,-12-2 1,-1-1-360,-7 2 19,4-1 1,-6 0-20,-28 5 180,-3 0 850,-2 1-940,-2 0-91,-3 1 1,0 1-21,-3 0 381,-1 1-270,4 1-1,-5 3 684,4 2-683,-7 4 52,-1 3-53,0 4 91,-1 4 0,-1 6 0,0 4 0,-2 7-1,-1 3 1,0 4-439,0 3 349,0 0-90,0 1 0,-1 1-90,1 0-90,0-1 0,-1-1-90,1 0-90,-2-1 0,0-4-90,-1-2 90,-2-3-90,-1-2-90,-1-3 1,-1-3-1,-2-3-90,0-2-90,-2-1-89,-1-2 258,-2-2-348,-2-2-91,0-2 1,-4-2-1260,-12-1 989,2-3-1348,-11 0-1080,3-5 3508,-5-1 0,-9-2 0,-4 0 0</inkml:trace>
</inkml:ink>
</file>

<file path=ppt/ink/ink6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3:20.82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5 8432,'38'-3'1529,"-2"2"-3238,-10 2 1709,0 2 0,-12-1 0,-4 0 0</inkml:trace>
</inkml:ink>
</file>

<file path=ppt/ink/ink6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3:20.97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10771,'12'16'2608,"3"-3"-1888,3-10-180,4 0-1,5 0-179,2 0 0,3-1-90,0 0-90,1 0-90,-3 0-180,-1 0-270,-3-1-90,-2 0-449,-2 0-1080,-3 0 1979,1 1 0,-10-1 0,1 0 0</inkml:trace>
</inkml:ink>
</file>

<file path=ppt/ink/ink6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10.17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9 256 9691,'4'-25'1799,"0"3"-1439,2 18 90,-1 5-270,3 15 0,-4 0 0,0 3 90,-3-1-91,0 0 1,0 3 0,-2 2 0,0 2 0,-1 0 0,-1 1 0,0-1 0,0-1-90,-1 0 90,1 0-91,0-3 91,-1-1 0,1-2 360,0-3 180,-1 5-271,0-4-89,-4 1-180,-3-9-180,-4-11-90,1-4 0,0-7-90,4-2 0,2-2 0,0-5-89,3-4 89,3-5 0,3-3 90,3-4-90,5-5-319,5-3 409,4-1 0,4 1 0,2 3 0,3 2 90,2 5-89,1 5-1,0 5 90,-1 5-90,-2 6 180,0 3-180,-3 6 90,-1 3 0,-2 4 90,-2 3 318,-1 2-408,-3 3 0,-1 2 90,-2 3-3482,-4 0 3482,-2 1 0,-3 1 0,-4 9 0,-3-5 0,-4 6 0,-2-6-90,-2 0 90,-3-1 0,-10 7 3392,5-7-3482,-7 3 90,7-8-90,1-2 90,0-1-90,0-1 0,1-2 90,1-1-270,0-1-450,2-2-629,-4 0-1080,0-3 2339,-1-1 0,9-1 0,4 0 0</inkml:trace>
</inkml:ink>
</file>

<file path=ppt/ink/ink6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10.40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19 1 11940,'0'21'2159,"-3"0"-1619,-9-7-91,-2 3-89,0 1-90,-1 1 0,2-1 0,1 1-90,1-1 89,3 0-89,0 2 0,3-1-90,2 0 0,2 1 0,3 0 0,3-1 0,3 3 0,2-1-90,4 1-180,3-2-90,3 0-180,1-2-89,2-1-181,2-1-1259,13 1-539,-8-6-1080,8-1 3598,-11-7 0,2-3 0,2-2 0</inkml:trace>
</inkml:ink>
</file>

<file path=ppt/ink/ink6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11.08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91 45 9871,'1'38'2339,"0"-8"-1979,-1-6 90,-1-6-91,1 1-89,-1 0 0,1 0 90,-1 1-90,1-1 0,-1 0-91,1 0 181,-1-1 0,1 5 0,-1 0 539,0 3 451,-1-5-451,-1-3-719,-6-11-90,-1-8-90,-3-8 0,4-6 0,2 0-90,1-1 90,1-3-90,0-2 90,2-1 0,1-1-90,1-1 90,2 0 0,1-1-90,2 1 90,1 0-90,3 0 90,1 1-180,3 0 180,22-15-90,-14 19 0,15-10 0,-21 24 0,6 3 90,-2 6 0,0 2 0,-4 5-90,-8 0 90,-2 6 0,-3-1 0,-3 4 0,-3-4 0,-2 1 0,-2 0 0,0 0 0,-2 0 0,1 0 0,-1-1 0,-3 6-89,5-7 178,-2 5-89,5-8 0,0 5 0,5 0 0,3 5 0,3-5 0,7 4 0,-3-9 0,2 4 0,-3-5 0,0-1 0,0 3 0,1-1 0,-2 3 0,-5-1 90,-7-3-90,-9-1 0,-2-4 0,-3-1 0,2-3 0,-2-1-90,-2 1-179,0-2-91,-1 0-90,0-2-90,1 0-179,1-1-271,1-2-179,1-1-1439,2-1-1350,2-3 3958,2-1 0,6 3 0,2 2 0</inkml:trace>
</inkml:ink>
</file>

<file path=ppt/ink/ink6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11.32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 1 8612,'18'10'3148,"-3"2"-2248,-8 0-181,0 2 1,-2 4 0,-1 2-181,-2 2 1,-1 1 0,-1 1-181,-1 2 1,-1 1-90,0 2 0,-2 0-90,0 3 0,0-1-90,-1 2 0,1-1 0,-1 0-1,1 0 1,-1-1-90,1 0-90,0-1-179,0-3-1,2-1-180,-1-1-809,0 8 449,0-10-1528,1 6-3329,1-8 5667,3-3 0,-1-5 0,2-6 0</inkml:trace>
</inkml:ink>
</file>

<file path=ppt/ink/ink6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11.83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2 242 10681,'17'6'2339,"-4"0"-1800,-9 15-89,-1-2 0,-2 2-90,0 3 89,0 1 1,0 1-180,0 0 0,-1 1 0,1-1-91,-1 0-89,0-1 90,0-1-90,0-2 0,-1-1 0,1-2 360,-2-2 539,1 5-89,0-3-271,-4 0-539,-5-12 0,0-9-90,-3-8 0,4-5 0,1-5-90,1-6 90,2-5 0,2-5-90,4-5-223,2-3 313,4-6 0,3 1-90,12-24 90,-2 20-530,9-12 441,-8 28-91,2 4 0,0 5-180,-1 4 0,1 5 0,-3 5-179,1 3 296,-3 5-297,0 4 457,-3 3-727,0 4-89,-1 4-91,-3 3-359,-2 4-720,-3 4-809,-3 3 2878,-5 4 0,-5 7 0,-2 3 0</inkml:trace>
</inkml:ink>
</file>

<file path=ppt/ink/ink6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12.67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0 250 9062,'-19'16'4407,"-1"0"-3507,9-9-810,12-5 90,2-3 0,14-6-180,16-5 89,-11 3-89,17-6 90,-16 6-90,1-2 90,0 0-90,1-2 0,-1 0 0,0-2 0,0 0 0,-1-1 0,-1 0-90,0 0 90,-1 0 0,-2 1 180,-1 0-90,-1 2 0,-3 1 0,-1 1 0,-1 2 0,-2 0 360,3 0-90,2 6-1,-1 6-89,-1 10-90,-5 3 0,-4 3 0,-1-3 0,-2 0 0,1 2 0,-1-1 0,0 1-91,-2 0 1,0 0 90,0-1-90,-1 1 0,1-2 0,-2-1 360,1 5 359,-1-3 181,0 2-1080,1-17 0,6-9 90,2-12-90,5-1 90,1 4 0,0 1-90,0 1 90,2 1-90,-1 2 0,0 1 0,0 2-180,0 3 1,5 0 89,0 4 0,0 2-180,-2 4 0,-4 0 0,-1 2-3481,-1 2 3301,-1 0 0,1 1 1,-1 1 89,0 0-90,0 2 0,0-1 1,2 0 3391,-1 0-3302,0-2-179,1 0 179,0-2-90,1 0 180,0-2-359,1-2 359,7-2 0,-3-2 0,5-4 91,-6-3 89,1-3 0,0-3 180,1-2 90,0-3 270,-1-1-91,-1 0 181,-1 0 0,-2 1 90,-2 1-1,-1 1 1,-1 1 270,-2 2 449,1-3-630,-7 3-359,-5 6 0,-5 5 180,-7 15-360,6-3 90,-2 7-90,4-4 90,3 1-90,1 2-1,2 0 1,2 0 0,2 2 0,3 0-90,2 0 90,2 0-90,2-1 90,2-2 0,9 4-90,-5-6 90,7 1-90,-7-7-90,-1-3 90,-1-3-180,0-2 90,1-3-90,-2-4 90,0-2 1,-1-4 89,-1-1-90,2-10 0,-4 4 90,1-5-90,-6 9 90,-1 1 0,-4-2 90,-4 0 0,-6 1 0,-5 4-90,-3 4 89,-2 6 1,4 4 0,1 5-90,9 6-1169,3 1-1889,8 1 3058,4-13 0,-4 2 0,0-7 0</inkml:trace>
</inkml:ink>
</file>

<file path=ppt/ink/ink6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12.92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0 10231,'20'26'2429,"-4"-2"-2069,-8-9-91,-1-1 91,0-1 270,0 1 539,0-3-9264,1 1 8095,-11-9 0,6 1 0,-9-6 0</inkml:trace>
</inkml:ink>
</file>

<file path=ppt/ink/ink6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13.59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7 0 9781,'-29'8'4588,"3"-2"-4049,24 1 1,12-4-90,27 3-90,19-4-2020,28-1 1795,-34 0 0,2-1-1,8 1 1,2 0-45,9-1 0,3 1-796,3 1 0,1-1 751,9 1 0,1-1-1113,0 2 1,1-1 1112,0 0 0,1 1 0,-2 0 0,0 0-627,-2 0 1,0 1 581,-2-1 0,-1 1-45,-2 0 0,-1 0 0,-7 0 0,-1 0-162,-2-1 1,-2 1 26,-8-1 0,1 1-270,19 0 1,-1 1 134,-22-2 0,0 0-45,11 1 1,-4-1-631,12 2-89,-17-2-349,-9 0-1630,-10-2 3554,-9 0 0,-14-1 1,-7 0-1</inkml:trace>
</inkml:ink>
</file>

<file path=ppt/ink/ink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5:45.81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70 135 8252,'-67'8'3059,"0"2"-2160,4-2-1546,2 2 1277,4-3-180,6 0-1,5 0-89,8-2-90,5 1 90,6-2 344,3 1-165,6-2 226,2 2-675,15 0 0,4-2 0,17 0 617,7-4-527,9 0 0,13-2-2147,8 0 2237,11-2 0,11-3-1143,4 0 1143,10-4-90,0 0 180,2-1 0,-1-1-1209,1 0 1119,-2 0-91,-2 0-722,-4 0 632,-9 1 1,-6 1-90,-9 2 0,-5-1 1042,-8 2-1312,-7 1-179,-8 1 858,-4 1-1129,-6 0 1329,-2 1-609,-6 1 0,-8 2 0,-3 0 0</inkml:trace>
</inkml:ink>
</file>

<file path=ppt/ink/ink6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13.83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06 43 8072,'-41'5'2249,"5"-1"180,10 0-1890,24 4 1,13-4-90,32 2 0,14-6-1348,25-1 1258,13-1-1123,-39 1 1,0-1 897,4 1 0,2-1 0,7 0 0,1 0-45,3 0 0,1 0-45,7-1 0,0 1-889,1 1 0,0-1 889,0-1 0,-1 1 0,-5 0 0,-2 0 0,-2 0 0,-2 0-45,-5 0 0,-2-1 45,-2 1 0,0 0-971,-3 0 0,0 0 836,-4 0 0,-1 0-26,40-3-244,-11 1-269,-15 1-1,-10 1 501,-10 0-3199,-12 0 3713,-7 2 1,-15 0 0,-3 0 0</inkml:trace>
</inkml:ink>
</file>

<file path=ppt/ink/ink6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14.42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2 196 12660,'5'26'1439,"1"0"-899,-3-5-91,0 3-89,1 3 0,1 2 0,0 1-90,0 2-1,0-2 1,0 2-90,-1-2 0,0-1 0,0-2 0,-2-2-90,0-2 90,-1-2 359,0-1 1,-2 3-180,-4-5-90,-6 0-270,-7-12 90,0-9 0,0-8-180,4-4 0,2-5-90,1-4-90,2-6-90,3-3 90,3-8-89,5-5 89,6-7-567,5-3 657,7 0 0,4 2 1,5 2 89,3 5-90,3 4 0,3 6 90,1 5 0,-2 8 0,0 6 0,-5 7 47,-1 6-47,-4 3 90,-2 5-90,-1 4 90,-2 2 0,-1 4 0,-4 1 0,-3 3 564,-2 9-474,-6-4-90,-3 7 0,-8-7 0,-2 0 90,-5 1-90,-2 0 0,-5 1 136,-1-1-136,-2-1 90,-11 5-180,9-8 0,-7 3-180,12-9 0,1-2-360,3-2-1079,2-2 1709,0 0 0,6-5 0,0 1 0</inkml:trace>
</inkml:ink>
</file>

<file path=ppt/ink/ink6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14.64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40 0 13559,'-20'18'1529,"0"-1"-1259,4-2 0,1 2 0,-1 1-90,2 2 0,2 0-90,2 1 90,2 0-90,3 1-1,2 1-89,3 0 90,1 0 0,4 0-270,1 1 1,3-2-181,3 1-90,1-2 0,2-1-269,2-3-990,9 2 449,-5-7-539,7-2-629,-8-7 2428,1-5 0,3-5 0,1-3 0</inkml:trace>
</inkml:ink>
</file>

<file path=ppt/ink/ink6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14.96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80 11850,'20'-2'2249,"-3"9"-1799,-13 11-91,0 3 1,-1-2-90,0 1 0,0 1 0,1 2-90,0-1-90,0 1 90,0 0-90,-1-1-1,2 7 1,-1-8 0,0 4 90,-1-4 0,0-3 0,1 1-270,4-13 0,-3-9 90,3-16-90,-5 1 0,1-4 90,-1 4 0,1-1-90,1-2 90,1-1 0,1-1-90,1-1 90,2-2 0,2 2 0,0 0 0,2 1 0,1 1-90,2 2 0,1 1-89,1 1-91,2 2-90,-1 1 0,-1 2-90,0 3-179,-1 2-990,-2 3-1440,5 2 3059,-3 5 0,-4-1 0,-6 2 0</inkml:trace>
</inkml:ink>
</file>

<file path=ppt/ink/ink6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15.13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7 72 10051,'-19'18'6746,"2"-1"-6386,22-11 0,-1-2-90,17-5-90,-2-2-90,4-2-180,2 1 0,2-2-270,1 1-90,1-1-89,0 0-271,0-2-179,-1 1-181,-1 0-1258,-1-1-1350,0-1 3778,-2-2 0,2-3 0,0-2 0</inkml:trace>
</inkml:ink>
</file>

<file path=ppt/ink/ink6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15.45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14549,'8'39'1889,"-1"-8"-1440,-4-8-179,-1-5 0,0-1-90,1 2 0,0-1-90,-1-1 90,1 1 0,-2-2 89,2 5 361,-1-2 90,0 2-900,-2-17 90,2-11 0,0-11 0,5-4 0,0 4-90,25-30 90,-15 24 90,17-19 0,-21 32-90,6 0 90,0 4 0,4 3 0,-5 6 0,-2 3 0,-5 1 0,0 3-90,-2-1 0,1 3-180,-1 1-179,-1 0-1,-1 2-270,0 0 1,-2 0-181,1 0-89,-2 0-2609,0 1 3598,1 4 0,-3-10 0,1 2 0</inkml:trace>
</inkml:ink>
</file>

<file path=ppt/ink/ink6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16.19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12 39 11760,'-24'-3'2339,"1"2"-7370,6 7 5661,-2 1 1228,0 2-1048,-7 6 409,6-3-949,-3 6 0,10-5 0,2 1 0,3 0 3302,1 1-3393,5 0-89,2 0 90,4 0-90,3 1 0,3-1-90,4 1 90,1-3 0,3 0-90,1-3 0,1-1 0,2-3-180,-1-1-90,0-3 1,0-2-1,-1-2 0,0-4 0,0-2 0,-1-3-3302,-2-3 3392,0-1 0,-3-2 91,2-6 89,-6 6 0,1-4 179,-7 4-89,-5 2 90,-5 0 3392,-4 5-3212,-5 6 180,2 7-360,6 7-1,8 3-89,11 2 0,0-6 0,3 0 0,3-4-90,0-2 90,6-2-270,-3-6-359,-4-7-361,-4-7 270,-7-5 1,-5 3-181,-3 0-179,-2 7-91,0 0-1258,-2 0-1170,0 2 3508,0 0 0,3 5 0,0 2 0</inkml:trace>
</inkml:ink>
</file>

<file path=ppt/ink/ink6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16.84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24 8432,'17'23'2879,"-2"0"-2070,-6-8-89,0 2-181,-1-1 91,-2 0-90,0-1 269,-1 0-89,0 3 179,-2 0 91,1 3-181,-3-3-719,-6-9-90,2-12-90,1-12 90,6-3-90,5 0 90,1 4-90,2 1 90,1-1 0,2 2-90,0 1 90,2 2-90,0 1 90,-2 3 0,1 1-89,5 3 89,-6 2 0,9 5 0,-9 2 89,2 3 361,-5 2 1619,-5 2-900,-3 0-989,0-12-90,3-5-90,0-11 0,4 2 90,0 3-90,1 0 0,1 1 90,2-1-180,-1 2 90,1 0 0,-1 2-180,1 0-180,6 1-179,1 3-91,4 3-179,-1 4-271,-4 3-179,-4 3-90,-2 0 89,-3 2 181,-2-3 0,1 0 449,1-4 90,3-3 270,4-5 181,-3-2-1,1-3 0,-3-1 0,0-1 0,2-3 0,1 0 90,1-2-90,0-3 180,2-1 0,-1-1 90,0-2 179,0-1 1,-1 0 90,-2 0 0,-1 1 89,-3 1-89,-1 2-90,-1 1 360,-3 2 89,-2-2-89,-7 5-450,-8 3-1,-3 6 1,-3 6 0,2 1 0,0 3-90,1 2 0,1 0 0,1 3 89,-2 6-179,5-4 0,0 6 90,4-7-180,3 7 90,1-5-90,2 3-270,1-6-89,2 0-91,0-2-180,1-1-1079,1 0-899,4 2-2969,2-3 5577,4-1 0,-8-5 0,-1-2 0</inkml:trace>
</inkml:ink>
</file>

<file path=ppt/ink/ink6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17.20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6 1 17247,'-4'35'1529,"0"-1"-1079,1-13-180,0 2 90,0 2-180,1 0-1,0 1 1,0 1-3482,1 0 3392,0 0-1281,1 0 1101,-1-1-180,1 0-90,0-2-179,0 0-91,1-2 2712,1-2-2891,0-2 1691,1-2-1872,1-1-449,1-3-5037,3-2 6476,4-2 0,-5-5 0,2-1 0</inkml:trace>
</inkml:ink>
</file>

<file path=ppt/ink/ink6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17.44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2 142 15448,'-8'21'2249,"4"0"-1979,8-2 0,2-4-91,7 2 1,-4-8 0,8 3-90,-2-6 0,4-3-90,0-8 0,-5-3 0,-1-5 0,-6 2 0,0-2-90,-2-2 0,-1 0-180,-1-1-89,-3 0-91,0-1-180,-2 2 1,-2-1-1,-1 2-180,-1 0-179,-1 2-90,-1 0-1260,0 1 2339,0 1 0,-4-5 0,0-1 0</inkml:trace>
</inkml:ink>
</file>

<file path=ppt/ink/ink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5:52.533"/>
    </inkml:context>
    <inkml:brush xml:id="br0">
      <inkml:brushProperty name="width" value="0.08571" units="cm"/>
      <inkml:brushProperty name="height" value="0.08571" units="cm"/>
      <inkml:brushProperty name="color" value="#F6630D"/>
    </inkml:brush>
  </inkml:definitions>
  <inkml:trace contextRef="#ctx0" brushRef="#br0">0 182 14009,'29'-4'0,"-1"0"0,-7-1 0,1 0 0,3-1 0,2 1 0,12-4 0,12-3 0,-9 1 0,3 0 90,-24 5-90,8-3 0,-7 2 0,5-2 0,-9 3 0,-1 0 0,-1-1 0,-1 2 0,-1-1 90,0 1-90,-1-1 0,-1 1-270,4-2-629,-1 1-900,2-2 1799,-1 2 0,-8 3 0,-1 1 0</inkml:trace>
</inkml:ink>
</file>

<file path=ppt/ink/ink6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17.93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11490,'29'1'2699,"1"1"-2339,-11 0-1,0 1-89,-4-1 0,1 0 0,0 0-90,1 0 0,1 1 0,1-1 0,-1 0 0,0 0-91,0 1 91,0-2-90,-1 2 180,-2-1-90,6 1 180,-2 0 180,2 3-91,-4 2 91,-6 4-180,-4 1 90,-4 3-1,-4 0-179,-2 2-90,-1-2-90,-1 0 90,1-1-90,-2 0-90,1-1 0,-1 2 0,-1-1 90,-1-2-90,-1 2 0,-2-1 90,0 0-90,0 2 0,2-1 0,0-1-90,2-1 180,1 1-90,1-1 0,9-4-270,2-5-450,7-5-449,1-4-270,-3-2-810,0 1-6116,-2-3 8365,-1-2 0,-4 5 0,-1-1 0</inkml:trace>
</inkml:ink>
</file>

<file path=ppt/ink/ink6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18.56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5 206 16797,'-10'20'1170,"0"0"-900,5-5-1,-1 1 1,-1 1 0,1 0-90,1 0 180,-2 6-180,2-6 90,-1 5-91,2-2 91,1 0-90,2 3 0,5-2-90,6-5-180,8-3-180,-1-6 0,3-3-89,-4-4-181,2-2 90,2 0-179,2-4-1,2 0 0,0-2 1,2-2-1,0-2 90,2-2 180,-1 0 1,1 0 179,-2-1-90,-1 0 90,-1 1 0,-1 0 180,-1-1 0,-2 3 180,-2-1 90,-1 2 180,-2 1-91,-1 1-89,-1 0 90,-2 2 450,3-1-271,1 6 271,-1 3-181,0 12-269,-7 7-90,-2 0 0,-1 1 0,-2-5 0,0 1-90,0 0-1,0-1 91,-1 0-90,0 5 270,1-1 1079,-1 3-539,-1-4-901,-6-14-178,1-9-91,-3-12-90,3-8-90,2 1 90,2-5-90,3-4 180,1-6-89,4-2 89,2-2 0,3 0 90,1 3 0,3 3-90,-1 2 90,1 6 0,1 3-90,6 0 90,-6 9 90,5 0-90,-7 10 0,1 3 90,-2 5 0,0 6 0,-8 4 0,-9 4 0,-5-2 0,-5 0 0,1-4 0,-3 0 0,-2 0-180,-1-1-89,-1-1-91,-1 1-180,-1-2-90,1 1-179,0-1-1,2-1-89,0-1-270,3 0-2609,0-1 3778,-1 0 0,8-2 0,0-1 0</inkml:trace>
</inkml:ink>
</file>

<file path=ppt/ink/ink6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18.77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9062,'23'8'4677,"-4"1"-3687,-4 5-91,-4 1 1,-1 2-91,-1 5-89,0 2-91,0 2 1,-1 3-270,0 0 90,-2 1-91,0 1 1,-2-1-180,-1 1 90,-1-3-90,-1 2-90,-1-3-90,-2 1-90,-1-2-180,-1 0-180,-1-1 0,0-1-269,-2-2-91,0-1-179,-2-1-270,0-2-181,-1-2 1440,-4 1 0,8-10 0,-3 1 0</inkml:trace>
</inkml:ink>
</file>

<file path=ppt/ink/ink6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19.43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0 92 15358,'-2'29'1260,"0"-3"-901,0-8-89,-1 1 90,-1 1-90,2 1 0,-2 0-1,2-1 361,-4 21-450,1-12 270,-1 12 809,2-19-719,0-4-720,-2-13 90,3-9-90,-1-11-90,6-6 0,2-1 90,4-5 1,2-5-91,11-18 180,6-5 90,1 3 90,-1 8-90,-9 18 90,-1 5 0,0 3 89,0 4 1,-1 4 0,0 3 90,0 4-90,0 3 90,0 5-90,0 2 0,1 4 89,5 13-89,-6-5-90,4 12 0,-8-7 0,-2 1-90,-1 2-90,-3-2-90,-1 2 0,-3-1-269,-1 0-541,-3 11 271,-2-7-91,-2 7-179,-1-11-1170,-7 8 720,4-11-1260,-6 5-1618,5-13 4317,0-3 0,4-5 0,2-3 0</inkml:trace>
</inkml:ink>
</file>

<file path=ppt/ink/ink6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19.71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 225 8792,'-3'-31'3598,"1"8"-3058,3 2-91,3 6-89,-1 1-180,2 0 90,2 1-90,1 0-90,2 1 90,2 0-180,1 2 0,2 1-90,2 0-90,0 2 0,2 1-90,12-1 90,-7 3 90,9 0 0,-10 3 0,2 1 0,-2 2 90,1 0-90,-2 2 180,1 1 0,-1 1 90,0 2 90,-2 0 270,7 7-180,-7-2-1,3 4 91,-9-3-90,-1 0 0,-1 1-90,-2 0-1,-1 0 1,-2 0-90,-2-1 90,0 0 0,-3 6-180,-2 0 0,-2 1-90,-4-3-180,1-5-90,-3-1-90,0-1-180,-2 0-89,0-1-91,0-1-179,-1-1-2699,1 0 3598,-5 0 0,8-3 0,-1-2 0</inkml:trace>
</inkml:ink>
</file>

<file path=ppt/ink/ink6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19.90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1 9602,'30'-5'2608,"-1"2"-2068,-9 1-91,1 2-89,0 0-90,1 2 0,-2 1-180,-1 1-90,-1 0-180,-3 1 0,-1 1-539,-2 1-631,0 5 541,-6 3-810,-3 0-360,-8 2 1979,-6-4 0,-7 3 0,-3 0 0</inkml:trace>
</inkml:ink>
</file>

<file path=ppt/ink/ink6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20.03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3 0 8252,'-23'14'2069,"2"-2"-630,9-6 180,0 2-899,8 2-450,10-1-90,9-1 0,10-2-1,-3-2-89,4 0-90,0 0-179,3 0-181,-1 0-180,-1-1-359,-2 0-2160,8 1 3059,-10-2 0,-2 0 0,-13-1 0</inkml:trace>
</inkml:ink>
</file>

<file path=ppt/ink/ink6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35.21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7 154 8522,'-11'-29'1799,"3"2"-1349,3 7 90,1-1-91,1 1-89,1 2 540,0-1-451,-2 19-269,1 5 90,-1 14-90,4 3 0,0-2-90,2 0 90,1 3 0,1 0-90,2 1 89,2 1-89,3 1 0,1 0 0,3-2 0,1-1-90,3 0 90,1-3-90,1-1 90,2-3 0,1-2-90,-2-3 0,1-3 90,-1-4-90,-2-2 0,2-4 90,-3-3-90,1-4-90,-2-3 90,-1-5-90,-2-3 0,3-17 0,-7 7 90,2-10 90,-7 13 90,-2 1 90,-1 2-90,0 3 0,-1 2 269,1-3 271,-2 4-540,-5 9 90,-1 8-90,-3 15 89,2 0-89,1 4 0,1 3-90,0 3 90,3 1-90,1 2-90,4 17-90,1-8-1431,3 15 1251,0-13-180,2 1-287,-1 0 18,0-3 89,0-1-89,0-4-91,0-1-89,0-2-181,0-2 143,0-4-2211,0-3 3204,0-5 1,-4-5 0,-1-4 0</inkml:trace>
</inkml:ink>
</file>

<file path=ppt/ink/ink6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35.57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83 10141,'16'-26'1799,"0"3"-1349,-4 13 90,3 1-271,2 2 91,0 2-90,2 2-90,0 3 0,0 3 0,1 2-90,-1 4 0,0 3 0,-2 3 0,-2 2 0,-3 2-1,-4 1 91,-2 1 90,-3-1-180,-3 2 180,-2 0-90,-2-1 0,-1 0 0,-1-1 0,0-2 0,0-2 269,1-2 271,-1 4-1,1-3-449,2 5-90,8-9-90,12-4 0,4-6-90,6-3-180,-3-1 0,0 1-180,2-2-179,0 2-91,0-1-89,0 1-271,-1 0-89,0 1-360,-3 1-900,-2 1 2339,-4 1 0,-7-1 0,-3 0 0</inkml:trace>
</inkml:ink>
</file>

<file path=ppt/ink/ink6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35.79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69 8 9062,'-38'12'4407,"3"-2"-3237,5-1-271,4-2-89,4-1 1978,4-1-2338,22-1-90,7-3-1,27-3 1,10-2-958,10-1 867,10 0-1347,10-1 1258,5-1-1,6 1-89,-1-1-180,-6 2-89,-3 0-271,-7 2-90,-4 0-269,-7 2-619,-6-1 349,-11 2 89,-5 0-179,-8 2 0,-5 1-5578,-7 0 6910,-5 3 1,-7-3-1,-3 1 1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3:39:17.769"/>
    </inkml:context>
    <inkml:brush xml:id="br0">
      <inkml:brushProperty name="width" value="0.17143" units="cm"/>
      <inkml:brushProperty name="height" value="0.17143" units="cm"/>
    </inkml:brush>
  </inkml:definitions>
  <inkml:trace contextRef="#ctx0" brushRef="#br0">334 90 9871,'-14'-23'2159,"-1"3"-1619,4 9-180,-3 2 89,-2 0-89,0 2-90,-1 1 90,0 3 0,0 2-1,-1 2-89,0 3 0,1 4-90,0 3 90,2 4-90,2 5-90,3 4 0,2 3 0,4 3 89,2 3 1,5 4-90,2 3-1622,4 6 1622,2 2 0,3 3 29,2 0-29,-1-2 0,-1-2-213,-1-2 212,-3-4 91,-2-2-90,-3-2 90,-3-2-90,-3-3 1639,-3-1-1639,-3-2-90,-2-3 71,-4-2 108,-6 1 188,2-8-277,-6 0-90,8-11 0,0-1 0,-5-6 0,2-3 0,-2-5 0,7-3 0,7-4 90,10 7 90,2 7-90,3 14 90,-3 5 0,-2 6 0,-2-2 0,0 4-1,0 3 1,0 3 0,0 3-90,1 2 360,2 17-270,-1-10-282,3 14 372,-1-16 0,1-3 0,1-2-90,0-4 0,3-1-91,-1-2 91,3-2-90,2-3 0,1-2-90,3-2 372,1-3-552,1-2-90,0-3-180,1-3-89,-1-3-271,-1-1-179,1-3-361,-3-2-539,-1-2-1619,-2-2-2338,1-1 5846,-3-3 0,-5 3 0,-2 1 0</inkml:trace>
</inkml:ink>
</file>

<file path=ppt/ink/ink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5:53.227"/>
    </inkml:context>
    <inkml:brush xml:id="br0">
      <inkml:brushProperty name="width" value="0.08571" units="cm"/>
      <inkml:brushProperty name="height" value="0.08571" units="cm"/>
      <inkml:brushProperty name="color" value="#F6630D"/>
    </inkml:brush>
  </inkml:definitions>
  <inkml:trace contextRef="#ctx0" brushRef="#br0">1 290 9512,'29'-7'539,"-4"0"-359,-5 4-90,-2 0 0,2 0 90,1 0-90,4-1 90,1 0-90,2 1 0,3-2 0,1 0 0,1 0-90,0 0 90,2 0-90,1 0 89,-1-1-89,5 1 90,-5-1-90,2 0 0,-2 0 0,-1 1 0,14-4 90,-11 2-180,10-1 180,-17 1-180,0 2 180,-1-2-180,-2 1 180,-2 1 0,8-3-90,-9 2 90,7-2-90,-12 2 90,0 1-90,0 0 90,-2 0-90,0 0 0,-1 0 0,-1 1 90,-1-1-90,1 1 0,-1 0 0,-1 0 90,6-1-90,1 0 0,4-2 0,0 1 0,0-1 90,1 1-180,-1 0 180,0 0-90,-3 2 0,-3 0-4857,-1 0 4857,-15 5 0,4-2 0,-13 5 0</inkml:trace>
</inkml:ink>
</file>

<file path=ppt/ink/ink7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36.24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31 98 9332,'-7'31'3058,"2"-6"-2518,6-2-91,1-3 1,1 3 0,1 3-90,0 1-1,1 4 1,1 2-90,-1 1-90,0 2 90,0-1-90,-2 1 90,0-1-91,0 0 1,-3-2-90,0 0 0,-2-3 90,-1 1 0,-2-2-90,-2-2 90,-1-1 0,-2-5-90,-2-1 0,0-4 0,-1-3 0,0-2-90,-1-4 0,-5-4 90,4-3-180,-4-4 0,7-4 0,1-2 90,0-4-90,3-2 90,1-3-90,2-2 90,3-3 0,1-2 0,3-3-90,3-6 90,2-2 0,3-4-322,3-2 322,3-1 0,2-3 0,0 3 0,0 2 0,-2 3 0,-1 4 90,-2 3-90,-2 2 0,-1 3 0,-3 2 0,-1-21 0,-6 22 232,-3-15-232,-5 26 0,-2 2 0,-2 2 0,-2 2 0,-1 4 0,0 0 0,-2 3 0,-1 1 0,1 3 0,-2 2 0,2 0 0,1 3 0,1 0 0,1 2-90,3 0-90,1 1-360,3 0-359,2 5 449,5 3-180,2-1-179,7 0-1,2-7-179,3-1-1170,2 0-719,2-2 2878,2-1 0,7-3 0,1 0 0</inkml:trace>
</inkml:ink>
</file>

<file path=ppt/ink/ink7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36.53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21 153 13919,'1'23'1169,"-1"-1"-809,-4-7 0,1 1-90,1 2 0,3 2-90,1 1-1,3 0 1,3 2-90,2-1 90,3 0-90,2 0 0,1-3 0,0-2-90,1-3 90,-1-3 0,1-2 0,0-3-90,5-5 0,-5-4 90,3-6-90,-8-5 0,-1-3 90,-3-6 270,-1-14-181,-5 5 91,-2-11 0,-4 12-90,-4 0 0,-2-2-90,-4 2 0,-3 0 0,-3 2-90,-2 3 90,0 4-180,-2 3-90,1 4-90,-2 2-989,-12 3 359,7 5-269,-8 5-270,10 6-1350,-1 6-1438,0 4 4227,0 6 0,1 3 0,0 2 0</inkml:trace>
</inkml:ink>
</file>

<file path=ppt/ink/ink7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39.08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8 0 6993,'-6'21'1439,"0"0"-899,3-3-270,1 3-90,1 3-90,1-3-4162,1 2 4252,1-6 949,-1 4-949,1 1-762,1 5 941,0 5 91,1 6-313,0 6 223,0 10 90,-1 5-91,0 7 1,-1 3-90,0 2 90,-1 2-135,0-21 0,-1 2-46,2 27-89,-1-28 0,0-1 90,1 19-90,1-2 2085,1-1-2175,-1-4 90,1-1-180,-1-7-82,0-2-278,1 10 181,-1-17-91,0 9-90,-1-24 900,-1-2-989,1-5-1682,-1-3 2221,-1 3 0,0-13 0,0 0 0</inkml:trace>
</inkml:ink>
</file>

<file path=ppt/ink/ink7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39.45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46 276 8432,'-29'23'2069,"0"2"-1529,6-2-1,-3 3-89,-2 3-90,1-1-90,-1 0 0,2-3-90,3-2-1,2-2 1,4-4 0,0-1 0,4-2 180,0-3-270,0 0-90,5-12-180,4-4 90,9-14-90,7-6 0,7-8 0,6-8-570,3-4 570,6-6 180,1 3 90,2-2 0,0 5 0,1 2 90,0 4 90,1 3-91,0 5 1,-2 6 90,-1 5-90,-1 4-90,-2 5 90,-1 4 0,0 3 0,-1 3 0,2 3 0,2 3-91,2 2 1,2 3 90,3 4-90,-1 2-90,3 4 289,-1 2-289,-2 3-450,14 13 0,-14-7 1,8 8-271,-18-12-269,-4 0-1350,-2-1-1079,-1 1 3418,-4-2 0,1 1 0,-1-2 0</inkml:trace>
</inkml:ink>
</file>

<file path=ppt/ink/ink7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40.22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281 10501,'17'17'1619,"-1"3"-1259,-7 2 90,2 5-91,0 3 1,1 2 0,2 3 0,0 0-90,0 1-90,0 0 89,0-2-89,-1-1 0,-1-2-90,-2-4 90,-1-2-90,-1-2 0,-2-2 180,0-3 180,-1-2 449,0-2-449,-4 2-360,-7-12 0,0 0 0,-6-16-3392,4-3 3212,-1-7 90,1-4-90,1-10 0,1-5 0,3-6-513,3-7 423,2-4 90,5-5-90,4 0 0,3 1 0,5 4 90,3 3-2188,3 5 2188,3 5-90,2 6 2189,0 8-2279,11 1 270,-12 15-90,8 1 0,-15 14 90,-2 3 423,-1 5-423,-2 4 3392,-3 3-3482,-3 3 90,-3 2 0,-3 3-90,-4 0 90,-3 3 0,-3 0-90,-12 15 90,1-10 0,-9 9 0,4-13-90,-2-2-90,1-3 0,0-2-90,0-3 1,3-2-91,0-2-1709,-3-1-2788,3-3 4857,0-7 0,10-1 0,5-5 0</inkml:trace>
</inkml:ink>
</file>

<file path=ppt/ink/ink7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40.43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2 1 11041,'-5'31'2248,"0"-1"-1708,-5-9-90,0 1-90,-1 2-1,-1 1-89,2 1 0,1 0-90,2 0 0,1-1 0,2 0-90,2 0 0,2 0 0,3 0 0,2 2 0,3-2-270,2 1-180,2-2-90,2-1-269,2-1-1,1-4-269,1-1-271,1-4-719,0-3-539,0-3 2518,0-5 0,5-5 0,0-2 0</inkml:trace>
</inkml:ink>
</file>

<file path=ppt/ink/ink7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41.14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76 9332,'10'-20'2698,"0"-1"-1618,-2 10-271,3 4-179,-1 8-450,3 11 89,-5 2 1,1 4-90,-3-2 90,0 3-90,-1-1-90,1 3 180,-2-1-90,1 1 0,-1 0-91,-1 0 91,0-2-90,-1 0 0,0-2 90,0 5 270,0-2 359,1 4 541,-2-5-811,0-2-449,-5-12 0,-1-4 0,-3-12 0,4-6-90,1-2 0,2-4 0,2-2 0,1 0 0,1-1 0,2 3 0,-1 2 0,0 3 0,1 0 0,-2 3 90,0-2-90,0 2 0,-1-2-90,0 0 0,0-3 90,1 4-90,1-2 90,2 5-90,1-1 90,1 0-90,2-1 90,1 2-90,2 0 90,0 1-90,0 2 90,1 3-89,-1 0 89,6 5-90,0 4 90,-1 2 0,-3 5 0,-7 1-90,-2 1 90,-2 8 0,-2 4 0,-2 0 0,-4-1 0,1-6 0,-2-1 0,0 0-90,0-1 90,0 0-90,-1 3 0,0-2 0,1 3 0,5-3 90,8-2 0,2-3-90,6 0 90,-3-3 0,1 1 0,1 1 0,-1 1-90,0 1 90,-1 0 0,-1 0 0,-2 0 0,-1 0 0,-2 4 0,-5 3 0,-2 0 90,-7-2-90,-2-5 0,-3-1 0,-3 1 0,-1-2 0,0 0 0,-2-1 90,1-2-90,-1 0-90,1-1-90,1-2-540,0 0 181,-5-2-900,4-2 449,-7-5-179,12 0-270,-1-5-900,8-2-899,2-2 3238,4-5 0,4-10 0,3-4 0</inkml:trace>
</inkml:ink>
</file>

<file path=ppt/ink/ink7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41.33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5 1 8374,'28'13'5757,"13"22"-5127,-24-14-91,11 17 1,-20-18-180,0 1 73,-3 1-163,0 1 25,-3-1-115,0 2 12,-3 0-12,0 1-53,-2 0-127,-3 0-270,-1 1-90,-2 0-180,-2 0-179,-1-2-91,-2-1-179,0-2-180,-2-1-1170,1-2-989,-2-4 3328,1-2 0,7-6 0,1-2 0</inkml:trace>
</inkml:ink>
</file>

<file path=ppt/ink/ink7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42.09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77 12750,'7'38'1619,"-1"-2"-1169,-5-12-91,0 2 1,0 0-90,1 2 90,-1 0-90,0 1-90,1-1-1,-1 0 1,1-2 0,-1 0-90,0-1 0,0-3 0,-1-2 360,1-1 359,-1 3 361,1-2-721,-3 2-628,-1-14 89,-1-12-180,0-11 0,3-8-90,2-1 90,2-6 0,2-7 90,3-2-89,3-7-503,3 0 592,2-2 90,2 2-3196,0 5 3196,0 4 0,0 5-90,7-5 180,-6 13 0,4-2 0,-7 13 90,0 6 396,5 4-396,-5 5 3392,6 4-3392,-7 4-3392,0 4 3392,1 2 0,0 4 0,6 14 0,-1 5 0,0 2-90,-4 0 90,-2 1-1,-5-9-89,2 9-179,-5-13-451,1 9-629,-1 0-540,-1 4-1709,-2-11 4356,-3-3 0,-1-18 0,-1 1 0</inkml:trace>
</inkml:ink>
</file>

<file path=ppt/ink/ink7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42.22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78 9062,'6'-22'360,"5"2"-810,2 11-630,5 2 541,-3 2 539,3 1 0,4-1 0,1-1 0</inkml:trace>
</inkml:ink>
</file>

<file path=ppt/ink/ink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5:53.870"/>
    </inkml:context>
    <inkml:brush xml:id="br0">
      <inkml:brushProperty name="width" value="0.08571" units="cm"/>
      <inkml:brushProperty name="height" value="0.08571" units="cm"/>
      <inkml:brushProperty name="color" value="#F6630D"/>
    </inkml:brush>
  </inkml:definitions>
  <inkml:trace contextRef="#ctx0" brushRef="#br0">1 203 12120,'24'-6'900,"2"0"-721,-8 2 1,3 0-90,-3 0 90,3-1 0,3 1-90,2-2 0,4 1 0,2-1-90,3 0 90,3 0-90,3 0 90,0 1-90,1 0 0,1 1-90,-1 0 0,1 0 0,-2 0 0,2-1 0,-4 2-90,-1-1 90,-2 1 0,0 0 0,-1 0 90,0 0-90,-1-1 0,-1 0 90,0 1-89,-2-1-1,-2 0 90,8-2-90,-11 3 90,6-2 0,-12 2 0,-3 0 0,-1 0-90,-1-1 90,0 2 0,-2-1-90,5-2-90,0 1-180,3-1-270,0 0-359,-2 1-1080,0 1 2069,-2-1 0,-8 2 0,-2 0 0</inkml:trace>
</inkml:ink>
</file>

<file path=ppt/ink/ink7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42.77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81 0 10591,'-28'7'2159,"1"3"-1530,10 6-179,-3 5-90,1 4-90,0 4 0,2 2-1,3 0-89,3 2 180,5 14-270,4-10 90,8 28-180,4-26-90,7 12 0,0-17-4381,22 22 3841,-12-22-1297,26 19-142,-28-35-720,6-1 2789,-11-11 0,-9-4 0,-3-1 0</inkml:trace>
</inkml:ink>
</file>

<file path=ppt/ink/ink7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43.18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97 10411,'24'-10'2788,"-5"4"-2248,-8 17 0,-4 2 0,0 3-91,0 3 1,-1 1 0,1 2 0,-1 1-91,0 0 1,0 1-90,0-1 0,-1 0 90,1 7-270,-2-8 269,1 4 451,-1-5-91,-2-3-449,-4 1-90,-5-11-180,-3-6 90,-1-10-90,1-3 0,0-5-90,0-3 0,0-6-90,2-2 0,1-4 1,2-3-1,3 0 0,3-1 0,3-2 0,4 0 0,4 0-90,3 2 90,4 3-90,3 2 1,4 4 89,2 4 0,2 3 0,0 6 0,-1 3-90,9 5 180,-11 4 0,6 4 0,-14 4 90,-2 2-90,-3 3 90,-4 0-90,-3 2 90,-5 8 0,-4-4 0,-4 7 0,-4-7 0,-3 1 0,-3 0 0,-3 0 0,0-2 0,-1 0 0,0-2 90,1-1-90,2-2 0,0-1 0,3-1-179,1-2-721,2-1-269,-3 0-6027,2-1 7196,8 1 0,0-4 0,9 0 0</inkml:trace>
</inkml:ink>
</file>

<file path=ppt/ink/ink7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43.72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5 0 13110,'-19'18'1259,"2"1"-6560,7 3 5661,1 3-898,-4 18 808,3-8 987,0 14-807,5 18-360,4-23 90,5 42-90,3-45 0,11 26 0,-4-29-270,6 8 2179,-4-19-2359,0-3-90,1-3-180,1-2-269,1-2-91,0-3-1438,0-2 3276,7-3 0,-13-5 0,4 0 0</inkml:trace>
</inkml:ink>
</file>

<file path=ppt/ink/ink7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44.57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2 147 10501,'22'20'1169,"-3"-1"-809,-14-5 0,0 3-377,0 2 287,0 1 70,-2 3-70,1 0 180,-2 12-180,-1-8 0,0 8 0,-2-11 269,-1 16-53,0-15 504,-3 17-451,1-22-89,-4 2-90,-1-8-90,-3-10-180,-2-9 0,2-6-90,2-5 89,4-1-89,1-3 90,2-3-90,2-2 0,3-5 0,3-5 0,5-3 0,3-5-90,25-37 90,-11 29-531,16-22 531,-17 43-90,-1 5-90,0 4-269,9 0 179,-9 9-180,5 1 0,-11 9 0,-2 3-89,-2 3-99,3 9 8,-7-1-809,-1 18 629,-12-6-89,-6 11-630,-9-1-180,-6 4 1595,-6 4 0,-4-1 0,-1 1 1</inkml:trace>
</inkml:ink>
</file>

<file path=ppt/ink/ink7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44.72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19 1 6852,'-34'31'2429,"-11"7"-759,5-4-1130,4-4 115,9-7-116,12-11 645,4-1-374,1 3-451,10-2 1,4-1 0,11-3-180,3-4 410,5 0-500,4-1-1,2-1-89,4 0-89,1-1-91,0-1-90,1-1-90,-1 0-90,1-1-89,-2-2-1,-2 0-180,0-2-89,-3-1-91,-1-2-89,-2-1-630,-2-2-270,-2-1 1889,-1-1 0,-1-3 0,0-2 0</inkml:trace>
</inkml:ink>
</file>

<file path=ppt/ink/ink7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45.53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40 0 12300,'-26'13'1529,"1"1"-1169,10 2 0,-1 4-90,2 0-1,0 3-3481,4 1 3392,1 0 90,2 13-90,4-10-90,3 10 0,4-10 90,15 21-180,-4-17 90,12 14-90,-10-25 90,10 2-90,-7-8 3482,6 0-3572,-9-9 90,7-5-90,-6-4 0,5-5 90,-8-4-180,6-13 180,-6 3 0,2-6-90,-8 8 90,-2 2 0,-1 1 0,-1 2 0,-1-4 90,-4 4 90,-3-1 0,-2 15-90,4 5 0,6 14-1,3-3 1,4 1-90,-1-3 90,2-1 0,7 3-90,-5-4 270,4 1 0,-2-6 0,0-3-180,4-6 0,-7-3 0,-2-10-90,-8 3 0,0-6 0,-5 4 90,-5-9-180,-1 6-180,-3-7 0,0 10-180,-1 1 1,-1 1-181,0 2 0,0 2-89,0 1-541,1 2-1168,-2 0 2428,1 1 0,3 2 0,3 2 0</inkml:trace>
</inkml:ink>
</file>

<file path=ppt/ink/ink7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45.84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9332,'29'19'3058,"-6"-3"-2518,-12-2-1,-4-3-89,-2 2-90,0 0 90,0 1-181,-1 1 1,-1-1 270,0 0-180,1 6-90,-1-2 359,0 5 1260,-1-5-1799,5-12 0,-3-5-90,6-12 90,-3-3-90,2 0 0,2-2 0,1 1 0,1 0 0,1 1 0,0 2 0,1 1 0,6 0 90,0 4-90,7 4 90,-8 5 90,-1 4-180,-7 1 90,-1 1 0,0 2 0,2 7 0,-4-4-90,5 13-90,-7-11-90,0 6-90,-3-7-1529,0 7 90,-1 0-450,-1 5-4227,-3-4 6386,-2-3 0,0-8 0,0-4 0</inkml:trace>
</inkml:ink>
</file>

<file path=ppt/ink/ink7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46.37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69 9332,'2'-26'2428,"0"2"-1888,0 9-90,2 1-90,1-1-91,1 0 1,2 1 0,3 1-90,2 2 0,2 2 0,10 1-90,-5 5 0,8 2 0,-7 4-90,0 3 90,0 4-90,0 1 89,0 2-89,-3 0 0,-2 2 90,-2 0-90,-3 1 0,-1 0 0,-3 0 0,-1 1 90,-4-2-180,-1 7 0,-3-5-89,-2 4-91,-1-7-90,-1-1 90,-1-1-180,0-1-629,-1-1-720,-3 2 1799,1-3 0,2-2 0,2-4 0</inkml:trace>
</inkml:ink>
</file>

<file path=ppt/ink/ink7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46.61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5 9871,'19'-5'4228,"-3"9"-3419,-9 8-89,-2 6 0,-4 1-91,0 2 1,0 4 0,-1 5-181,0 1-89,0 5 0,0 1-90,0 1-90,0 2 90,-1 0-181,1 3 1,-1-2 0,-1 2 90,1-4-180,-1 1 0,0-3-90,-1 0-180,0-3-179,1 0-91,-1-4-90,1-2-89,-1-3-181,1-1 1,1-3-1260,0-1-4407,0 0 6566,3-5 0,-2-3 0,3-7 0</inkml:trace>
</inkml:ink>
</file>

<file path=ppt/ink/ink7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47.36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8 77 11940,'-8'25'1439,"2"1"-1079,4-5 0,2 3-90,-1 1 90,0 1-1,1 1-89,0-1 0,-1 0-90,1 0 0,0-1 0,0-1-90,-1-2 90,1-2 179,0-2 541,-1 5 89,1-3 181,-2 2-990,-2-16-90,1-14-90,-2-10 0,3-7 0,2 3 0,0-3 0,1-2 0,2-2 0,0-1 0,2-2-90,1 0 90,1 0 0,2 2-90,0 1 90,2 2-90,0 1 90,1 3-90,0 3 0,0 1 0,-1 4 90,0 2-90,-1 2 0,1 3 0,1 2 0,3 4 90,-2 6 0,-1 6 0,-7 6-90,-3 4 90,0 4 0,-1-3 0,0 0 0,1-5 0,0 0 0,1 2 0,1 0 0,1 1 0,1 0 0,1 1 0,2-1 0,-1 2 0,1-2 0,-2 1 0,1-1 0,-1-1 0,-1-1 0,0 5 90,-3-2 0,-5 4-90,-3-8 90,-6-3-90,0-6 0,-2-1 0,-3-1 90,-1-2-90,-1 0 0,0-3 90,-1 1-90,1-2-90,0 0-180,1 0-90,1-2-179,0 1-91,1-1-1079,2 0-720,-4-4-3777,4-2 6206,2-6 0,5 6 0,5 0 0</inkml:trace>
</inkml:ink>
</file>

<file path=ppt/ink/ink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5:54.539"/>
    </inkml:context>
    <inkml:brush xml:id="br0">
      <inkml:brushProperty name="width" value="0.08571" units="cm"/>
      <inkml:brushProperty name="height" value="0.08571" units="cm"/>
      <inkml:brushProperty name="color" value="#F6630D"/>
    </inkml:brush>
  </inkml:definitions>
  <inkml:trace contextRef="#ctx0" brushRef="#br0">0 182 10861,'28'3'629,"-2"-1"-539,0-3 0,-6 0 0,4 0-90,-4 0 90,1 0-90,4-1 90,1 0-90,2 1 0,3-1 0,2 0 90,1 0-90,1 0 0,1 0 0,2-1 0,1 1 0,2-1 0,1 0 0,0-1 0,0 1 0,-2-2 0,-1 1 0,17-3 0,-16 1 0,13-1 0,-18 1 0,-1 1 0,0-1 0,14-1 0,-12 1-3392,10-2 3392,-15 3 0,-1 0 0,-1 0 0,-2 0 0,-1 1-90,-1-1 90,-1 1 3482,-1 0-3482,-1 0 0,0 0-90,-1 1 180,-1 0-90,-2-1 0,0 1 0,-2 0 0,6-1 0,-2 1-360,4-2-449,-5 2 809,-3 0 0,-8 1 0,-1 2 0</inkml:trace>
</inkml:ink>
</file>

<file path=ppt/ink/ink7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47.59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0 8792,'26'2'3148,"-2"2"-2338,-10 2-1,-1 3 1,0 3-91,-2 3 1,-1 1-90,-1 3-91,-1 2 1,-1 2-90,-2 1-90,-1 2-1,0 0-89,-2 1-90,-1 1 0,-1-1 0,-1 1-90,-1-1 90,-2 1-90,-1 0 0,0-1-90,-2-1 0,1-4-180,-1 0-90,1-2 0,-2-1-180,1-3 1,-1-1-811,1-2-1888,-3-1-3418,-3-5 6566,3-8 0,2-1 0,5-5 0</inkml:trace>
</inkml:ink>
</file>

<file path=ppt/ink/ink7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47.74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5 7263,'34'-2'989,"-2"0"-809,-10 2-180,-1 0-270,-1 1-539,-1-1 269,-1 1 540,-2 0 0,-7 0 0,-2-1 0</inkml:trace>
</inkml:ink>
</file>

<file path=ppt/ink/ink7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47.91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11940,'34'4'1619,"-1"-1"-1259,-7-2-90,4 0 0,2 0-90,2 1 0,-1-1-91,0 1-268,0 1-91,-4 0-270,-2-1-180,-3 1-179,-3-1-4048,-3 1 4947,1 0 0,-9-1 0,0 0 0</inkml:trace>
</inkml:ink>
</file>

<file path=ppt/ink/ink7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49.71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8 273 8972,'27'-1'2159,"-2"3"-1530,-11 6 1,1 2-180,2 5-1,-1 2-89,1 4 90,-1 2-90,-2 2-90,-1 1-1,-2 2 91,-2-1-90,-2 0 0,-2-1 0,-2-1-90,-3 0 90,-2-1-1,-1 0-89,-3-1 90,-2-1-90,-1-2 90,-2-2-90,-1-1 0,-2-2 0,-1-2-1,-1-2-89,-1-3 90,-5-1-90,3-5-90,-2-2 90,6-3-90,2-3 90,1-1-90,2-2 0,1-3-90,3-1 0,1-3 0,4 0-90,2-4 90,2-1-89,5-4-181,8-14 180,1 6 0,7-11 0,-3 12 90,0 0 0,2 0 0,-1 0 0,0 1 0,0 1 0,-1 0 90,6-10 0,-9 11 0,4-8 0,-10 15 0,-3 0 0,-1 3 0,-4-7 0,-3 7 0,-3-4 0,-4 9 90,-3 1-90,-3 2 0,-3 2 90,-3 2 0,-2 3-90,-2 1 90,-1 3 0,0 3-90,0 1 90,1 2 0,0 2-90,2 2 90,2 2-90,2 2 90,2 1-90,4 2 90,1 1-180,4 2-180,3 8 0,3-4-1619,3 5 1260,20 21-91,-8-24-3481,15 21 3301,-13-30-179,2-3-2699,10 0 3778,-6-6 0,13-1 0,-7-5 0</inkml:trace>
</inkml:ink>
</file>

<file path=ppt/ink/ink7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49.97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21 8702,'30'-3'3778,"-5"3"-3148,-14 8-181,-3 5-179,-1 5-90,-1-4 0,3 1-90,0-3 90,1-1-90,1 1 0,2 0 0,1-1 0,1-2 89,1-1-89,-1-3 90,1 0-90,-1-3 90,1-1-90,-2-3 90,1-3-180,-2-2 90,0-4 0,-1-2 0,-1-3 90,-3-2-90,-1-2 0,-2-1-90,-2 0 90,-3 0-90,-2 1 90,-2 0-90,-4 2 0,-2 2 89,-2 1-268,-3 4-1,-2 1-180,-1 4-180,-1 3-719,-12 6 539,7 3-359,-11 6-1080,9 3-719,-1 2 2878,1 4 0,-1 3 0,0 1 0</inkml:trace>
</inkml:ink>
</file>

<file path=ppt/ink/ink7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50.28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63 0 8432,'-35'2'4588,"4"-1"-3419,3 0-270,3 0-89,4 0 1439,3 1-1800,13 1 1,13-1-90,20 3 0,16-1-90,9 1-797,9 1 707,4 0-1,3 0-1166,3-1 1077,1 0 0,-1 0 0,1-2-90,-3 0 0,-3-1 90,-7-2-180,-5 0-110,-9 0 110,-5-1-90,-6-1-179,-5 1-91,-2-1 599,-6 0-1498,-4 0 331,-2 1 208,-14 2 335,-3 1-425,-15 3 181,-2 1-181,-4 1-179,-4 2-450,-2 0-360,-1 1 1889,-4 0 0,-2 0 0,-3 1 0</inkml:trace>
</inkml:ink>
</file>

<file path=ppt/ink/ink7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50.57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0 15718,'22'10'360,"-3"0"-270,-11 1 0,0 1-4252,-1 0 4162,1 1 283,-2 0-283,-1 0 89,0 0 1,0 5-90,-1-2 180,0 5 3512,0-4-8550,-2 0 5107,-5-7 1,3-1-1,-5-7 1</inkml:trace>
</inkml:ink>
</file>

<file path=ppt/ink/ink7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51.35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12 33 11131,'-3'-21'3418,"8"9"-3238,6 14 89,3 7 1,-1 6-90,-4 1 0,0 3-90,-1 1 0,-2 2 0,-1 2 0,-2 0 0,-2 2 0,-4 2-90,-2 0 90,-3 2 0,-3-2-90,-3 1 90,-2-3-3392,-2 0 3481,0-4 1,-11 6 0,7-10-90,-8 3 0,11-10 0,1-4 0,1-2 0,-3-3 0,1-6 3302,2-5-3392,9-6 0,10-4 0,4 3 0,4 1 0,2 5 0,0 0-90,3 1 90,1 1 0,1 2 0,1 0 0,1 2 0,0 1 0,0 1 0,1 2 0,2 1-90,0 1 90,1 0 0,1 1 0,-1 1 0,1 0 0,-1 0 0,-1 0 0,1 0 90,-2 0-90,0-1 0,-1-1 0,0-1 90,-1-1 0,8-3 0,-6-1 0,5-3-90,-8-1 90,-2-2 0,0-1 0,-1-1 0,-1-3 0,-2 1-1,-1 0 1,-2 0 0,-1 1 0,-1 0 0,-3-3-90,-2 3 0,-5-1 0,-8 8 90,-1 7 90,-2 8 0,6 7-90,6 4-90,3-1 90,6 0-90,0-4 90,4 0-90,0 0 90,2-2-90,1 0 90,0-1-90,0-2 0,0-2 90,0-2-90,5-2 90,8-16-90,-7 2-90,2-14 90,-17 7 0,-2-1 0,-1 0 0,-4-2 0,-2 0-90,-2 0-90,-2 1-90,-2 1-90,-1 0-90,-2 3-719,-7-4 540,4 6-1,-4-1-539,7 7-4318,-1 2 5487,10 10 0,11-1 0,13 9 0</inkml:trace>
</inkml:ink>
</file>

<file path=ppt/ink/ink7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51.62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78 13379,'11'28'1350,"0"-3"-1260,-6-8 89,3-2-89,-1-5 90,3-1 0,0 2 0,1-3 270,1 0-90,4-1-91,0-3 1,4-4-90,-5-4 0,-2-5 0,-5 0 0,-1-2 90,-1-1-90,-2-1 0,-2-2-91,-2-6 1,-1 4-90,-3-5 90,-1 8-180,-2 1-179,0 1-181,-3 1-90,0 1-89,-1 1-91,-1 3-989,-1 0-1799,-6 2 3508,-2 3 0,-9 1 0,0 3 0</inkml:trace>
</inkml:ink>
</file>

<file path=ppt/ink/ink7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52.11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25 0 13739,'-4'20'2069,"-2"-1"-1619,-4-6-1,0 2-89,-2 1 0,-1 3-180,0 1 90,-1 3-180,-1 1 0,0 1-90,-1 2-90,0 1-180,0-1-90,0 0-270,0-1 1,1-2-91,-1-1-179,0-1-271,-2-3-1258,1-1-1080,0-3 3508,0-4 0,8-5 0,2-3 0</inkml:trace>
</inkml:ink>
</file>

<file path=ppt/ink/ink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5:55.174"/>
    </inkml:context>
    <inkml:brush xml:id="br0">
      <inkml:brushProperty name="width" value="0.08571" units="cm"/>
      <inkml:brushProperty name="height" value="0.08571" units="cm"/>
      <inkml:brushProperty name="color" value="#F6630D"/>
    </inkml:brush>
  </inkml:definitions>
  <inkml:trace contextRef="#ctx0" brushRef="#br0">0 286 12030,'21'-9'720,"-2"1"-540,-1 2-90,2 0-1329,-2-1 1239,1 2 385,5-3-385,-4 3 0,9-3 0,-5 2 0,2 0 0,15-3 0,-7 2 0,11-2 944,-13 3-944,4-1 0,0 0 0,2 0 0,1-1 0,0 0 0,-1 1 0,1-1 0,-1 0 0,-2 1 0,-1-1 0,-2 1 0,15-3 0,-13 2 89,10-2 1,-15 3-90,-2 1 90,-1-1 0,-1 1 0,-3 0 0,-1 1-90,-2-1 90,-1 1 0,-3 0-90,-1 1-180,3-1-719,-2 1-4498,3-1 5397,-17 6 0,3-2 0,-11 4 0</inkml:trace>
</inkml:ink>
</file>

<file path=ppt/ink/ink7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52.28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67 8972,'11'-21'3148,"0"2"-1619,-3 10-90,7-1-809,5 5-90,2 3-1,4 4-89,-3 5-90,4 3-90,3 3 0,3 4-90,-1 2-1,3 4-89,-2-1-90,-1 3-90,-3-2-179,-2 1-91,-4-2-180,-2 0-179,-3-2-181,-3 0 1,-3-2-361,-2-1-1168,-2-1 2428,-2-2 0,-3-7 0,0-2 0</inkml:trace>
</inkml:ink>
</file>

<file path=ppt/ink/ink7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53.11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1 24 9961,'-9'-17'3598,"0"11"-3238,-4 18-90,3 7 90,3-1-90,2 2-1,1 2-89,1 2 90,2 1-90,2 0 0,1 1 0,2 1 0,2 0-90,1 1 0,1-1 90,6 7-91,-2-9-89,2 4 90,-3-12 0,-1-2-90,1-2 0,-1-3 90,1-2 0,4-1-90,2-6 0,0-2 0,-1-6 0,-5-2 0,1-4 0,1-4-90,0-3 90,1-4 0,-1 0 0,1-2-90,-1 0 90,-1 1 0,1 1 90,-2 3-90,-1 1 0,-1 4 0,-1 1 0,1-1 0,1 13 90,-3 5-90,-2 15 90,-4 10-90,-2-4 0,1 2 0,0-7 90,0 1-90,0 0 0,0 0 90,0 1-180,-1-1-90,0 0-180,1 0-179,-2 0-1,1 0-90,0-1 1,-1 0-181,1-1-2428,-1-1 3238,1 6 0,0-12 0,1 3 0</inkml:trace>
</inkml:ink>
</file>

<file path=ppt/ink/ink7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53.46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4 8612,'27'-4'2249,"-2"6"-1979,-8 4-1,-4 6 1,-5-1 0,-2 3 90,-1 2-180,-2 0 90,-3 2-90,-1 1 89,-3 1-89,-2 0 90,-1 0 0,-2 0-90,0-2 0,-2 0 0,2-2 0,0-1 0,1-2 359,1-1 271,-1 3-540,6 0-180,8-1 0,5-3-1,8-5 1,-2-3-90,3-1 90,1 0-90,12 0 90,-8-1-90,9 0 0,-13-1-180,0 1-629,-4-1-181,6 1-4047,-4 0 2429,-7 4 2608,-10-2 0,-7 2 0,-1-4 0</inkml:trace>
</inkml:ink>
</file>

<file path=ppt/ink/ink7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53.73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15988,'33'9'2159,"4"-1"-1620,10-6-1414,9 0 1235,11 1-964,5 0 874,10 0 0,3 1-1188,5 1 1098,-7-1 0,-4-1-90,-6 0-769,-5-1 769,-2-1 63,-8 0-153,-3 0 90,-11-2 655,-3 1-835,-8-1 1535,-3 1-1804,-5-1 896,-2 1-1887,-4-1-2474,-1 1 1036,-18 3 2803,-10 2 0,-19 3 1,-7 1-1</inkml:trace>
</inkml:ink>
</file>

<file path=ppt/ink/ink7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55.71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96 298 11670,'27'-10'2249,"-1"8"-2069,-16 12 90,0 5-90,-3-3 0,-1 2-1,-1 1 1,0 0 0,-1 1 0,-2 0 0,-2 7-90,-1-5 0,-2 3 0,-4-6 0,-1-1-90,-4 0 90,-1-2 90,-11 1-180,5-4 90,-8 0-90,8-6 0,-1-1 90,1-3-90,0-1 90,-1-3-90,3-2 0,0-1 0,3-3 0,1-1 0,2-1 0,3-1 0,2-1 0,5-6 0,2 3-90,5-6 90,2 7 0,2 0 0,4-1-90,1 0 90,11-9 0,-6 7 0,9-6 0,9-8-90,-13 12 180,12-12-180,-20 17 90,-1 1 0,-2 0 0,-1 2 0,-3 0 0,-1 1 0,-1 1 0,-3-3-90,-6 1 90,-4 1 0,-5 2 0,-3 6 0,-2 0 90,-1 3 0,-3 1 90,-1 2-90,-2 1-1,2 2-89,0 0 90,1 3 90,2 1-90,1 1 0,2 2 0,2 1 0,2 0 0,4 2 0,3 7-90,4-2 0,3 5 90,4-6-270,3 1-90,2 1 0,2-1-269,1 0-1980,2-2 1530,23 15-91,-17-15-899,19 9-449,-24-21 2428,1-3 0,5-2 0,0-3 0</inkml:trace>
</inkml:ink>
</file>

<file path=ppt/ink/ink7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55.98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40 1 12030,'-8'30'1799,"3"-4"-1529,1-1 0,4-8-90,1 6 90,2-5-91,2-1 1,1 1-90,1 0 0,1-1 90,2-1-90,-1-2 90,1-1 0,-1-2 180,1-2-90,3 0-181,1-5 1,3-6-90,-5-5 0,-2-6 0,-4 0 0,-2-3 0,0-1 0,-2-1 0,-2-1 90,-1 0-180,-3-1 180,-1-1-180,-4 2 180,-1 0-180,-2 3-89,-1 0-181,-2 3-1439,-2 1 899,-22 1-359,13 5-810,-16 2-809,19 7 2878,1 1 0,-1 2 0,1 1 0</inkml:trace>
</inkml:ink>
</file>

<file path=ppt/ink/ink7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56.52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655 0 8972,'-38'14'2608,"-3"1"-7548,0-1 5569,-8 2 1,-14 4 61,9-4 0,-2 0-151,-38 9-271,31-9 1,-1 0 270,-30 6-90,-1-1-91,0-1 1,4-2-90,3 0 507,11-3-507,4 0-90,10-1-90,2-1 90,5 0-90,7-1 0,4-2-90,9 0 0,4-2 2445,5-1-2715,4-1 1442,2-1-1532,3 0 334,2-1 26,0 2 0,8-3 0,1 0 0</inkml:trace>
</inkml:ink>
</file>

<file path=ppt/ink/ink7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57.08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791 1 11580,'-7'20'1979,"-4"-1"-1259,-11-5-180,-8 3 89,-9 5 1,-13 7-1,-10 3-738,-11 5 648,-8 3-1669,-6 2 1354,38-19 1,-2 1-592,-1 0 0,-1 0 502,-5 2 0,0-1-1,4-1 1,0-1 0,2 0 0,0 0-45,5-3 0,-1 1 45,-16 7 0,1 1-45,17-8 0,1 1-90,-12 4 0,3 1 90,-8 5-90,6-1 90,9-3-180,5-2 0,6-1-270,-5 4 90,14-7-449,-6 7-451,19-14-398,2 4-1311,16-8 1709,9 0-2428,4-7 4079,7-4 1,0-5-1,3-2 1</inkml:trace>
</inkml:ink>
</file>

<file path=ppt/ink/ink7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57.56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1 36 10771,'-29'-1'5577,"-2"-1"-5218,23-5-89,5 3-90,21-5 0,10 5 0,10 0-90,11 1 0,7 2-90,9 1-270,-15 1 0,1 1-564,27 3-66,-12 0 1,-1 0-1139,8 3-391,17 5-1169,-40-4 3598,-11-1 0,-6 1 0,-6-1 0</inkml:trace>
</inkml:ink>
</file>

<file path=ppt/ink/ink7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57.70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22 13 7982,'-30'6'3868,"2"0"-3058,4 0 449,4-3 0,1 1-1169,21-4 0,4 0-270,25-2 0,26 0-179,-5 1-957,24-1 597,-15 1-181,2 0-1258,0-1-811,0-2 2969,-1-1 0,-1-4 0,-1 0 0</inkml:trace>
</inkml:ink>
</file>

<file path=ppt/ink/ink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5:55.568"/>
    </inkml:context>
    <inkml:brush xml:id="br0">
      <inkml:brushProperty name="width" value="0.08571" units="cm"/>
      <inkml:brushProperty name="height" value="0.08571" units="cm"/>
      <inkml:brushProperty name="color" value="#F6630D"/>
    </inkml:brush>
  </inkml:definitions>
  <inkml:trace contextRef="#ctx0" brushRef="#br0">0 93 12930,'24'-4'269,"-1"1"-269,-8-2 90,1 1-90,1-1 90,1 1-90,1-1 90,0 0-90,0 1-899,25-6 359,-19 4-179,19-5-181,-27 8-539,0-3-180,0 1 1619,-2-1 0,-7 3 0,-1 0 0</inkml:trace>
</inkml:ink>
</file>

<file path=ppt/ink/ink7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58.08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11 47 10411,'-4'-27'3238,"-5"10"-2788,-2 15-90,-4 8 89,3 4-179,-1 4 90,0 5-90,3 3 0,0 4-90,3 3 0,3 1 0,1 0-91,3 2 1,3-1 0,1 2 0,2-1 0,2-1 0,1-1-90,2-1 90,0-3-90,1-2 90,-1-3-90,0-3 90,-1-3-90,0-5-360,4-2 270,2-7-90,0-4 90,0-8-89,-3-4 89,0-3 0,2-3 90,-2-2 270,1 1 89,-1-1 91,-1 4-90,-1 0 0,-2 3-180,-1 2 89,0 1 271,0 0-270,3 9-90,-3 7 0,-1 16-180,-5 3 90,-1 5 0,0-5-90,-2 3 0,0 0-90,0 2-180,-2 1-90,0 1-180,-1 2-89,-1-1-91,0 0-179,0-3-1,0-1-89,0-2-91,1-1-89,0-1-3778,0-3 4947,0 1 0,2-10 0,0 0 0</inkml:trace>
</inkml:ink>
</file>

<file path=ppt/ink/ink7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58.37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86 8072,'26'-21'2429,"0"2"-1889,-1 3-91,-1 4 1,-2 3-90,-1 3 0,-2 3 0,-3 4-91,-1 3 1,-2 2 0,-2 3-90,-3 3 90,-3 1-90,-3 3 180,-6 10-91,-2-4-89,-7 9 0,-1-9 0,-2-1 90,-1 0-90,-2-2 0,1-2 90,1-2-1,1-1 181,3-3-90,1-1 180,3-1-91,-2-1-359,12 0 0,9-3-90,8-2 90,7-3-90,-3 0 0,4 0 0,1 0 90,2 0-90,3 0 0,0 0-90,1 1-90,-3-1-179,-1 1-181,-3 0-180,-2 0-89,-2 0-1,-2 0-899,-3 0 1709,2 1 0,-10-1 0,1 0 0</inkml:trace>
</inkml:ink>
</file>

<file path=ppt/ink/ink7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58.56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86 1 8882,'-41'8'4497,"3"-1"-3327,4 0-181,7-2 810,3 0-270,5 0-899,17 0 0,8-1-91,21 0 1,10-2-583,15 1 493,12 0-795,17 0 705,6 0-1075,-19-1 1,2 0 714,-17 0 0,-1-1-135,13 1 0,-1-1-1080,17-1 675,-10-1-90,-4-1-179,-9 0-271,-7-2-1618,1 0-1800,-18-1 4566,0-1 1,-24 3-1,-3 0 1</inkml:trace>
</inkml:ink>
</file>

<file path=ppt/ink/ink7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58.75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5 0 9781,'-23'25'3059,"2"-2"-2160,11-5 1,2 0-91,2 2-179,2 1-1,2 1-89,2 0-180,1 2 90,1 1-270,2 1 89,0 1-89,1 1 0,1 1-90,0 1-90,1-1-180,-1-2-180,0-2-179,-1-1-91,0-1-179,0-1-181,0-2-89,0 0-360,0-3-810,-1-1-1079,2-2 3328,0-3 0,-2-4 0,-1-3 0</inkml:trace>
</inkml:ink>
</file>

<file path=ppt/ink/ink7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59.07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19 171 14459,'-21'21'2159,"4"-4"-1620,9 4-359,7 0 0,1 0 0,5 2-90,2-7 0,3 0 0,0 0 0,3-1 0,-1-2-90,2-2 90,-1-1 0,1-3-1,4-2-89,-1-8 0,1-2 0,-6-6 0,-4-4 0,-3-2 0,-2-2 0,-2-3 0,-4 0 0,-2-3 90,-4-2-90,-4-1 0,-4-1 0,-3 1 0,-3 1 0,-1 2 0,0 4-179,2 1-91,1 4-270,2 1 90,2 4-629,3 1-3868,-2 3 3238,12 10-270,3-1 1979,14 9 0,8-3 0,1 0 0</inkml:trace>
</inkml:ink>
</file>

<file path=ppt/ink/ink7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4:59.34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3 129 9062,'21'5'5757,"-4"1"-4138,-6 4-720,-4 5-89,-3 3-451,-1 4 1,0-6 0,3 0-90,2-4-90,1 1 90,4 0-90,1-1-1,1-2-89,2 0 0,2-3 0,-1-1 90,0-1-90,0-3 0,0-3 0,0-1 0,0-4-90,0-2 0,-1-5 90,-1-3-90,-1-3 90,-3-2-90,-2-1 0,-4-1 0,-3 0 0,-2 1-90,-8-10-180,-2 9 0,-6-6-90,-1 11-89,-2 2-181,-1 3-90,-3 4-89,0 2-1,-2 4-179,-2 2-3482,-2 4 3391,-3 1-269,-2 6-810,-2 1 2159,-16 11 0,11-2 0,-10 6 0</inkml:trace>
</inkml:ink>
</file>

<file path=ppt/ink/ink7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5:00.37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 115 10501,'-2'-24'2788,"3"4"-2518,7 4-90,0 5 90,3 1-90,-2 3 90,2 1 0,1 0-180,1 1 269,-1 0-179,8 1 0,0 3-90,1 2 90,-2 2-90,-6 3 90,0 2 0,-1 3 0,0 2-90,-1 3 0,-1 2-1,-1 2 1,-2 1 0,-2 2 90,-2 2 0,-3 1-90,-2 2 90,-2 1 0,-2 1 90,-3-1-90,-1-1 0,-1 0 89,-1-1-89,-1-1 0,-2-1 0,1-2-90,-1-1 0,1-1 0,0-3 0,2-2 0,1-1 0,1-3 0,2 0 180,0-2-91,-1 2 91,0-1 0,-1 2 540,1-1-630,7 1-90,9-5-90,6-1 89,8-6-89,0-1 90,3 0-90,4-1 90,2 0-90,3 0 0,0-1 0,0 0 90,0-1-90,-2 1 0,-3-1 90,-2 0-90,-3 0 0,-3 0-180,-2 1-1349,-2 0-6296,1-2 2428,-18-1 5397,-1 1 0,-24-2 0,0 2 0</inkml:trace>
</inkml:ink>
</file>

<file path=ppt/ink/ink7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5:02.064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 0 8191,'73'8'0,"1"0"0,-15-1 0,0 0 0</inkml:trace>
</inkml:ink>
</file>

<file path=ppt/ink/ink7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5:03.753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 3 8191,'73'0'0,"-15"-2"0,-56 4 0</inkml:trace>
</inkml:ink>
</file>

<file path=ppt/ink/ink7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6:10.02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 191 10231,'-5'-25'3778,"6"18"-3508,5 29 0,3 7-90,1 14 89,-4-11-89,1 4 90,-1 2 0,-1 1 0,-1 0 0,0-2 0,-1-1-1,0 0 1,0 0-90,-1-2 0,0-3 0,-1-1 0,0-3 0,-1-1-90,1-2 90,-1-2-1,0-2 541,-1-3 270,1 6-271,-1-4-449,-3-1-270,-3-13 0,-2-17-90,1-7-90,0-13 180,4-2-180,1-7 90,1-6-545,3-7 546,2-3-1,2-4 0,4 0 0,3 2-90,2 2 90,4 2-90,2 3 90,3 5-90,2 5 0,0 6 0,1 5-180,10 0 271,-8 12-91,7 0 90,-12 12 0,-3 3 0,-1 4 0,-2 2 635,-2 2-635,-2 2 90,-2 3 0,-3 1-90,-2 3 90,-4 7 0,-5-3 0,-4 6 0,-3-4 0,-3 0 0,-4 0 90,-2 0-90,-2-1 0,-2-1 0,-1-2 0,0 0 90,-1-2-180,1-2-3302,-1 0 3302,1-3-180,2-1 0,1-2-180,3 0-89,0-1-181,2-1-1259,0-1 1863,-3 1 116,2-1 0,5 0 0,4-1 0</inkml:trace>
</inkml:ink>
</file>

<file path=ppt/ink/ink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6:08.489"/>
    </inkml:context>
    <inkml:brush xml:id="br0">
      <inkml:brushProperty name="width" value="0.08571" units="cm"/>
      <inkml:brushProperty name="height" value="0.08571" units="cm"/>
      <inkml:brushProperty name="color" value="#E71224"/>
    </inkml:brush>
  </inkml:definitions>
  <inkml:trace contextRef="#ctx0" brushRef="#br0">0 298 10231,'9'27'2519,"2"-3"-1710,1-15-449,8-5-90,0-4 0,5-5-90,-3-3 0,5-3-1,4-4 1,4-4-90,2-3-1678,2-3 1678,0 0 0,-1-1-78,-3 1 77,-3 0-89,-2 1 90,-2 3-90,-3 0 0,-3 3-269,-4 3-181,-2 2-270,-2 1 1663,-2 2-2922,0 2 2002,1 1 1,-7 4 0,1 0-1</inkml:trace>
</inkml:ink>
</file>

<file path=ppt/ink/ink7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6:10.66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39 42 8612,'-5'-20'4587,"-3"3"-3957,-6 12 0,-3 7 89,-5 9 1,1 7-90,-6 8-1,-3 8-524,-6 11 435,-1 8-744,-1 7 654,1 6-926,2 2 836,4 2 90,5-4-91,5-1 91,5-5 90,6 0-91,4-3-325,4-4 326,7 1-90,4-3-91,5 2 1,5-3-90,5-3 0,5-2 0,4-4 0,4-2-180,3-4-180,2-3-180,2-4-90,0-4-179,1-3-181,-2-4-89,-3-3-181,-4-4-269,-3-2-270,-5-3-2069,-3-1-2258,-3-2 5946,-3-2 0,-10 1 0,-1-2 0</inkml:trace>
</inkml:ink>
</file>

<file path=ppt/ink/ink7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6:11.65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5 66 11041,'2'-25'4317,"1"1"-2518,-2 8-1439,1 17 719,-1 2-719,-2 47 0,-1-17 90,0 25-90,0-16-301,0 3 211,-1 4 90,1 3-793,-1 4 703,0 2 0,1-1 0,0-1 449,-2 43-539,3-37-793,-2 34 793,2-51-90,1-1 0,-1-4 0,1-2 260,0-1-350,0-3 673,0-3-583,0-3-90,1-1 0,-1-4 682,0-2-771,1-3-811,-1 4-5306,0-4 2788,6-10-2339,-2-7 5757,6-16 0,-4-5 0,1-4 0</inkml:trace>
</inkml:ink>
</file>

<file path=ppt/ink/ink7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6:12.32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12480,'0'33'1529,"0"-1"-989,3-8-91,0 4 1,0 1 0,1 3 0,1 1-1,-1 1-89,1 1-90,0-1-90,-2 0 90,2-1-180,-2 0 90,0-3-90,-1-1 0,0-2-90,-1-1 89,0-2 1,0-1-90,-1-2-359,1-2-541,-2 4-809,0-2-6476,-3 0 8185,-7-13 0,5-3 0,-3-7 0</inkml:trace>
</inkml:ink>
</file>

<file path=ppt/ink/ink7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6:12.55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4 293 9242,'-11'-22'2698,"1"1"-2068,5 8-90,0-2-1,1 1-89,0-1 90,1 0-271,2-6-89,1 4-90,2-5 0,3 6 0,2 0 0,2 1 0,3-1-90,2 3 0,1 0 90,1 3-90,1 1-90,0 3-180,1 3 0,-2 2-89,2 3-271,-2 3-180,0 4-449,-3 2-720,-2 4-629,-3 3 2608,-3 3 0,-5 7 0,-1 2 0</inkml:trace>
</inkml:ink>
</file>

<file path=ppt/ink/ink7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6:12.72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4 0 8792,'-13'25'3958,"1"-2"-2429,6-6-180,3-2-359,6 2-631,10-6-89,2-4-90,4-2 0,-1-4-270,1 0-90,3-2-90,1-1-179,0-1-181,1 0-180,1-2-179,0-1-90,1-1-1260,0-2-1079,-1 0 3418,-2-3 0,1-2 0,0-2 0</inkml:trace>
</inkml:ink>
</file>

<file path=ppt/ink/ink7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6:13.09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29 9781,'17'-18'4858,"-2"8"-4319,-1 16 91,-4 4-180,-1 4 89,-2 0-89,0 2 0,-1 2-90,1 1-1,-2 2-89,1 0-90,-1 1 90,-1 0-180,-1 0 90,1 0 0,-3-2-90,1 0 0,-2-2 90,0-1 269,-1-1 91,-1 5 0,-2-3-91,-3 1-359,-5-12 0,2-12-180,1-7 180,3-6-90,6 2 0,1-4 0,4 0 0,2-4 0,3 1 0,3-1 0,1 2 0,3 1 0,0 3 0,1 3 0,0 2 90,-1 4-90,0 3 0,0 2 0,6 5 0,-5 1 0,5 5-90,-7 2 0,-1 1-89,-1 2-1,-1 2-90,-1 2-90,-1 2-90,-2 0 1,0 2-91,-3 0 0,0 1-179,-1 0-1,-2 0-180,0-1-89,-2 0-180,0-2-2519,0-1 3688,-1 4 0,0-11 0,0 2 0</inkml:trace>
</inkml:ink>
</file>

<file path=ppt/ink/ink7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6:13.43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8 0 15448,'-6'23'1349,"-1"-1"-989,-1-5-90,0 1 90,1 1-90,2 1 0,1 1-91,1 1 1,3 0 0,2 1-90,2 0 90,3 0-90,3 0 0,2-1-90,3 0 180,19 9-90,-12-13-90,23 6 0,-25-19 0,6-3 0,-8-6-90,-1-5 90,0-5-90,3-14 90,-6 2 0,1-10 0,-8 10 0,-2 1 0,-3 0 0,-3 2 90,-2 0-90,-3 2 0,-3 0 0,-4 1 0,-12-4 0,4 7 0,-8-1 0,9 9-90,0 2-180,2 2-539,0 2-1800,-4 2-1978,-4 7 4587,9 4 0,1-1 0,15-2 0</inkml:trace>
</inkml:ink>
</file>

<file path=ppt/ink/ink7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6:14.17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08 1 12390,'-27'8'1259,"3"1"-1079,13 3 180,1 2-180,1 1 0,0 2 0,3 2-90,0-1 89,3 2-89,1-1 0,2 2 0,2 0-90,2 1 0,0 0-180,3 1-89,0-2-271,2 0-90,0 0 1,3-1-451,-1-2-899,1 0-629,1-4 2608,0-1 0,-5-7 0,-2-1 0</inkml:trace>
</inkml:ink>
</file>

<file path=ppt/ink/ink7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6:15.00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13469,'8'41'2339,"-2"-8"-1889,-6-8 89,0-5-89,-1 1-90,2 1-90,-2 0 0,1 1-90,0-2-1,0-1 1,1 0 0,-1-1 0,0-1 90,1 5 540,-1-1 449,0 1-1439,0-22 180,2-3-180,1-20 90,2 3 0,2 0 90,1-2-90,0 2 90,3 1-90,-1 0 90,1 3 0,0 1-90,0 3 0,0 2 90,5 3-90,-1 5 180,5 4-180,-6 3 90,-2 4 0,-4 0 0,0 4 90,-1 4 180,0 3 180,-3 1 90,-4-4 449,-3-2-179,-3-5-541,-2-9-89,2-8-180,4-12 90,10-7-90,1 2 0,5 1 0,-2 6 0,2 2 0,0 1 0,0 1 0,0 3-90,-1 2 90,5 2 0,1 4-90,-1 2 90,-3 4 0,-4 2 0,-2 1 0,0 1-90,-1 2 180,0 0-180,0 1 180,-1 1-180,-1 0 180,1 0-180,-1 0 90,1-1 0,-1 1 0,1-1-90,0-2 1,1 1-91,1-2 90,1-1-90,1-2-360,1-1 360,7-3-180,-3-2 1,6-4-1,-6-2 0,3-6 0,0-2 90,0-4 1,0-2 89,-1-3 0,-2 0 90,-1-1 0,-2 1 0,-3 2 0,-1 1 180,-3 3 0,-2-4 90,-7 4 0,-4 0-90,-6 9-90,-5 9 0,4 4 0,1 4 90,5 1-90,1 2 0,3 1 89,0 2-89,3 1-89,2 3-91,3 1-90,2 1-270,3 1 0,1 2-89,3-1-271,1 1-269,2-3-180,0 0-1440,1-3-1618,-1-2 4407,1-2 0,2-2 0,2 0 0</inkml:trace>
</inkml:ink>
</file>

<file path=ppt/ink/ink7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6:15.37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10 77 9242,'-21'-15'3688,"3"2"-2699,5 5 450,2 1-359,-3-2-181,2 0-359,-2-1-270,16 5-180,8 4 0,9 4-1,4 3-89,-3 0 0,1 2 90,2 2-90,1 1 0,-1 1 90,0 2-90,-1-1 90,-2 2 0,-3 0 0,-3 0 90,-2 1 0,-2 0 90,-4 0 0,-2 1 0,-4 0-1,-3 0 1,-1 1 0,-4 1 0,-2-1 0,-2 0 0,-2 1-90,-3-1-1,0 0-89,-2-1 0,1-1-90,-1 0 180,0-2-180,1 0 90,0-2-180,1-1-90,1 0-90,2-3-89,1 1-721,1-2-269,-2 2-8482,2-1 9343,11-6 0,-3 1 0,12-6 0</inkml:trace>
</inkml:ink>
</file>

<file path=ppt/ink/ink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6:08.808"/>
    </inkml:context>
    <inkml:brush xml:id="br0">
      <inkml:brushProperty name="width" value="0.08571" units="cm"/>
      <inkml:brushProperty name="height" value="0.08571" units="cm"/>
      <inkml:brushProperty name="color" value="#E71224"/>
    </inkml:brush>
  </inkml:definitions>
  <inkml:trace contextRef="#ctx0" brushRef="#br0">0 264 9422,'11'23'2338,"5"-4"-1978,-2-13-90,6-3 0,1-5-90,5-1 0,6-4-1,8-3-89,5-3 0,6-2-563,0-3 562,2-1 1,-2-1 0,0-2-90,-2 1 90,-2-1-180,-3 1-318,-4 1 48,-3 1-270,-5 1-179,-4 2-1080,-2 2-630,-4 1 2519,-2 2 0,-9 4 0,-4 3 0</inkml:trace>
</inkml:ink>
</file>

<file path=ppt/ink/ink7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6:15.59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2 14189,'16'-1'6116,"-3"7"-5306,-9 13-90,-2 4-181,-1-4 1,1 3-90,0 3-91,-1 0-89,2 2-90,0 1 0,0 1-270,0 2 0,0-1-270,0-1-89,-1-2-181,0-1 0,1-1-89,-1-2-181,0-2 1,0-1-1,0-3-1798,0 0-5937,2 1 8635,2-6 0,-1-1 0,0-8 0</inkml:trace>
</inkml:ink>
</file>

<file path=ppt/ink/ink7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6:15.87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6 60 14819,'-13'32'2068,"5"1"-1708,12-13-180,5 1 90,1-6-90,5 1-90,2 0 90,2-1-90,1-1 0,0-4-90,0 0 0,-2-4-90,-1-2 90,-1-3-90,-1-3 90,-1-3-90,-1-4 90,-1-4 0,-3-1 0,-2-4 0,-2 1 0,-3-2 90,-4 1-90,-2-1 90,-3-1-90,-3 1 0,-4 1 0,-3 0 0,-2 3 0,-2 1-180,0 3-180,0 2 0,0 3-90,-1 1-89,1 2-91,0 2-269,1 2-91,2 1-359,1 2-810,2 0 2159,2 1 0,5-3 0,3 1 0</inkml:trace>
</inkml:ink>
</file>

<file path=ppt/ink/ink7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6:16.16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0 10951,'24'6'4857,"-5"5"-4137,-13 10-1,-3-2-179,-2 4 89,-1-5-179,1 1 90,0 1-90,0 0 89,1 2-89,0 0 0,2 0-90,0-1-1,1-1-179,1 1 90,1-2-90,1 0 0,1-3-90,1 1 0,1-3 0,2 0 0,1-2 0,1-2-180,0-1-180,1-1 0,0-2-90,0-1-89,-1-2-721,0 0-539,5-3 630,1-3-180,-1-1-271,-3-2-1438,-7-2-1799,0-2 4767,-1-1 0,-3 4 0,-2 1 0</inkml:trace>
</inkml:ink>
</file>

<file path=ppt/ink/ink7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6:16.56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9 194 15448,'16'33'2609,"-2"-7"-2250,-11-4 181,-1-5-180,1 2 0,-1-1-180,0 1 90,0-1-181,-1 1 181,1-2-90,-1 0 90,0 4 540,0-2 539,-1 4-1349,-6-14 90,3-7-180,-5-14-90,4-5 90,2-4-90,0-5 0,2-3 90,2-4-90,2-3 90,2-2 0,3-1 0,1 2 1,2 1-91,1 4 180,2 4-180,-1 3 180,2 3-180,0 3 180,1 4-90,-2 3 0,1 4 0,0 3 0,3 3 0,-1 6 90,1 5-90,-8 7 180,-8 4-90,-6-2 0,-6 1 0,-3-6-90,-3 2 0,-3-1-90,-3 0 0,-1-1 1,-1 0-181,-1-2 0,-1 0-90,1-1-90,0-2-89,2-2-91,1 0-179,2-2-4858,-9 0 5757,9-2 0,0-1 0,12-2 0</inkml:trace>
</inkml:ink>
</file>

<file path=ppt/ink/ink7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6:17.11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16887,'2'31'2069,"-1"0"-1529,-2-6 179,1 3-179,0 3-90,1 2 90,0 3-91,1 1-89,-1 0-90,1 0 90,-1 0 0,1 14-270,-1-14 89,0 9-179,0-17 0,-1-3-269,0-2 89,0-2-180,1-2-450,-1 3-4766,1-4 2607,-2-14 451,0-18-1260,0-15 3778,-1-9 0,-1 2 0,1-2 0</inkml:trace>
</inkml:ink>
</file>

<file path=ppt/ink/ink7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6:17.38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3 258 330,'-2'-25'2789,"-2"-9"2531,1-4-4061,0 1 1319,3-1-1678,3 13 679,4 3-1040,6 5 3303,2 5-3482,4 5-180,0 4 0,2 5 0,-1 4-180,0 3 90,-5 1-90,-2 1 0,-5-3 89,-1 1-89,1 0 0,-1 7-89,0 1 89,0 8 0,-4 3 0,-2-5 0,-2 0 0,-1-5 0,0 1 0,0 1 89,-1 1-89,0 0 0,0 1 0,0 0 0,1 0 0,-1-1 0,1-1-179,1 0-91,-1-2 0,1-1-899,-1 0-361,0 4-3507,0-2 5037,2 5 0,-1-13 0,1-1 0</inkml:trace>
</inkml:ink>
</file>

<file path=ppt/ink/ink7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6:17.53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8 157 10231,'-7'-27'3508,"7"4"-3328,10 5 0,2 7-270,4 1-270,-2 4-90,2 0-269,1 0-271,1-1-898,1 1-361,0-1 2249,0-1 0,4-3 0,0 0 0</inkml:trace>
</inkml:ink>
</file>

<file path=ppt/ink/ink7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6:17.73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16 0 13289,'23'0'3688,"-5"3"-2878,-11 11-91,-3 1 1,0 3-90,-1 3-91,0 5 1,1 3-90,-2 3-90,2 3-91,-2 1 1,0 1-90,-1 1-90,-2 1-270,-5 20-989,-13 18 449,2-12-1635,-11 3 1455,7-36-269,-2-2-360,-2-3-1799,-3-3-2069,0-3 4677,-2-3 0,-2-3 0,-2-2 0</inkml:trace>
</inkml:ink>
</file>

<file path=ppt/ink/ink7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6:27.19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5 491 9871,'-1'-32'4228,"-1"3"-3598,5 26-1,-2 10-449,2 32 0,-2-6 0,-2 12 0,-1-18 0,0 1-90,1 0 0,-1 0 0,0-1 0,0 0-1,0-1 1,1-1 0,-1-1 0,0-3 450,0-2 449,0 4-179,0-2 179,0 1-989,-7-16 90,4-6-180,-5-15 0,5-3-89,0-6-1,1-6 0,1-8 0,2-7-373,2-10 373,5-4-929,3-7 929,4 0 0,6-3 0,2 6 0,5 1 0,1 8 1,2 5 89,2 5-90,2 5 90,-2 7 0,1 5-30,-4 8 30,-1 5 0,-3 5 90,-3 5 251,-2 3-341,2 8 958,-7 1-868,1 7 0,-10-1 33,-3 3-33,-4 1 0,-3 4 0,-5 1 0,-4 4 0,-4 0 0,-17 13-90,4-9 90,-10 7-179,9-13-1,1-3-180,0-2-270,-10 5 90,11-8 1,-6 2-271,16-9 1,1-3-2070,2 0 2879,-1-2 0,9-3 0,-1 0 0</inkml:trace>
</inkml:ink>
</file>

<file path=ppt/ink/ink7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6:27.44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46 0 10771,'-26'22'2249,"-1"1"-1620,2-3-269,-2 4 90,-1 1-180,2 2 89,2 2 1,3 0-90,5 0-90,3 0 0,5-1 0,4 0 0,5 0-90,4 1 89,14 16-89,0-11-180,11 11-89,-5-17-181,3-2-90,2-2-270,2-2-359,3-3-1529,1-3-1350,1-4 3958,0-3 0,2-4 0,-1-1 0</inkml:trace>
</inkml:ink>
</file>

<file path=ppt/ink/ink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6:11.802"/>
    </inkml:context>
    <inkml:brush xml:id="br0">
      <inkml:brushProperty name="width" value="0.08571" units="cm"/>
      <inkml:brushProperty name="height" value="0.08571" units="cm"/>
      <inkml:brushProperty name="color" value="#E71224"/>
    </inkml:brush>
  </inkml:definitions>
  <inkml:trace contextRef="#ctx0" brushRef="#br0">496 185 11580,'-6'-20'810,"-4"7"-810,-2 10 90,-3 7-180,0 1 90,1 2 0,-1 1 90,0 0 90,-1 3 0,0 0-90,0 1 0,0 1-90,1 2 90,1 1-1,0 1-89,2 1 90,0 2 0,3-4 0,0-1-90,3-4 90,0 0-90,0 0 90,0 1 0,1 0 0,-1 0 0,1 0-90,-1 1 90,0-1 0,1 1-90,-1-1 90,1 2 0,-1-1-90,0 0 90,0 1-90,0-1 90,0 0-90,0 1 90,0 0-90,0-1 90,0 2-90,1-2 90,-4 8 0,3-5-90,-2 6 89,2-6 1,0 0 0,0 1-90,1-1 90,0 0-90,0 0 90,0-1 0,-1 8-90,1-6 0,-1 5 0,2-6 90,1 0-90,0 0 90,-1 0-90,1 0 90,0 1-90,0-1 90,1 1-90,0-1 90,-2 7-90,3-5 0,-2 5 90,2-7-90,-1 0 90,1 0 0,0 7 0,1 1 0,0 7 0,1 0 0,0-2 0,1-1 0,0 0-90,2 0 89,-1-7-89,0-1 0,0-6 0,0-1 0,0 1 90,1-1-90,0 0 0,0 0 0,0 0 0,2 5 0,0-5 0,0 4 0,-1-5 90,0 0-90,0-1 0,1 0 0,0 1 0,0-1 0,0-1 0,0 1 0,1-1 0,0 0 0,-1 1 0,1-1 0,1-1 0,-1 1 0,1 0 0,0-1 0,4 5 0,-3-5 90,3 4-180,-3-4 180,-1-1-90,1 1 0,3 2 0,-2-3 0,5 6 0,-2-4 0,2 1 0,0 0 90,1-1-90,-1-1 0,0 0 0,1-2 0,0 0 0,1 0 0,-1-2 0,2 0 0,-2-2 90,1 0-90,0-1-90,0-1 180,0-1-90,1-1 0,0-1 0,0-1 0,0-1 0,0-2 0,0-1 0,1-2 0,-1-2 0,0-1 0,-1-3 0,-4 3 0,-2-1 0,-3 4 0,0-1 0,-1 0 0,1 0 0,-1 0 0,1 0 0,-2-1 0,1 0 0,0-1 90,-1 1-90,0-1 0,0 0 90,0 0 0,-1-1 0,1 0 0,1-6-90,-1 4 0,0-6 90,-1 6-90,-1-2 0,1 0 0,-1-1 0,1-1 0,-1 0-90,0 1 90,0-1 0,0 1 0,-1-1 0,0 1 0,1-1 0,-1 2 0,-1-1 0,1 1 0,-2-1 0,1 0-90,0 0 90,0 0 0,-1 0 0,0 0 0,-1 0 0,1 0 0,-1 0 0,1-1 0,-1 1 0,0-1 0,-1 0 0,1 0 0,-1-1 0,0-8 0,0 7 0,-1-7 0,1 9 0,0-1 0,0 1 0,-1 0 0,1 0 90,-1 0-180,0 1 180,0 0-90,0 0-90,-1-7 90,0 5 0,0-4 0,0 7 0,0 1 0,0-1 0,-1 1 0,1 0 0,0 0 0,-1 1 0,1 0 0,-1 0 0,1 0 0,-1 1 0,-1-7 0,1 6 0,-1-4 0,0 0 0,0 0 0,-2-5 0,0 0 0,0 1 0,1 0 0,-1 1 0,0 0 0,0 0-90,-1 0 90,0 0 0,0 0 0,1 5 0,-2-3 0,1 3 0,0 1 0,1 1-90,-2 0 90,1-1 0,-4-3 0,1 2 0,-1 1-90,-1 2 90,-3 2 0,-3 2 0,-2 2 0,-5 4-90,-1 3 90,4 2 0,2 2 90,6 0-180,-1 2 90,0 0 0,-1 1 0,1 1 0,-1 0 0,2 0 0,-1 2 0,2-2 0,0 2 0,2-1 0,0 0-90,-1 1 0,1 0 0,-1 1 0,1 1-179,0 1 89,1-1-180,0 2 0,1 0 0,0 0-179,0 2-91,1-1-989,-3 9 450,4-5-630,-1 5-360,5-7 2159,0 0 0,2-7 0,0-2 0</inkml:trace>
</inkml:ink>
</file>

<file path=ppt/ink/ink7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6:27.95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3 150 10771,'6'34'1709,"-1"0"-1259,-3-12-1,-1 3 1,0 2 0,2 2 0,-2-1-91,1 2 1,-1-2-90,0 0 0,0-1 0,0-2 0,0-1-91,0-1 181,-1-3 630,1 4-181,-1-2 91,-1 0-630,-6-11-180,0-15-90,-4-8-90,4-11 0,3-2 0,2-5 90,0-4-376,4-6 376,2-2 0,2-3-90,4-2 90,2 0-90,2 2 90,2 3 0,1 5-90,2 3 0,2 4 90,1 3-180,1 5 91,1 4-181,-1 4 0,0 5-540,9 3 361,-9 6-91,6 5-90,-11 4 196,-2 3-465,-2 3-181,-3 3-1348,-2 3-1260,-4 3 3688,-4 1 0,-3 6 0,-4 2 0</inkml:trace>
</inkml:ink>
</file>

<file path=ppt/ink/ink7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6:28.44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0 254 9871,'-21'14'3958,"2"0"-3778,21-7 0,2-3 0,15-2-90,2-4 0,5-1-180,5-1 0,4-2-90,3-1-180,3-2 0,1 0-408,3-3 228,0-2 90,2-4 1,-2-1 89,-1-1 90,-2-3 0,-4 2 270,-3 0 0,-4 1 180,-3 3 90,-3 1 0,-5 2-180,-1 2 90,-3 2 179,-2 2 410,2 0-50,-2 6 91,-2 6-90,-4 9-361,-5 10 1,-3-1 0,-1 2-90,-1-6 0,-1 1-90,1 0 89,0 0 1,-1-2 0,1 0 270,-1-1 269,0 3 631,0 0-721,-1 1-629,7-16-90,0-4 90,6-15-90,0 1 90,3-4-90,2-1 0,2-1 0,0 0 0,1 1 0,-1 2 0,-1 2-90,-2 1 90,-1 4 0,0 1 0,4 2-90,-1 4 90,5 5 0,-5 4 0,-2 4 0,-4-2-180,-1 3 90,-1 1-180,0 1 1,0 0-91,-1 1-90,1 0-90,-1 0 1,-1 1-1,1-1 0,-1 0-539,1-1-360,2 3-1,1-1-89,5 0 540,4-9-540,-3-6-270,3-8 1799,-1-4 0,3-6 0,2-3 0</inkml:trace>
</inkml:ink>
</file>

<file path=ppt/ink/ink7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6:29.22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63 8702,'18'-24'2249,"-3"3"-1260,-7 8 2069,1 0-2428,-10 12 0,3 4-270,-8 16-91,5-1 91,4 1-90,2-4-90,2 0 0,3 1 0,2 0 0,4-1-90,1 0-1,3-2 1,2 0 0,0-4-90,0-1-90,0-3 90,-2-3 0,1-2 0,-2-2 0,0-4-90,6-7 90,-8 1-89,4-6 89,-9 5 0,-2 0-90,-2 1 90,-3-4 90,-5 4-1,-6-2 1,-7 7 90,-4 5 0,-1 6 90,3 5 0,3 4-90,7 3-90,8 2 0,2-4 0,6-1 0,-1-5-90,1-2 90,1 0 89,6-2-179,1-3 90,0-2-3482,-3-4 3392,-6-2 0,-1-2 0,-2-1-90,-1-3-359,-2-1-1,-2-6 0,-3 3 3303,-2-4-3483,-2 7-90,-1 0-719,-5-4 720,4 5-901,-4-3-808,3 2 1348,6-2 721,4 1 89,6 2 720,12 5-181,2 5 181,1 1 0,0 4 180,-6 1-91,1 2-89,-1 3 90,1 0-91,-1 3 91,0 0-90,-2 2 1169,9 15-1169,-9-10-91,6 11 1,-12-14-90,0 0 0,-3-1 180,1-2 179,1 4 541,-1-1 89,1 1-629,0-4-540,0-10-90,6-12 0,-4-2 0,4-6-90,-3 6 90,0 0 0,2 1-90,-1 1 90,0 0-180,0 3-90,5 0 180,0 2-90,2 3 90,-2 2 0,-2 3 900,-1 2 359,-1-1-629,0-7-270,-3-2-1,1-9-179,0 1 0,3-1-90,3 1-90,1 4-449,2 4-361,0 7 450,0 4-179,-3 2-1,-4 2-89,-5-1-1,0 2-90,-2 0 1,-1 1-1440,-1 1-1888,-1 7 4137,-1 0 0,0-4 0,-2-5 0</inkml:trace>
</inkml:ink>
</file>

<file path=ppt/ink/ink7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6:29.58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50 13199,'34'1'630,"-6"-1"-540,-7-2 0,-5-3-90,0 0 90,1-2-90,-1-1 90,-1-2-90,-1 0 180,-1-2-90,-3 0 270,-1 1-1,-3-5 91,-5 1-180,-8-2 90,-3 5-180,-10 4 0,2 8-91,-5 3 1,6 3 0,3 4 0,6 5-90,5 5-180,2 2-179,7 1-1,2-4-270,2-1-179,2 1-271,-1-2-269,3 1-720,-1-1-719,1-3 2788,0 1 0,3-1 0,1 0 0</inkml:trace>
</inkml:ink>
</file>

<file path=ppt/ink/ink7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6:30.21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76 0 10411,'25'26'3148,"-4"1"-2248,-9-1-181,-2 6-89,-1 5 0,-2 4-181,-2-1 1,-4 2-180,-1 0 90,-4 1-180,-1 2 89,-3-1-179,-3-1 90,-2 2-342,-2-5 252,-3 4-90,0-7-270,-1 1 0,0-4-270,0-3-89,0 0-181,0-4-359,2-3-360,2-2-990,1-4-1259,1-1 3778,3-5 0,4-5 0,2-3 0</inkml:trace>
</inkml:ink>
</file>

<file path=ppt/ink/ink7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6:35.71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5 76 15718,'-12'-24'1799,"9"4"-1619,15 13-90,6 1 90,2 2-180,3 0-270,5 1-180,2 1-90,3 0-179,1 0-361,1 1-359,-1 1-989,-3 0-1260,-2 1 3688,-4 1 0,-12-1 0,-3-1 0</inkml:trace>
</inkml:ink>
</file>

<file path=ppt/ink/ink7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6:35.85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4 83 10771,'-26'7'4587,"0"0"-4407,25-10-90,2 1-360,45-10-180,-12 5-359,28-4-180,-19 4-1350,5-1-1079,2-1 2570,2-2 0,0-1 0,0-2 0</inkml:trace>
</inkml:ink>
</file>

<file path=ppt/ink/ink7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6:36.28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6 342 11041,'23'-14'4407,"-1"6"-3867,-4 11-90,-5 4-91,-1 4 1,-5 1-90,0 1-90,-2 1 0,0 3-90,-1 0 90,-1 3-90,-2-2 0,0 1-90,-1-1 90,-2 2-1,0-1-89,-2 1 90,-2-2-90,-1-1 0,-1-1 90,-2-2-90,-1-2 0,-1-2-90,0-3 90,0-1-90,-6-5 90,4-2 0,-2-4-89,5-3 89,1-2 0,2-3 0,1-3-90,2-1 90,2-1 0,2-3-90,2-1 90,3-1 0,1-3 0,3-1-90,2-1 90,15-29-90,-7 19-812,11-20 902,-12 27 0,-1 3 0,-1 2-90,-1 0 90,-1 3-3093,-3 1 3093,-1 3 0,-2 2 0,-2-4 0,-8 5 603,-2 0-603,-6 6 0,-3 7 0,-1 1 3392,-2 2-3392,-2 2 90,0 2-90,-1 1 0,1 2 0,0 1 90,2 2-90,1 1-90,2 2 90,2 1-90,1 1-180,4-1-360,2 2 181,5 6-1,3-4-180,4 4-179,4-6-181,5-1-89,2-1-1080,5-2-899,2-2 3058,3-4 0,6-1 0,2-3 0</inkml:trace>
</inkml:ink>
</file>

<file path=ppt/ink/ink7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6:36.51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2 42 11221,'15'15'3328,"-5"2"-2429,-14 0-89,0 2-181,4 3-359,5 1 0,2-5-90,4-1-90,-1-7 90,2-1-90,0-1 90,2-2 0,4-2-91,2-5 1,-1-1 0,-2-6 0,-7-2-90,0-3 90,-2-3-90,-3-1 90,-2 0-90,-1-1 0,-4-1 0,-2 1-180,-2-1 0,-4 2-179,-2 2-181,-2 2 0,-3 3-179,-2 2-91,-1 3-179,-2 4-361,-2 3-988,-1 4-1170,-2 3 3508,-1 3 0,-2 3 0,-1 2 0</inkml:trace>
</inkml:ink>
</file>

<file path=ppt/ink/ink7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6:36.76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74 1 8702,'-49'11'5127,"3"-1"-3778,6-2-179,4-1-181,7-1-179,3-1-91,4-1 1350,4 1-1619,11 3 0,11-2-91,16 4 1,14-5-180,14 2-828,10 0 558,9-1 0,4-1-180,3 0-180,2-2-2919,0 0 2739,-1-2-269,-3 0-707,-3-1 526,-4-2-499,-8 0 230,-6-1 134,-10 0-1214,-7 1 1255,-6-1 1174,-7 1 0,-9 1 0,-6 0 0</inkml:trace>
</inkml:ink>
</file>

<file path=ppt/ink/ink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6:12.845"/>
    </inkml:context>
    <inkml:brush xml:id="br0">
      <inkml:brushProperty name="width" value="0.08571" units="cm"/>
      <inkml:brushProperty name="height" value="0.08571" units="cm"/>
      <inkml:brushProperty name="color" value="#E71224"/>
    </inkml:brush>
  </inkml:definitions>
  <inkml:trace contextRef="#ctx0" brushRef="#br0">11 51 10951,'-11'21'7825,"12"-9"-7825,5-12 90,9-5 0,0-1-180,-2 2-180,0-1-269,2 0-9292,32-12 9612,-22 7 1,24-11 0,-30 10 0</inkml:trace>
</inkml:ink>
</file>

<file path=ppt/ink/ink7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6:37.30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39 0 8522,'-24'10'2609,"2"1"-1800,11-3 1,1 2-91,2 2 1,2 2-1,1 3-179,1 2-90,2 3 0,0 2-91,1 1-89,-1 2 0,1 3 0,-2 0-90,-1 1 450,-8 27-361,2-23-89,-6 19 90,4-29-90,-2-3 0,-1-2 0,0-3-90,-1-2 90,1-4-90,-1-3 90,0-3-180,-4-4 0,5-3-90,-3-5 0,8-1-90,2-3-90,3-6 270,4-3-90,3 0 0,5 2 90,2 6-90,2 0 90,3 2 0,1 1 0,3 0-90,0 3 90,3-1 0,1 2 0,2 0 0,0 2 0,2 0-90,0 0 90,3 1 0,0-1 90,-1 1-180,1-1 180,-3 1-90,-1-1 0,0 0 90,-1-1 90,-2-1-90,0-1 90,-3 1 0,-1-2 0,-2 1-90,-2-1 179,-2 1 1,2-3-90,-5 0-180,-9 4 90,-4 5 90,-10 11 90,6 5-180,4 5 90,4-4-90,4 1 0,3-5-1,3 0 1,8 5 0,-1-6 0,6 3-90,-5-7 90,1-2 0,-2-2-90,6-3 0,-6-3 0,4-5 90,-7-2-90,-2-3 0,-2-2 0,-2-3 0,-3-2 0,-2 0 0,-4-2-90,-3 0 0,-3-1-180,-2-1-89,-4 1-91,-2 1-90,-1 1-89,-3 2-181,0 2-89,1 3-1,-1 1-179,2 3-91,2 2-1348,1 0 2518,0 2 0,7 2 0,1 0 0</inkml:trace>
</inkml:ink>
</file>

<file path=ppt/ink/ink7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6:37.54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6 17 11311,'9'26'5307,"-3"2"-4768,-8-2 91,0-3-90,0-2-91,1-5 1,2 0-90,1-1-90,1 0 0,2 0-91,0-1 1,3-1 0,0-1-90,2-3 0,1-1 90,1-2-90,6-3-90,-4-3 0,5-4 180,-6-4-180,0-2 90,-2-3-90,-1-4 180,-1 0-90,-3-3 0,-1 0 0,-2 0-1,-3 0-178,-2 1-1,-2 0-180,-3 1-90,-1 0-90,-3 3-89,-2 1-271,-2 2-269,-2 3-271,-2 3 1350,-11 3 0,-24 8 0,-15 4 0</inkml:trace>
</inkml:ink>
</file>

<file path=ppt/ink/ink7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12.18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4 399 8432,'-5'-39'3778,"2"12"-3058,0-7-91,2 15 271,0-4-720,5 20 89,-1 3-89,3 19 0,-2 0-90,1 3 90,0 5-90,0 2 0,0 2 90,0 1-90,1 1-90,-1-1 90,0 1 0,0-1 0,-1-1 90,1-3 0,0 9-91,-2-11 1,1 6 90,-2-13 720,0-3-91,0 4 1,-2-4-720,-6-6-90,0-9 0,-7-11-90,5-6 90,-2-6-180,1-7 90,2-8-90,0-5-340,3-6 251,3-7 179,8-29 90,2 16-883,7-17 793,0 30 0,2 4 90,3 5-90,0 7-90,1 6 0,-1 8 90,1 4-90,-1 6 90,-1 5-90,-2 4 485,0 4-305,-3 3 738,-1 4-738,-1 3 0,-2 4-90,-3 2 90,-2 1 0,-3 2 0,-3 1 0,-1 2 0,-3 1 0,-2 1 0,-2 1 0,-2 0-90,-2 1-180,-1-1 1,-1-1-91,-1 0 0,0-2-629,-4 3 449,5-6 0,-2 2-1439,6-8 1979,0-1 0,5-5 0,0-1 0</inkml:trace>
</inkml:ink>
</file>

<file path=ppt/ink/ink7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12.38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0 11041,'17'11'1799,"-5"-1"-1440,-13 12 1,-1-2-90,0 2 90,1 2-180,-1 1 90,2 1-90,0 0-1,2 1-89,1 2 0,1-1 0,2 2 90,1-1-180,1-1 0,2 0-90,0-2-90,1-1 0,-1-3-179,0-1-1,0-3-270,1-2-89,-1-2-271,0-2-3597,0-2 4587,3-5 0,-6-2 0,1-2 0</inkml:trace>
</inkml:ink>
</file>

<file path=ppt/ink/ink7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12.95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98 10501,'2'-29'2519,"1"3"-2160,0 12-89,2 1-90,5 4 90,2 8-180,4 7 0,-4 5 0,-1 2 90,-3 1-90,-1 1 0,0 1 89,-1 2 1,-1 0-90,-1-1 90,-1 0-90,-1 0 0,0 0 180,-1 0 0,0 5 0,-2 1 89,0 4 361,-1-4 629,0-3-269,-1-3-900,-4-12-180,0-6 90,-2-11-90,3-4 0,3 0-90,0-2-3302,0-3 3302,2-2 0,1-2 0,1-1 0,1-2 0,4 0 90,1-2-90,3 2 0,0 1 3392,1 3-3392,1 0 0,0 4-90,0 2 0,-1 2 0,0 3 0,0 3-179,-1 2 179,4 2 0,0 5 90,2 7 90,-2 7-90,-4 2 90,-3 3 0,-3-4 0,0 2 0,1 1 0,1 2 0,1 0 0,0 0 0,2 1 0,2-1 0,1 1 0,1 0 0,1 0 0,-1-2 0,1-1-90,-2-2 0,4 6 0,-4-6 0,1 4 90,-5-4 0,-5-1 0,-4 3 0,-7-5 0,-5-1 90,-9-3-90,4-2 0,-9 1-180,9-4-539,-9 0 269,8-2-180,-7 0-269,10-3-271,0-1-1168,2-2-1170,2-2 3508,2-3 0,5 4 0,2 1 0</inkml:trace>
</inkml:ink>
</file>

<file path=ppt/ink/ink7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13.07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60 7982,'32'-15'1530,"-3"2"-1351,-9 5 1,-1 1-360,0 1-4521,-2 2 2812,0 1 2104,4 1 0,-12 1 0,3 1 0</inkml:trace>
</inkml:ink>
</file>

<file path=ppt/ink/ink7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13.36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5 35 9062,'12'-21'2698,"4"7"-2428,-2 18 90,1 5-90,-4 7 90,-3 1-91,-1 2-89,0 3 90,-1 3-90,-1 2 90,0 2-180,-1-1 90,-2 1 180,-2 23-271,-1-18 1,-3 19 0,-2-25-90,-1 0 90,-1-2-90,0-2 90,-1-2-90,0-2 90,0-1-180,0-1 0,0-2-180,1-3-629,0 0-5757,-2-1 6656,1-8 0,2 1 0,1-7 0</inkml:trace>
</inkml:ink>
</file>

<file path=ppt/ink/ink7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13.49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38 8972,'21'-11'1619,"-2"2"-1169,-6 4-180,1 1-270,0 0-630,0 1-1439,7 2 2069,0 1 0,-5 1 0,-4 0 0</inkml:trace>
</inkml:ink>
</file>

<file path=ppt/ink/ink7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13.64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28 14369,'30'5'539,"-2"-1"-628,-3-9-1,1 1-180,2-1-360,-1 0-179,-1 1-271,-2 1-899,-1-1-629,0 3 2608,-3-2 0,-9 2 0,-3 0 0</inkml:trace>
</inkml:ink>
</file>

<file path=ppt/ink/ink7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15.65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7 159 10411,'-5'-21'-2159,"8"9"2339,2 5 810,5 5 359,-4-9-720,-4-3-629,-1-2 90,1 4 0,4 8 90,6 8 0,-1 8 0,1 5-90,-1-1 90,0 4-90,0 2 0,0 3 0,-1 1 0,-1 2 0,-1 0 90,-1 0-90,-2 0-90,-1 0-3303,-3-2 3393,0 0 180,-3 0-90,-1-1 0,-2 1 0,-3-1 90,-1-1-90,0-2 179,-2-3-179,0-2 3842,-5 2-3572,4-7-180,-9 2-1,6-12-179,-4-5-90,6-6 0,3-5 0,6 0 0,2-3 0,2-3-90,2-3 90,2-3 0,2-2 0,1-2-89,3-4 89,1 0-305,2-1 305,0-1 0,1 1 0,-1-1 0,0 4 0,-1 1 90,-2 3 0,-1 4 90,1-7-180,-3 12 90,1-6-90,-4 9-90,-5 3 394,-6 4-304,-4 6 0,-5 7 0,1 2 0,1 2 0,-1 2 0,1 2 0,0 1 0,2 1-90,1 0 0,1 3-629,2-1 539,6 24-90,4-18-90,6 17 0,5-22-89,2-1-91,5-1-90,2-1-89,3-3-91,2-1-89,1-3-720,2-2 1619,16-5 0,-6-5 0,12-3 0</inkml:trace>
</inkml:ink>
</file>

<file path=ppt/ink/ink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5:59.970"/>
    </inkml:context>
    <inkml:brush xml:id="br0">
      <inkml:brushProperty name="width" value="0.08571" units="cm"/>
      <inkml:brushProperty name="height" value="0.08571" units="cm"/>
      <inkml:brushProperty name="color" value="#E71224"/>
    </inkml:brush>
  </inkml:definitions>
  <inkml:trace contextRef="#ctx0" brushRef="#br0">36 34 10321,'-25'3'2699,"15"2"-2609,38-3-90,-1 1 89,26-3-89,-20-1 0,6 0 90,3-1-90,48-2 45,-18 0 0,1 0-45,-18 1 0,0 0-234,13-1 1,-8 1 233,-24 0 0,-3 1 0,-3 0 89,-3 0-89,-3 0 0,-4 0-179,-1 1-271,3-1 450,-5 1 0,-3 0 0,-6 1 0</inkml:trace>
</inkml:ink>
</file>

<file path=ppt/ink/ink7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15.89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7 25 10051,'13'16'2789,"0"-5"-2609,-9 16-1,4-13 1,3-1-90,-1-5 90,1 0-90,1-1-90,1-1 90,0-2 0,1 0 90,5-2 90,1-3-90,1-4-180,-5-6 90,-6-6-90,-7-6 0,-5 4 0,-4 1 0,0 6-90,-1 1-90,-1 2-180,-1 0-450,-7 2 181,-5 4-181,-1 4-359,-2 5-2069,3 4 3238,-11 9 0,5-1 0,-10 7 0</inkml:trace>
</inkml:ink>
</file>

<file path=ppt/ink/ink7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16.14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9 237 10501,'-24'15'6476,"0"0"-5396,25-14-810,44-15-1,1-2-1096,36-12 1007,-24 10 0,7-3 0,-3 2-180,3-1 0,-6 2-180,-1 1-540,18-6 270,-24 7-269,11-3-242,-30 9-118,-4 1-1,-6 3-2428,-2 0 3508,-5 2 0,-8 2 0,-1 1 0</inkml:trace>
</inkml:ink>
</file>

<file path=ppt/ink/ink7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16.84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1 56 10771,'11'20'2069,"0"-2"-1620,-2-6 1,0 0-90,2 2-90,-2 1-90,0 1 90,-1 1-181,-1 1 91,-3 1-90,-1 0 90,-2 1-180,-2 0 90,-3 0 0,-1 2 0,-4 0-90,0-1 90,-3 0-90,0-2 90,0-2-90,-1-2 90,0-1 0,1-3 0,0-2-90,-2-2-90,0-4 0,1-6-90,5-7 180,9-9 0,3 3-90,5-3 90,-1 5-90,3-1 90,1 2 0,0-1-90,2 2 180,0-1-180,1 2 90,0 0 0,1 1 0,0 1 0,0 2 0,1-1-90,0 2 180,0 1-180,-1 0 90,0 1 0,-1 0 90,1 1-90,-1 0 90,0 1 0,0 0 0,6-1 90,1 0 90,3-1 0,-1-1 269,-2-2 91,-4 1-90,-1-2-91,-4 0-89,-3-1-90,-1-2-90,-3-1-180,-2-4-90,-4 2 90,-6 8 0,-1 7 0,-1 10 0,3 4 0,2 0 0,4 3 0,4 0 0,1-4 90,5 0-90,-1-5 0,9 2 90,-2-4-90,7 3 0,-7-7 0,0-1 90,-1-1-90,0-1 0,0-3 90,0-1-90,-1-2 180,4-10-90,-6 2 0,1-7 0,-8 3-1,-2 0-89,-3-1 90,-3 0-90,-2 0 0,-3 0 0,-2 0 0,-2 3-90,-2 1-179,-2 2-1,-1 1-180,-1 3-180,-1 2-629,-6 1 540,5 4-1,-4 2-180,9 2 91,0 2-1170,3 1-2878,-2 4 4857,4 0 0,2-2 0,4-2 0</inkml:trace>
</inkml:ink>
</file>

<file path=ppt/ink/ink7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17.11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0 121 11670,'24'-3'2339,"-5"4"-1979,-9 11 0,-3 0-91,0 2 91,1-4-90,1 2 0,2 0 0,1 0-90,2-1 90,1 0-1,1-1 1,-1-2 90,0 0 180,-1-3-270,6-2-1,-5-3-89,4-3 90,-7-2-180,-2-3 90,-1-2-90,0-3 0,-3-2 0,-2-2-90,-2-1 90,-2-2-90,-1 0 0,-3-2 0,-2 2-180,-1 1-90,-1 1-180,-2 2 1,-3 3-181,-2 2-809,-13 3 359,3 5-3661,-10 5 2223,4 6 2488,-23 17 1,10-2-1,-17 12 1</inkml:trace>
</inkml:ink>
</file>

<file path=ppt/ink/ink7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18.22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12120,'8'10'2159,"-4"-4"-2159,40-3-180,-12-3-90,5 1-270,1 0-89,0 0-91,0 1-269,-2 1-720,-2 1-180,-5 0 1889,-5 2 0,-11-3 0,-5 0 0</inkml:trace>
</inkml:ink>
</file>

<file path=ppt/ink/ink7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18.38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71 32 7623,'-32'17'3148,"3"-1"-2069,3-2-89,4-3-1,4-1-89,2-1 359,2-2-270,1 0-719,15-4-90,3-2 0,18-5 0,4-1-90,8-3 0,4 0 0,7-1-409,3-2 319,2 0-360,-2 1 0,-3 0-180,-3 1-89,-3-1-181,-3 3-359,-4 0-1530,-5 1-1348,-3 1 4047,-5 2 0,-9 1 0,-3 1 0</inkml:trace>
</inkml:ink>
</file>

<file path=ppt/ink/ink7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20.88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8 178 8702,'2'26'2339,"1"0"-1620,2-5-359,1 3-90,-2-4 180,2 6-3662,-3-10 3391,0 5 1,0-7 180,-1 6 0,1 2-90,-1 3 90,0-2 719,0-3 4202,-1-1-4741,-3-4-450,-4-12-1,-2-3 1,-1-12-90,2 1 90,0-4-90,0-1 0,1-4 0,-1-1 90,2-1-90,1-2 0,1-2 0,0 0-90,3-1 90,0 0 0,3-2-90,6-21 90,-3 18 0,6-15 0,-5 26-90,1 3 90,1 0 0,-1 4-89,0 1 89,1 3 0,4 0 0,1 4 0,4 3-90,-2 7 90,0 6 0,-3 5 0,-3 5 0,-4 3 0,-4 3 90,-3 1-90,-1-5 0,-2 4-90,0-6 90,1 4-90,3-2 90,6-2 0,2-5 0,5-1 0,-1-4 0,2 0 0,1 0-90,0 0 90,0 0 0,-1-1 0,-2 1 0,-1-1-90,2 4 180,-2-1-90,-1 5 180,-9-1-180,-9 1 90,-2-5-90,-4-1 89,1-3-89,-2-1 0,-2 0 90,0 0-90,-2 0 0,1 0-90,-1-1-89,0-1-91,-1 1-180,1-2-90,1 1-179,0-1-1,3-1-1349,0 0-4047,-3 0 6116,1 0 0,5-1 0,4-1 0</inkml:trace>
</inkml:ink>
</file>

<file path=ppt/ink/ink7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22.52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8 282 8522,'-4'-26'4588,"1"2"-3509,3 26-719,3 28-1,2 5 91,1 16-90,-2-19-90,0 0 854,2 19 1,1 2 404,-2-5 270,7 50-810,-13-76-899,-4-18 0,-1-5-180,-4-15 0,5-2-90,-1-7 0,1-6 0,2-8 1,2-4-91,2-5 90,4-6 0,2 1-1048,3-3 1048,2 3 0,3 4-90,2 6 90,2 4 0,1 7 0,3 4 0,0 6 1,1 4-1,-2 6 0,8 4 1138,-10 6-1048,7 4 90,-12 5-90,0 3 90,-3 2-90,-2 2 90,-3 3 0,-2 0 0,-4 2-90,-3 1 90,-3 1 0,-2 1-180,-4 2 90,-1-1-179,-3 0 89,-1-2-180,-2 0-450,-10 7 361,6-8 89,-6 4-90,9-12-90,2 0 1,1-3-181,1-1-1079,2-3 1799,-1 0 0,6-3 0,1-1 0</inkml:trace>
</inkml:ink>
</file>

<file path=ppt/ink/ink7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22.73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2 0 11221,'11'20'2608,"-3"-3"-2158,-18 3-90,-1-3-91,0 2 1,-1 2 0,0 2-90,2 1 0,1 0 0,2 0-90,2 1 90,2 0-90,2 0 0,7 15-180,1-10-90,6 10-180,-1-14 0,3-1-90,0-3-89,3-1-271,0-1-1079,10 2 0,-7-8 1889,15-1 0,-24-10 0,4-1 0</inkml:trace>
</inkml:ink>
</file>

<file path=ppt/ink/ink7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23.10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267 9781,'13'-21'4048,"-2"5"-3238,1 10-91,-3 8-449,1 11 270,-5 1-270,0 9 89,-2-7 1,1 10-90,-1-4 0,-1 4 539,-1-3 1,-1-1-630,-5-7-180,0-9-90,-1-9-90,0-10-90,4-4 90,1-3 0,2-7 0,4-3 91,3-5-1,3-2 0,3-1 0,3 2 0,1 2 90,1 2 0,-1 5 0,1 4 0,0 3 90,0 5 90,0 3-90,0 4 89,-1 4-89,2 3 90,-2 4-90,1 4 0,1 3 0,-1 4 0,0 4 0,8 15 0,-7-5-90,5 13 90,-9-10-90,-1 2 90,-2-1-180,-1-1-180,-3 0-90,-1-1-89,-1 0-271,-3-1-90,-2-1-89,-2-3-180,-2 0-2609,-5 6-90,0-9 3778,-6 4 0,8-17 0,-1-4 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3:39:18.169"/>
    </inkml:context>
    <inkml:brush xml:id="br0">
      <inkml:brushProperty name="width" value="0.17143" units="cm"/>
      <inkml:brushProperty name="height" value="0.17143" units="cm"/>
    </inkml:brush>
  </inkml:definitions>
  <inkml:trace contextRef="#ctx0" brushRef="#br0">0 1 14189,'15'21'4138,"0"-5"-4138,5-8-90,-3-5-270,3 1-90,-4-3-180,2 0-269,1 0-91,2-1-359,2 0-1169,0-1-1170,2-1 3688,-1 0 0,6-2 0,0-1 0</inkml:trace>
</inkml:ink>
</file>

<file path=ppt/ink/ink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6:00.443"/>
    </inkml:context>
    <inkml:brush xml:id="br0">
      <inkml:brushProperty name="width" value="0.08571" units="cm"/>
      <inkml:brushProperty name="height" value="0.08571" units="cm"/>
      <inkml:brushProperty name="color" value="#E71224"/>
    </inkml:brush>
  </inkml:definitions>
  <inkml:trace contextRef="#ctx0" brushRef="#br0">1 131 10951,'33'-3'809,"1"0"-539,-7-1-90,8-1 90,2 0-475,6-2 385,5 0-90,2 0 0,4-1-499,1 1 499,0 0 0,-3 1-90,-1-1-328,-2 3 418,-2-2-90,0 1 0,-1 0 90,-5 1-90,-2 0 0,-3 1 0,-3 0 0,-3 1 263,-1 0-173,-4-1 500,-2 1-590,-3 0 358,-2 0-448,-2 0 0,3 0 90,-2 0 0,-5 1 0,-5 0 0</inkml:trace>
</inkml:ink>
</file>

<file path=ppt/ink/ink8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23.23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32 8162,'0'-22'2519,"4"-1"-2339,3 8 0,6 0-180,0 6-90,3 1-270,4 1-90,1 0-359,4 2-361,2 0 361,3 1 809,0 0 0,4 1 0,1-1 0</inkml:trace>
</inkml:ink>
</file>

<file path=ppt/ink/ink8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23.65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58 11670,'21'3'1440,"-4"0"-1171,-10 9 91,-1 0-90,1 3 90,-1 1-90,1 3-1,0 1 1,-1 0-90,0 2 0,0-1 90,-2 0-90,0 1 0,-2-3 0,0 1 179,0-2 91,-2 6 180,0-3-1,-2 3-269,-3-6 0,-4-7-270,-3-8 0,0-5-90,1-7 0,2-3-90,2-5 0,1-4-90,2-4 90,2-5-90,5-5 90,3-4 0,4-2 0,4-3-138,2 4 138,2 0 90,0 5 0,-1 3 0,0 5 0,0 3 0,-1 6 90,-1 4-90,0 4 90,-1 5 0,0 4 0,0 3 228,-1 5-138,1 4-90,0 5 90,4 14-90,-3-3-90,2 10 90,-6-8-90,-1 1 90,0 0-90,-1 1 90,-1 0 0,-1 0-90,0-2 0,-2-1-90,-1-2-90,0-2-270,-2-2-629,1 6-450,-2-7-180,1 8 1709,-1-11 0,0-5 0,-1-5 0</inkml:trace>
</inkml:ink>
</file>

<file path=ppt/ink/ink8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24.44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6 159 10141,'5'25'2339,"-1"1"-1709,-2-7-1,1 3-179,-1 2 0,1 0-91,-1 2 1,0 0 0,0 0-90,-1 0 0,1-1-90,-2 0 0,1-3-1,-1-1 181,-1-2 540,0-1-1,-1 4-359,-2-3-90,-4-2-3752,-5-9 3481,1-8-179,-1-7 0,3-4-89,1-5-1,0-6 0,3-4 0,0-6 0,5-3 0,3-5 0,3-1 3048,5-6-3048,2 0 0,3 2 0,11-11 0,-5 18 90,8-8-90,-9 21 0,1 3-90,0 6 90,-2 3 0,1 5 90,-2 4-89,-2 3 342,0 4-253,-2 2-89,0 4 89,-2 2 0,-2 3 0,-1 0-90,-2 2 90,-1 0 0,-3 0 0,0 0 0,-1 0 0,-2 7 0,-1 0 0,-2 5 0,-1-4 0,0-3 0,1-4 0,0 0 0,2-1 0,1 3 0,2-3 0,2 0 0,1-2 0,-1 0 0,0 0 269,-1 3-89,-3-1-90,-5-3-270,-6-6-269,-3-5-1,-4-4-540,2-3-359,2-1 899,9-2 1,7 0-91,11-1-359,2 4-631,2 1-2607,-2 2 4137,2-1 0,-9 2 0,0 0 0</inkml:trace>
</inkml:ink>
</file>

<file path=ppt/ink/ink8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33.96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3 1 8342,'22'7'1619,"-1"3"-1169,-8 2 0,1 5 0,-1 4-91,1 3 91,-1 3-180,0 4-90,-2 2 90,1 3-90,-1 1-90,-1 2 89,-2-3-89,0 0 0,-2-2 0,-1 0 0,-1 0-90,-2-3 0,-1-1 90,-2 0 0,-2-1 0,-3 1-90,-1-1 90,-4-1-180,-2-2 0,-2-2-180,-2-1-90,-2-2-5486,-32 19 5846,20-19 0,-28 15 0,28-24 0</inkml:trace>
</inkml:ink>
</file>

<file path=ppt/ink/ink8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39.86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26 10681,'20'-22'630,"4"1"-451,7 10-89,8-1-968,8 0 788,6-1-270,3 2-90,0 2-269,-3 1-630,-3 3 89,-8 4 1310,-3 0 1,-3 4 0,-1 1-1</inkml:trace>
</inkml:ink>
</file>

<file path=ppt/ink/ink8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39.99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2 0 8342,'-23'22'2429,"3"-3"-1710,12-6-359,12-4-180,7 0-90,15-4 0,8-3-270,8 0-735,12-1 195,5 0-899,7 0-360,1 0 1770,2-1 1,0 0 0,-1 1 0</inkml:trace>
</inkml:ink>
</file>

<file path=ppt/ink/ink8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44.52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83 219 7713,'11'35'1349,"-2"-2"-6740,-4-6 5571,-2 0 1499,-1 2-1049,-1 12-451,-2-9 181,-5 23-180,-1-23 0,-3 9 0,0-16-90,-1-1 1039,-8 5-949,4-9 0,-4 2 0,5-10 3302,1-2-3212,0-2-90,-5-3-90,2-5 0,-3-5-1,6-10-89,5-7 0,6-1 0,6-2 0,1 5 0,3-2-89,2 0 89,2-2 0,2 1 0,1-1 0,1 1 0,1 0-90,10-9 90,-6 6 0,7-7 0,-9 10-90,-1 0 90,-1 0-90,0 0 90,-2-1 0,0 1 0,-3-1 0,-2 3 90,-2-1-90,-2 3 90,-2 1 0,-2 0-1,-3 2 181,-6-5-180,-2 5 90,-6-3 0,-1 9 0,-3 1 0,-2 3 0,-1 2-90,-2 2 0,0 2 0,-1 1 0,-6 5-1,8 0-89,-5 3 90,13 0-90,1 2 90,4 0 0,3 3-90,5 6 0,3-2 0,5 6 0,3-5-180,4 1-179,2 1-91,3-1-270,0 0 1,2-1-271,0 0-989,0-2-449,1-2 2428,-2-2 0,4 0 0,-1-2 0</inkml:trace>
</inkml:ink>
</file>

<file path=ppt/ink/ink8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44.86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6 69 11490,'-13'18'1170,"-1"0"-900,5-5-1,-1 3 91,1 0-90,1 2 0,2 0-90,2 1 90,2 0-90,2-1 89,2 1 1,2 0 0,3-1-90,1-1 90,2-1-90,2-3 90,1-1-90,2-3-1,0-2 91,7-3-180,-5-4 0,6-4 0,-7-4 0,0-5 0,0-4-90,-2-4 0,0-3 90,-3-4-90,0-1 0,-2 0-180,-2-1 0,-1 2-180,-3 2-89,-2 2-1,-3 3-180,-3 2 1,-2 2-91,-4 3-90,-3 4-269,-3 2-990,-3 3-629,-3 5 2698,-4 2 0,-7 6 0,-3 3 0</inkml:trace>
</inkml:ink>
</file>

<file path=ppt/ink/ink8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45.13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2 76 9242,'-23'9'4587,"1"-2"-539,6-1-3329,16 0 1,11-4-90,22-1-91,16-2-1222,14-1 1133,19 0-1433,10 1 1162,-41 0 1,0 1 0,2-1 0,1 1-45,0-1 0,1 1-45,-1 0 0,1-1 45,1 1 0,-1-1-90,-1 1 0,1-1 45,-1 0 0,-1 0-90,-1 1 0,-1-2-1036,47-2 856,-11 0 0,-8-2-179,-12 0-91,-7-2-90,-8 0-269,-7 0-1,-10 0-179,-6 0-2852,-9 1 1143,-16-3-297,-9 5 2995,-15-2 0,-11 7 0,-4-1 0</inkml:trace>
</inkml:ink>
</file>

<file path=ppt/ink/ink8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45.73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45 1 13020,'21'9'1349,"-4"-1"-1169,-8 9 0,-3-1-1,0 3-89,-3 2 0,-1 1 0,-3 2 90,-2 0-90,-3 1 90,-3 0 0,-2 1 0,-3-2-90,-1 0 90,-2-2 0,0-1 0,1-4 89,0 0 1,2-4 90,1-1-90,1-3 180,1-1-1,-3-1-179,1-5-270,8-6 0,4-2 0,13-5 0,2 4 0,2 0 0,5-1-90,3 1 0,2-1 0,3 1-90,1-1 1,3 1-1,2 0 90,1 0-180,4-1 90,-1 0-90,2-1 90,-1-1 0,0-1 0,0 0 1,-1-3 89,-2 0-90,-2 0 180,-4 0-90,-2 0 0,-5 1 90,-3 0 0,-3 1 0,-4 1 0,-2 1 90,-4-2 90,-10 3-90,-7 4-90,-4 5 90,-2 6-1,5 1 1,1 2 90,1 1 90,1 2 180,2 2-270,4 8 0,2-5 0,4 7-1,2-8-89,3 1 90,1-2-3482,2 0 3392,2-2 0,0-1 0,2-2 0,-1-3 0,0-1 0,0-3 0,4-4-90,-5-3 0,3-5 90,-7-3-90,-1-2 3302,-3-2-3392,-2-1-90,-3-1-90,-2-1-90,-3-1 1,-3-1-1,-3 0-180,-3 0 0,-1 0-89,-2 3-181,-1 2 91,0 1-1,-1 3-179,0 2-1,1 2-89,0 1-2699,2 2 3688,-2 0 0,8 3 0,0 0 0</inkml:trace>
</inkml:ink>
</file>

<file path=ppt/ink/ink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6:02.072"/>
    </inkml:context>
    <inkml:brush xml:id="br0">
      <inkml:brushProperty name="width" value="0.08571" units="cm"/>
      <inkml:brushProperty name="height" value="0.08571" units="cm"/>
      <inkml:brushProperty name="color" value="#E71224"/>
    </inkml:brush>
  </inkml:definitions>
  <inkml:trace contextRef="#ctx0" brushRef="#br0">0 240 12660,'28'-1'180,"0"-1"-180,-4 0 0,-4-1 0,2 1 90,-6 1-90,1-1 0,8 1 0,-5-1 0,6 0 0,-8 1 0,1 0 90,-1-1-180,9 1 90,-7-1 0,6 0 0,-7 1 0,-1 0 0,0-1 0,1 1 0,-1-1 0,0 0 0,0 1 90,0-1-180,1 0 180,1 0-180,0 0 180,0 0-180,1 0 180,0 1-180,0-2 90,1 1 0,0 0 90,0 0-180,0-1 90,1 1 0,-1 0 0,0 0 0,0-1 0,0 1 0,1-1 90,-1 1-180,0-1 90,10-1 90,-8 1-90,18-4-90,-17 3 90,37-7 0,-33 6 0,43-7 0,-45 8 0,13-3 0,-19 4 0,-1-1 0,1 1 0,-1 0 0,0 0 0,-1 0 0,1 0 0,0 0 0,-1 0 0,1 1 0,-1-1 90,0 0-90,-1 0 0,2 1 0,-2 0 0,0-1 0,0 1 0,-1 1 0,0-1 0,1 0 0,-1 1 0,8-1 0,-6 0 0,6 1 0,-9 0 0,0 0 0,0 0 0,5 0 0,1 0 0,4-1 0,-2 1 0,-2-1 0,-1 0 0,0 1 0,1-2-90,-5 1 180,5-1-90,-4-1 0,5 1 179,-3 0 91,-4 1-90,2-2-180,-2 2 0,-5 0 0,-3 1 0</inkml:trace>
</inkml:ink>
</file>

<file path=ppt/ink/ink8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46.02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8 56 11760,'5'26'1709,"0"-5"-1439,-11-4 90,3-4 180,0 1-271,3 8 91,1-4-90,3 5-90,2-6 90,2 0 0,2-2 0,0-1-91,1 0 91,0-4-90,1 0 90,0-4 0,5-2-90,2-5-90,-1-3-90,-2-6 90,-5-3-90,-2-2 90,-1-3-90,-2-2 0,-2-2 0,-2-1-90,-3-9-180,-1 7-90,-4-7-90,-1 13-89,-3 1-1,-2 2-180,-2 2 1,-2 3-91,-2 1-179,-1 3-4318,-12 2 5307,5 4 0,-12 2 0,7 3 0</inkml:trace>
</inkml:ink>
</file>

<file path=ppt/ink/ink8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9:44.99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002 550 8702,'-8'-20'270,"-3"3"-270,-2 8 0,-2 2 0,-3 2 0,-5 1 0,3 2 0,-3 0 0,6 2 90,-2 0-180,-2 0 180,-1 2-180,-1-1 90,0 1 0,0 0 0,-1 1 0,1 1 0,0 0 0,0 1 0,0 0-90,0 2 180,-1 0 0,-11 6 0,8-2 0,-8 5-90,12-5 90,0 2 0,1 1 0,0 0-90,1 1 90,0 1-90,0 1 89,1 1 1,0 1 0,-8 11 90,6-5-90,-6 8 0,8-9 0,1 2 90,1-1-90,1 1 0,1 0 90,2-1-90,0 1 0,1 0 0,1 0 0,1 0 89,2-1 1,-1 10-90,3-9 0,0 7 0,4-10 0,2-2-90,0 2 90,2-1-90,1 1 90,1 0-90,1-1 90,3 11-90,0-9 0,3 8 0,-1-10 90,0 1-90,2 0 0,1-1 0,0 1 0,1-1 0,0-1 90,1 1-180,0-1 90,0 0 0,1-1 0,-1 1 0,1-2 0,7 9 0,-5-8 0,5 5 0,-7-8 0,-1-2 0,1-1 0,1 0 0,1 0 0,1 0 0,1 0 0,11 5 90,-7-6-90,9 4 0,-9-6 0,1-1 0,1 0 0,0-1 0,2 0-90,0 0 180,1-1-180,0-1 90,2-1 0,-1 1 90,2-2-90,14 3-90,-10-2 180,11 1-90,-14-3-3302,0 1 3302,1-1-407,0-1 407,1 1 90,-1-1-180,0 0 180,0 0-90,0-1 0,16 2 0,-10-2 90,11 2 3055,-14-2-3145,0 0 90,4 1-180,-1 0 180,2 0-180,0 0 180,-1 1-90,-1 0 0,2 0 0,12 1 0,-11 0 0,8 2 0,-16-3 0,-1 1 0,-1 0 744,-1-1-744,-1 1 0,0 1 0,-1-2 0,0 2 0,0-2 0,0 1 0,-1 0 90,15 4-180,-11-4 180,11 4-180,-13-5 180,2 0-90,-1 1 0,3-2 0,0 1 90,2 0-90,0-2 0,2 1 0,0-2 90,18 0-1,-13-1-178,15-1 178,-17-1-89,2 0-247,0 0 247,0-1 90,-1-1-180,19-2 90,-17 2-349,15-3 439,-20 2-90,2-1 90,-2 0-90,1-2 90,-3 2 0,13-5-90,-11 3 90,12-3-90,-17 2 0,1 0 0,-1 0 331,1-2-331,0 0 90,-1 0-90,-1 0 90,-2-1-180,-2 1 180,0-1-90,-1 0 265,-1 0-175,0 0-90,-2 0 90,1 0-90,-3 0 0,0-1 0,-1 0 90,-2 0 0,5-7-90,-6 3 0,3-4 0,-7 4 0,-3-1 0,1-1 0,-2-2 0,0-1 90,-1 0-90,-1-2 0,-1 0 0,-1-1 90,1-11-90,-3 8 0,1-9 0,-3 10 0,-1-1-90,-2 0 180,0 1-180,-2-3 90,-2 0 0,-1-1 0,-6-14 0,1 11 0,-5-11 0,1 13 0,-1 0 0,-1 0 0,-2 0 0,-1 1 0,-1 1 0,-1 0 0,0 1 0,-2 1 0,-1-1-90,-1 1 90,0 1 0,-1 0 0,-13-10 0,8 9 0,-9-7 0,11 11-90,-14-9 90,9 7 0,-11-6-90,14 11 90,-2 0 0,0 0-90,0 1 90,-1 0-3482,-15-8 3482,11 6-643,-30-15 643,26 13 0,-15-6-319,16 8 409,-1 1-90,0-1 0,0 1-90,0 0 90,0 0-90,-19-8 90,16 8 0,-13-5-90,21 10 180,-1 1-180,0-1 90,-1 1 0,0 0-35,-1 2-55,-1 0 180,1 0-180,-21-4 90,14 6 2666,-14-4-2666,16 7 0,-1 1-90,-2 2 180,-5 1-180,1 2 90,-35 4 0,23 1 0,-26 5 0,29 1-628,0 2 538,1 3 1,1 2-1,2 2-90,2 3-314,1 1 225,1 2-1,4 2-90,0 1 0,2 1-179,1 2-334,3 1-1916,-15 16 2789,16-11 0,-10 11 0,19-15 0</inkml:trace>
</inkml:ink>
</file>

<file path=ppt/ink/ink8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35.45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9 38 9422,'-9'-26'3238,"-2"15"-2788,4 11-91,-1 15 1,3 0 0,1 4 0,1 2-90,1 3-1,2 1 1,2 3 0,3 1-90,1 2 0,3 0 0,1-1-90,1-1 0,2-1 0,0-2 0,1-1 0,0-2-1,-1-3 91,0-3 0,4 1 0,-5-6-90,9-1 0,-4-11-90,-1-3 0,1-8 90,-6-2-90,0-3 0,0-3 0,1-3 0,0-1 0,-1-1 0,0 2 0,-1 2 0,-1 2-90,-1 2 0,-1 1 0,1 1 0,0 12 90,-4 7 0,-1 11 90,-4 5-90,-1-2 0,1 2 0,-1 2 0,1 2 0,-1-1-90,0 2-180,-1 0 1,1 0-181,-1 0-90,-1 0-719,-2 11 449,2-10 1,-2 8-271,2-13-809,1-1 1889,0-3 0,2-9 0,0-2 0</inkml:trace>
</inkml:ink>
</file>

<file path=ppt/ink/ink8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35.72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22 7982,'27'-12'1709,"-2"3"-1349,-10 8 0,0 2 0,-1 3-90,-2 1 179,-1 3-179,-2 3 0,-3 1 0,-1 2 0,-3 2 0,-2 2 0,-2 0-1,-2 2 1,-2 0-90,-1 0 0,0-1 0,-1-1 0,0-1 0,0-3 0,2 0 449,-1-3 271,1 4-540,2-1-181,9-1-89,3-4-90,9-5 90,2-3 0,2 0-90,2-1 90,2-1-180,0 0-90,1-1-89,0 0-91,-1 0 0,-2-1-270,-3 1-179,-1 0-1080,-3 0 1889,2 1 0,-10 0 0,1 1 0</inkml:trace>
</inkml:ink>
</file>

<file path=ppt/ink/ink8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35.99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13 1 11311,'-13'24'2788,"-2"1"-2068,-4-4-1,-3 3-89,-7 5-91,-1 1-692,-4 3 602,0 1-89,0 0 0,1 1-90,0 0-90,0 2 0,2-2-90,0 2-90,2-1-90,3-2-180,2-2-90,2-1-180,1-2 108,2-2-288,2-3 101,2-2-281,2-2 181,1-3-181,3-2 976,1-3 1,4-6 0,1-1-1</inkml:trace>
</inkml:ink>
</file>

<file path=ppt/ink/ink8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36.37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3 182 8072,'28'2'2969,"-2"0"-2160,-1 3-89,-2 1-180,-2 3-1,-1 1-179,-3 2 0,-2 1 0,-3 1-91,-2 1 1,-3 1 90,-2-1-270,-4 8 90,-2-5-90,-3 6 0,-3-9 0,-1 0 0,-2-1-90,-1-1 90,0-2 0,-1-1 0,1-3-90,-5-1-90,1-4-180,-2-5-90,5-9 0,6-9 90,5 0-89,5-4 89,2 1 0,2-1 0,1-3 90,1-1 90,-1-1-90,1 0 90,0 1 180,-1 1-90,-2 2 0,-1 2 180,-2 3 0,-3-4-90,-3 9 90,-4-2-90,-2 9 90,-2 2 90,-2 2-180,-8 3-1,5 2 1,-5 3 0,6 1-90,1 2 90,0 2 0,1 1-90,1 2 0,2 1 90,1 0-90,2 0-360,2 7 1,5 0-1980,2 1 1350,23 10-810,-9-18-360,17 7 2159,-14-17 0,6-2 0,2-2 0</inkml:trace>
</inkml:ink>
</file>

<file path=ppt/ink/ink8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36.60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00 100 10501,'19'14'3058,"-4"0"-2698,-9 6 0,-1-5-90,3 2 0,1-6-1,1 1-89,1-1 90,2-1-90,0-2 0,1 0 90,-1-3-180,7-2 90,-5-2-90,4-2 0,-6-4-90,-2-2 89,-1-4-89,-2-2 0,0-3 0,-4 0 0,-1-2 0,-2 0 0,-2-2 0,-2 1 0,-3 0-179,-3 2-1,-1 1-90,-3 2-90,-2 2-90,-3 1-89,-2 3-1,-2 3-270,-2 3-2248,-18 5 90,7 3 2968,-14 6 0,10 1 0,-2 2 0</inkml:trace>
</inkml:ink>
</file>

<file path=ppt/ink/ink8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37.05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0 79 8972,'-26'5'3328,"2"0"-2069,4-1-89,3 1-721,15-2 91,7 0 0,19-2-91,12-1 1,18-1-1164,21 1 984,17-1-959,-39 0 1,2 1 823,3-1 0,2 1-1,1 0 1,3 0 0,6 0 0,3 0-1013,1 0 1,2 1 922,7-1 0,0 0 45,0 1 0,-1-1 0,1 0 0,-1 0-45,-6 0 0,-1 0-850,-1 0 0,-1-1 850,-5 1 0,0-1 45,-2-1 0,1 1-198,-2-1 1,-1 0 152,-3 0 0,0-1 45,-3 1 0,-1-1 64,-4 0 0,-1-1 26,44-4 727,-15 1-727,-10-1 1780,-15 1-1870,-7 0 1401,-10 1-1401,-4 0-270,-7 1 1102,-5 0-2001,-5 0 545,-3-1-545,-15 3 256,-4 0-886,-14 3-990,-4 3-1618,-9 2 4317,-6 1 0,-8 2 0,-2-1 0</inkml:trace>
</inkml:ink>
</file>

<file path=ppt/ink/ink8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9:46.64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24 551 7443,'-21'-17'899,"-3"-1"-629,13 11 0,-10-2-90,4 4 0,-8 1-180,-1 4 0,5 3 0,0 3 0,6 1 90,0 3-90,-1 0 90,-1 4-90,1 1 90,-2 3-90,1 2 0,0 1 90,1 2-1,-1 3-89,1 2 90,0 4 0,0 1 0,1 2 0,1 2 0,0 1 0,3 2 0,-5 20 0,2 6 0,1 1-90,3-4 0,4-1 0,1-15-489,1 13 489,2-22 0,1 1 42,1-1-42,1-1-90,1 1 180,0-2-90,2 0 90,1-2-90,0 1 90,1-3 0,0 1 0,1-2 577,2-1-577,1 0 139,0-2-49,3 1-90,0-3 0,1 1 0,3-1 90,12 10-90,-4-7-3392,11 6 3302,-8-12 90,5 1-270,2-1 180,5 0 90,1 0 0,23 8 0,-15-8-590,18 6 590,-20-10 0,1 0 0,0-2 89,20 7-89,-15-7 0,12 4 0,-23-7 90,16 3-90,-14-5 0,31 7 2756,-31-9-2756,14 2-90,-18-5 180,0 0-91,2 0 1,-1-1-90,1-1 90,0-1 0,0 0-90,1-1 90,0-1 0,18 0 0,-12-1 0,13-1 0,-17-2 0,-1 1 0,0-2 0,-2-1-90,0 0 90,-2-2 0,0 0 0,0-2-90,-2-1 90,-1-2 238,0 0-148,15-8-90,-14 4 0,11-7 0,-17 6 0,-1-2 0,-1-2 0,-1 0-90,0-1 970,-1-2-880,-1 0 0,9-13-90,-9 7 90,7-9 0,-12 11-90,-2-1 90,-1-1-90,-2 3 90,-1-1 197,-2 1-197,-1 0-90,0 0 0,-2-1 0,0 0 0,-2 0 0,0-1 0,-2-1 0,2-12 0,-4 9 0,0-10 0,-3 14 0,-1-2 0,-2-3 0,-3-4-90,-2-2 90,-4-7-90,-3-1-628,-5-5 628,-3-1 0,-27-33 90,7 20-45,10 20 0,-2 0-896,-19-18 851,-8 0-90,-6-1 135,27 30 1,-2 0-1,-3-1 0,-1 0-45,-5-1 0,-1-1-746,-2 1 1,0 1 745,1 2 0,-6-2-180,-3 1 0,-11-3 0,-2-1 1,8 5-1139,-14-5 0,1 1 1273,11 6 0,-7-4 0,0 1 0,10 8-90,-2 4 1,6 4-306,0 2 1,2 0 169,-1 2 0,1 2-45,3 2 1,1 1-46,-1 2 0,0 1-180,-1 1 1,0 2-423,-1 1 0,1 2 1052,0 1 0,-1 2 0,-8 2 0,-1 2 0,-2 2 0,0-1 0</inkml:trace>
</inkml:ink>
</file>

<file path=ppt/ink/ink8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32.66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2 13379,'29'1'1260,"0"1"-1080,-5-4-180,5 2-180,2-1-180,3 0-180,-1 1-179,1 0-181,-4 1-89,-1 1-720,-4 0-360,-2 0 2069,-3 2 0,-9-3 0,-4 1 0</inkml:trace>
</inkml:ink>
</file>

<file path=ppt/ink/ink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6:03.221"/>
    </inkml:context>
    <inkml:brush xml:id="br0">
      <inkml:brushProperty name="width" value="0.08571" units="cm"/>
      <inkml:brushProperty name="height" value="0.08571" units="cm"/>
      <inkml:brushProperty name="color" value="#E71224"/>
    </inkml:brush>
  </inkml:definitions>
  <inkml:trace contextRef="#ctx0" brushRef="#br0">1 222 11670,'30'0'90,"0"0"-90,-7-1 0,-3-1 0,1 0-4251,-4 1 4341,21-3-90,-14 3 507,18-3-507,-18 2 0,1 0 0,0 1 0,1-1 0,0 0 3218,1 0-3218,0 1 526,2-2-526,0 1-90,2 0 90,-1 0 0,0-1 0,1 0-90,0 0 90,1 0 0,0 0 0,0-1-180,14-1 180,-11 1-90,10-1 90,-15 1-89,1 0 89,-1 0-90,-1 0 90,1 0-90,-3 1 90,0-1 0,-2 1-90,-1-1 90,1 0 0,-1 1 0,0-1-90,-2 1 90,10-2 0,-8 1 0,7-1 0,-12 2 0,0 0 0,0 0 0,-2 0 0,-1 1 0,1-1 0,-2 1 0,0-1 0,0 1 0,5-1 0,-4 0 0,4 0 0,-6 0 0,0 0 0,0 0 90,0 0-90,1 1 0,6-2 90,-5 1-90,6-1 0,-7 1 0,1 1 90,0 0-90,0-1 0,-1 1 0,1 0 90,-1-1-90,-1 1 0,4 0 89,0-1-89,2 0 0,-2 0 0,-8 2 0,-2 0 0</inkml:trace>
</inkml:ink>
</file>

<file path=ppt/ink/ink8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32.82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7 1 9152,'-18'14'6026,"-1"1"-3687,9-7-1979,11-1 0,4-5-181,16-3 91,0-2-90,5 1-90,4-2 90,3 1-180,1 0-90,2-1-180,0 1-90,-1 1-269,-1 0-271,-3 1 1,-2 1-181,-5 0-89,-2 0-270,-3 1-3508,-3 1 4947,0 0 0,-8-1 0,-1 1 0</inkml:trace>
</inkml:ink>
</file>

<file path=ppt/ink/ink8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28.84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5 11 12210,'0'38'1889,"1"-1"-1349,-2-10-1,2 2-89,-1 4 90,2 2-90,0 0-91,0 1-89,1-2 0,0 1 0,0-3-90,-1-2 0,1-2 0,-2-3 269,1 7 451,0-10 359,-1 10-539,-1-13-181,-3-1-449,-5-11 0,-1-7-360,-7-15 90,6-3-89,-3-11-1,6 0 0,3-5 0,3-6-90,3-2 90,6-5-401,3-1 311,5-1 91,4 3-1,4 4 0,0 5 0,2 5-90,11-1 0,2 8 181,0 4-91,8 13 180,-26 10 0,7 4 90,-18 4-90,-2 1 491,-5 10-401,-4-3 0,-4 7-90,-12 5-90,2-7 1,-10 10-1,4-11 0,-2-1-180,0-1-360,-10 5 271,9-8-1,-8 4-90,12-9 0,2-1-179,2-3-1980,2-1 2699,0-2 0,7-1 0,0-3 0</inkml:trace>
</inkml:ink>
</file>

<file path=ppt/ink/ink8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29.06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23 1 11580,'-17'26'1889,"0"-1"-1439,3-8-90,0 3-90,0 2 0,2 1-91,1 0 1,1 2 0,4 0-90,1 0 90,3 0-90,2 0 0,3-1-90,4 1 90,2 0-90,3-1-270,3-1-360,11 5 91,-4-9-91,9 3-179,-10-12-91,2-2-1169,-1-4-629,1-4 2698,1-5 0,2-8 0,2-2 0</inkml:trace>
</inkml:ink>
</file>

<file path=ppt/ink/ink8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29.41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31 9332,'21'-6'3688,"-3"10"-3059,-8 7-89,-3 8 0,-3-2-91,-1 3 1,1 2-90,-1 1 0,-1 2-90,1 0-91,-1 0 91,0 0-180,0-1 90,0-1-90,-1-2 180,0-2 449,0 5-89,0-4-90,-3 2-540,-5-11-180,-2-12 0,-2-7-180,3-11-90,3-2 1,2-6 89,1-4 90,3-4 0,2-2 90,3-2 0,3 0-89,9-15 179,-2 15-3392,8-9 3482,-5 20 90,18-7 90,-12 16-1,13-3 1,-19 19 0,2 4 360,8 10-270,-6 1-90,7 9 90,-10-2-91,0 4 3393,-2 3-3482,1 3 0,-2 1 0,0 1 0,-4-1 0,1 0-90,-4-1 90,0 0-270,-1-2-180,-2-1 1,-1-2-181,-1-1-180,-1-3-89,-2 0-990,-2 4 629,-3-6-4766,-1 3 5936,-7-8 0,6-6 0,-3-1 0</inkml:trace>
</inkml:ink>
</file>

<file path=ppt/ink/ink8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29.54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1 175 10681,'-24'-27'1889,"7"3"-1709,18 11-90,5 1-90,5 3-90,2 1-270,4 0-90,2 1-359,5 0-181,1 0-359,4 0-90,3-2 1439,1-1 0,5-3 0,1-1 0</inkml:trace>
</inkml:ink>
</file>

<file path=ppt/ink/ink8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29.90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37 9332,'26'-5'4047,"-2"5"-3507,-8 9-90,-5 3-90,-2 3-1,-3-1-89,-1 2-90,0 1 0,0 1 0,-1 2-90,0 0 0,-1-1 0,1-1 0,-2-1 0,-1 0 90,1 4 359,-1-1 181,0 2-630,-4-6-180,-3-10-90,-4-12 0,2-7-90,0-8-269,3-11 269,3 5 90,3-13 0,3 9 90,4-3 0,2 0 0,2-1 0,9-6 180,-4 12-90,5-4 90,-6 15 0,-1 4 0,1 3 270,-1 4-90,5 4-1,-5 5-89,5 4-90,-6 5 90,-1 2-90,0 4 0,-1 3 90,0 1-180,-1 3 90,-1 0 0,-2 0 0,-1 0-90,-1 0 90,-1-1-90,-2 0 0,0 0-180,-1-2-630,-1 8-449,-1-9-180,0 10-2609,-1-10 4048,2 2 0,-2-11 0,2-3 0</inkml:trace>
</inkml:ink>
</file>

<file path=ppt/ink/ink8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30.44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40 9332,'19'7'2698,"-4"1"-2068,-8 9-1,-2 1-89,0 3-90,-1 2 0,1 3-1,-1 3-89,1 1 0,0 1-90,-1 1 0,-1-3-1,0-1-89,-1-1 0,0-2-90,-1-3 90,0-1 450,-1-2 449,0 3-359,-1-2-91,-2-1-539,-6-11-90,-2-12-180,-1-7 1,4-8-181,4-1 90,0-4 0,2-5 90,2-3 0,1-3 0,3-1 90,1-2 0,2 1 0,2 2-89,0 2 179,0 4-90,0 3 0,1 2 0,-1 4-3482,1 2 3392,-2 3 0,0 2-180,0 2 0,1 1 271,2 7 89,-3 8 0,-1 9 3392,-5 8-3392,1 3 0,0-4 89,3 2-89,0-5 0,1 1 90,3 0-90,0 1 0,1 0 90,0 0-90,-2 0 0,0-2 90,-1-1 0,-1-1 90,-1 0 90,-3 2-270,-7 0 90,-1-1 0,-7-3 0,-1-6-90,-1-1 90,-2-1-180,-2 0 0,1-1-270,0-2 0,0 0-179,-1-2-91,1 0 0,0-1-359,0-1-180,0-2-1170,3-1-989,0-3 3328,2-3 0,5 4 0,2 0 0</inkml:trace>
</inkml:ink>
</file>

<file path=ppt/ink/ink8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30.61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0 9602,'27'12'2968,"-2"0"-2159,-10 2-89,1 2-180,-1 4-1,0 2-89,-1 3-90,0 3-90,0 4 0,0 2-91,-1 2 1,-1 1-180,-2-1 0,-3 0-269,-2-3-91,-3-1-180,-3 0-180,-3-1-179,-4-1-360,-5 0-990,-4-1 2249,-18 8 0,3-10 0,-14 6 0</inkml:trace>
</inkml:ink>
</file>

<file path=ppt/ink/ink8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30.89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74 232 8748,'-57'0'4228,"5"-1"-3059,9 0-269,5 0-181,7 0 155,5 0 475,5 0-817,16-5-82,13 2 0,24-7-91,17 3-827,12 1 1,23-2 0,5 1 0,-11 0 557,8 0 0,2 1-592,-1-1 1,14-1 0,0 1 0,-14 1 546,2 1 0,-9 2-647,5-1 1,0-1 646,0 2 0,0-1-423,-2 0 0,0 0 423,-2 1 0,-1-1-45,-7 1 0,-1 0 0,-4 0 0,2 0-90,17-1 0,-2-1 260,-23 2 0,0 0-260,16-1 0,-4 0 594,11 0-774,-11-1-180,-16 3 965,-9-1-1235,-10 1 2328,-7 2-3317,-6-1 1316,-5 3-1046,-17 3 85,-7 1-2244,-17 3 3669,-10 1 0,-10 1 0,-6 1 0</inkml:trace>
</inkml:ink>
</file>

<file path=ppt/ink/ink8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31.45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249 9152,'7'-25'3508,"2"6"-2609,-3 15-449,3 12 0,-2 4-1,1 7-89,-2-1 0,1 2 0,0 2-90,0 0 0,0 1-1,-1 0 91,2 10-270,-2-9 90,1 8-90,-3-12 90,0 5 360,-1-7 539,1 8 90,-2-9-719,-4 0-270,-9-13-90,1-6-180,-5-12 0,7-1-90,1-6-90,2-5 0,3-4 1,4-8 89,3-2-484,5-7 484,5-1 1,4-1-1,3 2-90,15-12 180,-9 20-3262,10-7 3172,-15 25-125,7 0 125,-8 10 180,9 1-90,-16 11 348,4 7-348,-11 7 3417,-3 2-3327,-6 4 196,-5-4-196,-4 2 0,-2 1 0,-3 1-90,-2 0-90,-2-1-90,-1 0 0,-1-1-179,0-1-1,-1-2-90,1-1-90,2-2 1,1-1-1,2-2-2608,2-1 3238,-1 0 0,8-5 0,-1 0 0</inkml:trace>
</inkml:ink>
</file>

<file path=ppt/ink/ink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6:04.183"/>
    </inkml:context>
    <inkml:brush xml:id="br0">
      <inkml:brushProperty name="width" value="0.08571" units="cm"/>
      <inkml:brushProperty name="height" value="0.08571" units="cm"/>
      <inkml:brushProperty name="color" value="#E71224"/>
    </inkml:brush>
  </inkml:definitions>
  <inkml:trace contextRef="#ctx0" brushRef="#br0">0 172 9152,'20'6'2428,"-16"-4"-2428,42 1 90,-25-4-90,0 0 90,3 0-90,1 0 0,0 0 90,2 0-90,0 0 0,13-2 0,-8 2 0,11-1 0,-15 1 0,2-1 0,-1 0 0,1 1 90,1-1-90,0 1 0,0-1 0,-1-1 0,15 1 0,-11-1 90,10 0-90,-13 0 0,-1 1 0,-1-1 0,-1 1 0,0 0 90,11 0-90,-9-1 0,9 1 0,-11 0 0,-2 0 0,1 0 0,0 0 0,0 0 0,11-2-90,-8 2 90,7-2 0,-11 2 0,0-1-90,0 0 90,0 0 0,0 0 0,-2 0 0,0 1 0,0-1 0,-1 0 0,0 0 0,-1 1 0,-1-1 0,0 1 0,-1 0 0,-1-1 0,0 2 0,-1-2 0,-1 1 0,0 0 0,8-1 0,-6 0 0,5 0 0,-7 1 0,-1-1 0,1 1 90,0-1 0,0 1-90,-1-1 180,1 0-90,-1 1 0,1-1 0,-1 1 0,1-1-90,0 1 90,-1-1-90,8 0 0,-6 1 90,5-1-90,-8 1 0,5 0-90,-2 0 90,2 0 0,-9 0 0,-4 2 0</inkml:trace>
</inkml:ink>
</file>

<file path=ppt/ink/ink8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31.66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2 0 12390,'-4'21'1889,"-2"-1"-1439,-5-6-181,1 2 91,-1 0-180,2 1 90,1 2-90,1 0 0,3 1-90,2 0 0,3 1 0,2 0 0,4 2 0,2 0-90,3-1-270,2 0-90,2-1-90,1-2-809,11 3 539,-6-8-89,6 2-361,-9-10-719,-1-3-449,1-4 2338,1-3 0,4-6 0,1-2 0</inkml:trace>
</inkml:ink>
</file>

<file path=ppt/ink/ink8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32.11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7 136 9961,'23'-20'4408,"-1"11"-3869,-11 16-89,-3 6 0,-4 6 0,-3-3-1,0 2-89,-1 1 0,0 1 0,0 1-180,0 1 359,0 16-449,-1-14 90,0 12 270,-1-13 180,1-3-91,-1 2-629,-6-10 0,1-13-179,-3-6-1,5-10 0,2-1 0,1-3 0,2-3 0,2-4 90,1-2 1,2-2-1,1 1 90,1 0 0,2 1 0,1 2 0,1 3 0,0 2 0,0 3 0,0 2 0,0 3 0,-1 1 0,4 1-90,-2 5 180,3 5 0,-7 9-90,-3 9 90,-5 6 0,-1 5 90,0-3-90,2-1 0,0-5 90,2 0-90,2 2 90,1 1 0,3 0-90,2 2 0,2 0 90,0 0-90,0-1 0,0 0 0,-2-2 90,-2-1-90,-1-2 90,-2 0 0,-2 3 0,-5-5-90,-3 3 90,-4-7 90,-3-1-90,-3-1 0,-2-1 0,-2-1 0,-2-2-1,0-1-89,-2-1-89,0 0-181,0-2-540,-12-1 270,8 1-89,-7-2-271,12 0-179,2-2-450,3 1-630,2-2-899,2-2 3058,3-1 0,5 3 0,1 0 0</inkml:trace>
</inkml:ink>
</file>

<file path=ppt/ink/ink8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32.29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33 3 7982,'24'-2'3778,"0"1"-2788,-2 3-1,-1 2-179,-1 3-91,-1 2 91,-1 3-181,-2 2-89,0 1-90,-3 2 0,-2 1-181,-2 2 91,-2 0-180,-3 2 0,-2-1 0,-4 2 0,-2 1-180,-4 1-180,-4-1-180,-3 3-90,-4-2-269,-3 0-91,-4-1-269,-1-1-90,-3-2-361,-1-1-808,-1-3-1170,1-2 3508,-1-4 0,-1-3 0,-2-2 0</inkml:trace>
</inkml:ink>
</file>

<file path=ppt/ink/ink8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25.98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39 1 7892,'-22'8'360,"2"0"-180,8-1 0,-8 6-90,4-4 0,-5 6 0,6-5 90,0 1 0,1-1 90,0 2 179,-12 12-269,9-8 180,-10 12-180,12-9 90,-2 2 0,-1 5-180,-1 2 179,-3 7 91,0 4-579,-1 6 579,0 4 0,1 4-695,1 5 695,2 1 0,2 4-1,2 1-89,1 2 90,3-1 0,2 0 0,3 1-90,1-3-1,3-3-89,2-3 90,3-1-90,2-1 0,1 1 90,7 16-180,-2-19 0,5 11 0,-3-24 0,1-2-9,0-2 9,0-4-180,0-3-89,-1-3 272,-2-5-542,-1-1 548,-2-4-2708,0-2 2611,0-2 0,-4-6 1,0-1-1</inkml:trace>
</inkml:ink>
</file>

<file path=ppt/ink/ink8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26.17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54 0 7892,'-25'12'3149,"-1"1"-2340,2 1 91,2 1-91,3 1 91,3-1-91,4 2-89,5-1-1,5 2-89,6-1 0,7 3-181,7 1 1,10 4-180,8 1-416,5-1 326,4 0-90,1-2-786,0-2 516,-3-3-90,-2-2-300,-3-4 30,-4-2-179,-1-2-361,-5-2-449,-3-3-971,-1-1-2268,-2-3 4970,-3-3 0,2-3 0,-2-3 1</inkml:trace>
</inkml:ink>
</file>

<file path=ppt/ink/ink8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26.67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61 9602,'6'14'6116,"-1"-10"-5666,-6 43-90,1-21-91,0 0 1,1 2 0,-1 0-90,1 0 90,0-2-90,-1 1-90,1-2 90,-1-3-90,1-1 269,-1-3 91,0 4-90,-1-5-360,-4-10-90,2-9 90,-3-14-180,6-4 0,2-6 0,3-8 0,4-6-359,6-6 449,4-2-90,6 1 90,3 1 0,2 4 90,3 3-90,0 5 0,-1 5 40,-2 5 140,-3 6-90,-1 4 0,-5 3 90,-1 5 0,-3 2 90,3 5 268,-6 4-448,-3 7 141,-9 1-141,-8 3 0,-3-3 90,-4 2 0,-3 0-90,-3-1 90,-2 1-90,-2-1 0,-1-1-90,-2-1-180,0 0 1,-1-2-181,1-1-90,1-1-89,2-1-1,2-1-360,3-1-2697,1-1 3687,0-1 0,9-1 0,-1-1 0</inkml:trace>
</inkml:ink>
</file>

<file path=ppt/ink/ink8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26.88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20 0 12750,'6'19'2698,"-3"-1"-1978,-12-4-181,-2 2 1,-1 2 0,-1 1-180,-1 3-1,1 0 1,0 2-180,2 1 90,1 1-180,2 1 90,1-1 0,3 1-90,1-2-90,2 1 0,3-1-180,0 1-90,4-2-180,0-1-90,2-2-89,2-1-181,1-2 1,1-1-181,2-2-89,1-3-180,2-3-990,1-3-989,0-3 3238,1-3 0,4-6 0,2-1 0</inkml:trace>
</inkml:ink>
</file>

<file path=ppt/ink/ink8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27.26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07 11041,'18'2'3867,"-4"10"-3327,-12 7 90,-2 8-180,0-4-1,-1 4 1,0 1-90,0 2 0,0 1-180,0 2 89,0-2-89,-1 0-90,1-3 0,0-2 90,0 0-90,-1-4 0,1-2 360,0-2 89,0 3-269,-1-5-360,-4-9-90,3-8-89,-2-16-91,5-3 0,2-8 90,2-6 90,3-5-283,4-7 283,4-2 90,2-2 1,2 1 178,1 3 1,0 5 90,0 4-90,0 6 0,-1 4 90,-1 4 0,-1 5 90,0 4 0,-1 5 0,0 4 282,-1 3-192,-1 4-90,1 4 0,-1 4 0,0 3-90,-1 5-90,0 3 89,-1 3-179,0 3 90,-2 2 0,-2 2 0,0 2-180,-1 0-90,-3 0-179,0 1-91,-3-3-180,-1-1-179,-1-2-1,-3 0-269,-2-2-270,-2 0-91,-2-2-1438,-1-4 2878,-9 2 0,11-12 0,-4 0 0</inkml:trace>
</inkml:ink>
</file>

<file path=ppt/ink/ink8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27.57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 357 10861,'-4'-30'3418,"2"6"-2789,8 8-89,3 4-90,4 1 0,3-1-180,3 1-181,4 1-89,3 0-89,1 1-91,2 0-180,1 1-180,1 0 0,2-1-269,-1 0-1,3-1 1,-3-2-1,1-2 181,-1 0 89,-3-1 90,8-6 540,-10 6 180,4-4 0,-11 7 180,-3 2-91,-1 1 181,-1 1 629,-1 2 271,2 2-901,2 7 271,-2 1-181,-2 7 1,-6 2 0,-1 4-181,0 2 1,-1 4-90,0 2 270,-1 13-360,-1-7-91,-1 9 1,-3-12-90,-1 0 0,-2 0 0,-1-1 0,-2 1-90,-3-2-90,-1-1-450,-10 5 91,2-9-91,-8 4-180,6-11-89,0-3-181,-1-2-269,0-3-180,1-1-1170,2-3-1438,0-1 4047,2-3 0,8 1 0,1 0 0</inkml:trace>
</inkml:ink>
</file>

<file path=ppt/ink/ink8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27.78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0 15268,'29'0'5037,"-4"1"-7375,-9 1-3509,-4 4 5847,-3 3 0,-3-3 0,-3 0 0</inkml:trace>
</inkml:ink>
</file>

<file path=ppt/ink/ink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6:05.069"/>
    </inkml:context>
    <inkml:brush xml:id="br0">
      <inkml:brushProperty name="width" value="0.08571" units="cm"/>
      <inkml:brushProperty name="height" value="0.08571" units="cm"/>
      <inkml:brushProperty name="color" value="#E71224"/>
    </inkml:brush>
  </inkml:definitions>
  <inkml:trace contextRef="#ctx0" brushRef="#br0">1 169 11850,'32'-6'180,"-6"0"-180,-4 4 90,-4-1-90,2 1 0,2 0 0,1 0 90,0 0-180,2 0 180,23-1-90,-16 1 0,18-1 0,-23 2 0,24-1 0,-18 0 90,20 0-180,-26 0 180,1 1-180,1-1 180,1 1-90,-1-1 0,0 0 0,-2 1 0,0-2 0,-1 2 0,0-1 0,-1 1 0,0-1 0,-1 0 0,-1 1 0,1-1 0,-2 0 0,1 0 0,9 0 0,-8 0 0,8-1 90,-10 1-90,0 0 0,0 0 0,0 0 0,0-1 0,1 1 0,-1 0 0,1-1 0,0 0 0,0 1 0,0-1 0,1 0 0,-1 0 0,0 0 0,-1 0 0,1 0 0,-1 0 0,9-1 0,-9 2 0,7-2 0,-11 2 0,-1-1 0,-1 1 0,0 0 0,-1 0 90,4 0-90,1 0 0,2-1 0,-2 0 0,-1 1 0,-2-1 0,0 1 90,-1-1-720,0 1-1708,0 0 2338,-1 1 0,-5 1 0,-3 0 0</inkml:trace>
</inkml:ink>
</file>

<file path=ppt/ink/ink8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28.52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03 128 10771,'-14'32'3058,"0"1"-2248,5-7-1,-1 6 1,0 2-91,-1 3-179,2 1 0,0 0-181,1-1 1,0-1-90,2-3 0,-1-1-90,1-1 0,1-4 0,0-1 90,-1-4-1,2-3 271,0-2 449,1-2-179,-3 0-720,-5-9 0,2-4-180,-4-12 0,7-4-90,0-6-90,3-7 90,3-5-89,3-7 89,6-7-382,5-4 472,5-4 0,4 0 0,3 2-90,3 2 0,2 2 90,16-11 0,-10 18 0,11-6 0,-15 23 0,-4 5 0,0 6 90,-3 4-90,-2 3 0,-3 4 90,-1 2-90,-4 3 90,-1 3 0,-3 1 293,-2 3-293,-2 1 0,-4 9 0,-4-5 0,-4 7 0,-3-6 0,-4 0 0,-3 0 0,-3-1 0,-4 1 0,-2-2 0,-1 0-90,-2-1-90,0 0-180,0-1-90,1-2-899,-7 4 539,9-5 1,-4 2 89,12-4-989,2-1-4407,-1 2 6116,11 0 0,-4-3 0,11 0 0</inkml:trace>
</inkml:ink>
</file>

<file path=ppt/ink/ink8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28.72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11 13 3122,'21'-13'8006,"-37"20"-5549,8-1-2097,-29 17 782,23-6-962,1 1 564,1 2-654,1 0 1686,4 2-1686,1 0 0,2 2 0,1 0 0,3 0-180,1 0-90,2-1-180,2-1-90,1-1-89,3-1-91,0-2-180,3-2 1,0-3-271,3-2-269,0-3-630,1-3-629,2-5 2608,3-5 0,5-6 0,3-4 0</inkml:trace>
</inkml:ink>
</file>

<file path=ppt/ink/ink8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29.20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83 8882,'19'-13'4857,"1"2"-2788,-10 10-990,-3 12-629,-5 8 0,-5 4 0,-1 1-91,1-6-89,-1 2 0,1 1 0,0-1-90,0-1 0,0 0 90,0 5-1,-1-2 541,0 3 539,2-4-1529,3-18 90,1-4-90,4-16 90,-1 0 1,2-3-1,1-1-90,1-4 90,1 1 0,1-3 0,1 1 0,0-1 90,1 2-90,0-1 90,0 2-90,0 1 90,-1 2 0,0 2-90,-1 3 90,0 0-90,5-2-90,-5 5-90,2-3 90,-2 5-89,-2 2 179,5 4 0,-8 12 90,1 5 0,-5 10 0,0-1 0,1-2 0,0 1 0,-1 2 0,-2-4 0,0 5 0,-1-7 90,-1 0-90,-2 1 0,0-1 90,-3 1-90,-1 0 90,-1-2 0,-2 1-90,-1-2 89,0-1-89,-2-1 0,-1-1 90,-6 4-90,5-5 0,-3 3-179,7-7-361,1 0-540,-3 2-6115,2-1 3237,5-11 3958,7-1 0,11-15 0,4 2 0</inkml:trace>
</inkml:ink>
</file>

<file path=ppt/ink/ink8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29.37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7 17 8612,'32'-7'3688,"-1"2"-2789,-2 2 1,-2 2-91,-3 3-4250,-1 3 4160,0 3-89,-3 3 646,-1 5-827,-1 2 1,-3 5-180,-3 2 0,-2 2 0,-4 3 3106,-3 1-3376,-4 2-90,-3 3-180,-5-1-89,-5 2-271,-4 2 24,-5-1-113,-6 0-271,-2-2-89,-4-3-2699,-19 8 180,14-14 3598,-14 5 0,17-17 0,-2-1 0</inkml:trace>
</inkml:ink>
</file>

<file path=ppt/ink/ink8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29.97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81 7 8882,'-29'-3'4048,"2"1"-2969,5 1-449,19 1 449,11 2-539,59 8-91,5 0-1673,-15-2 0,4 1 1404,2 0 0,1 0 45,7 1 0,3 1-90,9 2 0,3 0 45,5 1 0,1 0-1262,6 1 1,0 1 1171,-29-5 0,0 0 0,1 1-572,1-1 0,1 1 0,1 0 542,1 0 0,0 0 0,1 0-30,7 2 0,2 0 0,-1-1-333,-5 0 0,-1 0 1,0-1 362,6 2 0,0 0 0,-2 0-50,-6-1 1,-2 0 0,1-1 49,-1 1 0,-1 0 0,1 0 123,-2-1 1,0 0-1,0 1-93,-3-2 0,0 1 0,0-1 132,28 6 1,-1-1-178,-5-2 0,-2 0 89,-5-1 1,-2 0-90,-10-3 0,-2 0 339,-5-1 0,-2 0-339,-8-2 0,-3 0 1160,39 3-1115,-11-1 0,-15-3-270,-10 0-90,-9-2-630,-12-1 640,-7-3-730,-20-3 1891,-10-1-2340,-24-2-360,-14 1-810,-13-2-584,-19-1 3193,-9 0 0,29 4 0,-3-1 0,-3 0 0,1 0 0</inkml:trace>
</inkml:ink>
</file>

<file path=ppt/ink/ink8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30.81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 46 13199,'18'21'1889,"-4"1"-1349,-12 2-90,0 4 0,0 3-91,-1 3 1,0 3-90,0 0 0,-1 2-90,0 0 0,-1 1 0,1-1-91,-2 0 91,0-1-90,0-1 0,-1-1-90,1-2 90,-1-4-90,0-2 90,1-3-90,0-4 90,0-1 270,0-4 90,0 4-270,-2-6-90,-1-8-1,0-13-178,0-16 178,3 2-178,2-4 89,0 5 0,2-2 0,0-1 0,1-2 0,0 0 0,0 0 0,1-1 0,1-1 0,0-1 0,0 0-90,1 1 90,0 1 0,2-9 0,0 9 0,1-7 0,-1 11 0,0 0 0,2 0 0,-1 0 0,2-1-90,1 1 90,0 0 0,1 1-90,1 0 90,0 2-90,2 0 90,0 1 0,0 3-90,8-4 90,-7 6 0,6-1 0,-8 6-90,-1 4 90,4 2-90,-1 6 90,-1 7 0,-7 9 0,-7-2 0,-6 3 0,-3-5 0,-3 2 0,-3 0 0,0-1 0,-3 1 0,0-1 0,1-1 0,0-2 0,-6 5 0,6-6 0,-3 4 0,7-8-90,3-1 90,1 4-90,7 1 90,5 0 0,7 0 0,1-3 0,3 1 0,1 1-90,0 1 90,-1 0 0,0 1 0,-3-1 0,0 0-90,-3-1 270,-1-1 180,-2 4 90,-4-2-1,-7 2-89,-10-5-180,-8-3-90,0-4 0,-1-4 0,5 0-90,0-1-90,-1-1-90,0 0-180,-1-1-90,1 0-179,1 0-181,0 0-89,0 0-91,2 1-179,0 0-180,0-1-1440,-1 1-1528,2 1 4317,0-1 0,7 2 0,2 0 0</inkml:trace>
</inkml:ink>
</file>

<file path=ppt/ink/ink8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32.04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3 123 10141,'9'-22'5217,"0"15"-4587,-4 17-90,-2 9-1,-3 7 1,-1-3-90,-1 6-91,0 2 91,-1 4-90,0 1-90,0 1 0,0 1-90,0 1 0,0 0-1,0-1 1,1 0-90,-1-2 0,0-1 0,1-1 0,-1-4-90,0-2 90,1-4 0,0-4 90,0 0 90,0 2-90,-1-5-180,-5-10-90,3-9 0,-2-16-90,4-2 0,1-5 0,1-4 0,2-6 90,2-6 0,3-5-464,3-5 464,3-4 0,3 0 0,4 1 0,3 0 90,3 2-90,3 3 0,2 4 0,2 4 90,0 5-90,-1 6 0,0 5 90,-3 7-90,0 5 0,-3 5 90,0 5 0,9 8 0,-8 2-90,5 8 90,-13-2 465,-4 4-465,-3 0 0,-4 10 0,-5-4 0,-4 6 0,-6-7 90,-4-1-90,-3 0 0,-6 1 90,-2-2 0,-4-1-90,-2-1 0,-2-3 90,0-1-90,0-4 0,1-1 0,0-2-90,3-2 0,0 0 0,3-2-540,-7 0 180,9-2-719,-4 1-540,7-1 1709,2-2 0,4 1 0,5-1 0</inkml:trace>
</inkml:ink>
</file>

<file path=ppt/ink/ink8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32.42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52 4 11940,'-18'-3'2069,"0"3"-1439,6 10-181,-1 3 1,-1 3-90,0 3 0,0 2-180,2 3 89,2 2-89,1 1-90,2 2 90,2 1-90,1-1-90,2 0-90,2-1-90,1 0-179,2 1-1,1-1-180,1-1 0,1-1-269,1-5-1080,5 6-270,-2-9 2159,4 2 0,5-10 0,3-3 0</inkml:trace>
</inkml:ink>
</file>

<file path=ppt/ink/ink8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32.92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9 182 10591,'21'-23'4767,"-4"10"-3867,-13 18-451,-4 13-89,-3-2 0,-1 3-90,1-4 0,-1 1-90,1 1 89,-1-1-179,0 1 90,1-1-90,-1 1 0,1-2 0,-1-1 0,0 0 270,0 3 270,0-2 449,-1 2-1079,-3-14-90,6-9 90,-3-10-90,7-5 90,2 1-90,1-1 0,3-3 90,1 0-90,2-4 90,3 0-90,1-1 90,3-1-90,1 2 90,-1 3 0,1 2-90,-2 3 90,-1 3 0,-1 2-90,5-1 90,-5 6-90,8-1 90,-8 10-89,1 6 89,-7 7 0,-9 12 0,-2-5 0,-6 6 0,2-11 0,-1 1 0,0-2 0,1 2 0,0-1 89,1 0-89,0 0 0,1 1 0,3 12 90,1-10-180,4 11 180,0-14-90,0 0 0,1 0-90,0-1 90,0 0-89,0 3-1,0-1 90,-1 5 0,-5-5-450,-6-1-540,-6-7 271,-5-3-1080,1-3 629,-6-4-269,9-1-1079,-3-3-1080,7-1 3598,2-2 0,3 4 0,2 0 0</inkml:trace>
</inkml:ink>
</file>

<file path=ppt/ink/ink8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33.08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59 1 9332,'33'4'4137,"-4"1"-3057,-11 1-91,-2 3 1,0 1-271,-2 2 1,-2 2-181,-3 1-89,-2 1-90,-2 0 270,-4 10-361,-4-5-179,-4 9-180,-3-7-179,-3 0-181,-3 1-180,-3 0-89,-2-2-1350,-14 8 810,5-8-1620,-8 1-1708,9-10 4587,-1-5 0,-3-2 0,-2-2 0</inkml:trace>
</inkml:ink>
</file>

<file path=ppt/ink/ink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6:06.009"/>
    </inkml:context>
    <inkml:brush xml:id="br0">
      <inkml:brushProperty name="width" value="0.08571" units="cm"/>
      <inkml:brushProperty name="height" value="0.08571" units="cm"/>
      <inkml:brushProperty name="color" value="#E71224"/>
    </inkml:brush>
  </inkml:definitions>
  <inkml:trace contextRef="#ctx0" brushRef="#br0">1 83 11400,'30'8'270,"-1"-2"-180,-6-5-90,3 0 0,-3 0 90,5 0-90,-10-1 0,6 0 0,-6 0 90,1-1-90,0 0 0,2 0 0,0 0 90,2 0-90,-1 0 0,1-1 0,1 1-90,-1-1 90,1 1 0,1-1 0,-1 1 0,1-2 0,1 1 0,0 0-90,12-1 180,-9 0-180,9 0 180,-12 0-180,0 1 180,0-1-180,-1 0 180,1 0-180,-1 0 180,0 0-180,-1 0 180,1 0-90,-1 0 0,-1 0 0,1 0 90,-1 0-90,1 0 0,9-1 0,-7 1 0,7-1 0,-10 2 0,0-1 0,-1 2 0,0-1 0,-1 0 0,0 1 0,-1 0 0,-1 0 0,8 1 0,-6 0 0,6-1 0,-8 1 0,0-1 0,0 1 0,9 0 0,-6 0-90,6 0 180,-9-1-90,1 1 0,-1 0 0,-1 0 0,0 0 0,-1 0 90,5 0-90,0-1 90,3 1 0,-3 0 0,-1 0-1799,-2 0 1709,-2 1 0,-7 0 0,-4 0 0</inkml:trace>
</inkml:ink>
</file>

<file path=ppt/ink/ink8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33.48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033 0 12210,'-41'28'3328,"-4"-1"-2428,1-9-1366,-9 0 1185,-13 2-1009,-7 0 920,-12 0-877,-6-1 697,-7 0-225,47-10 0,-1-1-45,-1 1 0,-1-2-1,-1 1 1,0-1-90,0 0 0,-1-1 45,1 1 0,0-1-90,0 0 0,1-1-45,0 1 0,1-1-90,2 0 0,-1 0-861,-44 5 681,10-1-179,9-1-181,13 0 0,9-1 232,10-1-322,7-1 869,8-1-1048,3-1 129,6-1-2918,0-4 1326,11-6 2362,3-2 0,13-10 0,4 0 0</inkml:trace>
</inkml:ink>
</file>

<file path=ppt/ink/ink8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33.81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360 5 12840,'-40'-4'2158,"-8"4"-1348,-8 6-2308,-17 4 2127,-10 0-1200,-12 2 796,44-6 0,-1 0 0,-2 0 0,-1 0-45,-1 1 0,-1 0-46,-2-1 1,0 1 0,0 0 0,-1 0-90,0 0 0,0 0 0,0 0 0,0 1-45,1 0 0,-1 0 0,2 0 0,0 1-90,2-1 0,0 2 0,3-1 0,0 0-90,2 1 1,2 0-181,-44 10-277,7 2 8,12-2-181,8 1-89,9-1-460,6-1 100,8 0-1170,4-1-1169,9-3 3598,4-1 0,3-2 0,1 0 0</inkml:trace>
</inkml:ink>
</file>

<file path=ppt/ink/ink8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35.21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128 540 8162,'15'-22'1709,"-2"1"-1349,-4 6 0,-1 0 0,-1 0-90,-1 0-1,0 1 1,-2 0 180,-1-1-270,-2-7-90,-1 4 0,-4-6 0,-3 6 0,-2-1 0,-4-1 0,-4 0-90,-4 0 90,-4-1-90,-5 0-90,-5-1 180,-4 1-677,-5 0 677,-3 1-180,-3 2 180,-3 0-180,-3 2-1856,-3 2 1946,-2 1 90,-2 3-673,-1 2 672,-2 2 1,-1 3-90,0 2 0,0 4 90,-1 2 0,1 4-723,-4 4 723,1 4 0,-3 6 0,2 4 0,2 3 0,3 5-1,20-6 1,1 1 0,-22 20-45,24-16 0,1 1-45,-12 20 90,3 3-90,2 4-430,5 3 520,1 4-90,5 2 90,3 3-90,4 2 89,4 1-44,12-23 0,2-1 45,-5 28-45,9-30 0,2 0-45,3 16 180,9 29-180,3-22 90,0-25 0,3 0 0,10 19 90,8 3 730,6-3-730,6-2 0,8-4-993,6-3 903,7-4 45,-9-20 0,3-2-90,-12-9 0,2-1-45,15 6 0,5-3-655,7-5 1,0-4 654,-15-5 0,1-1 45,20 2 0,-1-4-236,-20-5 0,-2-2 236,2-2 0,1-1 0,-1-3 0,1-1 45,4-3 0,0-2 0,0-3 0,-1-1-45,3-4 0,-1-2 45,-3-2 0,1-4 89,18-17 1,-1-5-90,-20 9 0,-2-3 0,16-15 0,-5-3-45,-23 11 0,-4-1 45,-2-2 0,-1-3-45,-3-1 0,-1-2 45,-2-1 0,-3-1 0,-2-1 0,-2 0-45,-3 4 0,-2 0 45,-2 0 0,-3 1-45,-4 4 0,-1 0-1,-3 1 1,-2-1-45,-2 2 0,-3 0-40,-9-47 130,-11 5-180,-11 7-90,-14 6-90,-12 9-180,-12 8 1,-10 8-181,-8 10-90,20 21 1,-2 3 314,16 7 0,0 2 65,-18-1 1,1 5-650,-29 11 404,50 2 0,-1 2-495,0 4 1,1 1-450,0 3 0,0 2 1529,-2 3 0,-1 2 0,-1 4 0,-1 2 0,-3 3 0,1 0 0</inkml:trace>
</inkml:ink>
</file>

<file path=ppt/ink/ink8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35.94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81 30 11400,'-29'-9'3778,"4"1"-2338,11 3-271,2-1-1169,18 5-990,3 1-89,37 10-360,-10 1-1260,16 5-1528,-15-2 4227,-2 0 0,-1 1 0,-3 1 0</inkml:trace>
</inkml:ink>
</file>

<file path=ppt/ink/ink8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36.07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9 40 9691,'-18'-5'6207,"35"-5"-6297,14 4-180,24-4-360,-18 6-89,0 2-360,1 0-1260,0 1-1079,-1 1 3418,0 0 0,2 1 0,1-1 0</inkml:trace>
</inkml:ink>
</file>

<file path=ppt/ink/ink8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39.46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6 247 14099,'-4'30'1799,"0"2"-1259,1-2-91,0 5 1,0 5-397,2 3 307,-1 3-90,2 1 0,0 0-90,1-1-1,0-2 1,0-2-90,1-5 0,-1-1 0,0-4 76,-1-4 14,1-3 90,-1-3 179,0-3-89,-2 0-180,-5-10 51,-1-5-141,-4-13-90,3-8 0,0-7 0,-1-9-90,2-5 0,2-7-460,2-4 370,3-8 90,4-4 0,3-5 1,5-1-1,5-4 0,4 2 90,16-20-90,-4 26 90,11-8-90,-9 31 90,2 6 0,0 9-90,-2 7 90,-1 8 0,-5 6-90,1 5 90,-3 5 0,-1 5 0,-3 3 0,-5 4 460,-4 2-460,-5 1 0,-5 2 90,-5 2-90,-5 0 0,-6 3 90,-5-2-90,-5 2 0,-3-2 0,-6-1 90,-1-3-90,-3-1 0,0-3 90,1-3-360,-14 2 90,13-5-270,-7 0-180,17-7-179,4-1-1530,2-1-1709,-4-4 4048,7-1 0,3 0 0,7-1 0</inkml:trace>
</inkml:ink>
</file>

<file path=ppt/ink/ink8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39.65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25 0 12390,'-19'30'2968,"0"-1"-2158,4-7-181,0 1-89,1 3-90,1 1-90,2 2-91,2 2 1,3 2-90,3 0 0,2 2-90,4 0-270,3 2-90,3 0-269,3-1-271,2-2-89,1-4-271,2-4-449,1-4-899,1-4-1260,0-5 3778,0-4 0,-9-5 0,-2-3 0</inkml:trace>
</inkml:ink>
</file>

<file path=ppt/ink/ink8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40.11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9 169 13559,'19'4'3059,"-5"1"-2430,-13 18 1,-2-1-180,1 4-1,0 2-89,0 3-90,0 2-3482,-1 2 3392,0 1-397,-1 15 307,0-14-130,0 10 130,0-19 0,0-4-90,0-2 3267,0-2-2998,0-3 534,-2 1-803,-2-6 119,-5-6-299,2-10 0,0-7 90,3-4-90,2-4 1,1-4 89,1-2 0,2-5 0,2-2 0,1-5 0,3-2 90,1-3-90,2-1 90,3-2-368,2-1 368,2 3 0,1 2-90,1 5 90,2 2-90,9-5 90,-6 13 0,7-4-21,-10 17 21,-2 2 90,0 4 0,4 4 0,-5 4 90,3 5 277,-8 2-277,-1 3 21,-3 3-21,-1 2 90,-3 3 90,-1 1 0,-1 2 0,-2 2 179,-2 11-269,-1-4 0,-2 9-180,0-10 90,-1 0-90,1-1 90,0 1-90,1-3 0,0 1-90,1-3 90,2 1-90,0-1 179,4 9-179,-1-9 0,3 5-90,-2-11-179,1-2-271,0-2-180,0 3-449,0-2-8662,0 3 8870,-11-12 1,6-1 0,-9-7 0</inkml:trace>
</inkml:ink>
</file>

<file path=ppt/ink/ink8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40.26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07 11490,'18'-22'1440,"1"4"-1081,-3 10-179,2 1-270,2 1-179,1 0-271,1 1-360,0 0-989,1 0-539,0 1 2428,-1-2 0,3-1 0,0-1 0</inkml:trace>
</inkml:ink>
</file>

<file path=ppt/ink/ink8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40.48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11 1 11670,'26'3'3778,"-6"1"-3058,-8 11-1,-3 0-89,-1 5-90,0 4-91,-1 2-89,-2 5 0,1 2-90,-3 1 0,-1 3-90,-2 0 0,-2 3-91,-2 1 1,-3 1 0,-2-1-265,-2-1 175,-2-1 90,-3-3-90,-1-1-90,-1-4-180,-2-2-89,0-5-181,-1-2-90,0-4-89,-1-2-181,2-4-89,-1-3-180,3-2-2434,1-2 3603,-2-4 0,9 0 0,0-1 0</inkml:trace>
</inkml:ink>
</file>

<file path=ppt/ink/ink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6:06.679"/>
    </inkml:context>
    <inkml:brush xml:id="br0">
      <inkml:brushProperty name="width" value="0.08571" units="cm"/>
      <inkml:brushProperty name="height" value="0.08571" units="cm"/>
      <inkml:brushProperty name="color" value="#E71224"/>
    </inkml:brush>
  </inkml:definitions>
  <inkml:trace contextRef="#ctx0" brushRef="#br0">1 77 11760,'40'13'180,"-7"-3"-90,-9-10-90,-4 0 90,2 0-90,1-1-3302,2 1 3302,1-2 90,1 1-90,2-1 0,16 0 90,-9 0-90,12-2 0,-1 2 0,-11-1 0,10 0 90,-15 0-90,-2 1 90,0-1 0,-2 1 90,-1 0-90,0-1-90,0 1 90,-1-1 0,0 0 3391,8 0-3481,-8-1 90,6 0-90,-12 1 0,-2 0 0,-1 0 90,-1 0-90,0 1-180,3-1-539,0-1-900,1 0-1889,-2-2 3508,-3 0 0,-6 3 0,-3 0 0</inkml:trace>
</inkml:ink>
</file>

<file path=ppt/ink/ink8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41.12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9 34 10321,'3'32'2789,"0"-2"-2070,-3-10 1,0 2-181,-1 3 1,0 0-90,0 1 0,-1 1-91,1-1-89,-1 0 0,0-1 0,0 0-90,0-3 90,0-1 539,0-3 181,0 3 179,-1-4-1169,-7-6-90,6-15-90,-3-10 90,9-9-90,2 1 90,2-3 0,3-4 0,2-3 0,3 0 1,2-2 89,0 2-90,2-1 90,0 4-90,0 1 90,-1 4 0,0 3-90,-2 3 90,0 1-90,-1 4 90,-1 2-90,2 2 180,-1 7 0,-6 8 0,-6 8 0,-7 4-90,-3-1 90,2-3-90,0 1 89,0 1 1,0 0 0,1 2 0,1 0 0,1 0-90,2 2 90,1 0-90,2 1 90,1 1 0,1 1 0,1-1-90,0 0 90,0 0 0,2 8-90,-2-9 90,0 6 0,-5-6-90,-2-5 90,-4 1 0,-2-7-90,-3-2 0,-3-1 90,-1-2-180,-1-2-180,-2-2-90,-1-1-180,-2-2-89,0-1-271,0-1-269,1-2-450,1-1-1619,2-3-2159,3-3 5397,4-3 0,3-7 0,2-3 0</inkml:trace>
</inkml:ink>
</file>

<file path=ppt/ink/ink8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41.30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7 1 11400,'31'14'5307,"-4"1"-3687,-12-1-451,-2 2 0,-2 1-179,-2 3-271,-1 0-89,-2 3-90,-3 1-181,-1 1 1,-2 2-180,-2 2-270,-3 0-360,-1 1-89,-4 1-181,0-3-269,-3 0-91,-1-2-269,-1-3 0,-1-2-360,-2-2-1619,1-4-2159,1-4 5487,1-4 0,7-3 0,2-2 0</inkml:trace>
</inkml:ink>
</file>

<file path=ppt/ink/ink8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41.44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30 7713,'33'-6'3508,"-1"-1"-2609,2 2-269,0 1-181,1 0 1,-2 2-180,-2 1-270,-3 1-630,8 2 91,-12 0-1170,4 1 1709,-12 3 0,-8-3 0,0 1 0</inkml:trace>
</inkml:ink>
</file>

<file path=ppt/ink/ink8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41.57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3 0 8612,'-21'10'6656,"0"1"-6026,21-1-180,1-3-1,15 1-89,3-5-90,3-1-90,3 0-90,3 0-90,2-1-180,0-1-270,1 0-89,-2 0-181,0-2-180,-2 0-179,-3-1-1439,-2 0 2518,5-4 0,-14 5 0,1-4 0</inkml:trace>
</inkml:ink>
</file>

<file path=ppt/ink/ink8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26.02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 189 8342,'-2'-25'3148,"0"3"-2248,0 2-720,2 17 180,0 4 539,2 16-629,3 28 0,-2-14 0,3 24-90,-2-21 89,1 1-89,0-1 90,0 1-90,0-1 0,0 0 0,-1-1 0,1-2-90,-2-1 90,0-3-90,-1-2-1,0-3 91,0-2 540,-1-2 0,1 4-1,-1-4-809,-8-10 0,4-9-90,-7-16-90,7-3-89,1-8 89,1-6 0,2-7-430,3-8 430,4-6 90,3-4 0,3 0 0,2 2 0,4 3 0,2 3 90,2 5 0,4 5 0,-1 8 0,3 4 90,-1 8-90,0 5 90,-2 6-89,-1 4 89,-2 5 0,-2 4 0,0 5-90,5 11 90,-10-1 430,3 8-430,-12-6 90,-3 2 0,-4 1 0,-4 1 0,-3 2 0,-5 0 0,-5 1 0,-4 0 0,-3 0-90,-3-3 90,-1 0 0,-13 5-90,11-9-90,-10 3-90,15-11-90,0-2-90,3-2 0,1-2-989,2-2-720,-2-1 2069,5-5 0,7-12 0,8-6 0</inkml:trace>
</inkml:ink>
</file>

<file path=ppt/ink/ink8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26.22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6 0 11311,'1'37'2068,"-2"-3"-1618,-5-11-90,0 1-90,-1 2 90,1 0-91,1 1-89,2-2 90,0 2-90,3-1-90,1 1 0,3 0 90,0 0-90,3 1 0,2-1-90,1-1-180,1-2-90,3-1-180,0-2-179,2-2-181,1-2-179,0-2-1260,1-3-1079,0-3 3328,0-5 0,4-3 0,2-4 0</inkml:trace>
</inkml:ink>
</file>

<file path=ppt/ink/ink8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26.61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222 9332,'18'-1'3778,"-3"6"-3329,-9 9 91,-2 4-90,-2-2-1,0 3-89,-1 1 0,1 3-90,0 0 0,0 1-90,0 0 0,0 0-1,1 0-89,-1-1 0,0 0 0,0-2 0,0-2 90,-1-1 180,1 3 180,-1-1-540,-2 2-270,-6-15 0,-1-6-90,-3-14-90,3-2 91,1-7-1,0-5 0,1-5 90,2-3 0,2-3 180,2-4-90,1-1-303,3-3 393,2 1 0,3 1 90,1 3 0,2 3 90,1 4-90,1 4 0,0 4 180,0 6 0,1 3 0,0 5 179,-1 5-89,8 4 0,-6 6 0,6 6 90,-6 4-180,1 4 89,-1 4 1,1 4-90,-1 3 0,1 3 304,-1 2-304,0-1-1,-2 2-89,-2-1 0,0 0 0,-3-2 0,-1 0 0,0 0 0,-2-1-270,-1-2-539,-1 8 179,-1-9-270,-1 4 1,-1-10-181,-2-4-449,-1 0-989,-2-1-1260,-1-4 3688,-2-1 0,2-6 0,1-1 0</inkml:trace>
</inkml:ink>
</file>

<file path=ppt/ink/ink8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26.77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 81 10861,'-4'-20'1709,"5"2"-1529,9 8 0,3 1-90,1 3-180,3 1-180,0 1-270,3 1-180,-1 1-1078,0 0-451,0 1 2249,-1 1 0,-8-1 0,-2 1 0</inkml:trace>
</inkml:ink>
</file>

<file path=ppt/ink/ink8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27.18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11311,'21'-1'2878,"-4"4"-2248,-8 16-1,-4 2-89,0 5-90,1 3 89,-1 5-89,1 2 0,0 4-180,-1 1-122,2 1 122,-2 1-91,1-1 1,-1-3 0,-1-1-90,1-4 90,-1 0-90,-1-4 0,0-1-90,-1-2 90,0-3 0,-1-3 0,1-2 449,-1-1 91,1 2 301,-1-3-1110,-5-9 89,0-13 90,-3-11-90,2-4 90,1 2-180,2-1 90,-1-2 0,0 1-90,2 0 90,-1 2-180,1 0-180,0 1-629,1-4-540,0 1-1349,-1-2 2968,2 4 0,-1 8 0,1 3 0</inkml:trace>
</inkml:ink>
</file>

<file path=ppt/ink/ink8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27.68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8972,'24'2'2159,"-1"1"-1530,-12 7 1,0 2-90,0 3-1,-1 3-89,0 3 90,0 1-91,-1 3-89,0 1-90,-1 0 0,0-1-90,-2 0 90,0-3-90,-1 1-90,0-2 89,-1-1-89,-1-2 180,0-2 630,0 4 359,1-1-809,-4 1-360,-5-13-180,-5-9 90,-1-10 0,0-6-90,4 0 0,1-1 0,1-3 0,0-1 90,2-1-90,1-1 0,2 0 0,0 0-90,5-10 90,0 9-3302,3-6 3302,-1 13 0,1 1 0,0 2 0,0 3 1,1 1-181,2 3 180,3 4 3392,-2 4-3302,1 9-90,-7 7 90,-1 5 0,-2 4 0,0-2 0,0-2 0,0-5 0,1 0 0,-1 0 0,2 0 0,0 0-90,0 0 90,0-1 0,0 0-90,0-1 90,0 0-90,1 4 90,-1 0 0,-1 3 90,-5-4-90,-7-1-90,-6-2-540,-5-3-449,-3-3-540,-2-3-1979,1-4 360,1-6 3238,6-2 0,7 1 0,6 2 0</inkml:trace>
</inkml:ink>
</file>

<file path=ppt/ink/ink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6:17.125"/>
    </inkml:context>
    <inkml:brush xml:id="br0">
      <inkml:brushProperty name="width" value="0.08571" units="cm"/>
      <inkml:brushProperty name="height" value="0.08571" units="cm"/>
      <inkml:brushProperty name="color" value="#E71224"/>
    </inkml:brush>
  </inkml:definitions>
  <inkml:trace contextRef="#ctx0" brushRef="#br0">642 79 9871,'-8'-20'1170,"-2"2"-1080,0 8 0,-2 1-90,1 3 90,-2 0-180,-1 2 90,-1 1 0,-2 1 0,-2 1 0,-3 3 90,4 0-180,-5 4 90,9-2 0,-5 3 0,1 2 0,3-1 0,-4 3 90,5-2-90,0 1 0,-6 5 89,5-2-89,-5 4 90,6-3 0,1-1-90,0 2 90,-1 0 0,2 1-180,-1 1 180,1 1 0,0 1 0,0 1 0,-5 12-90,4-7 90,-3 8-90,6-9 90,0 0 0,0 1 0,1 0 0,1 2 90,0-1-180,0 1 90,1 1 0,1 0 90,-1 0-90,2 1-1,0 0 1,1 0 90,-2 14-90,2-11 0,-1 12 0,3-15 0,0-1-90,0 0 90,1 0-90,0-1 90,1 1 0,0-1 0,1 1 0,1-1 90,-1-1-180,1 1-3302,1 0 3392,0 1 0,1 1-90,0-1 90,2 13 89,-1-11-89,2 10 0,-2-12 0,1 1 0,0-1 3302,1-1-3302,0 1-90,1 0 90,0-1 0,6 12-90,-3-10 90,4 9-90,-4-13 0,2 0 90,-1 0-90,2-2 0,0 0 90,0-1-90,1-1 90,1-1 0,1-1-90,0 1 90,2-3 0,9 7-90,-5-6 90,7 3-90,-8-8 90,1 0-90,0-2 0,1 0 0,1-1 90,0-1-90,0 0 0,1-2 0,0 1 90,-1-3-90,2 2 89,8 0 1,-6-2-90,6 1 90,-11-3 0,0 0 0,-1 0 0,1-1 0,-2 0 0,0-1 0,-1 0 0,-1-1-90,0 0 270,9-3-180,-6 1 0,8-2 0,-10 1 0,0-2 0,1 0 0,0 0-1,-1-1 1,1-1 0,-1 1 0,0-2-90,0 0 90,0 0 0,-1-1 0,8-5 0,-7 2-90,5-4 180,-9 4-180,0-1 90,-2-1 0,1-1 0,0-1 0,-1 0-90,0-2 90,-2-1-90,1-1 0,-2 0 0,1-1 90,2-9-90,-3 6 0,2-8 0,-5 10 90,3-10-90,-3 8 0,2-7 0,-4 9 0,-1 0 0,1 0 0,-1 0 90,-1 0-180,0 0 90,0 0 0,0-8 0,-1 6 90,1-7-180,-3 10 180,1-1-180,-1 1 90,0 0 0,-1 0 0,0-1 0,0-7 0,-1 5 0,-1-4 0,1 8 0,-2 0 0,1 0 0,-1-1 0,-1 1 0,0-1 0,-1 1 0,0 0 0,0 0-90,-1 1 90,0 0 90,0 0-180,-1 1 180,1 0-180,-1-1 180,-1 1-180,0-1 90,0 1 90,0-1-90,0 1 0,-1 0 0,0 0 0,-1 1 0,2 0 0,-2 1 0,2 1 0,-5-7-90,3 6 90,-4-5 0,5 8 0,-1 0 0,1 1 0,0-1 0,0 2 0,-1-2 0,1 1 0,-1-1 0,0 1 0,-5-7 0,3 4-90,-4-3 90,4 5 0,-1 1 0,-1-1-90,-1 1 90,0-1 0,-2 1 0,-2-1-90,-1 1 90,-2-2-180,-11-3 0,6 3-270,-18-6 91,17 9-91,-8-1-90,11 5-90,0 2-89,0 1-1,0 2-179,-1 1-271,0 2-1168,-1 2-1170,0 2 3508,1 1 0,-3 2 0,1 0 0</inkml:trace>
</inkml:ink>
</file>

<file path=ppt/ink/ink8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27.88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5 0 7443,'23'1'3598,"-1"3"-2609,-1 1-89,-2 4-91,0 3 1,-3 2-181,-1 3-89,-2 2 0,-4 1-91,-1 1-89,-3 2-90,-2 0 0,-4 1-90,-1 1 0,-3 1-90,-3 0 90,-1 1-90,-3-1-180,-1 0-90,-1-2-180,-1-1 0,0-2-180,0-1-89,0-3-181,1-1-179,2-4-2699,1-2 3688,-2-4 0,7-2 0,-1-3 0</inkml:trace>
</inkml:ink>
</file>

<file path=ppt/ink/ink8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28.00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22 2416,'30'-7'1530,"0"1"538,-1 2-1798,-2 1 530,-3 2-800,-1 1 19,-4 1-828,-1 2 1118,-4 1 1,-7-2 0,-2 1 0</inkml:trace>
</inkml:ink>
</file>

<file path=ppt/ink/ink8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7:28.12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5 0 8972,'-13'20'2159,"12"-5"-2069,16-10 89,7-2-268,-3-2-91,2-1-450,1 1-899,1-1-90,-2 1 1619,0-1 0,-10 0 0,-3 0 0</inkml:trace>
</inkml:ink>
</file>

<file path=ppt/ink/ink8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1:00.80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1 9 10591,'-30'2'6027,"19"-4"-5848,40 0-89,6-3 90,24 4-777,-17 0 687,4 2-90,2-1 90,-1 1-270,-1 1 0,-4-1-270,-1 1-34,-6 0-235,-2 1-1,-4 0-89,-3 0-181,-6 1-2068,-3 0 3187,-3 2 1,-7-3 0,-2 1 0</inkml:trace>
</inkml:ink>
</file>

<file path=ppt/ink/ink8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1:00.98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9 1 7803,'-23'6'2788,"2"1"-1799,3-3 810,3 1 720,-2 0-1979,14 2-181,2-2 1,17 1 0,5-4-90,7 0-90,2 0 0,4-1-90,0 0 89,1 0-268,-1 0-181,-3 0-180,-2-1-360,-4 1-269,-3-1-180,-3 1-5847,-2 0 7106,2 2 0,-10-2 0,0 0 0</inkml:trace>
</inkml:ink>
</file>

<file path=ppt/ink/ink8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8:26.12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3 12120,'21'-8'450,"1"3"-360,-3 8 0,4 1-90,2 1-180,2 0-90,2 1-270,1 0-179,0 1-181,-1-1-449,-2 2-90,-2-2 1439,-3 1 0,-10-4 0,-4 0 0</inkml:trace>
</inkml:ink>
</file>

<file path=ppt/ink/ink8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38:26.29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10051,'17'5'4588,"-5"-1"-4319,45-1 1,-14-1-2105,8 1 1925,3 1 0,4 1-39,0 0 39,-1 1-180,-2 2-90,-6-2 192,-2 1-642,-10-2-179,-2 1-91,-7-2-359,-3 1-1788,-4 0 3047,0-1 0,-10-2 0,-1 0 0</inkml:trace>
</inkml:ink>
</file>

<file path=ppt/ink/ink8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42.14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211 11580,'15'28'3328,"-2"0"-2338,-7-8-91,-1 3-89,0 3-1,-1 1-179,0 3 0,0-2-91,-1 0 1,0-1-90,0 0-180,0-1 90,0-1-181,-1-3 91,0-1 270,-1-3 539,1 4 361,-1-3-1440,-8-7 89,3-9-178,-9-14-1,8-5-180,-1-5-90,2-5-90,2-5-179,3-8 89,4-7 0,4-5 180,4-5 91,5 1-1421,3 2 1420,4 2 90,3 4-277,3 6 277,2 4-89,15 0 179,-12 15 0,10 0 0,-19 16 0,-1 4 0,-2 4 90,-3 2-90,-2 3 90,-4 3-90,-3 1 90,-4 2 0,-6 7 1288,-4-3-1288,-7 7 319,-6-7-319,-6 3 0,-3-2 0,-5 0 0,-3-1-90,-2-1-90,0-1-90,1-2-180,1-3-89,3 0-1,1-2-180,2 0 1,2-2-181,4-1-1708,2-1 2608,1-2 0,9 0 0,0-1 0</inkml:trace>
</inkml:ink>
</file>

<file path=ppt/ink/ink8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42.33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89 1 10591,'15'6'4228,"-5"1"-3419,-16 8-89,-4 1-91,-3 4-89,-1 4-90,-1 3-1,0 3-179,2 0 0,2 2-90,3 0 90,2 0-180,4 0 90,1 2-90,5-3-180,1 2-180,4-1-180,1-2-90,3-1-179,1-4-1,2-3-269,2-2-1,0-4-179,1-3-180,0-3-810,0-5-809,1-4 2968,0-4 0,6-8 0,1-1 0</inkml:trace>
</inkml:ink>
</file>

<file path=ppt/ink/ink8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42.67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9 292 13110,'17'3'3148,"-4"9"-2609,-15 7-89,-1 5 0,1-5-90,-1 1-1,1 1-89,0-1-90,-1-2 0,1 0 270,-1-2 449,0 4-89,-1-3-180,-2 0-451,-5-11-269,-1-13 1,1-6-91,4-8 0,4-1-90,4-5 90,2-7-180,3-5 270,13-28-90,-2 15-471,9-16 651,-5 25 90,1 5-1,1 5 1,-2 7 180,2 5-90,-1 5 180,0 7 0,-1 3 0,0 7-91,0 4 563,1 5-562,-1 5 0,1 5-90,-2 4 0,0 5-90,-1 2-1,-1 3 1,-3 0 0,-1 2-180,-2-2-89,-2 0-271,-3-3-90,-1-1-3482,-3-2 3213,-2-3-91,-2-1-269,-1-3 0,-4 0-180,-1-3-181,-4-3-1348,-2-2-1979,-2-4 4857,-1-3 0,7-3 0,2-2 0</inkml:trace>
</inkml:ink>
</file>

<file path=ppt/ink/ink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6:18.923"/>
    </inkml:context>
    <inkml:brush xml:id="br0">
      <inkml:brushProperty name="width" value="0.08571" units="cm"/>
      <inkml:brushProperty name="height" value="0.08571" units="cm"/>
      <inkml:brushProperty name="color" value="#E71224"/>
    </inkml:brush>
  </inkml:definitions>
  <inkml:trace contextRef="#ctx0" brushRef="#br0">1410 165 8432,'-19'-11'3148,"2"0"-2608,7 2-180,0 0-270,-1-1 0,1 2 90,-2-1-90,-1 1 90,-3 1-1,-4-1 1,-3 0-90,4 3 90,0 0 0,6 1 0,-1 1 0,-1-1-90,1 1 0,-1 0 90,0-1-90,1 1 89,-1-1-89,1 1 0,0-1-90,0 1 90,1 0 0,-6-2 0,-1 1-90,-5 0 0,-1 2 0,1 1 0,-2 3 0,5 0 0,2 2 0,5-2 0,1 2 0,-1 0 0,-1 0 0,0 2 0,-2 0 0,0 1 0,0 1 0,0 0 0,-1 0 0,1 1 0,0 1 90,0 0-90,0 1 0,0 0 0,-1 1 0,0 2 0,-1 0 0,1 1 90,0 0-90,0 0 0,0 1 0,2-2 0,-1 1 90,3-1-90,-2 2 0,2-2 0,0 2 90,-1 1-90,0 0 90,1 1 0,0 0 0,0 1-90,1-1 90,0 2 0,0-1 0,1 1 0,0 1 0,0 0-90,1-1 90,0 1-90,1 0 90,-5 12-1,4-7-89,-4 9 90,7-10-90,-1 1 90,1 0-90,1 1 90,0 0-90,0 0 0,1 1 90,-2 13-90,2-9 0,-2 10 90,4-13-90,-1 0 0,2 0 90,-1-1-90,2-1 0,0-1 0,0 1 90,0-1-90,1 1 90,0-1-90,1 0 0,-1 11 0,0-8 90,1 8-90,0-11 0,0-1 0,0 1 0,1-1 90,-1 0-90,1 0 0,-1 0 0,1-1 90,-1 1-90,1-1 0,1 1 90,0 11-90,0-9 0,1 8 0,0-11 0,1 1 0,-1-1 90,1 0-90,0-1 0,1 1 0,-1-1 0,1 0 90,1 0-90,-1 0 0,1 0 0,4 9 90,-2-7-90,3 7 0,-1-8 0,0-1 90,1 1-90,1-1 0,0 0 0,1-1 90,1 1-90,0-2 0,0 0 0,1-1 0,-1-1 90,7 7-90,-5-7 89,5 5-89,-4-9 0,1 0 0,1 0 90,1-1-90,1 0 0,0-1 0,1-1 90,1-1-180,1 0 180,11 3-90,-7-4 0,9 3 90,-10-5-90,0-1 0,1 0 0,0-1 90,0 0-90,1 0 90,0-1-90,-1-1 90,0 0 0,-1 0 0,1-2 0,11 1 0,-7-2 0,8 1 0,-11-2 90,0 0-90,2 0 90,0-1-90,2 0 89,-1-1-89,0 1 0,12-3 0,-10 0-90,9-1 90,-14 0-90,0 0 0,-2-1 0,0 0 90,-1-1-90,1-1 0,-1-1 90,0 0-90,-1-1 90,11-7-90,-7 3 0,7-6 0,-11 5 0,-1-2 0,1-2 90,0 0-90,-1-2 0,9-11 0,-10 9 90,7-9 0,-11 9 0,-2 0-90,0-1 0,-1 0 135,6-29 0,0-5-135,-3 10-142,2-10 1,-2 3 231,-12 26-90,-1-1-56,0 0 146,-1-1-90,-1 1 0,0-1 90,0 1-90,-1 0 371,-1 2-371,0-1-3245,0 1 3245,0-1 90,-1 0-90,-1 1 0,1-1 0,-2-1 90,1 0-90,-1-1 0,-2-12 90,0 8 3302,-1-9-3392,1 15 0,1 0 0,-1 0 0,0 2 0,-1 0 0,1 2 90,-1 0-90,1 0 0,-2-1 0,0 0 0,-1 0 90,-7-12-90,2 10 90,-4-9-90,2 12 90,-1 1-180,0 0 180,-2 0-90,-2 0 0,-9-12 0,6 9 0,-8-8 90,9 11-180,1 1 180,-1 0-90,2 2 0,-2-2 0,-1 1 0,0-1 0,-2 0 0,-1 1-90,0 2 90,-2 0-180,-1 1-180,0 2-539,-16-4 269,9 6-89,-10 0-361,11 6 1,1 3-360,-1 3-360,0 3-900,-1 3-1618,1 2 4317,-1 4 0,-1 1 0,-2 1 0</inkml:trace>
</inkml:ink>
</file>

<file path=ppt/ink/ink8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42.79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53 10951,'4'-23'1799,"0"6"-1529,12 8-91,1 4-179,2-1-89,2 2-181,2 0-180,3-1-270,1 1 1,3-2-91,-1-1-629,0-1 90,-1-1 1349,2-4 0,1-2 0,2-2 0</inkml:trace>
</inkml:ink>
</file>

<file path=ppt/ink/ink8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42.93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39 9152,'32'-15'2968,"-1"2"-2158,-11 7 89,0 3-89,-1 1 89,0 4-179,-2 3 719,10 12-809,-9-1-91,5 9-89,-10-3 0,-2 3-90,-2 2-91,-4-1 1,-1 1-90,-3-1 0,-2 3 0,-4-2-270,-3 3-90,-3-2-180,-2-1-269,-4-1-181,0-2-89,-4-1-361,1-4-179,-2-1-1619,0-3-2069,1-4 5127,2-1 0,9-5 0,2-2 0</inkml:trace>
</inkml:ink>
</file>

<file path=ppt/ink/ink8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43.09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91 12660,'32'-11'5487,"-3"0"-3958,-11 2-360,-2 1-179,-2 1-181,-1 0-269,-2 1-1530,3 0-8841,-1-1 8578,-8-2 1,0 4-1,-9 1 1</inkml:trace>
</inkml:ink>
</file>

<file path=ppt/ink/ink8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43.51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262 11850,'21'20'4138,"-2"1"-3059,-11-4-89,1 2-181,-1 4-89,0 1-91,0 3-89,0 1-180,-1 1 0,0 0-90,-1 0-1,-1-1-89,0-2 0,-1-1-90,-1-3 90,1-1-90,-2-3 450,1-2 179,-1 2-629,-9-13-90,3-3-90,-7-16-90,5-5 1,0-7-1,2-4-90,2-7 0,3-4-297,3-7 477,4-4-818,3-3 818,5 1-90,1 2-158,6 2 158,1 3 90,4 5 0,2 4 0,0 7 0,1 6 90,-3 6-90,1 5 0,-4 5 0,0 5 0,-3 3 0,-1 3 0,-4 2 349,-2 3-349,-4 2 826,-4 7-736,-5-2 189,-5 6-189,-6-5 0,-4 1 0,-3 0 0,-5 0 0,-2 0 0,-4 0 0,1-2-90,-3 0-90,2-2-90,0 0-179,0-2-91,3-1-90,2-1-89,3-2-1,1 0-1259,3-1 1979,-1 0 0,19-9 0,3-2 0</inkml:trace>
</inkml:ink>
</file>

<file path=ppt/ink/ink8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43.69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4 0 10501,'15'6'4497,"-5"-1"-3867,-18 10-90,-1-1-90,-1 3-91,-1 3 1,1 3-90,0 2 0,2 2-90,1-1 0,3 2-90,3-1 89,2 3-89,2-1-90,2 2-180,3-2-89,3 0-271,1-3 0,2-2-179,1-2-91,3-3-89,-1-4-91,1-2-269,1-4-810,1-3-899,1-5 2968,0-3 0,6-6 0,1-3 0</inkml:trace>
</inkml:ink>
</file>

<file path=ppt/ink/ink8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44.15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204 9871,'20'-21'3418,"1"2"-2518,-8 13-1,-2 6 91,0 7-91,-5 9-179,-2 6-360,-1 4 179,-1-3-179,-1 5 0,0-5-90,1 4 809,-2-4 900,2-1-2339,-3-20 180,1-8 0,0-16 1,1-6-91,2 5 180,1-4-90,0 0 0,3-2 0,0 0-90,2 0 90,0 3 0,1 1-89,1 3 89,0 2 0,0 3 0,1 3 0,-1 2-180,0 2 90,2 2 180,2 5 0,-2 6 1,-2 8-1,-8 5 180,-5 5-90,-1-3 89,-2 1-3481,1-5 3392,0 0 90,-1 0 0,1 1 0,0 1-90,0 0 90,1 0 0,0 1 3392,1-1-3392,-1 6 0,0-1 90,-1 4-90,-2-4-90,-1-4-270,-4-4-539,-3-3-541,-1-5-539,-1-4-1888,2-5 3777,4-6 0,8-10 0,4-5 0</inkml:trace>
</inkml:ink>
</file>

<file path=ppt/ink/ink8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44.31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69 0 8072,'26'2'3868,"-2"0"-2698,-1 3-181,-2 3 0,-3 2 1,0 4-91,-3 1-89,-2 3-181,-3 2-179,-2 1 0,-2 3-90,-2 0 0,-3 2-91,-2 2-89,-3 0 0,-3 2-180,-5 1-180,-6-1-179,-6 2-271,-7-2-1701,-7 0 1432,-5-2-271,-6-3-618,-4-2-1180,-5-2-1979,-3-4 4754,-9-1 0,-18 0 0,39-8 0,-1 0 0</inkml:trace>
</inkml:ink>
</file>

<file path=ppt/ink/ink8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44.57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69 0 8522,'-42'2'5487,"3"0"-4048,6 0-269,5-1 2158,5 0-2699,19 3-89,17 0 0,30 5-91,21 0-1523,18 4 1254,16 1-1007,-44-6 0,1 0 917,8 0 0,3 0-45,2 0 0,2-1 0,7 1 0,0-2-45,0 1 0,1-2-45,-5-1 0,-1 0 0,1-1 0,-2-1 0,-4-1 0,-1 0 45,1-1 0,-1 0-90,-2 0 0,-1 0 45,-2-1 0,-2 0-558,-3 1 1,-2-1 243,39-1-271,-13 0-269,-18 1-181,-12-1-9,-11 0-8742,-12 0 9790,-20-1 1,-18 1-1,-16-2 1</inkml:trace>
</inkml:ink>
</file>

<file path=ppt/ink/ink8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44.99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06 0 9602,'-8'24'4047,"0"0"-2877,3-4-91,0 3-180,1 4-89,-1 2-180,1 2 89,0 3-269,1 1 90,0 1-181,0 0 181,-1 16-360,1-13 0,-2 9 0,2-17-90,1-3 0,-1-3 90,0-3 269,1-2 451,0-2-1,-2 0-719,-3-10-180,0-11-90,0-9-90,5-13-179,8-16 179,2 4 0,9-19 0,3 11-539,5-3 629,5 2 0,4 0 0,3 4 1,2 2-1,2 5 90,0 4-90,-3 6 0,12 0 0,-16 10 90,7 1 0,-18 10-90,-2 4 90,-4 2-90,-2 3 90,-3 2 0,-2 7 449,-7-2-360,-4 5-89,-7-3 0,-4 0 0,-5 1-179,-2-1-1,-6 0-180,0-1 0,-4-1-180,0-2-179,-1 0-91,-1-2-89,1-1-181,0-1-89,3-1-270,1-2-1170,4-1 2609,-4-3 0,15 1 0,-2-1 0</inkml:trace>
</inkml:ink>
</file>

<file path=ppt/ink/ink8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45.19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2 0 13739,'5'23'2879,"-4"-2"-2160,-11-8 1,0 2-271,-2 3 1,1 2-180,0 3 90,2 0-180,2 1 0,2 0 0,2 0-91,3 1-178,2-1-91,3 2-90,4-2-270,2 0-180,5-2 1,2-2-91,2-4-1079,11 2 720,-6-9 0,8 0-1080,-9-9-809,3-4 3058,1-3 0,5-6 0,2 0 0</inkml:trace>
</inkml:ink>
</file>

<file path=ppt/ink/ink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6:19.662"/>
    </inkml:context>
    <inkml:brush xml:id="br0">
      <inkml:brushProperty name="width" value="0.08571" units="cm"/>
      <inkml:brushProperty name="height" value="0.08571" units="cm"/>
      <inkml:brushProperty name="color" value="#E71224"/>
    </inkml:brush>
  </inkml:definitions>
  <inkml:trace contextRef="#ctx0" brushRef="#br0">16 242 12750,'-9'-21'4047,"3"0"-3597,7 7-90,6-1 0,3 2-180,6-1 0,7 0-1,28-9-358,-5 6-1441,49-10-1032,-32 14-226,22-1-1890,-25 6 4768,1 1 0,-2-3 0,0-1 0</inkml:trace>
</inkml:ink>
</file>

<file path=ppt/ink/ink8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45.58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203 8072,'24'-12'2879,"-1"3"-2160,-2 0 1,-3 2 809,-1 2-809,4 4-1,-7 3-89,2 5 89,-7 2-89,-3 3 0,0 3-91,-4 3 1,0 2 0,-2 1-90,0 3-1,-2 0-179,-1 1 0,-1-2-90,1 0 0,-1-1 0,1-3 0,-1-1 629,1-3 1,-1 2-540,-2-5-360,0-8-180,-1-14 90,4-7 0,3-8 0,2 3 0,3-5 0,2-2 180,3-5-180,2 0 90,2-2 0,0 1 0,1 2 1,0 3-1,-1 1 90,0 5 0,-1 2-90,0 2 90,-1 3-90,-1 3 0,-1 1 90,4 1-90,0 6 90,0 7 90,-2 8-180,-5 11 90,-1-4-90,-1 3 0,0-4 0,0 1 90,2 3-90,-1-1 0,0 1 0,1 1 0,-1-1 90,0 0-90,-2 0 90,-1-1 0,-1-1 90,-1 0-90,-2-1 90,-2-1-90,-3 0 90,-1-1-90,-3-1 90,-2-1-90,-2-1 90,-2-2-180,-1-1-270,-1-3-179,1 0-181,-1-2-359,1-3-181,0 0-449,0-2-1349,2-1-1889,1-3 4947,2-3 0,6 4 0,2 1 0</inkml:trace>
</inkml:ink>
</file>

<file path=ppt/ink/ink8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45.75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25 1 8432,'23'6'5217,"-1"1"-3868,-4 2-89,-2 3-271,-1 1 1,-3 3-361,-1 1 1,-3 2-180,-1 1-1,-3 1-179,-2 2-180,-2 0-90,-2 1-180,-4 0-359,-3 1-91,-3 0-360,-3-1-179,-5 0-360,-3-2-1619,-5-2-2069,-2-4 5217,-5-2 0,-5-4 0,-2-1 0</inkml:trace>
</inkml:ink>
</file>

<file path=ppt/ink/ink8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46.37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77 0 11760,'-6'27'2159,"-1"0"-1529,-3-4-181,0 4 1,-3 3 0,2 2-180,-1 3 90,1 2-91,2-2 1,0 0-90,2-2 0,1 0 0,0 0-180,1-1 0,0-1-180,0-3-270,1-2 1,-1-3-1,2-1 0,-1-3-719,2-2-1620,-2 1-1528,-3-5 4317,0-8 0,2-2 0,2-7 0</inkml:trace>
</inkml:ink>
</file>

<file path=ppt/ink/ink8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46.61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8 1 10591,'-13'21'3598,"8"1"-3058,12-6-1,6 1 1,4-3-90,3 1-90,6 0 89,5 0-89,2-1-90,3-1 0,0-2 0,1-2-1,-2-3-89,0-2-90,-1-2 90,0-3-90,-1-2 0,-1-2 0,-2-3-90,-1-1 0,-3-3-90,-1-1 0,-2-1-90,-3-1 0,-1 1-179,-4 0-181,-1 3-180,-2 0-899,-1 2-6476,-1-1 8095,-11 4 0,4 0 0,-9 4 0</inkml:trace>
</inkml:ink>
</file>

<file path=ppt/ink/ink8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49.10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7 1 10681,'-6'7'4048,"4"-8"-3779,-3 42-89,3-18 0,1 2 0,1 0-90,1 2 90,1 1-90,2 0 0,1 1 0,2 0 0,1-2 0,2-1 0,0-2 0,3-2 0,0-2-90,0-4 90,1-2-90,1-2 89,0-4-89,1-2 630,32-38 0,4-12-540,-18 21 0,18-20 0,-7 2 539,-35 30-269,-3 13-90,-3 8-90,-4 10 0,-4 6 0,1-4-1,0 6-89,-1 1 0,1 4 0,0 1-90,0 2 0,1 0-180,-1 1-89,1-1-91,-1-1-180,0 0-180,1-2 1,-1-3-91,0-2-89,0-3 89,1-2-1079,-1-4 1889,0 2 0,2-12 0,-2 0 0</inkml:trace>
</inkml:ink>
</file>

<file path=ppt/ink/ink8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49.35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93 7803,'25'-22'2968,"0"3"-2249,1 2-179,-1 4 0,0 3-90,-1 3-181,-2 3 91,0 3-180,-1 3 0,-2 2 0,-1 4-90,-2 0 90,-4 5-90,-2-1 269,-3 4-89,-4 6 0,-4-3 0,-4 6-90,-2-7 90,-2 0-90,0 0 0,-1-2-1,1-1 1,1-2 270,1-2 90,-2 4-450,7 2 0,4-3 0,9-1-90,5-6 0,3 0-90,5-1-180,3 0-90,3-1-90,0-1-179,2 0-91,-3 0-269,0-1-181,-4-1-1258,0 0-1260,-3-2 3688,-2-1 0,-10 1 0,-3-1 0</inkml:trace>
</inkml:ink>
</file>

<file path=ppt/ink/ink8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49.72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4 8 10411,'-27'-3'7376,"20"-1"-6926,33 4-1,20 1-89,24 4-1629,4 2 1539,7 1-90,9 0-90,3 0-954,1-1 954,-2 0-180,-7-2-90,-5-1-90,-10-1 0,-7-2-180,-6 0-561,-9-3 292,-5 0-271,-6-2 1,-9 0-1350,-5 0-2461,-7-2 4800,-12-1 0,1 2 0,-9 1 0</inkml:trace>
</inkml:ink>
</file>

<file path=ppt/ink/ink8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49.95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5 1 11850,'-14'25'3598,"3"-4"-2968,13-2-1,0 0-179,1 1-90,0 4 0,1 2-90,-1 2-90,1 3-1,-2 1 1,1 0-90,-2 2 0,0-3-90,-1 0-90,-1-2-180,0-1-179,-1-2-91,0-1-90,0-2 91,-1-3-990,2-1 1529,-1 0 0,1-9 0,0 0 0</inkml:trace>
</inkml:ink>
</file>

<file path=ppt/ink/ink8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50.24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85 0 14099,'-20'15'1349,"1"1"-989,10-3-90,1 3 0,0 0-90,1 1-1,1 1 1,2 0 0,1 1-90,3-2 0,0 1 0,3-1 0,1 0 0,1-2-90,2-1 90,1-2 0,2-3 0,5 0-90,2-6 0,0-2 0,-1-6 90,-5-2-90,0-3 0,-1-2 0,0-2 0,-2-2 0,-1 1 0,-3-1 0,-2 1 0,-1 0 0,-2 0-90,-3 0-90,0 2-180,-3 0-90,0 2-89,-1 1-811,0 2-1348,-4-2 2698,1 2 0,3 3 0,3 2 0</inkml:trace>
</inkml:ink>
</file>

<file path=ppt/ink/ink8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50.36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6453,'0'0'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3:39:18.664"/>
    </inkml:context>
    <inkml:brush xml:id="br0">
      <inkml:brushProperty name="width" value="0.17143" units="cm"/>
      <inkml:brushProperty name="height" value="0.17143" units="cm"/>
    </inkml:brush>
  </inkml:definitions>
  <inkml:trace contextRef="#ctx0" brushRef="#br0">247 0 8162,'-32'7'1889,"3"2"-1529,8-2 90,0 3 0,1 1-91,1 2-89,2 1 90,4 2-180,1 1 90,3 1-90,3 3 0,3 0-1,4 2 1,4 3-90,2 1 0,6 4 0,3 1 0,5 4 0,3 0-90,2 1 0,0-2 0,-2-2 0,-1-3 0,-2-1 180,-2-3 0,-3-2 449,0 4 91,-6-7-90,-1 8-450,-13-11 89,-1-1-89,-7-4 0,-1-8-90,-3-1 90,-1-2-90,-3-2 0,-1-2 0,-2 0 0,0-1-90,-1-2-180,2 0 0,0 0-270,2-1-89,2 0-271,2 0-1259,2 0-1259,0-3 3328,5 0 0,2 2 0,5 1 0</inkml:trace>
</inkml:ink>
</file>

<file path=ppt/ink/ink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4:53.38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16258,'24'5'989,"-1"-1"-6469,-3-2 5750,14 1 1076,20 2-1436,1 0-2159,29 1 1080,-43-3-5937,8-1 7332,-30-5 0,-10 2 0,2-2 1</inkml:trace>
</inkml:ink>
</file>

<file path=ppt/ink/ink9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50.87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201 8972,'25'7'2968,"-2"1"-2158,-8 1-91,2 4-89,1 2-90,1 6-91,1 3 1,0 4-180,-2 1 0,-3 0-90,-3 1 0,-2-1 0,-4-2-91,-3 0 1,-2-3 0,-4-1 90,-2-2-90,-2-1 90,-2-3 0,-2-2-90,-3-2 90,0-4-90,-1-2 0,-1-3 0,1-3 0,-3-2-90,2-4 0,-2-2 0,3-2 0,1-3 0,2-1-90,2-2 90,3 0-90,4-9 0,3 5 90,4-7 0,4 6-90,4-2 90,3 0-90,3-2 0,4-1 0,3-2 0,3-1 0,13-13 0,-10 9-230,9-9 320,-17 15 0,-3 1-90,-3 1 90,-3 4 0,-3-1 0,-4 4-90,-4-6 180,-5 7 140,-5-3-230,-3 8 90,-3 3 0,-4 1-90,0 3 90,-2 3-90,-2 2 90,0 4-90,-2 2-90,1 3 0,1 3 0,1 2-180,3 2 1,3 1-181,4 1 90,4-1-270,3 1 91,4 1-181,4-1-989,12 12-360,-1-8-719,9 6 2788,-4-12 0,5-1 0,1-2 0</inkml:trace>
</inkml:ink>
</file>

<file path=ppt/ink/ink9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0:51.11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41 259 10051,'28'1'3868,"-6"3"-2968,-12 3-91,-4 5-449,-1 4 0,-1-1-1,2 1-89,1-3-90,2 0 90,1 0 0,3-1 0,0-1-90,1-2-90,1-1 89,1-4-89,-1-2 0,1-3 0,0-2 0,-1-5 0,0-2 0,-2-4-90,-1-4 90,-3-2 0,-2-2-90,-3-3 90,-2-1 0,-4-2-90,-2-1 0,-4-1 0,-3 2 90,-2 1-180,-4 1 0,-4 3-180,-3 1-180,-1 4-179,-3 3-91,0 5-359,-2 3-180,-3 3-1620,-1 4-1708,-3 2 4587,-3 4 0,-3 2 0,-1 2 0</inkml:trace>
</inkml:ink>
</file>

<file path=ppt/ink/ink9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1:03.42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4 42 8252,'-23'-11'4498,"2"2"-2969,5 0-1349,12 2-90,7 4 0,14 1 0,7 5 0,7 2-90,6 3 0,7 2-161,3 2 71,4 1 180,1 2-90,-1 0 0,0 0-180,-1 1 90,-2-1-180,-3-1 0,-4 0-180,-3-2-307,-4 0-232,-3-2-990,-6-1 1979,5 0 0,-16-4 0,1-1 0</inkml:trace>
</inkml:ink>
</file>

<file path=ppt/ink/ink9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1:03.61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7083,'30'2'899,"-1"0"-719,-2 0-90,2 2 0,4-2 0,0 3 0,4 0-180,0 2-180,2 0-89,-1 0-271,0 1 180,1-1 450,-3 1 0,3-1 0,-1-1 0</inkml:trace>
</inkml:ink>
</file>

<file path=ppt/ink/ink9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1:03.98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31 8612,'16'-17'270,"2"4"-180,1 12 0,2 1-90,4 1 90,3 1-90,2 0 0,3 2 90,3 1-90,3-1 0,2 2 0,3 0 0,4 1 0,24 4-932,-11-3 932,18 2 0,-20-3 0,1-1-656,1-1 656,0-1 0,0 0 0,1-1-90,-2-2 90,-2 0 0,-2 0 0,-4 0-307,1 0 397,22 2 0,-17-1 0,16 0-90,-23 1 180,0 0-180,3 0-378,0 0 468,3 1 0,-4 1-1,0-1 1,-4 0 0,0 1 0,0 0-90,-1 0 90,-2 0 0,-1 0 0,-1 0 670,-5-1-760,-3 1 738,-3-2-648,-4 1 249,-1-2-249,-5 0 476,-2 0-476,-2-1-40,1-1-2299,-4-3 990,-5-7 1259,-10 1 0,-11-8 0,-3 4 0</inkml:trace>
</inkml:ink>
</file>

<file path=ppt/ink/ink9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1:07.25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9 58 9332,'-2'-28'3957,"-1"1"-3417,-1 25 629,1 6-899,-2 34 0,3-11 0,3 14 0,1-20-90,3 0 0,0 1 0,3 0-91,0-1 91,1-1-90,0 0 90,1-2 0,0-2 0,0-1-90,0-2 90,0-2-90,0-2 90,2-2-180,6-3 90,-4-3-90,5-4 0,-4-3 0,0-2 90,1-3-90,-1-1 0,0-1-90,-1 0 180,-1 1-90,-1 1 0,-2 0 0,3-1 0,-2 2 0,1 8 90,-8 7-90,-3 13 0,-5 0 89,-1 2-89,1-2 0,0 1 0,0 2-89,0 2-181,1-1-90,-1 2-90,0-1-90,1 1-89,-1-1-1,1 0 1,-1-1-181,1 0-89,0-3-91,0 0-3777,0-3 4767,1 2 0,1-10 0,0 1 0</inkml:trace>
</inkml:ink>
</file>

<file path=ppt/ink/ink9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1:07.54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4 8612,'30'-8'2069,"-3"3"-1619,-9 5-91,-1 3 1,0 2-180,-1 3 90,-2 2 0,-3 2 0,-2 0 0,-2 3-91,-3-1 91,-2 2 0,-3 0 0,-1 2 0,-3 1 0,-2 0-1,-1-1 1,-2 0 0,0-1-90,-1-1-90,-1-1 90,1-1-90,1-1 180,0-2 359,2-1 91,-2 2 0,2-1-541,8 1-89,9-5 0,7-3 0,4-3-90,-3-2 90,2 0-270,0-2-90,2 1-89,-2-1-181,0 1-270,-4 0-989,1-1 1799,0 2 0,-8 0 0,1 0 0</inkml:trace>
</inkml:ink>
</file>

<file path=ppt/ink/ink9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1:07.77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2 6004,'7'-12'0</inkml:trace>
</inkml:ink>
</file>

<file path=ppt/ink/ink9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1:08.04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5 1 10861,'-31'6'4227,"4"-1"-2608,11-2-1439,17 1 0,3-1 0,19 1-90,4-1 0,7 0 0,5 0 0,6 1-90,1-1 0,2 0-180,-2 0-180,-5-2-89,-3 1-181,-6-2-180,-3-1 1,-4-1-1530,-5 0 2339,0-2 0,-11 2 0,0 0 0</inkml:trace>
</inkml:ink>
</file>

<file path=ppt/ink/ink9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1:08.71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98 62 8252,'-5'27'2789,"2"0"-1980,3-7-89,0 2-180,1 1-91,1 2 1,0 0-90,0 0-90,-2 0-90,0 1 89,0-1-179,-2-1 90,-1 0 0,0-1 0,-3-1 0,-1-1-90,-1-2 90,-1-1 0,-1-1 90,0-2-91,-2-3 1,-1 0 0,0-3 180,0-3-90,-5-1-90,-1-5-90,-2-5-90,3-7 90,8-5-180,9-5 90,4 3-90,6-1 0,3 3 0,4 0 0,3-2 0,3-1 0,2-2-90,4 0 90,1-2 90,1 0-90,0 1 0,-1-2 90,-1 0-90,-1 1 90,5-9 0,-9 9 0,2-5-90,-13 11 90,-5 2 0,-2-5 0,-6 6-90,-4-2 90,-5 7 0,-2 2 0,-4 3 0,-1 1-90,-2 3 90,-1 2 0,-1 2 0,1 3 0,-1 2 0,-19 23 90,19-11-180,-13 18-89,25-19-91,2 1 0,3-1-90,2 0 0,2-1-89,2 0-91,3 0 90,1 0-180,3-2-89,2-2-1,3-1 1,1-3-1,2-1 1,2-4 179,0-1 180,2-2 270,10-3 270,-6-1 270,6-3 89,-11 1 1,-2 0 539,-2 1-359,4-1 0,-3-1-91,4 3-89,-6 5-180,-3 4-90,-3 6-1,-3 0 1,2 0-90,-1-2 0,2 0-90,1 0 90,2 0 0,0 0 0,1-1-90,0-1 90,1-3 0,-1 0-1,7-2-89,0-5 0,0-2-90,-3-5 0,-5-1 90,-2-4-90,0-2 0,-2-2 0,-2-1 0,-1 0 0,-3 0 0,-1-1-90,-3 0-180,-2 0 1,-2 1-91,-2 0-90,-1 2-90,-2 1 1,0 2-91,-1 2-179,-1 2-1,0 1-1978,1 3 2788,-3-1 0,7 4 0,0-1 0</inkml:trace>
</inkml:ink>
</file>

<file path=ppt/ink/ink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4:55.52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2 0 11580,'-23'8'4948,"14"-1"-4589,20-2 1,9-1-90,7-1 0,-4-1-90,4 1 0,2-1-90,2 0 89,0 0-89,1 0 0,-3 0-90,-1 0 90,-2-1-180,-2 0 0,-1 0-89,-3-1-451,0 1-449,2-1-451,-2 0 1530,1-1 0,-10 0 0,-4 1 0</inkml:trace>
</inkml:ink>
</file>

<file path=ppt/ink/ink9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1:0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5 14908,'22'-8'1979,"-3"2"-4857,-8 8-720,-9 5 3598,-5 6 0,-1-5 0,-1-3 0</inkml:trace>
</inkml:ink>
</file>

<file path=ppt/ink/ink9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1:11.31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388 8612,'25'-17'2069,"-2"3"-1529,-6 5-181,1 3 91,0 1 0,0 3 0,2 3-91,1 3-89,1 3 0,1 5 0,-2 2-90,0 3 0,-3 3-90,-1 2 90,-2 1-180,-3 1 90,-3-1-3393,-2 0 3393,-4-2 0,-2-1 0,-3-1 0,-3-1 0,-4-2 90,-9 4-180,1-7 3572,-7 1-3482,6-8 0,0-2 90,0-2-90,1-2 0,1-2 90,-6-5 0,3-7-180,1-1 89,7-3-89,8 2 90,3-3-90,4-3-90,3-4 90,5-4-179,3-2 89,6-5 0,2-2 0,3-2 0,0 0 0,-1 4 0,-3 2 90,-2 3-90,-4 4 90,-3 1-3482,-2 4 3482,-6 2-90,-6-7 0,-4 9 90,-7-6-90,-2 12 180,-3 1-180,-2 3 3482,-1 3-3392,0 2 0,-1 4 0,1 3 0,1 2 0,1 3 0,2 3 90,1 3-90,2 1 90,3 4-180,2 1 0,2 2-540,3 13 181,3-7-1,2 8-90,3-12-89,1 0-91,4 0-179,1-1-91,4-2-449,1-2 0,3-4 1439,1-3 0,7-3 0,1-2 0</inkml:trace>
</inkml:ink>
</file>

<file path=ppt/ink/ink9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1:11.53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2 94 9781,'26'-6'2969,"-2"1"-2250,-9 8-449,-1 2 0,-2 3-90,-1 1-3392,1 0 3392,0-1 0,3 0-1,1 0-89,1-1 0,0-2 0,0-1 0,-1-2 3302,1-1-3302,-1-2-90,1-3 90,-2-1-90,2-3 90,-3-2-90,-1-1 0,-2-1 90,-2-1-90,-4-5 0,-6-1-90,-2 1-180,-9 2 0,-2 7-179,-3 1-1,-4 3-180,-3 2-89,-5 3-91,-4 4-269,-6 3-540,-5 2-270,-3 3 1622,-2 3 0,0 1 0,2 2 1</inkml:trace>
</inkml:ink>
</file>

<file path=ppt/ink/ink9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1:11.78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0 12480,'21'1'6206,"-5"0"-5666,51-1-1632,-13 2 1452,6 1-90,7 1 0,2 0-799,3 1 709,0 0-90,1 1 90,-2-1-180,-3-1-90,-3 0-90,-8 0-90,-6-1 217,-9-1-487,-7 0-270,-5-1-1079,-6-1-1665,0 1 1305,-23-6 166,-2 3 2083,-25-4 0,-6 3 0,-4-1 0</inkml:trace>
</inkml:ink>
</file>

<file path=ppt/ink/ink9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1:12.40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4 39 10501,'22'-22'4318,"-1"7"-3419,-4 13-539,-3 12-90,-5 3-90,-3 6-1,-6-2 1,-1 3 90,-3 1-90,-3 3 0,-1 0 0,-2 2-90,-2-1 90,-1 0-90,-1-2 0,0-1 0,1-2 0,0-3-1,2-1 1,0-3 0,2-1-719,-1 0 449,8-10 0,2-1 0,11-11 90,2 1 0,3-2 0,1 1 0,1-1 90,8-3 0,-7 5 0,5-3 0,-9 5 90,-2 2 90,4 0 0,-1 3 90,5 2-180,0 5 90,-4 1 0,0 2-90,-4-1 89,1 1-89,2 2 0,2-1 0,1 1 0,0-1-90,2-1 90,1-1-90,0-1 0,0-2 0,-1-2 90,1-2-90,-2-3-90,1-2 90,0-4 0,-1-3-90,5-12 90,-8 4 0,1-7-90,-10 7 90,-5 1 0,-3-1-90,-4 0 90,-3 1 0,-3 0 0,-3 2 0,0 2-90,-2 2 90,-1 1 0,0 3 0,-7 0-180,1 5-269,-3 4-361,4 9-449,8 7 449,8 8-89,5-4-91,5 2-89,2-5-990,2-1-629,3 0 2698,1-2 0,5 1 0,1 0 0</inkml:trace>
</inkml:ink>
</file>

<file path=ppt/ink/ink9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1:12.63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83 7533,'23'-1'5936,"-1"0"-5126,-6 2-181,-4 6 91,-3 3-360,-1 8-90,0-2 0,5 0-91,-2-2 1,2-2 0,2 1 0,0-2 0,1-2-90,1-1 0,-1-2 0,1-3 0,-1-1 0,0-3 0,0-3-90,0-3 0,0-3 90,-1-2-90,-2-2 0,-2-2 0,-1-1 0,-5 0-270,-1-1 0,-4 2-180,-3-1 1,-4 2-91,-3 0-90,-3 1-89,-3 3-91,-3 2-89,-3 2-1440,-5 3-989,-2 2 3328,-4 2 0,-6 2 0,-1 1 0</inkml:trace>
</inkml:ink>
</file>

<file path=ppt/ink/ink9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1:12.99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69 68 8136,'-55'-13'4948,"4"1"-3689,6 0-90,9 3-179,5 1-123,5 2 1022,6 0-1330,15 5-19,15 3-1,23 6 361,21 6-1706,4 0 1,5 2 985,-6-2 0,2 0-918,21 6 1,3-1 872,-15-2 0,0-2 0,1 1 0,0 0-45,2-1 0,0 0 0,1-1 0,-1-1-45,2 0 0,-1-2 0,-4 0 0,-2-2-623,1 0 0,0-1 623,-5-2 0,-1-1-45,1-1 0,0 0 0,0-1 0,-1-1 0,0-1 0,-2-1 0,0 0 0,-2 0 0,-2-2 0,-2 1-90,47-2-547,-15 0 188,-12 0-1808,0 0 1447,-25 1-6116,-1 0 5343,-53 4-2734,-11-2 4317,-31 3 0,-7-1 0,-4 0 0</inkml:trace>
</inkml:ink>
</file>

<file path=ppt/ink/ink9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1:13.52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29 302 11221,'5'-28'3148,"3"7"-2788,1 20-1,0 4-89,-2 9 0,-2 2 0,0 3 0,-2 2 0,1 3-90,-1 0-1,-2 1 1,-2 1-90,0-1 0,-3 0 90,0-1 90,-3-2 0,0-1 0,-2-2 89,0-2-89,-2-1 0,0-4 180,0-1-90,-5-4-90,2-4-181,-3-7 1,5-7-90,6-8 0,5 1 0,4-2 0,4 4 0,2-3 0,2-1 0,3-4 0,3-2-90,2-2 90,2-2-89,0 0-1,0-1 90,-1 1 0,-1 0-90,-3 4 90,-1 0-90,-5 5 90,-1 0-90,-5 5 90,-3 0 0,-5 3 0,-4 2-90,-5 1 90,-3 3 0,-4 3-90,-2 2 90,0 4-90,-1 1 90,1 3-90,0 2 90,1 2-180,-4 9 90,7-3-90,-3 7-90,11-4-179,2 1-1,2-1-270,4 1 1,2 0-271,2 0-179,4 0-1440,1 1-1618,2-2 4227,2-1 0,5 1 0,1-2 0</inkml:trace>
</inkml:ink>
</file>

<file path=ppt/ink/ink9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1:13.82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16 1 13020,'-27'0'1799,"7"1"-1530,4 7 1,6 0-90,-1 3 0,2 0 0,0 4-90,2-1 0,2 3 0,4 0 0,1 1 0,4 2-90,2 1 90,3 0 0,3-1-90,2 1 0,2-3 90,0-3-90,1-2 0,6-1 0,-5-6 0,6-2 0,-7-7 0,7-9 0,-5-2 0,5-7 89,-9 1-89,-4 0 0,-1-1 0,-5 0 0,-2 1 0,-4-1 0,-3 1 0,-3 1-269,-3 1-91,-3 3-180,-1 1-809,-11 0 539,4 5 810,-8 1 0,-5 9 0,-3 1 0</inkml:trace>
</inkml:ink>
</file>

<file path=ppt/ink/ink9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1:14.00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20 0 9422,'17'11'5486,"0"5"-4766,-13 2-90,-2 0-91,-8 3-89,-3-3-90,-5 2 0,-2 1-180,-4 3 0,-2 0-1,-5 5-179,-2 0-350,-2 3 80,-2-1-89,0-1-181,2-2-90,1-1-179,2-4-181,3-2 1,0-2-270,4-2-900,2-3-899,3-2 3058,3-2 0,6-5 0,3-2 0</inkml:trace>
</inkml:ink>
</file>

<file path=ppt/ink/ink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4:56.06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19 1 11580,'-8'8'5757,"3"-2"-5037,-13 42-91,7-7 1,-3 5-90,1 7-874,-1 2 964,0 1-180,0 2-90,0-1 89,1 0-179,0 0 0,0-2 0,1-1-90,-1-1 0,1-5-90,0-2 90,1-4-3052,0-1 2872,0-3 90,1-2-270,-1-3-90,2-4-180,-1-2 0,2-3-89,0-4-1,2-2-816,1-3-8475,0-1 10056,7-13 0,-3 4 0,6-11 0</inkml:trace>
</inkml:ink>
</file>

<file path=ppt/ink/ink9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1:14.48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86 7533,'26'-6'3058,"-1"1"-2249,-2 1-89,-2 3-90,-2 2-91,-1 2-89,-2 3 0,-2 1-90,-3 2-1,-3 2 271,-1 2-450,-5 6 0,-2-3 0,-4 3-90,-3-5 90,-2 0-90,-1-1 0,0 0-90,-1-2 90,0-1 89,1-1 1,-4 1-360,2-2 90,13-5-89,2-1 89,18-6-90,-3 0 0,2 1 0,2-1 90,1 1-90,3-2 90,1 1 0,1-1 0,1 0 0,-1-1 90,1 0 0,-1 1 90,-2 0 0,-1 0 180,-3 0-180,-3 1 90,-1 1 0,-2 0 180,3 0 179,-2 1-89,-2 5 0,-6 7-90,-5 4-91,4 3-89,1-6 0,6-1-90,-2-3 0,1-2 90,2 0-90,-1-2-90,2-2 90,-1-1 0,2-2 0,0-2-90,-1-3 0,0-2 0,-1-3 0,-3-3 90,0-1-90,-4-2 0,-2-1-90,-4 0 90,-5-1 0,-2 1-90,-4-1-180,-4 1-90,-2 1-90,-4 1-89,-2 2-91,0 4-809,-11 0 539,10 5-89,-8 0-90,13 7-4498,0 0 5577,1 3 0,7-2 0,2 2 0</inkml:trace>
</inkml:ink>
</file>

<file path=ppt/ink/ink9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1:14.88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95 12030,'22'8'1439,"1"3"-1169,-11-1 0,1 0 0,0-2 0,0 1 0,3 0-91,0 0 1,2 0 0,1 0 0,0-2 0,1 0 0,0-1 90,1-2-90,0-1 90,-1-2-91,0-1 91,0-2 0,-1-3 0,0-2 90,-2-2-90,-1-2 89,-2-1-89,-2-3 0,-2 0 0,-3-1-90,-5-7-90,-4 5 0,-6-4 0,-2 7-90,-4 2-90,-2 2-90,-2 3-180,-2 2-90,-2 1-89,0 4-271,-2 2 1,0 1-91,-1 3-179,1 1-181,1 2-1168,1 1-1170,2 0 3598,3 0 0,8-4 0,2 0 0</inkml:trace>
</inkml:ink>
</file>

<file path=ppt/ink/ink9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1:15.15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796 61 12480,'0'-20'2698,"-9"2"-1798,-22 12-1,-15 1 1,-14 1-2557,-18 0 2467,-13 1-1121,38 3 0,-1-1 626,-4 2 0,-1-1-1,-3 2 1,-1 0-891,-8 0 1,0 2 800,-2 0 0,-1 0-45,-5 1 0,-1 0-846,1 1 1,0 1 800,1-1 0,0 1-466,0 0 1,2 0 375,6 1 0,0-1-261,3 1 0,1-1 216,7 1 0,1 0-135,1 0 0,2 1 0,2-1 0,0 2 262,3-1 0,1 1-577,-44 9 771,8 1-1041,11-2-89,9-1-91,13-2 1970,6-3-1880,10-1-89,6-3 1567,8-2 1,17-13 0,7-4 0</inkml:trace>
</inkml:ink>
</file>

<file path=ppt/ink/ink9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1:15.51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460 1 6813,'-46'3'2878,"-14"2"-2068,-22 5-2243,34-4 1,-3 2 1746,-7 1 1,-2 1-45,-4 1 0,-1 1 0,-6 1 0,-2 2-46,0 0 1,-1 2-738,0 0 1,0 1 647,0 1 0,0 0 0,2 1 0,0 1-82,3 0 0,0 1 37,2-1 0,2 1-45,6-1 0,2 0 0,2-1 0,3 1-45,4-2 0,3 0-58,-42 20-121,6 1-280,6-1-81,6 1-180,6-1 816,8-2-2075,6-2-540,8-4 2519,7-5 0,5-3 0,4-4 0</inkml:trace>
</inkml:ink>
</file>

<file path=ppt/ink/ink9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1:16.16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37 0 11221,'3'26'1619,"-1"2"-1170,-10-1 1,0 5-180,-2 3 90,1 3-90,1 2-1,0 2-89,2 0 0,0 1 0,1 1-90,1 0-90,0 0-180,0-1-90,-1-2-89,0-3-91,0-3-90,0-2-89,-1-2-181,0-5-90,-2-1-898,1-6 1798,0-3 0,2-7 0,2-4 0</inkml:trace>
</inkml:ink>
</file>

<file path=ppt/ink/ink9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1:16.37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86 93 9781,'-30'1'3598,"0"4"-2158,16 5-811,4 7-89,8-2 0,10 2-91,7-2 1,8 1-90,5 0 0,7-1-91,3-1-89,4-2-222,0-3 222,1-2-90,-3-3 90,-1-2-90,-3-3-90,-2-2-90,-1-4-180,-1-2-90,-1-5-90,-1-2-269,-3-5 401,-4 0-491,-3-2-1,-3 0-179,-3 1-1,-2 0-179,-4 2-3598,-3 2 4767,-3-5 0,-2 12 0,-1-2 0</inkml:trace>
</inkml:ink>
</file>

<file path=ppt/ink/ink9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1:17.14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4 1 8162,'-12'21'1709,"0"-1"-1169,6-4 0,1 2-1,1 2 1,1 1-180,2 1 90,2 2-91,3 0-89,1 1 0,4 0 0,1 1-90,2-1 90,1-2-90,0-3 179,1-2-179,0-3 0,0-2 0,2-3-90,-1-4 0,1-1 90,0-5-180,1-2 180,0-3 0,3-4-90,0-5 90,1-3 89,0-3 1,-1-1 90,0-1-90,-1 1 90,-3 1-180,-1 2-1,-2 2-89,-1 3 90,-2 1 0,1 0-180,-5 14 90,-2 0-90,-6 14 0,-3 0 90,-1 1-90,-1 5 0,0 2 0,-1 4 0,0 1-90,-1 1 0,2 1-180,-1 1-89,0 0-91,0 0-90,1 1-89,-1 0-1,1-1-180,-1-1 91,0-1-271,1-1-179,-1-3-900,1-3-809,-1-3 2878,2-3 0,2-8 0,1-3 0</inkml:trace>
</inkml:ink>
</file>

<file path=ppt/ink/ink9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1:17.42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24 7623,'25'-12'1709,"-1"2"-1350,-8 9-89,0 3 0,0 4-180,1 2 90,-2 4 90,-1 3-90,-2 2 180,-1 2-1,-3 2-89,-1 1 90,-3 1 0,-2 1 0,-1-1-1,-3 0-89,-1 0 0,-1-1-90,-1-1-90,0-1 90,0-2-90,1-2 180,0-2 359,-1 4-89,1-2-90,2 2-360,7-4 90,4-5-91,7-3 1,0-5-90,4-1-90,3-2-179,3-2-91,2-2-90,4-3-90,-1-3 1,3-1-181,-1-2 1,-2 0-91,-2-1 0,-2 0 1,-3 0-720,-1 0-270,-2 0 1799,0-1 0,1-2 0,-1 0 0</inkml:trace>
</inkml:ink>
</file>

<file path=ppt/ink/ink9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1:17.60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870 1 9062,'-9'22'2249,"0"0"-1620,-4-4-89,-4 4 0,-5 3-1,-6 5-179,-3 2-399,-4 2 309,-2 2 90,-2 0-1054,-2 0 874,0 2 0,-1-1-535,0 1 355,1-1 0,-1 0 0,0-1-180,1 1-90,1-2 0,1 1-89,1-2-466,3 0 196,3-4-1,3-1 57,6-5-596,2-1 550,4-5 619,4-2 0,7-8 0,2-3 0</inkml:trace>
</inkml:ink>
</file>

<file path=ppt/ink/ink9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1:17.82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3 1 9961,'23'10'3149,"-5"4"-2880,-17 4 1,-2-2-90,-2 3 0,-1-5-90,1 2 90,-1-1-90,0 2 0,0 0-90,1-1 90,-1 1 0,1 0-90,-1 0 0,1-1-90,-1-1-450,0 0-180,0 4-359,0-2 1079,0 2 0,1-9 0,2-4 0</inkml:trace>
</inkml:ink>
</file>

<file path=ppt/ink/ink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4:56.47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7 94 9781,'8'-22'5487,"-10"12"-5217,-13 16 90,-1 6-180,-2 8 90,8-6-90,0 2 89,2 1 1,0 1-90,1 1 90,3 1-90,0 1 0,2-1-90,2 1 90,1 0 0,3 0-91,1 0 1,3 0 90,1-2-90,1 0 180,2-2-90,2-2 0,1-1 90,1-3-90,1-2 0,2-2-1,-1-2 91,0-3-90,1-2 0,0-4 0,0-2-90,0-4 90,-1-3 90,0-3-90,-2-2 89,-2-2-89,-3 0 0,-2-2 0,-3 0 90,-2-12-180,-3 9 0,-3-10 0,-3 12-90,-2 1-90,-2-1-180,-1 2-180,-3-1-89,1 3-271,-1 1-89,0 2-271,-1 2-4137,-6-3-899,6 7 6206,-6-2 0,14 9 0,0 0 0</inkml:trace>
</inkml:ink>
</file>

<file path=ppt/ink/ink9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1:18.04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3 1 10591,'-7'24'989,"2"-1"-809,6-3-90,1 0 0,0-1 180,0-1-270,1-2 0,-2-8 0,0 0 0</inkml:trace>
</inkml:ink>
</file>

<file path=ppt/ink/ink9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1:18.68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8 208 8252,'28'0'1439,"-6"6"-989,-14 8 0,-6 3-180,-5 1 0,-2-3-180,0 0 89,-1-2 1,1 2 270,-2-2-450,4-12 0,1-3-90,5-14 90,4 6 90,2 9 0,2 5 0,0 8 0,-3 1-3302,1 3 3392,-1 3 180,1 13-181,-3-4 1,1 7 0,-5-7 0,-1-3 0,-2 1 0,-1-1 90,-2 0-90,-2-1 90,-1-1-91,-1-2 91,-2-1 3302,1-3-3302,-1 0 360,-4 2-181,4-6 1,-6 3-270,2-10-90,2-6 0,4-9-180,6-4 0,6-6 0,2 0-270,11-18 180,0 5-89,9-17-1,-3 10-477,3-6 567,1-2 0,-1-1 90,-1-1 0,-2 1 0,-3 4 0,-4 3 0,-4 5 90,-3 3 0,-4 4 0,-5 3-89,-5 1 89,-5 3 0,-4 2 0,-3 4 386,-2 4-386,-1 5 0,-2 3 0,1 3 90,0 4-90,1 4 0,0 4 90,3 4-90,2 4 0,4 2 90,3 2-180,4 2-90,4 3-89,4 1-91,4 4-180,3 2-719,16 17 449,-5-14-269,11 10-450,-7-20-270,2-4 1799,1-3 0,3-4 0,1-2 0</inkml:trace>
</inkml:ink>
</file>

<file path=ppt/ink/ink9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1:18.92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5 182 10321,'15'-30'3418,"-6"5"-3058,-7 22-180,4 5 0,3 9 0,7-3 0,-4-3-1,2-1 181,1-1-180,6-1 0,-5-2-90,4-2 0,-6-2-90,-1-2 90,0-2-90,-2-3 90,0-1-90,-2-2-90,-2 1 90,-2-6-90,-6 0-180,-2 1 0,-7 3-90,0 8-3571,-4 1 3391,-2 3-269,-3 2-91,-5 3-1169,-6 3-719,-5 4 2788,-8 4 0,-4 2 0,-4 3 0</inkml:trace>
</inkml:ink>
</file>

<file path=ppt/ink/ink9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1:19.08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 1 11580,'-5'20'3239,"10"-3"-2880,11-10-89,12 1-90,4-3-180,5 2-180,5 0-270,2 2-580,1 0 130,-3 1-1528,-2 1-1080,-7-1 3508,-5 1 0,-4 0 0,-4 0 0</inkml:trace>
</inkml:ink>
</file>

<file path=ppt/ink/ink9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1:19.22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3 0 9781,'-31'11'4498,"3"-1"-3869,25-3-89,8-2-90,17-1 0,12-1-180,12 1-473,8-1 293,8 1-1014,2 0 564,1-1-89,-2 0-361,-4-1-89,-5 0-860,-9-2-400,-3 1-899,-7-1 3058,-4-1 0,-2-3 0,-3 0 0</inkml:trace>
</inkml:ink>
</file>

<file path=ppt/ink/ink9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32.52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16 200 9961,'-17'-29'3238,"4"0"-2338,7 9-91,2 0-269,0 0 809,1 2-989,4 17-180,1 12 0,2 12-90,1 7 270,-1-4-180,3 16 0,-2-7-91,3 11 1,-4-14 0,2 0 90,-2-1-90,1-1 0,-2-2 90,0-2 90,-1-1-90,-1-3 0,0 0 90,-1-3 449,0-1-89,-1 3-180,-2-3-271,-3-1-269,-5-13 90,1-7-89,-3-10-1,4-4 0,-1-5 0,-1-5 0,2-3 0,0-6 0,2-1 0,1-2 0,2 0 90,3 1-90,3-2 90,3 0-90,3-1 90,3 2-90,3 4-226,3 1 316,0 7 0,8-1-90,-6 13 90,5-1 0,-8 12-90,0 4 90,0 3 316,-1 3-316,-1 4 0,-2 2 0,-2 3 0,-1 9 0,-5-4 90,-2 7-90,-5-7 0,-3 3 0,-4-1 90,-2 1-90,-3 0 0,-4 0 0,-2-1 0,-2-1 90,0-2-90,0-2 0,-1-2 0,1-1 0,-1 0-90,-6 0-90,8-3 0,-5 2 0,11-7-809,0 0-1350,0-1-359,0-5 1529,8-5-1170,6-3-1079,10-4 3418,4 2 0,4-4 0,4-2 0</inkml:trace>
</inkml:ink>
</file>

<file path=ppt/ink/ink9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32.73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7 9062,'23'-12'6206,"-5"7"-5396,-10 10-181,-5 6 1,-5 5-90,-1 1-1,-2 3-179,2 3 0,-2 3-90,2 2-90,0 2 0,1 1 0,1 1-90,2 0 0,1 2-1,1-1-178,2 0 89,1-2-180,1 1 0,2-3-180,1 1-90,1-2-179,2-2-91,0-2 0,0-3-89,1-3-1620,6 0-3867,-4-8 6296,9-4 0,-15-6 0,1-2 0</inkml:trace>
</inkml:ink>
</file>

<file path=ppt/ink/ink9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33.31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57 9961,'4'-21'4768,"0"2"-3059,1 4-720,3 13-629,1 7 0,0 7-1,-2 4-89,-3-1 0,2 1 0,-2 2 0,1 2-90,-1 0 0,0 1 89,-1 1 1,0-1-90,0 1 0,-1-1 0,0 0 90,-2-2-90,1 0 90,-1-1 269,-1 5 271,-1-2-181,0 3 1,-1-5-360,-5-7-180,-1-9-90,-4-10-90,4-4 0,0-5 0,4 2-90,1-3 0,1-1 0,0-1 0,3 0 1,0-2-1,2 0 0,2 0 90,0 0-90,3 0 0,1 1 90,1 2 0,1 1 90,1 2-90,1 1 0,1 3 90,0 1-90,-1 4 0,1 1 90,4 3 0,0 5 0,3 6 90,-7 1-90,-3 9 90,-6 1-90,-2 7 0,-3-4 0,-1-2 0,-1-7 0,-1 5 0,1-1 0,-1 4-90,3-4 90,5-1 0,4-1-90,2-3 90,2-2-90,-2-2 90,0-1 0,1 0-90,-1 1 90,-1 0 0,0 1 0,-1 0 90,-1 1 180,0 4 0,-4 2-90,-4 6 0,-4-6-90,-5 1 90,0-6-90,-4-1 90,0 0-180,-3-2 90,0 1-90,-1-3-180,0 0-90,-1-1-180,1-1 0,2-2-899,-1 0-810,-4-3-719,1-3-5667,-2-5 8545,8-11 0,6 9 0,6-3 0</inkml:trace>
</inkml:ink>
</file>

<file path=ppt/ink/ink9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33.51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30 10231,'22'-16'6297,"2"3"-5218,-9 13-180,-1 4 1,-3 6-91,-5 4-89,0 2-90,-1 4-181,0 3 1,0 3-180,-1 3 0,0 4 0,-1 0-90,1 2 0,-2 1-180,1 1 0,-1-1-270,-1 1-270,1-1 90,-2-2-179,0-2-91,0-3-179,-1-1-91,0-1 1,-2-2-181,0-1-269,-1-3-1619,-1-2 3058,0-4 0,2-8 0,1-2 0</inkml:trace>
</inkml:ink>
</file>

<file path=ppt/ink/ink9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34.36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7 116 13739,'-7'22'1349,"2"-1"-899,7-3 0,1 2 0,0 4-91,0 1 91,0 2-90,-1 0 0,1 4-90,-1-1-1,2 1 1,-1-2-90,0-1-90,-1-2 90,0-2 0,0-1 0,-1-2 449,0-2 451,0 4 719,-1-2-1259,-1 1-361,-3-14-179,-4-12-90,-1-10 1,1-8-1,0-1-90,1-4 90,0-4-90,0-5 90,1-2 0,1-1-90,1-1 180,3 1-90,1 1 0,3 1 0,1 1-270,2 1 91,7-9-91,-1 12 0,5-6-90,-4 17-89,1 4-181,0 5-809,0 3 539,6 6-179,-5 3-180,3 7-1350,-6 3-1618,-2 5 4317,-2 4 0,-3 7 0,-2 2 0</inkml:trace>
</inkml:ink>
</file>

<file path=ppt/ink/ink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29:23.079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 494 24575,'2'2'0,"2"0"0,16 0 0,13 0 0,-5 0 0,11 0 0,-29-1 0,32 2 0,-31-2 0,48 1 0,-28-2 0,56 0 0,-41 0-2246,36-2 0,-1 1 2246,-35 0 0,44-4 0,7-1 0,-9-3 0,-6 2 0,1 0-345,-33 3 1,0-1 344,48-5 0,-5 0-974,-33 4 974,1-4 0,14-3 0,-8 3-704,-12 4 0,-3 1 704,11-5 0,4 0 0,27 7 0,-9 2 0,-20-1 0,10 2 0,17 0 0,-20 0 0,-19 0 0,37 0 0,0 0 0,-42 0 0,16-21 0,2-5 0,2 5 0,25-19 0,-4 1 0,-42 20 0,24 0 0,0 3 0,-22 9 0,10 0 0,2 0 0,12-2 0,13 0 0,-3 0 0,-29 3 0,9 1 0,0-1 0,-11 2 0,47-1 0,-34 1 0,-4 3 0,-1 0 3628,-11 0-3628,5 1 0,-3 0 0,-24 0 0,56-3 0,-38 0 0,42-1 746,-35 2-746,18 2 0,-53 0 0,59 1 0,-24 1 0,1-5 0,1 0 1176,13 0-1176,16-7 0,-57 7 0,52 5 0,-16 3 0,14 2 0,23-3 2013,-63-3-2013,63-1 0,-77 0 0,52-3 0,-47 1 0,66-6 0,-44 4-301,15 2 0,-2 0 301,-28 1 0,52 2 0,-56 0-6585,56 3 6585,-35-2-628,38-2 0,3-1 628,-22-3 0,17 1 0,3-1 0,-7-7 365,-13 4-365,3 1 0,-56 5 0,26 2 0,-28 0 0,15 0 0,-12 1 0,5 0 6142,-6 0-6142,5-1 1936,-9-1-1936,24 0 0,-21 0 0,24 0 0,-15 2 0,2 0 0,15 1 0,-24-2 0,33-1 0,-39 0 0,46 2 0,-26 1 0,61 0 0,-42-1 0,2 0 0,3 0-1168,25 3 1168,-30-1 0,4 0 0,31 0 0,1-1 0,-25 0 0,-2-1 0,7 1 0,0-1-1285,2-1 1,-2 0 1284,-13-1 0,3 0 0,15 0 0,9 0 0,-5 0 0,1 0 0,-1 0 0,-4 0 0,5-1 0,-12 0-819,11 0 819,15-8 0,3-1 0,-3 6 0,-14-4 0,4 0 0,-13 8 0,-7 0 0,11 0 0,8-2 0,-4-1 0,-34 1 0,25-1 0,0-1-232,-19 0 232,21-1 0,-25 2 0,-28 2 949,-4 1-949,-10-1 2553,-1 0-2553,-2-2 987,1 1-987,-4-1 299,2 0-299,-2 1 0,4-1 0,-1 3 0,1-1 0</inkml:trace>
</inkml:ink>
</file>

<file path=ppt/ink/ink9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34.52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21 1 7623,'-22'28'4227,"2"-2"-8628,1-3 5570,4-4 1320,1-2-1410,2-2 1220,2-2-1040,2-1-989,12-6-90,1-1 3392,14-7-3572,0-2-180,5-2-90,3-1-90,5-2-90,2-1-179,2 0-91,1-2 1,-3 2-271,-2 0-89,-3-1-180,-3 2-1080,-1-1-1079,-4 1 3418,-2 1 0,-9 3 0,-3 1 0</inkml:trace>
</inkml:ink>
</file>

<file path=ppt/ink/ink9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35.09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56 3 9961,'-27'-2'3688,"2"1"-2159,8 1-449,-5 2-181,2-1 181,-3 3-271,7 2-539,11 3 0,7 0-90,9 1 0,4-2-90,6 0 0,3-1-1,4 1 1,2-1-90,1 0 0,1-1 0,-1 0 0,0-1-90,-3 1 90,-2 0-89,-2 0 89,-3 0 0,-2 1 179,-4 1-89,-2 1 360,-3 2-180,-5 7 90,-5-3 89,-4 7 1,-4-5 0,-4 2 90,-3 0-181,-5 3 91,-2-1-270,-3 1 90,-1 0-90,-1-2 0,0 0-180,1-1 180,1-2-270,3-1-90,0-1-810,-4 4 271,7-6-91,-2 3-989,9-7-270,-3 1-7762,3 0 9500,12-7 1,-3 1-1,13-8 1</inkml:trace>
</inkml:ink>
</file>

<file path=ppt/ink/ink9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35.28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0 11311,'23'-8'6566,"-6"7"-6027,-6 13-179,-5 2 0,-1 4-90,-2-2 0,0 1-90,1 2-90,-1 2 90,1 0-180,-1 1-180,1 0-180,-1 1-180,1-1-90,-1 0-179,0-2-91,0-1-89,0-2-1530,-1-1 2519,2 2 0,-3-8 0,1 0 0</inkml:trace>
</inkml:ink>
</file>

<file path=ppt/ink/ink9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35.61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83 22 13469,'8'42'2519,"-2"-8"-2069,-5-9-91,0-6 541,8 21-720,-2-15 0,5 15 0,-1-19-1,7 5-89,-3-8 0,7 2 0,-5-9-90,0-3 90,1-3-90,-1-3 90,0-2-90,-2-4 90,1-2-90,-2-5 0,-2-2 90,-2-4-90,-2-2 180,-2-2-90,-3-1 180,-2-1-90,-2 0 90,-3 0-91,-2 0 91,-2 0-90,-3 1-90,-2 1 90,-2 2-90,-3 3-90,-1 1 90,-1 4 0,-1 2-90,1 2-90,-1 2-90,-1 2-1799,2 2 1260,-24 7-181,21 0-269,-16 5-1,27-2-2877,2-1 4047,1 4 0,5-6 0,0 1 0</inkml:trace>
</inkml:ink>
</file>

<file path=ppt/ink/ink9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35.82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38 0 11131,'29'0'4227,"-2"2"-3057,-10 6-91,2 4 0,-1 4-89,1 6-91,0 3-89,-1 5-91,-2 3-179,-2 2 0,-3 3-180,-1 2-1,-3 2-89,-2-2 0,-4 2-90,-2 0 0,-3 0-360,-2 3 0,-4-3-270,-2-2-89,-5-3-91,-2-2-270,-2-3 1,-2-3-270,-2-5-1,-3-2-269,0-5-450,0-3-1169,0-5-1889,0-3 4947,1-5 0,-4-2 0,0-3 0</inkml:trace>
</inkml:ink>
</file>

<file path=ppt/ink/ink9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36.53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83 63 9152,'-34'-7'3148,"3"2"-2338,10 1 89,1 1-89,2 0 449,1 0-360,-3 0 451,4 0-991,11 0 1,10 1 90,20-1-180,10 1 90,14-1-1121,12 0 1030,17-1-89,8 1-90,13-1 0,-47 3 0,1-1-672,2 1 0,0 1 627,1 0 0,0 0-653,1 0 1,0 1 607,-1 0 0,0 0 0,-1 0 0,0 0 0,-2 0 0,0 0-90,46 2-89,-10-1-688,-8 1 507,-11-1 667,-10 0-1297,11 1 271,-25-2 770,6 1-860,-24-2-451,-5 0-2877,-5 0 4499,1-3 1,-10 2 0,0-2 0</inkml:trace>
</inkml:ink>
</file>

<file path=ppt/ink/ink9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36.91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68 16977,'2'-19'990,"4"2"-810,9 12-270,5 0-270,4-1-90,2 2-269,3 0-271,0 0-269,-1 2-1440,-2 1-1528,0 1 4227,-1 2 0,-12-1 0,-3 0 0</inkml:trace>
</inkml:ink>
</file>

<file path=ppt/ink/ink9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37.05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7 0 10861,'-23'17'3778,"4"-3"-2069,8-7 180,-2 2-1710,13-2-358,8-3-361,10-3-180,9-4-89,-4 0-540,4 0-1440,1-1-1888,2 0 4677,1-2 0,3-1 0,1-1 0</inkml:trace>
</inkml:ink>
</file>

<file path=ppt/ink/ink9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37.41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52 8702,'11'-26'2519,"-1"1"-1890,-2 10-89,0-1-90,2 2-91,-1 0 91,1 2-180,1 1 0,0 3 270,0 1-361,7 4 1,-4 3 0,5 3 0,-6 5-90,1 1 90,-1 3-90,-2 3 0,-1 2 0,-2 1 0,-3 2 0,-3 2 0,-2 0 0,-3 1 0,-4 1-90,-2 0 180,-3 0-1,-2 0 1,-2-3 90,-1 1 0,-1-3 0,0 0 0,0-3-90,2-2-1,1-1 1,1-2-90,3-1 180,0 0-90,-1 1-180,5 0-270,3 2-180,7-2-359,6-1-180,1-2-181,3 1-359,0 0-1079,3 1-1350,-2 0 3958,1 0 0,-6-5 0,-3 0 0</inkml:trace>
</inkml:ink>
</file>

<file path=ppt/ink/ink9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37.53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12300,'1'29'9830,"1"0"-9046,-1-12-9869,1-1 9085,6-6 0,-5-4 0,3-5 0</inkml:trace>
</inkml:ink>
</file>

<file path=ppt/ink/ink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3:59:20.802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 0 24575,'0'0'0</inkml:trace>
</inkml:ink>
</file>

<file path=ppt/ink/ink9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38.53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32 181 9242,'1'23'2338,"0"-1"-1708,-1-2-90,0 2-91,1 3-89,-1 1 90,1-1 0,0 2-90,0-1-91,0 0 91,1 0-90,-1-2 0,0-1 90,0-3 449,-1-1 450,1 4-179,0-3-91,-1 3-629,-6-8-180,-3-13-90,-3-4-90,0-10 0,3-1 0,-1-6-90,0-3 0,0-4 0,1-5 0,2-4 0,2-2 0,3-3 0,2-2-90,3 0 90,4-2 1,3 3-91,2 1 180,4 4-180,1 3 180,1 5-90,2 5 90,0 4-90,8 3 0,-6 7 90,5 2 0,-9 8 0,0 3 0,-1 2 0,-2 3 0,-1 2 0,-4 1 90,-2 2-90,-3 0 0,-5 8 0,-3-4 0,-4 5 0,-5-5 0,-3-1 90,-2 0-90,-3-1-90,-1-1 180,-2-1-90,-2-2-90,1-1-450,-10 3 90,9-5-89,-6 1-271,13-4 1,1-1-1080,3-1-5307,-2 1 7196,3 1 0,3-2 0,5-1 0</inkml:trace>
</inkml:ink>
</file>

<file path=ppt/ink/ink9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38.81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31 0 15628,'-19'11'1619,"1"2"-1169,5 3-180,0 3 90,-1 3-181,2 2 91,1 0-90,1 3 0,3 0-90,1 0 0,1-1 0,3 1 0,1-1 0,2 0-90,1 0-180,2 0-360,5 7 90,-1-8-179,5 5-1,-2-12-89,1-3-271,2-2 1,2-2-181,-1-4-1258,2-3-1080,-1-2 3508,2-5 0,2-4 0,3-4 0</inkml:trace>
</inkml:ink>
</file>

<file path=ppt/ink/ink9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39.35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8 242 10501,'14'-2'5307,"-6"-1"-4857,-1 28-90,-5-9-1,1 3 1,0 1-90,0 1 90,0 1-180,0 0 179,0 1-89,0-2 0,-1 1-90,1-2 0,-1-1 90,0-2 180,1 4 269,-2-1 1080,1 3-1169,-2-3-900,-3-18 90,-1-9 0,-1-13-90,1-5 90,2 1 0,0-4 1,1-5-1,1-2 0,2-3 90,1-3 0,2 0 0,1-1 0,3 2 0,1 2 90,1 3-90,1 5 0,1 3 90,0 4 0,1 4-90,0 2 90,0 6 0,0 1-90,5 5 90,-1 5 0,2 6 0,-4 8 0,-8 5 0,-5 6 0,-4-6 0,-3 3 0,0-8 0,0 1 0,0 0 0,-1 0 0,1-1 0,1 0 0,0 6 0,2 2 0,2 0 0,3 1 0,2-7 0,1 1-90,1 0 90,0 0 0,0-1 0,-2 0 0,0-1 0,-2 0 90,-1 6 0,-4-5 0,-3 4 0,-3-7 90,-3 1-90,-2-1 0,-3-2-90,-2 0 90,-2-1-90,0-1 0,-1-1 0,0-1-180,-1-1-90,1-1-180,0-1-809,-5 1-540,7-1-630,-9 0-5216,11-2 7645,-3-1 0,10-1 0,3-1 0</inkml:trace>
</inkml:ink>
</file>

<file path=ppt/ink/ink9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39.71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93 0 13110,'11'13'6206,"-5"-8"-5666,4 44-91,-5-15-89,1 4 0,-1 5-373,0 0 193,0 2 0,-3-3-90,0-1 90,-2-3-90,-2-1-90,-1 0-90,-3-2-180,0-1-20,-3-2-339,-1-2-181,-2-2-179,-1-2-271,-1-2-269,-2-4-1586,1-2-2282,0-4 5397,1-3 0,6-6 0,2-1 0</inkml:trace>
</inkml:ink>
</file>

<file path=ppt/ink/ink9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40.22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45 20665,'3'-23'1019,"-2"7"1,1 11-1</inkml:trace>
</inkml:ink>
</file>

<file path=ppt/ink/ink9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40.90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2 128 15448,'-3'27'1349,"2"1"-989,2-5 0,2 2 0,-1 2-180,0 0 90,1 1-1,-1 0-89,1 1 180,0 9-270,0-10 90,-1 5-90,-1-12 540,-1-3 179,1 5-179,-2-3-271,-2 2-179,-4-9-90,-4-9-90,-2-11-90,1-5 0,2-8-89,4-1-1,1-5 0,1-4 0,2-5 0,3-5 90,2-1 0,3-2 0,2 0 0,3 2-90,2 1 90,19-22 90,-9 27 0,14-15-90,-16 33 90,0 5-90,0 4 90,-1 3 0,-1 4 0,0 1 0,-1 3 0,-1 3 0,-1 2 90,3 8-180,-8-2 180,2 6-90,-11 2-90,-3-5 180,-4 7-90,-3-7 0,-3 0 0,-3-1 0,-3 0-90,-1-1-269,-12 6-1,7-7-90,-7 2-90,9-7-179,2-1-91,1-1 1,1-2-1620,1 0-4047,-1 1 6476,2-1 0,4-1 0,5-2 0</inkml:trace>
</inkml:ink>
</file>

<file path=ppt/ink/ink9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41.14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70 0 16797,'-16'26'1350,"0"-1"-991,7-6 1,1 1-90,1 2-90,1 1 0,2 1 0,2 1-90,1 0 0,2 2 0,1 0 0,2 1-90,1-1-90,1 1-180,2-2 0,0-2-180,1-2 0,0-3-269,1-1-1,0-3-269,1-1-91,0-2-2787,0-3 3867,5-2 0,3-6 0,5-3 0</inkml:trace>
</inkml:ink>
</file>

<file path=ppt/ink/ink9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41.48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287 10861,'11'-25'4767,"2"12"-4047,-6 14-450,1 15 89,-3 1 1,-2 4-90,0-5 0,-1 1-90,0 0-90,0 0 90,0 0 179,-1 0 181,1 3 180,-2 0-181,-1 2 181,-3-5-270,-6-8-270,-1-8-91,0-6 91,3-6-90,3-2 0,1-3 0,2-4 0,0-3-90,3-5 0,2-2 0,8-23 0,-1 13 0,7-15 0,-3 20 0,3 2-3482,-1 4 3482,1 3-90,0 4-90,-1 5-89,1 1-1,-1 6-810,-1 2 361,5 5 3121,-5 4-3391,2 4-180,-7 3-271,-2 2-1528,-3 3-1889,-2 2 4857,-4 3 0,-5 5 0,-2 2 0</inkml:trace>
</inkml:ink>
</file>

<file path=ppt/ink/ink9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41.62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1 10 12030,'-10'19'2429,"9"-5"-2249,16-11-270,4-3-90,0-1-180,2 0-270,2-1-179,0-1-181,2 0-899,2-1-449,-1-2 2338,1 0 0,2-3 0,-1-1 0</inkml:trace>
</inkml:ink>
</file>

<file path=ppt/ink/ink9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41.99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3 14099,'28'-5'2339,"-3"7"-1980,-16 10 91,0 4-180,-3-1 90,0 0-90,-1 2-1,0 0-89,-1 0 180,-2 0 0,1 5 180,-2 1 89,-1 2 1,-3-3 0,-3-6-451,-5-10-89,4-8-90,-2-14 90,7-1-90,4-4 0,1 3 90,6-10-180,0 6 90,4-6 0,-1 10 0,0 2 0,2 0 0,-1 4 0,1 0 0,0 4 0,0 0 0,-1 3 0,6 3-90,0 3 90,0 3-90,-2 4-89,-7 0-1,0 0-90,-2 2 0,0 1-180,-1 0-179,-1 2-1,-2 0-180,1 0-989,-2 0-359,1 6-1620,-2-1 3778,0 4 0,-1-10 0,-2-4 0</inkml:trace>
</inkml:ink>
</file>

<file path=ppt/ink/ink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7:01.521"/>
    </inkml:context>
    <inkml:brush xml:id="br0">
      <inkml:brushProperty name="width" value="0.08571" units="cm"/>
      <inkml:brushProperty name="height" value="0.08571" units="cm"/>
      <inkml:brushProperty name="color" value="#E71224"/>
    </inkml:brush>
  </inkml:definitions>
  <inkml:trace contextRef="#ctx0" brushRef="#br0">784 344 11041,'-5'-22'3148,"-1"1"-2608,-4 10-181,-1 0-269,-1 0 0,1 3 0,-1 0 0,0 3 0,-2 1-90,-3 1 0,-4 3 0,1 1 0,-2 1 0,5 1 0,-2 2 0,-2 0 0,0 2 0,-2 1 0,0 2 0,-2 2 0,2 0 0,0 1 0,0 1 0,0 1 0,1 2 0,1 1 0,0 1 0,-6 11 0,5-4 0,-5 8 0,9-6 0,0 2 90,1 0-90,2 2 90,0 0 0,1 2 90,-1 1 0,2 0-90,0 2 0,0 0 90,1 2 89,-4 18-179,4-12 0,-2 14-191,6-17 281,2 0-90,1-2 90,1 16-1,2-14-89,2 12-90,3-18 90,1 0 0,2 2 0,2-1 0,2 0 0,1 0-90,2-2 90,0-1-90,3-1 90,0-1-90,1-1 90,2-1-90,1-2 0,1 0 90,2-2-90,13 8 0,-7-9 0,10 5 0,-10-12 90,1-1-90,1-2 90,13 1 0,-9-4 281,9 0-371,-11-6 90,-1-2 0,1 0-90,1-1 90,0-1-90,0-2 90,1-1-90,-2-2 0,1-1 0,2-2 90,-1-2-180,18-7 90,-14 2 90,12-6-90,-16 3 90,-1-1 0,-1-3 90,2-2-90,0-2-405,2-3 405,-2-3 0,-2 0 0,0-3 0,-3-1 0,-1-1 90,8-16 0,-11 11-90,5-11 90,-13 17-90,-1-1-1,-1 0-17,-2 1 18,-2 2 90,-1-1 90,1-11-181,-3 9 1,0-10 0,-4 14 0,-1-1 0,-1 1-90,-1-1 90,-1 1 0,0 1 310,-1 1-400,0 0 90,-2-2-90,1 0 113,-2-1-113,1 2 90,-2-12-90,1 11 0,-2-11 0,1 16 0,-1-2 0,1 3 0,-1 1 90,-1 0-90,0 0 0,0 2 0,-4-10 90,2 9-180,-3-8 180,3 11-180,-1 1 180,0-1-180,0 2 180,-1-1-180,-1 1 90,0 1 0,-1-1 90,0 2-180,-7-8 90,4 6 0,-6-5 0,7 9 0,-2 0 0,1 0 0,-2 1 0,0 1 0,-1 0-90,-1-1 180,-2 1-180,0 1 90,-1 0-90,0 2 0,-2-1-270,-11-2 90,7 3 1,-7-2-1,10 5-90,1 2-180,0 0-89,-1 2-1,0 1-270,-1 2-1258,-15 4 719,10 0-1440,-13 5-1708,15 0 4587,0 0 0,-2 3 0,-1 1 0</inkml:trace>
</inkml:ink>
</file>

<file path=ppt/ink/ink9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43.13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74 0 17427,'-28'1'1619,"0"0"-1169,4 4-180,-1 0-90,3-1-90,2 0 179,4 0-179,6 3 0,11 2-90,7 1 0,10-1 90,0-1-90,5 0 0,1 1 0,4 1 0,0 0 0,1 0 0,-1 1 0,1-1 0,-2 0 0,-2 0 0,-2 0 0,-1-2 0,-3 0-90,-3-1 90,-1-1 0,-3 0 360,3 1 270,-3 1-91,-5 4 1,-10-1-360,-10 2-90,-3-4 90,-1-2-90,1-2 0,1 0-90,-3 1 90,0-1-180,0 1-180,-1 0 0,1 0-180,1-1-89,1 0-91,1 0-1169,1 0-90,-4 1-270,2 0 2159,-1 2 0,8-4 0,5-1 0</inkml:trace>
</inkml:ink>
</file>

<file path=ppt/ink/ink9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43.35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14099,'16'0'4947,"-5"5"-4407,-14 15-360,1 5 90,1-4-180,0 2-1,1-5 1,2-1 0,-2 1 0,3 0-90,-1-1-180,1 0-89,-1-1-721,1 0-449,0 4-270,-2 0-6836,1 3 8545,-2-4 0,1-9 0,-2-3 0</inkml:trace>
</inkml:ink>
</file>

<file path=ppt/ink/ink9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43.66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3 36 14279,'5'22'2069,"2"1"-1710,-5-7-179,3 1 90,0-5-90,2 1 0,0-1-90,1 0 90,1-1-90,1-1 0,0-1 0,1 0 269,0-2-179,6-1-90,-1-5 0,1-2 0,-2-5 0,-6-2 0,-2-2 0,0-2 0,-2-1 0,-2-10 0,-3 6-90,-3-6 0,-2 7 0,-4 1 0,-1 0 0,-4 2-180,0 2-90,-2 1-90,-1 3-89,0 0-91,-1 3-90,1 1-89,0 2-91,1 1 91,1 2-271,0 0-2338,3 2 3328,-4 3 0,9-4 0,0 2 0</inkml:trace>
</inkml:ink>
</file>

<file path=ppt/ink/ink9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43.90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8 1 11041,'33'0'4317,"-8"1"-3507,-10 11-1,-4 2 1,-1 4-181,0 5-89,1 3-90,-1 6-90,0 2-90,1 4-1,-1 1-89,-2 0 0,-1 0-90,-3-2-90,-2-1-90,-2-1-270,-3 0 1,-2-2-271,-3 0-90,-2-1-89,-4-1-271,-4-1-359,-2-3-1529,-4-2-1979,0-6 4947,-5-1 0,-4-3 0,-4-1 0</inkml:trace>
</inkml:ink>
</file>

<file path=ppt/ink/ink9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44.60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54 14549,'33'-10'1079,"3"0"-809,-2 6-5661,8 0 5661,10-1 0,7 1 985,11-1-1075,11 1 0,8 0-189,11 2 54,-48 1 0,1 0 45,1 1 0,1 1-90,1-1 0,1 0 45,2 1 0,0 1-1,2-1 1,0 1-45,2 0 0,1 0 45,6 0 0,1 1-445,2-1 1,0 1 444,0 0 0,1 0 378,4-1 1,-2 1-334,-8 0 0,0 0-45,4 0 0,0-1 0,-6 1 0,0-1-1,-2 1 1,3-1-760,24 0 1,1 0 759,-24 0 0,0-1 0,19 0 0,-2-1 144,-28 0 1,-3 0-145,-1-1 0,-1 1-45,48-3 90,-10 1 0,-8-2 90,-12 1-90,-5-1 90,-10 0-1,-8 1 1,-9-1 501,-7 2-681,-4-1 968,-5 0-2677,-3-2 2623,-15 1-2353,-14 1-5847,-24 4 7286,-3 3 0,-13 2 0,7-1 0</inkml:trace>
</inkml:ink>
</file>

<file path=ppt/ink/ink9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45.29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7 150 15268,'5'35'1529,"0"-1"-1079,-1-12-90,2 2 0,1 3-90,-1 2 539,7 28-269,-3-7-360,3 9 0,-7-19-90,-2-15 179,0 8-179,-2-10 180,1 5 90,-1-7-180,-3-4 0,-2 0-180,-7-11 90,0-7-90,-2-8-90,3-4 0,0-3-90,-1-5 90,0-4 0,0-3-90,1-4 90,1-4 0,1 1 90,2-4-90,2 2-201,3-1 201,2-2 90,3 0-90,4 0 90,10-14-90,0 14 90,8-7 0,-3 20 0,1 3-90,1 5 90,0 5 0,0 3 0,0 5-89,-1 2 89,-1 3 0,-1 3 0,-1 2 201,-2 2-201,-1 2 0,-3 2 0,-1 0 0,-4 1 0,-2 1-90,-4 6 90,-4-3 0,-4 4 0,-4-6 0,-3 0 0,-3 0 0,-2 0 0,-1-2-180,-2 0-90,-1-2-90,-1 1-180,0-2-179,0 0-1,0-1-89,0-1-1080,-6 3 630,7-3-4498,-3 2 5757,5-2 0,10-3 0,-2 0 0</inkml:trace>
</inkml:ink>
</file>

<file path=ppt/ink/ink9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45.59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42 17 11221,'8'-16'4407,"-18"19"-3957,-8 8 0,-11 16-91,15-9 1,-1 3 0,1 0-90,1 2 0,2 1-1,2-1-89,2 0 0,2-1 0,2 0-90,1 0 0,4-1 0,0-1 0,4 0-180,0 0-90,2-2-90,2-1-179,2-1-181,1-1-90,2-2 1,1-3-361,0 0-179,2-4-1349,0-1-1350,-1-2 3958,0-3 0,-7 0 0,-3-1 0</inkml:trace>
</inkml:ink>
</file>

<file path=ppt/ink/ink9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46.10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2 46 10411,'-4'33'2968,"3"0"-2518,1-10-90,2 0 0,-1-6-1,1 0-89,-1 0 0,0-1 360,1 1-270,-1 5-1,1 0 1,-1 3 180,0-4 90,0 0 179,0-4-539,0 1-270,-4-14 0,-1-4 0,-6-16 0,3 2 0,-1-3 0,2 2 0,0-2 0,-1-1 0,2-1 90,0 1 0,1-2-90,0 1 90,2 0-90,0-1 0,2 2 0,1 0 90,1 0-90,3-1 0,1 1-540,2 1 180,13-8-179,-6 9-181,9-4-809,-10 14-630,5 2-449,3 4-1350,-2 3 3958,-2 2 0,-12-2 0,-1 0 0</inkml:trace>
</inkml:ink>
</file>

<file path=ppt/ink/ink9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46.58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0 138 10141,'-20'17'4498,"3"-2"-2879,7-5-990,8-1-359,6-1-180,8-2 90,6-4-90,0 0 90,2-1-180,3 0-180,2-1-90,1-1-90,2 0 1,0-2-1,1 0-90,0-2 90,-1-1 0,-1-2 91,-3-1-1,0-1 90,-3-1 90,-1 0-90,-1-1 180,-3 0 0,-1-1 270,-2 2 359,4-4-269,-5 4 360,2-2-180,-3 2-1,0 2 1,4 0 90,-3 7-451,3 8 91,-6 3 90,1 3-90,-3-2 0,-1 2-90,1 0 0,-1 0 89,0 0 1,2 4 270,-1-2 1079,0 3-90,-1-3-1259,-2-16-270,2-4 90,-2-11-90,1 0 90,0 4-90,1-2 90,2 1-180,1-1 180,-1 2-90,1 0 90,1 3-180,0 0 90,1 1 0,0 2 0,5 1-540,1 4 180,5 4-449,-1 7 179,-4 1 1,-3 3-91,-6-2-90,1 0-89,-2 1-990,0 0-90,0 6-180,-1 1-1079,1 3 3238,-2-1 0,-3-11 0,0-2 0</inkml:trace>
</inkml:ink>
</file>

<file path=ppt/ink/ink9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47.17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3 35 12210,'-21'-13'4048,"9"-1"-3868,18 10 0,6 1-91,7 5 1,0 2 0,2 0 0,4 1 0,1 0 0,2 1-90,-2 0 90,-2 0-90,-2 0 0,-1 0 90,-2 0 90,-3-1 180,-1 2 0,-3-1 449,-2 2 1,-2 5-540,-6 2 89,-3 1-179,-6 0 90,-3-4-90,-1 1 0,-3-1-90,-1 0 90,-2 1-180,-2 0 90,-1 1-90,0-1-90,1-1-270,-1 0 0,2-1-90,0 0-179,0-1-181,1 0 1,1 0-181,1-2-89,1 1-1080,2-2 2159,-2 2 0,8-5 0,-2 0 0</inkml:trace>
</inkml:ink>
</file>

<file path=ppt/ink/ink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7:02.728"/>
    </inkml:context>
    <inkml:brush xml:id="br0">
      <inkml:brushProperty name="width" value="0.08571" units="cm"/>
      <inkml:brushProperty name="height" value="0.08571" units="cm"/>
      <inkml:brushProperty name="color" value="#E71224"/>
    </inkml:brush>
  </inkml:definitions>
  <inkml:trace contextRef="#ctx0" brushRef="#br0">1055 269 9602,'4'-25'3418,"-3"2"-2609,-6 4-539,-2 1-90,-1 3 90,-2 1-180,2 4 90,-1 1-1,-2 0-89,0 2 0,-2 0 0,-1 0 0,-1 2-90,-1-1 90,-1 3-90,0 1 90,-2 1-90,-1 1 90,-3 2-90,-2 1 90,-3 3-90,-1 1 90,-2 3 90,-2 3-180,-2 2 90,-2 2 0,1 2-231,-3 4 231,3 0-90,-2 3 179,2 2-179,0 0 90,3 1-90,2-1 180,-13 17-90,15-12 0,-10 13 0,16-16 0,1 1 0,2 1-90,1 0 90,1 1 90,2 0-90,1 0 0,1 1 90,1 0 0,-2 14-180,5-10 89,-2 9 1,6-12-90,1-1 90,1 2-90,0 1 90,2 0-90,0 0 90,1 2 90,2 16-90,1-10-675,2 13 675,1-15 0,1-1-1,3 0-89,0-1 218,2-1-128,1-2 0,1 0-90,1-1 90,1-1 0,1-1-90,0 1 360,20 25-270,-11-22-401,15 19 401,-16-28 0,4-1 495,2 0-405,3 0-90,2-1 90,2-2 0,2-2-90,2-1 90,1-2-90,-1-3 0,1-1 0,-3-3 90,2-2-91,0-2 91,1-2 0,0-1-90,1-2 90,-2-2-90,2-3 90,-2-2 0,2-1-90,0-3 90,-2-1 90,18-10-91,-13 2-89,11-7-256,-16 2 346,-3-1 0,0-3-90,-2-3 90,-1-2-90,-2-2 15,-2-2-15,-1-2 90,9-19 0,-11 11-90,7-14 0,-15 18 0,-1 0 0,-2 1 0,-1-2 0,-2 1 69,0-1-69,-2 0-90,0 0 90,1-17-1273,-4 15 1273,0-12 0,-4 19-90,-3 0 90,1 0-90,-2 0 427,-1-1-427,-1 1 79,-1-1 11,-3-16-90,0 10 0,-3-13 0,2 15 0,-3 0 0,1-1 1802,-2 2-1802,0-1 0,0 0 0,-2 1 0,0 1 0,-1 0 0,-8-13 0,5 11 0,-7-9-90,6 15 90,-1 0 0,-1 2 0,-1 1 0,-2 1 0,0 2-90,-2 0 90,-1 2 0,-2 1 0,0 1 0,-3 2-90,-1 2 0,-16-6-90,9 8-311,-11-4 221,13 10-180,2 2-89,1 2-91,1 2 0,-1 2-179,1 3-91,-1 1-89,-1 3-1440,-17 9 900,13-1-2732,-12 7-1496,18-1 5757,2 2 0,0 3 0,1 2 0</inkml:trace>
</inkml:ink>
</file>

<file path=ppt/ink/ink9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47.38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26 13469,'25'-16'4408,"-1"6"-3689,-15 14-269,-1 7-180,-3 9-180,-3 6 0,0-2-180,-1 0-180,0-6-90,-2 1-269,1 0-1,-1-1-90,0 0 1,0 0-181,-1-1-1258,1 0-3509,1 3 5667,0-1 0,0-5 0,0-5 0</inkml:trace>
</inkml:ink>
</file>

<file path=ppt/ink/ink9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47.67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42 80 12300,'18'-6'3868,"-3"9"-3418,-10 14-271,2 5-89,1-6 90,3 0-90,-1-6 0,2 1 0,0-1 0,1-2 0,0-1 0,0-1 270,0-2-90,5-1-91,0-5 1,2-5-180,-5-2 180,-5-5-180,-5-3 90,-4 2 0,-1-5-90,-5 4 0,-3 2 0,-2-1 0,-3 1-90,-2 0-539,-9-1 89,3 4-90,-6-1 91,7 6-91,0 3-90,0 0-179,0 3-1,3 1-269,0 1-900,2 1 2069,1 1 0,7-2 0,1 0 0</inkml:trace>
</inkml:ink>
</file>

<file path=ppt/ink/ink9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47.93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0 54 9781,'25'-20'3239,"-1"3"-2430,-8 8 630,-1 3-809,8 5 0,-6 3-91,6 6 1,-6 4-90,1 3-1,-1 4 1,-1 3-90,-2 3 0,0 1 0,-3 1-91,-1 1 1,-3 1-90,-1-1 0,-2 0-90,-3-2 90,-2-1-90,-4 1-90,-2-1 90,-3 0-270,-2-2 0,-2-2-180,-2-1-179,-3-3-181,0-1-180,-3-2-3481,0-3 3122,-1-1-450,-1-2-5487,-9-2 7196,7-4 0,2 1 0,13-4 0</inkml:trace>
</inkml:ink>
</file>

<file path=ppt/ink/ink9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48.42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0 15898,'23'0'-1529,"1"1"359,-4 0-1168,3 1-1170,-2 1 3508,0 0 0,-10-2 0,-3 0 0</inkml:trace>
</inkml:ink>
</file>

<file path=ppt/ink/ink9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48.57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1 12390,'17'1'4317,"-11"1"-4406,42-4-271,-22 3-90,2 0-270,2 1-179,-1 0-450,0 0-900,-3 0-989,-1-1 3238,-4 1 0,-8-2 0,-5 1 0</inkml:trace>
</inkml:ink>
</file>

<file path=ppt/ink/ink9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51.95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0 13020,'3'8'3867,"-1"-11"-3687,3 40-180,0-23 90,1 1 0,2 0 0,1 1 90,14 10-90,-8-10 0,30 14 0,-25-22-90,21 4 0,-26-13 0,6-3 0,-8-1 0,1-2 90,-1-2 0,0-1 180,0-1 89,-1-1 1,-2 2 90,0-1 270,-1 1-271,1-2 361,0 2-540,-1 7-180,-5 10 0,-3 7-1,-6 4 1,1-1 90,0 1-180,0 3 90,-1 2 0,0 0-180,0 4 0,0-1-180,0 1 1,0 0-181,0-2-629,-1 10 359,1-7-180,-2 6 1,3-11-1,0-2-179,0-1-90,1-1-180,0-3-4408,-1-1 5757,1 1 0,1-8 0,0 1 0</inkml:trace>
</inkml:ink>
</file>

<file path=ppt/ink/ink9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52.27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31 9332,'21'-12'2968,"-2"3"-2158,-3 3-91,1 3-359,3 3 0,0 6-90,-3 5-91,-3 7 181,-6-2-90,-4 11-90,-4-10 90,-3 7 0,-2-5 0,-2 0-1,0 0-89,-1 0 0,0-1 0,0-1 0,1-1 0,1-2 539,0-1 181,-1 3-91,4 0-359,5 2-180,5-6 90,6-2-180,1-5 0,1-1 0,3-2-1,2 0-179,0-1 180,2-1-180,-1-1 0,1 0-180,-2-1-89,-1 1-91,-3-1-1169,0 0 1529,2 0 0,-21 4 0,-3 1 0</inkml:trace>
</inkml:ink>
</file>

<file path=ppt/ink/ink9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52.48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52 41 11221,'-27'12'6926,"3"-2"-6207,25-7 451,4-1-721,30-4 1,-2-1-90,18-1-90,-5 0 0,6 0-1156,2 0 976,5-1-90,-2 0-180,-5 0-90,-3 0-90,-8 1-179,-4 0-181,-7 0-269,-3 0-1350,-6 1 2339,1-1 0,-12 2 0,-1 0 0</inkml:trace>
</inkml:ink>
</file>

<file path=ppt/ink/ink9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52.89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02 15 10231,'5'20'3418,"1"-1"-2518,0-3-1,0 0-89,1 3-181,0 0-89,1 1 0,-1 1-180,-1-1-91,1 1 1,-2-1 0,0 0-90,-2-1 0,-2 0-90,0-2 0,-2 0 90,-1-2-180,-2 0 90,-1-1 0,-1-2-90,-2-1 90,-2-3-1,-1 0-89,-6-3 90,-3-4-90,0-3 0,1-5 0,5-2 90,1-2-90,1-3 0,1-1-90,2-3 90,2 0 0,2-2 0,1 0 90,2-1-90,1 0 0,1-1 0,2-1-90,0 1 90,1 0 0,1 1 90,-1 2-90,0 1 0,1-3 0,-1 2 0,-3-4 0,-7 10 0,-3 5-269,-15 16-181,8 3-180,-5 8-269,10-3-91,4 2-179,4 0-90,7-2 629,7 0-180,1-4 1,5-4-181,-2-3-89,1-3-360,2-1-180,2-1 1619,2-3 0,-8 2 0,-3-1 0</inkml:trace>
</inkml:ink>
</file>

<file path=ppt/ink/ink9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53.13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69 9152,'29'-7'4227,"-4"1"-2967,-7 7-541,-8 8 1,-4 5-450,-1 8 89,-2-5 1,3 2-180,1-5 90,1 1-90,2-1 0,3 0-90,0-1 0,2-2 90,1 0-90,1-3-1,1-1 271,6-2-180,-6-2 90,5-3-90,-8-3 90,-1-3-180,-2-2 180,0-3-91,-2-2 1,-2-1 0,-2-1 0,-4-1-90,-1 0 90,-6-9-90,-2 5 0,-4-5-180,-1 9-90,-1 1-180,-1 2-179,-3 2-181,-1 1-90,-1 2-179,-2 3-1709,-11 2-181,6 3-1708,-6 2 4587,9 3 0,-3 1 0,-2 3 0</inkml:trace>
</inkml:ink>
</file>

<file path=ppt/ink/ink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7:03.287"/>
    </inkml:context>
    <inkml:brush xml:id="br0">
      <inkml:brushProperty name="width" value="0.08571" units="cm"/>
      <inkml:brushProperty name="height" value="0.08571" units="cm"/>
      <inkml:brushProperty name="color" value="#E71224"/>
    </inkml:brush>
  </inkml:definitions>
  <inkml:trace contextRef="#ctx0" brushRef="#br0">1 164 14819,'16'-14'4047,"-8"8"-3867,39-16-90,-15 11 0,0 0 0,4 0 0,1-1-90,-1 1 0,1 0 0,-4 1-90,-1 1-270,-4 2-90,-3 0-89,-3 1-181,-3 1-539,-2 1-360,2 0 1619,-4 3 0,-3 0 0,-6 2 0</inkml:trace>
</inkml:ink>
</file>

<file path=ppt/ink/ink9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53.77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20845,'26'17'-1380,"-9"-5"1,-11-8 0</inkml:trace>
</inkml:ink>
</file>

<file path=ppt/ink/ink9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54.475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16 357 11400,'13'-29'3329,"2"7"-2700,-2 17-179,4 8 0,-4 5-90,3 4-1,1 4-89,-1 3-90,0 3 0,0 0 0,-2 1-90,-2 1 90,-2 0 0,0 16-90,-7-15-1,-1 12-89,-7-18 90,-6 5 0,0-7-90,-3 2 0,2-8 90,-6-2 0,-1-3-90,-6-5 0,7-3 0,2-6 0,6-1 0,2-2 0,1-2-90,1-3 90,2-4-180,2-2 90,3-2 1,1-4-1,3-2 0,2-6-90,1-1 90,3-4 0,0 1 0,2-1 0,-1 0 90,1 2-90,-2 3 0,-1 2 90,-3 5-90,-1 4 0,-3-5 90,-4 10 0,-3-3 0,-4 12-90,-2 2 90,-4 4 0,-11 4 0,5 3 0,-8 3 0,7 4 0,-16 17-90,15-6-180,-11 13 1,21-12-91,4 0 0,2 1-90,3-1-89,2 2-91,5 0-180,1-1-179,4 0-1170,3 0-719,4-2 2878,2 0 0,4-2 0,3 1 0</inkml:trace>
</inkml:ink>
</file>

<file path=ppt/ink/ink9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54.74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6 91 13020,'-14'25'2518,"1"-1"-1798,6-2-450,6 2-1,3-5-89,5-1 90,0-7-90,3 1-90,1-2 90,2 1-3482,0-4 3482,1 0-90,0-2 0,1-3-90,0-1 90,0-3-90,1-2 90,-1-3 3302,0-1-3303,-1-5-89,-1-1 0,-2-3 0,-1-2 0,-2-1 90,-3-1-90,-1 0 0,-4 2-179,-1-1-1,-4 2-270,-1-1 0,-3 3-179,-3 1-1,-2 2-180,-3 3-269,-1 3-180,-2 2-990,-3 4-989,-4 3 3238,-1 2 0,-5 5 0,-1 1 0</inkml:trace>
</inkml:ink>
</file>

<file path=ppt/ink/ink9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54.959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3 1 13649,'-9'21'4228,"6"-5"-3419,20-12-89,7-2-90,7-1-91,8 0-179,7 0 90,10-1-270,4 1-1718,7 0 1628,1 0-180,0 0-285,0 0-74,-2 1-481,-3-1 31,-7 1-91,-4 0-179,-10 0-90,-5 0-330,-8 0-5967,-5 1 7993,-2 1 1,-12-3 0,-1 1 0</inkml:trace>
</inkml:ink>
</file>

<file path=ppt/ink/ink9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55.54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5 1 12480,'-3'26'3238,"1"-5"-2608,10-4-91,-1-2-89,0 2-90,1 0 0,-1 1-180,0 0-1,-1 0 1,-1 0 0,-1-1 0,-2-1 90,-1 5-90,-4 1 0,-1-1-90,-4 1 90,-1-9-90,-3 0 0,-1-5-90,-1-8-90,2-5 90,5-9 0,8 0 0,9-1 0,7 6 0,-1 2 0,2 2-90,-3 3 90,0-1 0,1 2 0,0 1 0,1 0 0,0 1 0,0 1-90,0-1 90,0 0 0,7 1 0,-6 0-90,5 0 90,-1-1 90,1-2-90,5-2 0,-7-2 0,-3-1 0,-6-1 0,-1-1 0,0 0 0,-1-2 0,-1 1-90,-1-1 0,-1-4-90,-2 2 90,-5-3 0,-7 7 90,-3 7 0,2 11 0,8 5 0,4 0 0,6-3 0,-1-2 90,3-2-90,1 1 0,2-1 0,-1-1 90,1-1 270,-1-2-90,5 0-91,0-4 1,3-4-90,-6-6 0,-6-5-270,-10-4 0,-5 4-179,-7-2-91,1 6-180,-3 1-89,-1 0-181,-2 2 1,1 0-91,-2 2-179,3 1-2429,-1 2 3598,-1 0 0,8 1 0,0 1 0</inkml:trace>
</inkml:ink>
</file>

<file path=ppt/ink/ink9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55.810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3 53 12390,'14'16'4677,"-3"2"-3957,-9 2-360,4 1-180,1-6-1,5 1 1,0-5 0,2-1-90,1-1 0,1-1 0,1-1 0,-1-2 90,1-1-180,6-4 90,-6-1-90,4-3 90,-8-2-90,-1-2 0,-2-4 90,-1 0-90,-3-2 0,-2 0-90,-3 0-90,-3-1-90,-3 0-180,-2 1-89,-5-1-181,-1 2 0,-4 0-179,-1 3-180,-3 0-361,-3 3-988,-4 0-1080,-1 3 3508,-3 1 0,-6 2 0,-3 0 0</inkml:trace>
</inkml:ink>
</file>

<file path=ppt/ink/ink9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56.218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62 1 14459,'-13'31'2518,"-1"2"-1708,-1 1-181,-3 7 181,-4 7-1616,0 4 1435,-5 9 1,-1 1-941,-3 7 851,1-1-180,-1 1 0,3-6-92,1-2 2,1-4-90,2-1-90,0-1 90,0-1-180,1-2-90,0-3-180,1-1-90,0-3-282,2-5-78,2-3-989,-6 8 630,7-14 608,-5 7-698,9-17 830,1-2-1100,2-2-4785,1-3 6224,-2 0 0,6-7 0,-1-1 0</inkml:trace>
</inkml:ink>
</file>

<file path=ppt/ink/ink9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56.74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90 260 10321,'8'11'5757,"-4"-8"-5307,0 33-91,-4-14 1,-1 0 0,1 2-90,-2 1 0,0 0-90,-1-1-1,0 0 1,-1-2-90,0 0 90,-1-1-90,-1-2 90,-1-1-90,-1-2 0,-2-2-90,-1-1 90,-1-3 0,0-3-90,-6-1-90,-2-7-90,1-1 0,1-6-90,7-1-90,1-3 1,2-2-1,2-4-90,2 0 90,2-2 1,4-2 89,1 0-90,2-3 180,3 0 0,2-1 0,2-1 0,3 0 180,2-1-180,3-1 180,0 1-90,3 1 90,-1 0 180,0 1 0,-2 3 180,0 0 0,-3 3-90,-1 2-90,-3 1-1,-2 1 1,-3 2 0,-4-3-180,-8 1 90,-3 2-90,-6 2 90,-1 7-90,-2 0 0,-1 3 0,-10 2-90,4 1-180,-6 3 90,9 1-179,1 1 89,1 1-180,1 3 180,2 0-90,2 1 1,2 0-91,1 1-629,4 0-720,2 6 0,4 2-360,2-1 2159,5-2 0,-4-11 0,0-1 0</inkml:trace>
</inkml:ink>
</file>

<file path=ppt/ink/ink9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58.09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10 0 10141,'-27'12'1889,"4"-1"-1259,13-2-180,-1 2-1,2 2-5749,0 0 5659,1 1 1410,2 1-869,1 0-451,3 6-179,2-4 90,2 5 0,3-8 859,1-1-949,3 0 0,2-2 0,1-1 3302,1-2-3303,0-2 181,1-3-270,7-1 90,-6-3 0,5-2-90,-7-2 0,0-2-1,-2-1 1,0-3-90,-1-1 0,-2-1 0,-1-1-90,-2 1-90,-1-1-180,-3-7-89,-2 5-181,-3-4-180,-1 7 1,-3 2-271,-1 2 91,-2 0-91,0 3-2877,-2 1 3867,-7 2 0,11 2 0,-4 0 0</inkml:trace>
</inkml:ink>
</file>

<file path=ppt/ink/ink9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58.34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21 0 13469,'3'28'2339,"-3"0"-1709,-10-7-1,-1 3-89,-3 6-180,-1 0 0,-1 5-91,-1 0-89,-2 3 0,2-1-90,-2 1 0,3-2-90,0-1-180,0 0-180,0-3-179,1-1-181,1-3-1079,-6 7 630,6-10-180,-5 4-990,9-13-989,-1-3 3328,2-2 0,4-6 0,1-2 0</inkml:trace>
</inkml:ink>
</file>

<file path=ppt/ink/ink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07:03.526"/>
    </inkml:context>
    <inkml:brush xml:id="br0">
      <inkml:brushProperty name="width" value="0.08571" units="cm"/>
      <inkml:brushProperty name="height" value="0.08571" units="cm"/>
      <inkml:brushProperty name="color" value="#E71224"/>
    </inkml:brush>
  </inkml:definitions>
  <inkml:trace contextRef="#ctx0" brushRef="#br0">24 64 10771,'-16'19'7645,"9"-1"-7105,14-12 0,6-1-90,9-7-1,-2-1-89,5-1 0,2-1-180,5-2 0,2 0 0,1-2-90,19-4 0,-16 4-180,13-3-90,-21 5-180,-1 0 0,-3 1-270,-2 0-89,-3 2-1800,3-1-989,-2 2 3508,1 1 0,-12 2 0,-4 1 0</inkml:trace>
</inkml:ink>
</file>

<file path=ppt/ink/ink9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58.85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 9 9602,'28'-5'2698,"-2"1"-2158,-9 5 89,0 3-89,-1 2-90,0 3-1,-1 3 1,-1 1-180,-3 3 0,-1 1 0,-2 1-90,-2 1 0,-3 1-90,-1-2 89,-3 0-179,-2 0 180,-1-1-180,-3 1 180,1-3-90,-1-2 270,0 0-90,-2 1-90,-1-2-360,0 0-270,12-7 180,8-6-90,9-5 91,4-1-181,-2-1 180,2-1-90,2-2 180,4-2-90,0-3 180,2-1-89,1-1 89,-1-1 0,-1 0 270,0 0 179,-4 2 91,-3 1 0,-3 2 0,-4 1-181,-2 2 811,-3 1-451,-7-1-179,-7 7-270,-10 3 90,-1 7 0,-1 4-180,5-1 90,0 1 90,2 2-91,1 0 181,1 1-180,2 6-90,4-3 90,2 3-90,3-7 0,2 1 0,4-1-90,1 0 90,2-2-90,2-1 90,0-1-90,0-2 90,1-2-90,-1-3 0,-1-1 90,1-3-90,-1-3 0,-1-1 0,0-3 0,-3-1 0,-2-2 0,-3 0-180,-4-14-90,-4 8-90,-5-10 0,-1 14-899,-10-6 359,3 6 91,-7-3-270,5 8-1980,-16-3-179,13 6 3238,-14-3 0,25 9 0,0-1 0</inkml:trace>
</inkml:ink>
</file>

<file path=ppt/ink/ink9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59.12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61 114 14459,'-7'26'4317,"1"0"-3777,6-3 0,3-3-181,3 0 1,2-6-90,2 0 0,2-1 0,2-1-90,0-1 0,1-2 89,0-1-89,0-3 180,0-2-270,4-2 90,-4-3-90,2-2 0,-6-3-180,-2-2 90,-1-3-270,-3-2-3392,-2-1 3212,-3-2-89,-3-1-91,-3-1-179,-3-2-181,-4 0 1,-3 0-271,-3 2-89,-4-1-270,-2 1-4767,-16-6 6386,9 7 0,-12-5 0,13 9 0</inkml:trace>
</inkml:ink>
</file>

<file path=ppt/ink/ink9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59.44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2532 1 13020,'-26'19'1888,"-2"1"-1348,2-7-90,-8 6 0,-7 3-1457,-11 6 1457,-5 2 0,-10 3-1033,-4 3 1033,-5 1-808,-7 2 718,-7 1-849,39-18 1,-2-1 713,-2 1 0,-1 0-90,-5 1 0,-2 0 0,0-1 0,0 0 0,4-2 0,0-1-1,1-1 1,1 0-45,3-2 0,2 0-207,0 0 0,-1-1 207,2 0 0,-1 0 45,1-1 0,1 0-90,2 0 0,0-1-1129,-43 13 1174,6-2 0,6 0-345,10-4 165,6 0 346,10-3-705,8-2 569,7-3-840,5-1 2273,8-2-3532,-6 1-539,11-3 3085,-5 1 0,17-5 0,1-1 0</inkml:trace>
</inkml:ink>
</file>

<file path=ppt/ink/ink9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4:59.951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549 1 8702,'-37'18'3238,"-3"4"-2248,0 2-1665,-10 10 1574,-6 6-995,-8 7 905,-5 6-699,-5 3 250,33-24 0,-2 0-1,-1 1 1,0 0 0,0 0 0,0 0-508,0-1 1,0 0 687,-35 25 90,2 0-181,3-2 1,3-3-90,6-1-264,4-2 174,5-3 0,7-5-180,5-2 0,7-5-180,5-5 0,4 0 722,5-6-1082,3 0 1200,4-4-1290,2-1 1169,3-2-2338,3-1 558,2 3-3436,7-2 4587,7-2 0,-3-6 0,4-5 0</inkml:trace>
</inkml:ink>
</file>

<file path=ppt/ink/ink9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5:00.83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446 106 6723,'-25'-11'1169,"-4"-1"-899,-3 1 0,-5-1 0,-1 2 0,-2 0-90,-1 1-90,-1 1 90,0 1-90,0 2 0,2 1-1,0 1-89,3 1 90,-1 1-90,2 0 90,0 2-90,1 1 90,1 0 0,1 1 0,0 1 0,2 0 0,1 1 90,1 1 0,1 1 0,1 0 359,-10 7-269,9-2 0,-7 6 90,10-2 0,1 4-90,-1 3 179,-1 6-89,0 5-219,0 6 309,0 6-2810,-11 36 2719,8-12-134,10-20 0,0 0 151,-7 27 73,2 3-954,2-1 865,1 1-1,4-6-521,1-1 432,4-6-1,1-1-89,1 0 90,-1 25-180,4-22 0,0 15-90,4-30-180,2-6-90,1-3-89,1-4 2482,3-4-2662,0-2-1,2-3-180,2-2 1222,1-3-2481,9 0 720,-4-10-990,6-2-809,-4-12 3058,0-4 0,-7-1 0,-2 0 0</inkml:trace>
</inkml:ink>
</file>

<file path=ppt/ink/ink9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5:01.287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92 7982,'20'-29'1979,"2"2"-1439,1 9-90,4 1-1,7 0-179,7 1-605,5 1 605,7 2-3183,5 2 3003,4 2 90,3 1-619,2 3 529,2 1-90,-1 2 90,1 2-1,-2 0-89,-2 1 0,-3 1 90,-6-1-90,-4 1 25,-8 0 155,-3-1 0,-4 0 0,-4 0 274,-4 0-95,7 0 2858,-11 0-3127,4-1 897,-12 2-807,-2 0 264,-1 1-264,-2 3 90,-1 1-90,-1 5 0,0 3 270,2 20-181,-4-2 1,2 18-552,-4-2 552,0 6 0,-1 7-1,-1 5-903,1 3 814,-1 2 90,1 3-90,-1 2-1029,-1 7 939,1-3 0,-2 5 0,0-6 0,-1 0 90,-2 0-91,-2-2 1,-1-1-612,-2-3 612,-3-2 90,-1-2 0,-3-4 0,-3-4 90,-2-3 0,-3-5 180,-4-3-181,-3-5 91,-5-4 90,-3-4-180,-4-5 0,-4-5-90,-4-4 0,-3-5 0,-3-3-90,-2-6-180,-24-2 0,16-7-1907,-19-4 1457,24-5 0,1-3 151,1-2-510,3-3-180,1-2-91,2-2-269,2 0-360,1 1-1259,0-1-1799,2 3 4857,-1 1 0,0 0 0,1 1 0</inkml:trace>
</inkml:ink>
</file>

<file path=ppt/ink/ink9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5:31.056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39 195 11041,'9'-19'3688,"0"15"-3509,-4 14 1,0 10 0,-3 4-90,-2-2 180,1 15 0,0 6-180,-1 1 90,0 11-90,0-22 0,-1 9 90,0-14-1,-1 10 1,0-10 0,-1 7 0,1-14 180,-1-2 270,0-3-181,-2 3 91,-1-5-270,-6-5-180,2-15 0,-1-6-90,5-11-90,4 1 90,0-7-90,3-4 0,3-7 0,3-7-422,3-5 422,4-3 0,3 0 0,17-19 90,-6 20-90,12-12 90,-9 27-90,3 5 90,-2 7-90,0 4 90,-3 7 0,0 4-90,-4 5 0,7 4 0,-10 5 90,4 3-89,-12 3 89,-2 3-90,-3 0 602,-4 2-512,-3 1 0,-3 2 0,-3 0 89,-4 2-178,-3 0 178,-4 1-89,-3 0 0,-14 6 0,5-5 0,-9 2 90,8-7-180,1-3 1,2 0-181,-1-2-90,3-1-180,1-2 1,2-1-1,2-1-989,1-1-270,-2 0 1799,4 1 0,2-3 0,7 0 0</inkml:trace>
</inkml:ink>
</file>

<file path=ppt/ink/ink9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5:31.624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16 9781,'15'-29'1979,"-3"4"-1799,-7 9-90,-1 3 1619,0-3 1080,-2 2-2789,-3 12 0,-1 5 0,-1 14 0,1 3 0,1-2 90,0 4-1,-2-4 631,-1 8-360,1-7-360,-2-9 0,1-12 0,-1-10 0</inkml:trace>
</inkml:ink>
</file>

<file path=ppt/ink/ink9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5:32.392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0 1 12570,'3'14'4227,"-2"-10"-3867,10 44 0,-5-21-90,0 2 0,0 2-90,-1 1-1,0 0 1,0 0 0,-2 0 0,1-1 0,-2 0-90,0-2 0,-1-1 0,-1-1 0,-1 0-90,0-2 90,0 0 0,-1-2-90,0-2 0,0-2-90,0-1-270,-1-2-270,-1 4-7465,0-4 8095,-2-9 0,3-2 0,-1-12 0</inkml:trace>
</inkml:ink>
</file>

<file path=ppt/ink/ink9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04:45:33.133"/>
    </inkml:context>
    <inkml:brush xml:id="br0">
      <inkml:brushProperty name="width" value="0.08571" units="cm"/>
      <inkml:brushProperty name="height" value="0.08571" units="cm"/>
    </inkml:brush>
  </inkml:definitions>
  <inkml:trace contextRef="#ctx0" brushRef="#br0">18 20 13199,'-18'-4'2969,"27"1"-3599,8-3-179,19 3-181,-18 1-89,2 2-4228,-2-1 5307,6 1 0,-13 0 0,2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Google Shape;82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83" name="Google Shape;83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36" name="Google Shape;136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42" name="Google Shape;142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1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48" name="Google Shape;148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Google Shape;153;p1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54" name="Google Shape;154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" name="Google Shape;160;p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61" name="Google Shape;161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Google Shape;166;p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67" name="Google Shape;167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Google Shape;172;p1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73" name="Google Shape;173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Google Shape;178;p1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79" name="Google Shape;179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Google Shape;184;g5defd13a41_1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85" name="Google Shape;185;g5defd13a41_1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1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92" name="Google Shape;192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88" name="Google Shape;88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Google Shape;197;p1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98" name="Google Shape;198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" name="Google Shape;203;p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204" name="Google Shape;204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210" name="Google Shape;210;p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Google Shape;215;p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216" name="Google Shape;216;p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" name="Google Shape;221;p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222" name="Google Shape;222;p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Google Shape;227;p2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228" name="Google Shape;228;p2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" name="Google Shape;233;p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234" name="Google Shape;234;p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p2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240" name="Google Shape;240;p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2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246" name="Google Shape;246;p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2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252" name="Google Shape;252;p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94" name="Google Shape;94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" name="Google Shape;258;p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259" name="Google Shape;259;p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" name="Google Shape;264;p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265" name="Google Shape;265;p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1" name="Google Shape;271;p3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272" name="Google Shape;272;p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Google Shape;277;p3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278" name="Google Shape;278;p3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3" name="Google Shape;283;p3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284" name="Google Shape;284;p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" name="Google Shape;289;p3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290" name="Google Shape;290;p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Google Shape;99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00" name="Google Shape;100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06" name="Google Shape;106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12" name="Google Shape;112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Google Shape;117;p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18" name="Google Shape;118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24" name="Google Shape;124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Google Shape;129;p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30" name="Google Shape;130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36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" name="Google Shape;14;p36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5" name="Google Shape;15;p3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" name="Google Shape;16;p3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3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VERTICAL_TEXT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45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" name="Google Shape;71;p45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" name="Google Shape;72;p4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" name="Google Shape;73;p4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" name="Google Shape;74;p4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_TITLE_AND_VERTICAL_TEX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Google Shape;76;p46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46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" name="Google Shape;78;p4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" name="Google Shape;79;p4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4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37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" name="Google Shape;20;p37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" name="Google Shape;21;p3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3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3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38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38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27" name="Google Shape;27;p3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3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3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39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39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" name="Google Shape;33;p39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" name="Google Shape;34;p3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3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3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Google Shape;38;p40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40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0" name="Google Shape;40;p40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4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2" name="Google Shape;42;p4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" name="Google Shape;43;p4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4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" name="Google Shape;45;p4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4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" name="Google Shape;48;p4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4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" name="Google Shape;50;p4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4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4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4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p43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" name="Google Shape;57;p43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58" name="Google Shape;58;p43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59" name="Google Shape;59;p4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4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" name="Google Shape;61;p4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_WITH_CAPTION_TEXT"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44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44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" name="Google Shape;65;p44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6" name="Google Shape;66;p4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4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" name="Google Shape;68;p4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68511ED-4762-475C-95E2-76A8AA0EEC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678063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68511ED-4762-475C-95E2-76A8AA0EEC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35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3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p3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" name="Google Shape;9;p3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" name="Google Shape;10;p3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1" name="Google Shape;11;p35"/>
          <p:cNvPicPr preferRelativeResize="0"/>
          <p:nvPr/>
        </p:nvPicPr>
        <p:blipFill rotWithShape="1">
          <a:blip r:embed="rId16">
            <a:alphaModFix/>
          </a:blip>
          <a:srcRect/>
          <a:stretch/>
        </p:blipFill>
        <p:spPr>
          <a:xfrm>
            <a:off x="9195513" y="185738"/>
            <a:ext cx="2790423" cy="568136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05.png"/><Relationship Id="rId18" Type="http://schemas.openxmlformats.org/officeDocument/2006/relationships/customXml" Target="../ink/ink102.xml"/><Relationship Id="rId26" Type="http://schemas.openxmlformats.org/officeDocument/2006/relationships/customXml" Target="../ink/ink106.xml"/><Relationship Id="rId39" Type="http://schemas.openxmlformats.org/officeDocument/2006/relationships/image" Target="../media/image118.png"/><Relationship Id="rId21" Type="http://schemas.openxmlformats.org/officeDocument/2006/relationships/image" Target="../media/image109.png"/><Relationship Id="rId34" Type="http://schemas.openxmlformats.org/officeDocument/2006/relationships/customXml" Target="../ink/ink110.xml"/><Relationship Id="rId42" Type="http://schemas.openxmlformats.org/officeDocument/2006/relationships/customXml" Target="../ink/ink114.xml"/><Relationship Id="rId47" Type="http://schemas.openxmlformats.org/officeDocument/2006/relationships/image" Target="../media/image122.png"/><Relationship Id="rId50" Type="http://schemas.openxmlformats.org/officeDocument/2006/relationships/customXml" Target="../ink/ink118.xml"/><Relationship Id="rId55" Type="http://schemas.openxmlformats.org/officeDocument/2006/relationships/image" Target="../media/image126.png"/><Relationship Id="rId7" Type="http://schemas.openxmlformats.org/officeDocument/2006/relationships/image" Target="../media/image102.png"/><Relationship Id="rId2" Type="http://schemas.openxmlformats.org/officeDocument/2006/relationships/notesSlide" Target="../notesSlides/notesSlide11.xml"/><Relationship Id="rId16" Type="http://schemas.openxmlformats.org/officeDocument/2006/relationships/customXml" Target="../ink/ink101.xml"/><Relationship Id="rId29" Type="http://schemas.openxmlformats.org/officeDocument/2006/relationships/image" Target="../media/image113.png"/><Relationship Id="rId11" Type="http://schemas.openxmlformats.org/officeDocument/2006/relationships/image" Target="../media/image104.png"/><Relationship Id="rId24" Type="http://schemas.openxmlformats.org/officeDocument/2006/relationships/customXml" Target="../ink/ink105.xml"/><Relationship Id="rId32" Type="http://schemas.openxmlformats.org/officeDocument/2006/relationships/customXml" Target="../ink/ink109.xml"/><Relationship Id="rId37" Type="http://schemas.openxmlformats.org/officeDocument/2006/relationships/image" Target="../media/image117.png"/><Relationship Id="rId40" Type="http://schemas.openxmlformats.org/officeDocument/2006/relationships/customXml" Target="../ink/ink113.xml"/><Relationship Id="rId45" Type="http://schemas.openxmlformats.org/officeDocument/2006/relationships/image" Target="../media/image121.png"/><Relationship Id="rId53" Type="http://schemas.openxmlformats.org/officeDocument/2006/relationships/image" Target="../media/image125.png"/><Relationship Id="rId5" Type="http://schemas.openxmlformats.org/officeDocument/2006/relationships/image" Target="../media/image20.png"/><Relationship Id="rId10" Type="http://schemas.openxmlformats.org/officeDocument/2006/relationships/customXml" Target="../ink/ink98.xml"/><Relationship Id="rId19" Type="http://schemas.openxmlformats.org/officeDocument/2006/relationships/image" Target="../media/image108.png"/><Relationship Id="rId31" Type="http://schemas.openxmlformats.org/officeDocument/2006/relationships/image" Target="../media/image114.png"/><Relationship Id="rId44" Type="http://schemas.openxmlformats.org/officeDocument/2006/relationships/customXml" Target="../ink/ink115.xml"/><Relationship Id="rId52" Type="http://schemas.openxmlformats.org/officeDocument/2006/relationships/customXml" Target="../ink/ink119.xml"/><Relationship Id="rId4" Type="http://schemas.openxmlformats.org/officeDocument/2006/relationships/customXml" Target="../ink/ink95.xml"/><Relationship Id="rId9" Type="http://schemas.openxmlformats.org/officeDocument/2006/relationships/image" Target="../media/image103.png"/><Relationship Id="rId14" Type="http://schemas.openxmlformats.org/officeDocument/2006/relationships/customXml" Target="../ink/ink100.xml"/><Relationship Id="rId22" Type="http://schemas.openxmlformats.org/officeDocument/2006/relationships/customXml" Target="../ink/ink104.xml"/><Relationship Id="rId27" Type="http://schemas.openxmlformats.org/officeDocument/2006/relationships/image" Target="../media/image112.png"/><Relationship Id="rId30" Type="http://schemas.openxmlformats.org/officeDocument/2006/relationships/customXml" Target="../ink/ink108.xml"/><Relationship Id="rId35" Type="http://schemas.openxmlformats.org/officeDocument/2006/relationships/image" Target="../media/image116.png"/><Relationship Id="rId43" Type="http://schemas.openxmlformats.org/officeDocument/2006/relationships/image" Target="../media/image120.png"/><Relationship Id="rId48" Type="http://schemas.openxmlformats.org/officeDocument/2006/relationships/customXml" Target="../ink/ink117.xml"/><Relationship Id="rId8" Type="http://schemas.openxmlformats.org/officeDocument/2006/relationships/customXml" Target="../ink/ink97.xml"/><Relationship Id="rId51" Type="http://schemas.openxmlformats.org/officeDocument/2006/relationships/image" Target="../media/image124.png"/><Relationship Id="rId3" Type="http://schemas.openxmlformats.org/officeDocument/2006/relationships/image" Target="../media/image101.png"/><Relationship Id="rId12" Type="http://schemas.openxmlformats.org/officeDocument/2006/relationships/customXml" Target="../ink/ink99.xml"/><Relationship Id="rId17" Type="http://schemas.openxmlformats.org/officeDocument/2006/relationships/image" Target="../media/image107.png"/><Relationship Id="rId25" Type="http://schemas.openxmlformats.org/officeDocument/2006/relationships/image" Target="../media/image111.png"/><Relationship Id="rId33" Type="http://schemas.openxmlformats.org/officeDocument/2006/relationships/image" Target="../media/image115.png"/><Relationship Id="rId38" Type="http://schemas.openxmlformats.org/officeDocument/2006/relationships/customXml" Target="../ink/ink112.xml"/><Relationship Id="rId46" Type="http://schemas.openxmlformats.org/officeDocument/2006/relationships/customXml" Target="../ink/ink116.xml"/><Relationship Id="rId20" Type="http://schemas.openxmlformats.org/officeDocument/2006/relationships/customXml" Target="../ink/ink103.xml"/><Relationship Id="rId41" Type="http://schemas.openxmlformats.org/officeDocument/2006/relationships/image" Target="../media/image119.png"/><Relationship Id="rId54" Type="http://schemas.openxmlformats.org/officeDocument/2006/relationships/customXml" Target="../ink/ink120.xml"/><Relationship Id="rId1" Type="http://schemas.openxmlformats.org/officeDocument/2006/relationships/slideLayout" Target="../slideLayouts/slideLayout2.xml"/><Relationship Id="rId6" Type="http://schemas.openxmlformats.org/officeDocument/2006/relationships/customXml" Target="../ink/ink96.xml"/><Relationship Id="rId15" Type="http://schemas.openxmlformats.org/officeDocument/2006/relationships/image" Target="../media/image106.png"/><Relationship Id="rId23" Type="http://schemas.openxmlformats.org/officeDocument/2006/relationships/image" Target="../media/image110.png"/><Relationship Id="rId28" Type="http://schemas.openxmlformats.org/officeDocument/2006/relationships/customXml" Target="../ink/ink107.xml"/><Relationship Id="rId36" Type="http://schemas.openxmlformats.org/officeDocument/2006/relationships/customXml" Target="../ink/ink111.xml"/><Relationship Id="rId49" Type="http://schemas.openxmlformats.org/officeDocument/2006/relationships/image" Target="../media/image123.png"/></Relationships>
</file>

<file path=ppt/slides/_rels/slide12.xml.rels><?xml version="1.0" encoding="UTF-8" standalone="yes"?>
<Relationships xmlns="http://schemas.openxmlformats.org/package/2006/relationships"><Relationship Id="rId117" Type="http://schemas.openxmlformats.org/officeDocument/2006/relationships/image" Target="../media/image184.png"/><Relationship Id="rId299" Type="http://schemas.openxmlformats.org/officeDocument/2006/relationships/image" Target="../media/image275.png"/><Relationship Id="rId21" Type="http://schemas.openxmlformats.org/officeDocument/2006/relationships/image" Target="../media/image136.png"/><Relationship Id="rId63" Type="http://schemas.openxmlformats.org/officeDocument/2006/relationships/image" Target="../media/image157.png"/><Relationship Id="rId159" Type="http://schemas.openxmlformats.org/officeDocument/2006/relationships/image" Target="../media/image205.png"/><Relationship Id="rId170" Type="http://schemas.openxmlformats.org/officeDocument/2006/relationships/customXml" Target="../ink/ink204.xml"/><Relationship Id="rId226" Type="http://schemas.openxmlformats.org/officeDocument/2006/relationships/customXml" Target="../ink/ink232.xml"/><Relationship Id="rId268" Type="http://schemas.openxmlformats.org/officeDocument/2006/relationships/customXml" Target="../ink/ink253.xml"/><Relationship Id="rId32" Type="http://schemas.openxmlformats.org/officeDocument/2006/relationships/customXml" Target="../ink/ink135.xml"/><Relationship Id="rId74" Type="http://schemas.openxmlformats.org/officeDocument/2006/relationships/customXml" Target="../ink/ink156.xml"/><Relationship Id="rId128" Type="http://schemas.openxmlformats.org/officeDocument/2006/relationships/customXml" Target="../ink/ink183.xml"/><Relationship Id="rId5" Type="http://schemas.openxmlformats.org/officeDocument/2006/relationships/image" Target="../media/image128.png"/><Relationship Id="rId181" Type="http://schemas.openxmlformats.org/officeDocument/2006/relationships/image" Target="../media/image216.png"/><Relationship Id="rId237" Type="http://schemas.openxmlformats.org/officeDocument/2006/relationships/image" Target="../media/image244.png"/><Relationship Id="rId279" Type="http://schemas.openxmlformats.org/officeDocument/2006/relationships/image" Target="../media/image265.png"/><Relationship Id="rId43" Type="http://schemas.openxmlformats.org/officeDocument/2006/relationships/image" Target="../media/image147.png"/><Relationship Id="rId139" Type="http://schemas.openxmlformats.org/officeDocument/2006/relationships/image" Target="../media/image195.png"/><Relationship Id="rId290" Type="http://schemas.openxmlformats.org/officeDocument/2006/relationships/customXml" Target="../ink/ink264.xml"/><Relationship Id="rId304" Type="http://schemas.openxmlformats.org/officeDocument/2006/relationships/customXml" Target="../ink/ink271.xml"/><Relationship Id="rId85" Type="http://schemas.openxmlformats.org/officeDocument/2006/relationships/image" Target="../media/image168.png"/><Relationship Id="rId150" Type="http://schemas.openxmlformats.org/officeDocument/2006/relationships/customXml" Target="../ink/ink194.xml"/><Relationship Id="rId192" Type="http://schemas.openxmlformats.org/officeDocument/2006/relationships/customXml" Target="../ink/ink215.xml"/><Relationship Id="rId206" Type="http://schemas.openxmlformats.org/officeDocument/2006/relationships/customXml" Target="../ink/ink222.xml"/><Relationship Id="rId248" Type="http://schemas.openxmlformats.org/officeDocument/2006/relationships/customXml" Target="../ink/ink243.xml"/><Relationship Id="rId12" Type="http://schemas.openxmlformats.org/officeDocument/2006/relationships/customXml" Target="../ink/ink125.xml"/><Relationship Id="rId108" Type="http://schemas.openxmlformats.org/officeDocument/2006/relationships/customXml" Target="../ink/ink173.xml"/><Relationship Id="rId54" Type="http://schemas.openxmlformats.org/officeDocument/2006/relationships/customXml" Target="../ink/ink146.xml"/><Relationship Id="rId96" Type="http://schemas.openxmlformats.org/officeDocument/2006/relationships/customXml" Target="../ink/ink167.xml"/><Relationship Id="rId161" Type="http://schemas.openxmlformats.org/officeDocument/2006/relationships/image" Target="../media/image206.png"/><Relationship Id="rId217" Type="http://schemas.openxmlformats.org/officeDocument/2006/relationships/image" Target="../media/image234.png"/><Relationship Id="rId259" Type="http://schemas.openxmlformats.org/officeDocument/2006/relationships/image" Target="../media/image255.png"/><Relationship Id="rId23" Type="http://schemas.openxmlformats.org/officeDocument/2006/relationships/image" Target="../media/image137.png"/><Relationship Id="rId119" Type="http://schemas.openxmlformats.org/officeDocument/2006/relationships/image" Target="../media/image185.png"/><Relationship Id="rId270" Type="http://schemas.openxmlformats.org/officeDocument/2006/relationships/customXml" Target="../ink/ink254.xml"/><Relationship Id="rId44" Type="http://schemas.openxmlformats.org/officeDocument/2006/relationships/customXml" Target="../ink/ink141.xml"/><Relationship Id="rId65" Type="http://schemas.openxmlformats.org/officeDocument/2006/relationships/image" Target="../media/image158.png"/><Relationship Id="rId86" Type="http://schemas.openxmlformats.org/officeDocument/2006/relationships/customXml" Target="../ink/ink162.xml"/><Relationship Id="rId130" Type="http://schemas.openxmlformats.org/officeDocument/2006/relationships/customXml" Target="../ink/ink184.xml"/><Relationship Id="rId151" Type="http://schemas.openxmlformats.org/officeDocument/2006/relationships/image" Target="../media/image201.png"/><Relationship Id="rId172" Type="http://schemas.openxmlformats.org/officeDocument/2006/relationships/customXml" Target="../ink/ink205.xml"/><Relationship Id="rId193" Type="http://schemas.openxmlformats.org/officeDocument/2006/relationships/image" Target="../media/image222.png"/><Relationship Id="rId207" Type="http://schemas.openxmlformats.org/officeDocument/2006/relationships/image" Target="../media/image229.png"/><Relationship Id="rId228" Type="http://schemas.openxmlformats.org/officeDocument/2006/relationships/customXml" Target="../ink/ink233.xml"/><Relationship Id="rId249" Type="http://schemas.openxmlformats.org/officeDocument/2006/relationships/image" Target="../media/image250.png"/><Relationship Id="rId13" Type="http://schemas.openxmlformats.org/officeDocument/2006/relationships/image" Target="../media/image132.png"/><Relationship Id="rId109" Type="http://schemas.openxmlformats.org/officeDocument/2006/relationships/image" Target="../media/image180.png"/><Relationship Id="rId260" Type="http://schemas.openxmlformats.org/officeDocument/2006/relationships/customXml" Target="../ink/ink249.xml"/><Relationship Id="rId281" Type="http://schemas.openxmlformats.org/officeDocument/2006/relationships/image" Target="../media/image266.png"/><Relationship Id="rId34" Type="http://schemas.openxmlformats.org/officeDocument/2006/relationships/customXml" Target="../ink/ink136.xml"/><Relationship Id="rId55" Type="http://schemas.openxmlformats.org/officeDocument/2006/relationships/image" Target="../media/image153.png"/><Relationship Id="rId76" Type="http://schemas.openxmlformats.org/officeDocument/2006/relationships/customXml" Target="../ink/ink157.xml"/><Relationship Id="rId97" Type="http://schemas.openxmlformats.org/officeDocument/2006/relationships/image" Target="../media/image174.png"/><Relationship Id="rId120" Type="http://schemas.openxmlformats.org/officeDocument/2006/relationships/customXml" Target="../ink/ink179.xml"/><Relationship Id="rId141" Type="http://schemas.openxmlformats.org/officeDocument/2006/relationships/image" Target="../media/image196.png"/><Relationship Id="rId7" Type="http://schemas.openxmlformats.org/officeDocument/2006/relationships/image" Target="../media/image129.png"/><Relationship Id="rId162" Type="http://schemas.openxmlformats.org/officeDocument/2006/relationships/customXml" Target="../ink/ink200.xml"/><Relationship Id="rId183" Type="http://schemas.openxmlformats.org/officeDocument/2006/relationships/image" Target="../media/image217.png"/><Relationship Id="rId218" Type="http://schemas.openxmlformats.org/officeDocument/2006/relationships/customXml" Target="../ink/ink228.xml"/><Relationship Id="rId239" Type="http://schemas.openxmlformats.org/officeDocument/2006/relationships/image" Target="../media/image245.png"/><Relationship Id="rId250" Type="http://schemas.openxmlformats.org/officeDocument/2006/relationships/customXml" Target="../ink/ink244.xml"/><Relationship Id="rId271" Type="http://schemas.openxmlformats.org/officeDocument/2006/relationships/image" Target="../media/image261.png"/><Relationship Id="rId292" Type="http://schemas.openxmlformats.org/officeDocument/2006/relationships/customXml" Target="../ink/ink265.xml"/><Relationship Id="rId306" Type="http://schemas.openxmlformats.org/officeDocument/2006/relationships/customXml" Target="../ink/ink272.xml"/><Relationship Id="rId24" Type="http://schemas.openxmlformats.org/officeDocument/2006/relationships/customXml" Target="../ink/ink131.xml"/><Relationship Id="rId45" Type="http://schemas.openxmlformats.org/officeDocument/2006/relationships/image" Target="../media/image148.png"/><Relationship Id="rId66" Type="http://schemas.openxmlformats.org/officeDocument/2006/relationships/customXml" Target="../ink/ink152.xml"/><Relationship Id="rId87" Type="http://schemas.openxmlformats.org/officeDocument/2006/relationships/image" Target="../media/image169.png"/><Relationship Id="rId110" Type="http://schemas.openxmlformats.org/officeDocument/2006/relationships/customXml" Target="../ink/ink174.xml"/><Relationship Id="rId131" Type="http://schemas.openxmlformats.org/officeDocument/2006/relationships/image" Target="../media/image191.png"/><Relationship Id="rId152" Type="http://schemas.openxmlformats.org/officeDocument/2006/relationships/customXml" Target="../ink/ink195.xml"/><Relationship Id="rId173" Type="http://schemas.openxmlformats.org/officeDocument/2006/relationships/image" Target="../media/image212.png"/><Relationship Id="rId194" Type="http://schemas.openxmlformats.org/officeDocument/2006/relationships/customXml" Target="../ink/ink216.xml"/><Relationship Id="rId208" Type="http://schemas.openxmlformats.org/officeDocument/2006/relationships/customXml" Target="../ink/ink223.xml"/><Relationship Id="rId229" Type="http://schemas.openxmlformats.org/officeDocument/2006/relationships/image" Target="../media/image240.png"/><Relationship Id="rId240" Type="http://schemas.openxmlformats.org/officeDocument/2006/relationships/customXml" Target="../ink/ink239.xml"/><Relationship Id="rId261" Type="http://schemas.openxmlformats.org/officeDocument/2006/relationships/image" Target="../media/image256.png"/><Relationship Id="rId14" Type="http://schemas.openxmlformats.org/officeDocument/2006/relationships/customXml" Target="../ink/ink126.xml"/><Relationship Id="rId35" Type="http://schemas.openxmlformats.org/officeDocument/2006/relationships/image" Target="../media/image143.png"/><Relationship Id="rId56" Type="http://schemas.openxmlformats.org/officeDocument/2006/relationships/customXml" Target="../ink/ink147.xml"/><Relationship Id="rId77" Type="http://schemas.openxmlformats.org/officeDocument/2006/relationships/image" Target="../media/image164.png"/><Relationship Id="rId100" Type="http://schemas.openxmlformats.org/officeDocument/2006/relationships/customXml" Target="../ink/ink169.xml"/><Relationship Id="rId282" Type="http://schemas.openxmlformats.org/officeDocument/2006/relationships/customXml" Target="../ink/ink260.xml"/><Relationship Id="rId8" Type="http://schemas.openxmlformats.org/officeDocument/2006/relationships/customXml" Target="../ink/ink123.xml"/><Relationship Id="rId98" Type="http://schemas.openxmlformats.org/officeDocument/2006/relationships/customXml" Target="../ink/ink168.xml"/><Relationship Id="rId121" Type="http://schemas.openxmlformats.org/officeDocument/2006/relationships/image" Target="../media/image186.png"/><Relationship Id="rId142" Type="http://schemas.openxmlformats.org/officeDocument/2006/relationships/customXml" Target="../ink/ink190.xml"/><Relationship Id="rId163" Type="http://schemas.openxmlformats.org/officeDocument/2006/relationships/image" Target="../media/image207.png"/><Relationship Id="rId184" Type="http://schemas.openxmlformats.org/officeDocument/2006/relationships/customXml" Target="../ink/ink211.xml"/><Relationship Id="rId219" Type="http://schemas.openxmlformats.org/officeDocument/2006/relationships/image" Target="../media/image235.png"/><Relationship Id="rId230" Type="http://schemas.openxmlformats.org/officeDocument/2006/relationships/customXml" Target="../ink/ink234.xml"/><Relationship Id="rId251" Type="http://schemas.openxmlformats.org/officeDocument/2006/relationships/image" Target="../media/image251.png"/><Relationship Id="rId25" Type="http://schemas.openxmlformats.org/officeDocument/2006/relationships/image" Target="../media/image138.png"/><Relationship Id="rId46" Type="http://schemas.openxmlformats.org/officeDocument/2006/relationships/customXml" Target="../ink/ink142.xml"/><Relationship Id="rId67" Type="http://schemas.openxmlformats.org/officeDocument/2006/relationships/image" Target="../media/image159.png"/><Relationship Id="rId272" Type="http://schemas.openxmlformats.org/officeDocument/2006/relationships/customXml" Target="../ink/ink255.xml"/><Relationship Id="rId293" Type="http://schemas.openxmlformats.org/officeDocument/2006/relationships/image" Target="../media/image272.png"/><Relationship Id="rId307" Type="http://schemas.openxmlformats.org/officeDocument/2006/relationships/image" Target="../media/image279.png"/><Relationship Id="rId88" Type="http://schemas.openxmlformats.org/officeDocument/2006/relationships/customXml" Target="../ink/ink163.xml"/><Relationship Id="rId111" Type="http://schemas.openxmlformats.org/officeDocument/2006/relationships/image" Target="../media/image181.png"/><Relationship Id="rId132" Type="http://schemas.openxmlformats.org/officeDocument/2006/relationships/customXml" Target="../ink/ink185.xml"/><Relationship Id="rId153" Type="http://schemas.openxmlformats.org/officeDocument/2006/relationships/image" Target="../media/image202.png"/><Relationship Id="rId174" Type="http://schemas.openxmlformats.org/officeDocument/2006/relationships/customXml" Target="../ink/ink206.xml"/><Relationship Id="rId195" Type="http://schemas.openxmlformats.org/officeDocument/2006/relationships/image" Target="../media/image223.png"/><Relationship Id="rId209" Type="http://schemas.openxmlformats.org/officeDocument/2006/relationships/image" Target="../media/image230.png"/><Relationship Id="rId220" Type="http://schemas.openxmlformats.org/officeDocument/2006/relationships/customXml" Target="../ink/ink229.xml"/><Relationship Id="rId241" Type="http://schemas.openxmlformats.org/officeDocument/2006/relationships/image" Target="../media/image246.png"/><Relationship Id="rId15" Type="http://schemas.openxmlformats.org/officeDocument/2006/relationships/image" Target="../media/image133.png"/><Relationship Id="rId36" Type="http://schemas.openxmlformats.org/officeDocument/2006/relationships/customXml" Target="../ink/ink137.xml"/><Relationship Id="rId57" Type="http://schemas.openxmlformats.org/officeDocument/2006/relationships/image" Target="../media/image154.png"/><Relationship Id="rId262" Type="http://schemas.openxmlformats.org/officeDocument/2006/relationships/customXml" Target="../ink/ink250.xml"/><Relationship Id="rId283" Type="http://schemas.openxmlformats.org/officeDocument/2006/relationships/image" Target="../media/image267.png"/><Relationship Id="rId78" Type="http://schemas.openxmlformats.org/officeDocument/2006/relationships/customXml" Target="../ink/ink158.xml"/><Relationship Id="rId99" Type="http://schemas.openxmlformats.org/officeDocument/2006/relationships/image" Target="../media/image175.png"/><Relationship Id="rId101" Type="http://schemas.openxmlformats.org/officeDocument/2006/relationships/image" Target="../media/image176.png"/><Relationship Id="rId122" Type="http://schemas.openxmlformats.org/officeDocument/2006/relationships/customXml" Target="../ink/ink180.xml"/><Relationship Id="rId143" Type="http://schemas.openxmlformats.org/officeDocument/2006/relationships/image" Target="../media/image197.png"/><Relationship Id="rId164" Type="http://schemas.openxmlformats.org/officeDocument/2006/relationships/customXml" Target="../ink/ink201.xml"/><Relationship Id="rId185" Type="http://schemas.openxmlformats.org/officeDocument/2006/relationships/image" Target="../media/image218.png"/><Relationship Id="rId9" Type="http://schemas.openxmlformats.org/officeDocument/2006/relationships/image" Target="../media/image130.png"/><Relationship Id="rId210" Type="http://schemas.openxmlformats.org/officeDocument/2006/relationships/customXml" Target="../ink/ink224.xml"/><Relationship Id="rId26" Type="http://schemas.openxmlformats.org/officeDocument/2006/relationships/customXml" Target="../ink/ink132.xml"/><Relationship Id="rId231" Type="http://schemas.openxmlformats.org/officeDocument/2006/relationships/image" Target="../media/image241.png"/><Relationship Id="rId252" Type="http://schemas.openxmlformats.org/officeDocument/2006/relationships/customXml" Target="../ink/ink245.xml"/><Relationship Id="rId273" Type="http://schemas.openxmlformats.org/officeDocument/2006/relationships/image" Target="../media/image262.png"/><Relationship Id="rId294" Type="http://schemas.openxmlformats.org/officeDocument/2006/relationships/customXml" Target="../ink/ink266.xml"/><Relationship Id="rId308" Type="http://schemas.openxmlformats.org/officeDocument/2006/relationships/customXml" Target="../ink/ink273.xml"/><Relationship Id="rId47" Type="http://schemas.openxmlformats.org/officeDocument/2006/relationships/image" Target="../media/image149.png"/><Relationship Id="rId68" Type="http://schemas.openxmlformats.org/officeDocument/2006/relationships/customXml" Target="../ink/ink153.xml"/><Relationship Id="rId89" Type="http://schemas.openxmlformats.org/officeDocument/2006/relationships/image" Target="../media/image170.png"/><Relationship Id="rId112" Type="http://schemas.openxmlformats.org/officeDocument/2006/relationships/customXml" Target="../ink/ink175.xml"/><Relationship Id="rId133" Type="http://schemas.openxmlformats.org/officeDocument/2006/relationships/image" Target="../media/image192.png"/><Relationship Id="rId154" Type="http://schemas.openxmlformats.org/officeDocument/2006/relationships/customXml" Target="../ink/ink196.xml"/><Relationship Id="rId175" Type="http://schemas.openxmlformats.org/officeDocument/2006/relationships/image" Target="../media/image213.png"/><Relationship Id="rId196" Type="http://schemas.openxmlformats.org/officeDocument/2006/relationships/customXml" Target="../ink/ink217.xml"/><Relationship Id="rId200" Type="http://schemas.openxmlformats.org/officeDocument/2006/relationships/customXml" Target="../ink/ink219.xml"/><Relationship Id="rId16" Type="http://schemas.openxmlformats.org/officeDocument/2006/relationships/customXml" Target="../ink/ink127.xml"/><Relationship Id="rId221" Type="http://schemas.openxmlformats.org/officeDocument/2006/relationships/image" Target="../media/image236.png"/><Relationship Id="rId242" Type="http://schemas.openxmlformats.org/officeDocument/2006/relationships/customXml" Target="../ink/ink240.xml"/><Relationship Id="rId263" Type="http://schemas.openxmlformats.org/officeDocument/2006/relationships/image" Target="../media/image257.png"/><Relationship Id="rId284" Type="http://schemas.openxmlformats.org/officeDocument/2006/relationships/customXml" Target="../ink/ink261.xml"/><Relationship Id="rId37" Type="http://schemas.openxmlformats.org/officeDocument/2006/relationships/image" Target="../media/image144.png"/><Relationship Id="rId58" Type="http://schemas.openxmlformats.org/officeDocument/2006/relationships/customXml" Target="../ink/ink148.xml"/><Relationship Id="rId79" Type="http://schemas.openxmlformats.org/officeDocument/2006/relationships/image" Target="../media/image165.png"/><Relationship Id="rId102" Type="http://schemas.openxmlformats.org/officeDocument/2006/relationships/customXml" Target="../ink/ink170.xml"/><Relationship Id="rId123" Type="http://schemas.openxmlformats.org/officeDocument/2006/relationships/image" Target="../media/image187.png"/><Relationship Id="rId144" Type="http://schemas.openxmlformats.org/officeDocument/2006/relationships/customXml" Target="../ink/ink191.xml"/><Relationship Id="rId90" Type="http://schemas.openxmlformats.org/officeDocument/2006/relationships/customXml" Target="../ink/ink164.xml"/><Relationship Id="rId165" Type="http://schemas.openxmlformats.org/officeDocument/2006/relationships/image" Target="../media/image208.png"/><Relationship Id="rId186" Type="http://schemas.openxmlformats.org/officeDocument/2006/relationships/customXml" Target="../ink/ink212.xml"/><Relationship Id="rId211" Type="http://schemas.openxmlformats.org/officeDocument/2006/relationships/image" Target="../media/image231.png"/><Relationship Id="rId232" Type="http://schemas.openxmlformats.org/officeDocument/2006/relationships/customXml" Target="../ink/ink235.xml"/><Relationship Id="rId253" Type="http://schemas.openxmlformats.org/officeDocument/2006/relationships/image" Target="../media/image252.png"/><Relationship Id="rId274" Type="http://schemas.openxmlformats.org/officeDocument/2006/relationships/customXml" Target="../ink/ink256.xml"/><Relationship Id="rId295" Type="http://schemas.openxmlformats.org/officeDocument/2006/relationships/image" Target="../media/image273.png"/><Relationship Id="rId309" Type="http://schemas.openxmlformats.org/officeDocument/2006/relationships/image" Target="../media/image280.png"/><Relationship Id="rId27" Type="http://schemas.openxmlformats.org/officeDocument/2006/relationships/image" Target="../media/image139.png"/><Relationship Id="rId48" Type="http://schemas.openxmlformats.org/officeDocument/2006/relationships/customXml" Target="../ink/ink143.xml"/><Relationship Id="rId69" Type="http://schemas.openxmlformats.org/officeDocument/2006/relationships/image" Target="../media/image160.png"/><Relationship Id="rId113" Type="http://schemas.openxmlformats.org/officeDocument/2006/relationships/image" Target="../media/image182.png"/><Relationship Id="rId134" Type="http://schemas.openxmlformats.org/officeDocument/2006/relationships/customXml" Target="../ink/ink186.xml"/><Relationship Id="rId80" Type="http://schemas.openxmlformats.org/officeDocument/2006/relationships/customXml" Target="../ink/ink159.xml"/><Relationship Id="rId155" Type="http://schemas.openxmlformats.org/officeDocument/2006/relationships/image" Target="../media/image203.png"/><Relationship Id="rId176" Type="http://schemas.openxmlformats.org/officeDocument/2006/relationships/customXml" Target="../ink/ink207.xml"/><Relationship Id="rId197" Type="http://schemas.openxmlformats.org/officeDocument/2006/relationships/image" Target="../media/image224.png"/><Relationship Id="rId201" Type="http://schemas.openxmlformats.org/officeDocument/2006/relationships/image" Target="../media/image226.png"/><Relationship Id="rId222" Type="http://schemas.openxmlformats.org/officeDocument/2006/relationships/customXml" Target="../ink/ink230.xml"/><Relationship Id="rId243" Type="http://schemas.openxmlformats.org/officeDocument/2006/relationships/image" Target="../media/image247.png"/><Relationship Id="rId264" Type="http://schemas.openxmlformats.org/officeDocument/2006/relationships/customXml" Target="../ink/ink251.xml"/><Relationship Id="rId285" Type="http://schemas.openxmlformats.org/officeDocument/2006/relationships/image" Target="../media/image268.png"/><Relationship Id="rId17" Type="http://schemas.openxmlformats.org/officeDocument/2006/relationships/image" Target="../media/image134.png"/><Relationship Id="rId38" Type="http://schemas.openxmlformats.org/officeDocument/2006/relationships/customXml" Target="../ink/ink138.xml"/><Relationship Id="rId59" Type="http://schemas.openxmlformats.org/officeDocument/2006/relationships/image" Target="../media/image155.png"/><Relationship Id="rId103" Type="http://schemas.openxmlformats.org/officeDocument/2006/relationships/image" Target="../media/image177.png"/><Relationship Id="rId124" Type="http://schemas.openxmlformats.org/officeDocument/2006/relationships/customXml" Target="../ink/ink181.xml"/><Relationship Id="rId70" Type="http://schemas.openxmlformats.org/officeDocument/2006/relationships/customXml" Target="../ink/ink154.xml"/><Relationship Id="rId91" Type="http://schemas.openxmlformats.org/officeDocument/2006/relationships/image" Target="../media/image171.png"/><Relationship Id="rId145" Type="http://schemas.openxmlformats.org/officeDocument/2006/relationships/image" Target="../media/image198.png"/><Relationship Id="rId166" Type="http://schemas.openxmlformats.org/officeDocument/2006/relationships/customXml" Target="../ink/ink202.xml"/><Relationship Id="rId187" Type="http://schemas.openxmlformats.org/officeDocument/2006/relationships/image" Target="../media/image219.png"/><Relationship Id="rId1" Type="http://schemas.openxmlformats.org/officeDocument/2006/relationships/slideLayout" Target="../slideLayouts/slideLayout2.xml"/><Relationship Id="rId212" Type="http://schemas.openxmlformats.org/officeDocument/2006/relationships/customXml" Target="../ink/ink225.xml"/><Relationship Id="rId233" Type="http://schemas.openxmlformats.org/officeDocument/2006/relationships/image" Target="../media/image242.png"/><Relationship Id="rId254" Type="http://schemas.openxmlformats.org/officeDocument/2006/relationships/customXml" Target="../ink/ink246.xml"/><Relationship Id="rId28" Type="http://schemas.openxmlformats.org/officeDocument/2006/relationships/customXml" Target="../ink/ink133.xml"/><Relationship Id="rId49" Type="http://schemas.openxmlformats.org/officeDocument/2006/relationships/image" Target="../media/image150.png"/><Relationship Id="rId114" Type="http://schemas.openxmlformats.org/officeDocument/2006/relationships/customXml" Target="../ink/ink176.xml"/><Relationship Id="rId275" Type="http://schemas.openxmlformats.org/officeDocument/2006/relationships/image" Target="../media/image263.png"/><Relationship Id="rId296" Type="http://schemas.openxmlformats.org/officeDocument/2006/relationships/customXml" Target="../ink/ink267.xml"/><Relationship Id="rId300" Type="http://schemas.openxmlformats.org/officeDocument/2006/relationships/customXml" Target="../ink/ink269.xml"/><Relationship Id="rId60" Type="http://schemas.openxmlformats.org/officeDocument/2006/relationships/customXml" Target="../ink/ink149.xml"/><Relationship Id="rId81" Type="http://schemas.openxmlformats.org/officeDocument/2006/relationships/image" Target="../media/image166.png"/><Relationship Id="rId135" Type="http://schemas.openxmlformats.org/officeDocument/2006/relationships/image" Target="../media/image193.png"/><Relationship Id="rId156" Type="http://schemas.openxmlformats.org/officeDocument/2006/relationships/customXml" Target="../ink/ink197.xml"/><Relationship Id="rId177" Type="http://schemas.openxmlformats.org/officeDocument/2006/relationships/image" Target="../media/image214.png"/><Relationship Id="rId198" Type="http://schemas.openxmlformats.org/officeDocument/2006/relationships/customXml" Target="../ink/ink218.xml"/><Relationship Id="rId202" Type="http://schemas.openxmlformats.org/officeDocument/2006/relationships/customXml" Target="../ink/ink220.xml"/><Relationship Id="rId223" Type="http://schemas.openxmlformats.org/officeDocument/2006/relationships/image" Target="../media/image237.png"/><Relationship Id="rId244" Type="http://schemas.openxmlformats.org/officeDocument/2006/relationships/customXml" Target="../ink/ink241.xml"/><Relationship Id="rId18" Type="http://schemas.openxmlformats.org/officeDocument/2006/relationships/customXml" Target="../ink/ink128.xml"/><Relationship Id="rId39" Type="http://schemas.openxmlformats.org/officeDocument/2006/relationships/image" Target="../media/image145.png"/><Relationship Id="rId265" Type="http://schemas.openxmlformats.org/officeDocument/2006/relationships/image" Target="../media/image258.png"/><Relationship Id="rId286" Type="http://schemas.openxmlformats.org/officeDocument/2006/relationships/customXml" Target="../ink/ink262.xml"/><Relationship Id="rId50" Type="http://schemas.openxmlformats.org/officeDocument/2006/relationships/customXml" Target="../ink/ink144.xml"/><Relationship Id="rId104" Type="http://schemas.openxmlformats.org/officeDocument/2006/relationships/customXml" Target="../ink/ink171.xml"/><Relationship Id="rId125" Type="http://schemas.openxmlformats.org/officeDocument/2006/relationships/image" Target="../media/image188.png"/><Relationship Id="rId146" Type="http://schemas.openxmlformats.org/officeDocument/2006/relationships/customXml" Target="../ink/ink192.xml"/><Relationship Id="rId167" Type="http://schemas.openxmlformats.org/officeDocument/2006/relationships/image" Target="../media/image209.png"/><Relationship Id="rId188" Type="http://schemas.openxmlformats.org/officeDocument/2006/relationships/customXml" Target="../ink/ink213.xml"/><Relationship Id="rId71" Type="http://schemas.openxmlformats.org/officeDocument/2006/relationships/image" Target="../media/image161.png"/><Relationship Id="rId92" Type="http://schemas.openxmlformats.org/officeDocument/2006/relationships/customXml" Target="../ink/ink165.xml"/><Relationship Id="rId213" Type="http://schemas.openxmlformats.org/officeDocument/2006/relationships/image" Target="../media/image232.png"/><Relationship Id="rId234" Type="http://schemas.openxmlformats.org/officeDocument/2006/relationships/customXml" Target="../ink/ink236.xml"/><Relationship Id="rId2" Type="http://schemas.openxmlformats.org/officeDocument/2006/relationships/notesSlide" Target="../notesSlides/notesSlide12.xml"/><Relationship Id="rId29" Type="http://schemas.openxmlformats.org/officeDocument/2006/relationships/image" Target="../media/image140.png"/><Relationship Id="rId255" Type="http://schemas.openxmlformats.org/officeDocument/2006/relationships/image" Target="../media/image253.png"/><Relationship Id="rId276" Type="http://schemas.openxmlformats.org/officeDocument/2006/relationships/customXml" Target="../ink/ink257.xml"/><Relationship Id="rId297" Type="http://schemas.openxmlformats.org/officeDocument/2006/relationships/image" Target="../media/image274.png"/><Relationship Id="rId40" Type="http://schemas.openxmlformats.org/officeDocument/2006/relationships/customXml" Target="../ink/ink139.xml"/><Relationship Id="rId115" Type="http://schemas.openxmlformats.org/officeDocument/2006/relationships/image" Target="../media/image183.png"/><Relationship Id="rId136" Type="http://schemas.openxmlformats.org/officeDocument/2006/relationships/customXml" Target="../ink/ink187.xml"/><Relationship Id="rId157" Type="http://schemas.openxmlformats.org/officeDocument/2006/relationships/image" Target="../media/image204.png"/><Relationship Id="rId178" Type="http://schemas.openxmlformats.org/officeDocument/2006/relationships/customXml" Target="../ink/ink208.xml"/><Relationship Id="rId301" Type="http://schemas.openxmlformats.org/officeDocument/2006/relationships/image" Target="../media/image276.png"/><Relationship Id="rId61" Type="http://schemas.openxmlformats.org/officeDocument/2006/relationships/image" Target="../media/image156.png"/><Relationship Id="rId82" Type="http://schemas.openxmlformats.org/officeDocument/2006/relationships/customXml" Target="../ink/ink160.xml"/><Relationship Id="rId199" Type="http://schemas.openxmlformats.org/officeDocument/2006/relationships/image" Target="../media/image225.png"/><Relationship Id="rId203" Type="http://schemas.openxmlformats.org/officeDocument/2006/relationships/image" Target="../media/image227.png"/><Relationship Id="rId19" Type="http://schemas.openxmlformats.org/officeDocument/2006/relationships/image" Target="../media/image135.png"/><Relationship Id="rId224" Type="http://schemas.openxmlformats.org/officeDocument/2006/relationships/customXml" Target="../ink/ink231.xml"/><Relationship Id="rId245" Type="http://schemas.openxmlformats.org/officeDocument/2006/relationships/image" Target="../media/image248.png"/><Relationship Id="rId266" Type="http://schemas.openxmlformats.org/officeDocument/2006/relationships/customXml" Target="../ink/ink252.xml"/><Relationship Id="rId287" Type="http://schemas.openxmlformats.org/officeDocument/2006/relationships/image" Target="../media/image269.png"/><Relationship Id="rId30" Type="http://schemas.openxmlformats.org/officeDocument/2006/relationships/customXml" Target="../ink/ink134.xml"/><Relationship Id="rId105" Type="http://schemas.openxmlformats.org/officeDocument/2006/relationships/image" Target="../media/image178.png"/><Relationship Id="rId126" Type="http://schemas.openxmlformats.org/officeDocument/2006/relationships/customXml" Target="../ink/ink182.xml"/><Relationship Id="rId147" Type="http://schemas.openxmlformats.org/officeDocument/2006/relationships/image" Target="../media/image199.png"/><Relationship Id="rId168" Type="http://schemas.openxmlformats.org/officeDocument/2006/relationships/customXml" Target="../ink/ink203.xml"/><Relationship Id="rId51" Type="http://schemas.openxmlformats.org/officeDocument/2006/relationships/image" Target="../media/image151.png"/><Relationship Id="rId72" Type="http://schemas.openxmlformats.org/officeDocument/2006/relationships/customXml" Target="../ink/ink155.xml"/><Relationship Id="rId93" Type="http://schemas.openxmlformats.org/officeDocument/2006/relationships/image" Target="../media/image172.png"/><Relationship Id="rId189" Type="http://schemas.openxmlformats.org/officeDocument/2006/relationships/image" Target="../media/image220.png"/><Relationship Id="rId3" Type="http://schemas.openxmlformats.org/officeDocument/2006/relationships/image" Target="../media/image127.png"/><Relationship Id="rId214" Type="http://schemas.openxmlformats.org/officeDocument/2006/relationships/customXml" Target="../ink/ink226.xml"/><Relationship Id="rId235" Type="http://schemas.openxmlformats.org/officeDocument/2006/relationships/image" Target="../media/image243.png"/><Relationship Id="rId256" Type="http://schemas.openxmlformats.org/officeDocument/2006/relationships/customXml" Target="../ink/ink247.xml"/><Relationship Id="rId277" Type="http://schemas.openxmlformats.org/officeDocument/2006/relationships/image" Target="../media/image264.png"/><Relationship Id="rId298" Type="http://schemas.openxmlformats.org/officeDocument/2006/relationships/customXml" Target="../ink/ink268.xml"/><Relationship Id="rId116" Type="http://schemas.openxmlformats.org/officeDocument/2006/relationships/customXml" Target="../ink/ink177.xml"/><Relationship Id="rId137" Type="http://schemas.openxmlformats.org/officeDocument/2006/relationships/image" Target="../media/image194.png"/><Relationship Id="rId158" Type="http://schemas.openxmlformats.org/officeDocument/2006/relationships/customXml" Target="../ink/ink198.xml"/><Relationship Id="rId302" Type="http://schemas.openxmlformats.org/officeDocument/2006/relationships/customXml" Target="../ink/ink270.xml"/><Relationship Id="rId20" Type="http://schemas.openxmlformats.org/officeDocument/2006/relationships/customXml" Target="../ink/ink129.xml"/><Relationship Id="rId41" Type="http://schemas.openxmlformats.org/officeDocument/2006/relationships/image" Target="../media/image146.png"/><Relationship Id="rId62" Type="http://schemas.openxmlformats.org/officeDocument/2006/relationships/customXml" Target="../ink/ink150.xml"/><Relationship Id="rId83" Type="http://schemas.openxmlformats.org/officeDocument/2006/relationships/image" Target="../media/image167.png"/><Relationship Id="rId179" Type="http://schemas.openxmlformats.org/officeDocument/2006/relationships/image" Target="../media/image215.png"/><Relationship Id="rId190" Type="http://schemas.openxmlformats.org/officeDocument/2006/relationships/customXml" Target="../ink/ink214.xml"/><Relationship Id="rId204" Type="http://schemas.openxmlformats.org/officeDocument/2006/relationships/customXml" Target="../ink/ink221.xml"/><Relationship Id="rId225" Type="http://schemas.openxmlformats.org/officeDocument/2006/relationships/image" Target="../media/image238.png"/><Relationship Id="rId246" Type="http://schemas.openxmlformats.org/officeDocument/2006/relationships/customXml" Target="../ink/ink242.xml"/><Relationship Id="rId267" Type="http://schemas.openxmlformats.org/officeDocument/2006/relationships/image" Target="../media/image259.png"/><Relationship Id="rId288" Type="http://schemas.openxmlformats.org/officeDocument/2006/relationships/customXml" Target="../ink/ink263.xml"/><Relationship Id="rId106" Type="http://schemas.openxmlformats.org/officeDocument/2006/relationships/customXml" Target="../ink/ink172.xml"/><Relationship Id="rId127" Type="http://schemas.openxmlformats.org/officeDocument/2006/relationships/image" Target="../media/image189.png"/><Relationship Id="rId10" Type="http://schemas.openxmlformats.org/officeDocument/2006/relationships/customXml" Target="../ink/ink124.xml"/><Relationship Id="rId31" Type="http://schemas.openxmlformats.org/officeDocument/2006/relationships/image" Target="../media/image141.png"/><Relationship Id="rId52" Type="http://schemas.openxmlformats.org/officeDocument/2006/relationships/customXml" Target="../ink/ink145.xml"/><Relationship Id="rId73" Type="http://schemas.openxmlformats.org/officeDocument/2006/relationships/image" Target="../media/image162.png"/><Relationship Id="rId94" Type="http://schemas.openxmlformats.org/officeDocument/2006/relationships/customXml" Target="../ink/ink166.xml"/><Relationship Id="rId148" Type="http://schemas.openxmlformats.org/officeDocument/2006/relationships/customXml" Target="../ink/ink193.xml"/><Relationship Id="rId169" Type="http://schemas.openxmlformats.org/officeDocument/2006/relationships/image" Target="../media/image210.png"/><Relationship Id="rId4" Type="http://schemas.openxmlformats.org/officeDocument/2006/relationships/customXml" Target="../ink/ink121.xml"/><Relationship Id="rId180" Type="http://schemas.openxmlformats.org/officeDocument/2006/relationships/customXml" Target="../ink/ink209.xml"/><Relationship Id="rId215" Type="http://schemas.openxmlformats.org/officeDocument/2006/relationships/image" Target="../media/image233.png"/><Relationship Id="rId236" Type="http://schemas.openxmlformats.org/officeDocument/2006/relationships/customXml" Target="../ink/ink237.xml"/><Relationship Id="rId257" Type="http://schemas.openxmlformats.org/officeDocument/2006/relationships/image" Target="../media/image254.png"/><Relationship Id="rId278" Type="http://schemas.openxmlformats.org/officeDocument/2006/relationships/customXml" Target="../ink/ink258.xml"/><Relationship Id="rId303" Type="http://schemas.openxmlformats.org/officeDocument/2006/relationships/image" Target="../media/image277.png"/><Relationship Id="rId42" Type="http://schemas.openxmlformats.org/officeDocument/2006/relationships/customXml" Target="../ink/ink140.xml"/><Relationship Id="rId84" Type="http://schemas.openxmlformats.org/officeDocument/2006/relationships/customXml" Target="../ink/ink161.xml"/><Relationship Id="rId138" Type="http://schemas.openxmlformats.org/officeDocument/2006/relationships/customXml" Target="../ink/ink188.xml"/><Relationship Id="rId191" Type="http://schemas.openxmlformats.org/officeDocument/2006/relationships/image" Target="../media/image221.png"/><Relationship Id="rId205" Type="http://schemas.openxmlformats.org/officeDocument/2006/relationships/image" Target="../media/image228.png"/><Relationship Id="rId247" Type="http://schemas.openxmlformats.org/officeDocument/2006/relationships/image" Target="../media/image249.png"/><Relationship Id="rId107" Type="http://schemas.openxmlformats.org/officeDocument/2006/relationships/image" Target="../media/image179.png"/><Relationship Id="rId289" Type="http://schemas.openxmlformats.org/officeDocument/2006/relationships/image" Target="../media/image270.png"/><Relationship Id="rId11" Type="http://schemas.openxmlformats.org/officeDocument/2006/relationships/image" Target="../media/image131.png"/><Relationship Id="rId53" Type="http://schemas.openxmlformats.org/officeDocument/2006/relationships/image" Target="../media/image152.png"/><Relationship Id="rId149" Type="http://schemas.openxmlformats.org/officeDocument/2006/relationships/image" Target="../media/image200.png"/><Relationship Id="rId95" Type="http://schemas.openxmlformats.org/officeDocument/2006/relationships/image" Target="../media/image173.png"/><Relationship Id="rId160" Type="http://schemas.openxmlformats.org/officeDocument/2006/relationships/customXml" Target="../ink/ink199.xml"/><Relationship Id="rId216" Type="http://schemas.openxmlformats.org/officeDocument/2006/relationships/customXml" Target="../ink/ink227.xml"/><Relationship Id="rId258" Type="http://schemas.openxmlformats.org/officeDocument/2006/relationships/customXml" Target="../ink/ink248.xml"/><Relationship Id="rId22" Type="http://schemas.openxmlformats.org/officeDocument/2006/relationships/customXml" Target="../ink/ink130.xml"/><Relationship Id="rId64" Type="http://schemas.openxmlformats.org/officeDocument/2006/relationships/customXml" Target="../ink/ink151.xml"/><Relationship Id="rId118" Type="http://schemas.openxmlformats.org/officeDocument/2006/relationships/customXml" Target="../ink/ink178.xml"/><Relationship Id="rId171" Type="http://schemas.openxmlformats.org/officeDocument/2006/relationships/image" Target="../media/image211.png"/><Relationship Id="rId227" Type="http://schemas.openxmlformats.org/officeDocument/2006/relationships/image" Target="../media/image239.png"/><Relationship Id="rId269" Type="http://schemas.openxmlformats.org/officeDocument/2006/relationships/image" Target="../media/image260.png"/><Relationship Id="rId33" Type="http://schemas.openxmlformats.org/officeDocument/2006/relationships/image" Target="../media/image142.png"/><Relationship Id="rId129" Type="http://schemas.openxmlformats.org/officeDocument/2006/relationships/image" Target="../media/image190.png"/><Relationship Id="rId280" Type="http://schemas.openxmlformats.org/officeDocument/2006/relationships/customXml" Target="../ink/ink259.xml"/><Relationship Id="rId75" Type="http://schemas.openxmlformats.org/officeDocument/2006/relationships/image" Target="../media/image163.png"/><Relationship Id="rId140" Type="http://schemas.openxmlformats.org/officeDocument/2006/relationships/customXml" Target="../ink/ink189.xml"/><Relationship Id="rId182" Type="http://schemas.openxmlformats.org/officeDocument/2006/relationships/customXml" Target="../ink/ink210.xml"/><Relationship Id="rId6" Type="http://schemas.openxmlformats.org/officeDocument/2006/relationships/customXml" Target="../ink/ink122.xml"/><Relationship Id="rId238" Type="http://schemas.openxmlformats.org/officeDocument/2006/relationships/customXml" Target="../ink/ink238.xml"/><Relationship Id="rId291" Type="http://schemas.openxmlformats.org/officeDocument/2006/relationships/image" Target="../media/image271.png"/><Relationship Id="rId305" Type="http://schemas.openxmlformats.org/officeDocument/2006/relationships/image" Target="../media/image278.png"/></Relationships>
</file>

<file path=ppt/slides/_rels/slide13.xml.rels><?xml version="1.0" encoding="UTF-8" standalone="yes"?>
<Relationships xmlns="http://schemas.openxmlformats.org/package/2006/relationships"><Relationship Id="rId117" Type="http://schemas.openxmlformats.org/officeDocument/2006/relationships/image" Target="../media/image338.png"/><Relationship Id="rId299" Type="http://schemas.openxmlformats.org/officeDocument/2006/relationships/image" Target="../media/image429.png"/><Relationship Id="rId21" Type="http://schemas.openxmlformats.org/officeDocument/2006/relationships/image" Target="../media/image290.png"/><Relationship Id="rId63" Type="http://schemas.openxmlformats.org/officeDocument/2006/relationships/image" Target="../media/image311.png"/><Relationship Id="rId159" Type="http://schemas.openxmlformats.org/officeDocument/2006/relationships/image" Target="../media/image359.png"/><Relationship Id="rId324" Type="http://schemas.openxmlformats.org/officeDocument/2006/relationships/customXml" Target="../ink/ink435.xml"/><Relationship Id="rId366" Type="http://schemas.openxmlformats.org/officeDocument/2006/relationships/customXml" Target="../ink/ink456.xml"/><Relationship Id="rId170" Type="http://schemas.openxmlformats.org/officeDocument/2006/relationships/customXml" Target="../ink/ink358.xml"/><Relationship Id="rId226" Type="http://schemas.openxmlformats.org/officeDocument/2006/relationships/customXml" Target="../ink/ink386.xml"/><Relationship Id="rId433" Type="http://schemas.openxmlformats.org/officeDocument/2006/relationships/image" Target="../media/image496.png"/><Relationship Id="rId268" Type="http://schemas.openxmlformats.org/officeDocument/2006/relationships/customXml" Target="../ink/ink407.xml"/><Relationship Id="rId32" Type="http://schemas.openxmlformats.org/officeDocument/2006/relationships/customXml" Target="../ink/ink289.xml"/><Relationship Id="rId74" Type="http://schemas.openxmlformats.org/officeDocument/2006/relationships/customXml" Target="../ink/ink310.xml"/><Relationship Id="rId128" Type="http://schemas.openxmlformats.org/officeDocument/2006/relationships/customXml" Target="../ink/ink337.xml"/><Relationship Id="rId335" Type="http://schemas.openxmlformats.org/officeDocument/2006/relationships/image" Target="../media/image447.png"/><Relationship Id="rId377" Type="http://schemas.openxmlformats.org/officeDocument/2006/relationships/image" Target="../media/image468.png"/><Relationship Id="rId5" Type="http://schemas.openxmlformats.org/officeDocument/2006/relationships/image" Target="../media/image282.png"/><Relationship Id="rId181" Type="http://schemas.openxmlformats.org/officeDocument/2006/relationships/image" Target="../media/image370.png"/><Relationship Id="rId237" Type="http://schemas.openxmlformats.org/officeDocument/2006/relationships/image" Target="../media/image398.png"/><Relationship Id="rId402" Type="http://schemas.openxmlformats.org/officeDocument/2006/relationships/customXml" Target="../ink/ink474.xml"/><Relationship Id="rId279" Type="http://schemas.openxmlformats.org/officeDocument/2006/relationships/image" Target="../media/image419.png"/><Relationship Id="rId444" Type="http://schemas.openxmlformats.org/officeDocument/2006/relationships/customXml" Target="../ink/ink495.xml"/><Relationship Id="rId43" Type="http://schemas.openxmlformats.org/officeDocument/2006/relationships/image" Target="../media/image301.png"/><Relationship Id="rId139" Type="http://schemas.openxmlformats.org/officeDocument/2006/relationships/image" Target="../media/image349.png"/><Relationship Id="rId290" Type="http://schemas.openxmlformats.org/officeDocument/2006/relationships/customXml" Target="../ink/ink418.xml"/><Relationship Id="rId304" Type="http://schemas.openxmlformats.org/officeDocument/2006/relationships/customXml" Target="../ink/ink425.xml"/><Relationship Id="rId346" Type="http://schemas.openxmlformats.org/officeDocument/2006/relationships/customXml" Target="../ink/ink446.xml"/><Relationship Id="rId388" Type="http://schemas.openxmlformats.org/officeDocument/2006/relationships/customXml" Target="../ink/ink467.xml"/><Relationship Id="rId85" Type="http://schemas.openxmlformats.org/officeDocument/2006/relationships/image" Target="../media/image322.png"/><Relationship Id="rId150" Type="http://schemas.openxmlformats.org/officeDocument/2006/relationships/customXml" Target="../ink/ink348.xml"/><Relationship Id="rId192" Type="http://schemas.openxmlformats.org/officeDocument/2006/relationships/customXml" Target="../ink/ink369.xml"/><Relationship Id="rId206" Type="http://schemas.openxmlformats.org/officeDocument/2006/relationships/customXml" Target="../ink/ink376.xml"/><Relationship Id="rId413" Type="http://schemas.openxmlformats.org/officeDocument/2006/relationships/image" Target="../media/image486.png"/><Relationship Id="rId248" Type="http://schemas.openxmlformats.org/officeDocument/2006/relationships/customXml" Target="../ink/ink397.xml"/><Relationship Id="rId455" Type="http://schemas.openxmlformats.org/officeDocument/2006/relationships/image" Target="../media/image507.png"/><Relationship Id="rId12" Type="http://schemas.openxmlformats.org/officeDocument/2006/relationships/customXml" Target="../ink/ink279.xml"/><Relationship Id="rId108" Type="http://schemas.openxmlformats.org/officeDocument/2006/relationships/customXml" Target="../ink/ink327.xml"/><Relationship Id="rId315" Type="http://schemas.openxmlformats.org/officeDocument/2006/relationships/image" Target="../media/image437.png"/><Relationship Id="rId357" Type="http://schemas.openxmlformats.org/officeDocument/2006/relationships/image" Target="../media/image458.png"/><Relationship Id="rId54" Type="http://schemas.openxmlformats.org/officeDocument/2006/relationships/customXml" Target="../ink/ink300.xml"/><Relationship Id="rId96" Type="http://schemas.openxmlformats.org/officeDocument/2006/relationships/customXml" Target="../ink/ink321.xml"/><Relationship Id="rId161" Type="http://schemas.openxmlformats.org/officeDocument/2006/relationships/image" Target="../media/image360.png"/><Relationship Id="rId217" Type="http://schemas.openxmlformats.org/officeDocument/2006/relationships/image" Target="../media/image388.png"/><Relationship Id="rId399" Type="http://schemas.openxmlformats.org/officeDocument/2006/relationships/image" Target="../media/image479.png"/><Relationship Id="rId259" Type="http://schemas.openxmlformats.org/officeDocument/2006/relationships/image" Target="../media/image409.png"/><Relationship Id="rId424" Type="http://schemas.openxmlformats.org/officeDocument/2006/relationships/customXml" Target="../ink/ink485.xml"/><Relationship Id="rId23" Type="http://schemas.openxmlformats.org/officeDocument/2006/relationships/image" Target="../media/image291.png"/><Relationship Id="rId119" Type="http://schemas.openxmlformats.org/officeDocument/2006/relationships/image" Target="../media/image339.png"/><Relationship Id="rId270" Type="http://schemas.openxmlformats.org/officeDocument/2006/relationships/customXml" Target="../ink/ink408.xml"/><Relationship Id="rId326" Type="http://schemas.openxmlformats.org/officeDocument/2006/relationships/customXml" Target="../ink/ink436.xml"/><Relationship Id="rId65" Type="http://schemas.openxmlformats.org/officeDocument/2006/relationships/image" Target="../media/image312.png"/><Relationship Id="rId130" Type="http://schemas.openxmlformats.org/officeDocument/2006/relationships/customXml" Target="../ink/ink338.xml"/><Relationship Id="rId368" Type="http://schemas.openxmlformats.org/officeDocument/2006/relationships/customXml" Target="../ink/ink457.xml"/><Relationship Id="rId172" Type="http://schemas.openxmlformats.org/officeDocument/2006/relationships/customXml" Target="../ink/ink359.xml"/><Relationship Id="rId228" Type="http://schemas.openxmlformats.org/officeDocument/2006/relationships/customXml" Target="../ink/ink387.xml"/><Relationship Id="rId435" Type="http://schemas.openxmlformats.org/officeDocument/2006/relationships/image" Target="../media/image497.png"/><Relationship Id="rId281" Type="http://schemas.openxmlformats.org/officeDocument/2006/relationships/image" Target="../media/image420.png"/><Relationship Id="rId337" Type="http://schemas.openxmlformats.org/officeDocument/2006/relationships/image" Target="../media/image448.png"/><Relationship Id="rId34" Type="http://schemas.openxmlformats.org/officeDocument/2006/relationships/customXml" Target="../ink/ink290.xml"/><Relationship Id="rId76" Type="http://schemas.openxmlformats.org/officeDocument/2006/relationships/customXml" Target="../ink/ink311.xml"/><Relationship Id="rId141" Type="http://schemas.openxmlformats.org/officeDocument/2006/relationships/image" Target="../media/image350.png"/><Relationship Id="rId379" Type="http://schemas.openxmlformats.org/officeDocument/2006/relationships/image" Target="../media/image469.png"/><Relationship Id="rId7" Type="http://schemas.openxmlformats.org/officeDocument/2006/relationships/image" Target="../media/image283.png"/><Relationship Id="rId183" Type="http://schemas.openxmlformats.org/officeDocument/2006/relationships/image" Target="../media/image371.png"/><Relationship Id="rId239" Type="http://schemas.openxmlformats.org/officeDocument/2006/relationships/image" Target="../media/image399.png"/><Relationship Id="rId390" Type="http://schemas.openxmlformats.org/officeDocument/2006/relationships/customXml" Target="../ink/ink468.xml"/><Relationship Id="rId404" Type="http://schemas.openxmlformats.org/officeDocument/2006/relationships/customXml" Target="../ink/ink475.xml"/><Relationship Id="rId446" Type="http://schemas.openxmlformats.org/officeDocument/2006/relationships/customXml" Target="../ink/ink496.xml"/><Relationship Id="rId250" Type="http://schemas.openxmlformats.org/officeDocument/2006/relationships/customXml" Target="../ink/ink398.xml"/><Relationship Id="rId292" Type="http://schemas.openxmlformats.org/officeDocument/2006/relationships/customXml" Target="../ink/ink419.xml"/><Relationship Id="rId306" Type="http://schemas.openxmlformats.org/officeDocument/2006/relationships/customXml" Target="../ink/ink426.xml"/><Relationship Id="rId45" Type="http://schemas.openxmlformats.org/officeDocument/2006/relationships/image" Target="../media/image302.png"/><Relationship Id="rId87" Type="http://schemas.openxmlformats.org/officeDocument/2006/relationships/image" Target="../media/image323.png"/><Relationship Id="rId110" Type="http://schemas.openxmlformats.org/officeDocument/2006/relationships/customXml" Target="../ink/ink328.xml"/><Relationship Id="rId348" Type="http://schemas.openxmlformats.org/officeDocument/2006/relationships/customXml" Target="../ink/ink447.xml"/><Relationship Id="rId152" Type="http://schemas.openxmlformats.org/officeDocument/2006/relationships/customXml" Target="../ink/ink349.xml"/><Relationship Id="rId194" Type="http://schemas.openxmlformats.org/officeDocument/2006/relationships/customXml" Target="../ink/ink370.xml"/><Relationship Id="rId208" Type="http://schemas.openxmlformats.org/officeDocument/2006/relationships/customXml" Target="../ink/ink377.xml"/><Relationship Id="rId415" Type="http://schemas.openxmlformats.org/officeDocument/2006/relationships/image" Target="../media/image487.png"/><Relationship Id="rId457" Type="http://schemas.openxmlformats.org/officeDocument/2006/relationships/image" Target="../media/image508.png"/><Relationship Id="rId261" Type="http://schemas.openxmlformats.org/officeDocument/2006/relationships/image" Target="../media/image410.png"/><Relationship Id="rId14" Type="http://schemas.openxmlformats.org/officeDocument/2006/relationships/customXml" Target="../ink/ink280.xml"/><Relationship Id="rId56" Type="http://schemas.openxmlformats.org/officeDocument/2006/relationships/customXml" Target="../ink/ink301.xml"/><Relationship Id="rId317" Type="http://schemas.openxmlformats.org/officeDocument/2006/relationships/image" Target="../media/image438.png"/><Relationship Id="rId359" Type="http://schemas.openxmlformats.org/officeDocument/2006/relationships/image" Target="../media/image459.png"/><Relationship Id="rId98" Type="http://schemas.openxmlformats.org/officeDocument/2006/relationships/customXml" Target="../ink/ink322.xml"/><Relationship Id="rId121" Type="http://schemas.openxmlformats.org/officeDocument/2006/relationships/image" Target="../media/image340.png"/><Relationship Id="rId163" Type="http://schemas.openxmlformats.org/officeDocument/2006/relationships/image" Target="../media/image361.png"/><Relationship Id="rId219" Type="http://schemas.openxmlformats.org/officeDocument/2006/relationships/image" Target="../media/image389.png"/><Relationship Id="rId370" Type="http://schemas.openxmlformats.org/officeDocument/2006/relationships/customXml" Target="../ink/ink458.xml"/><Relationship Id="rId426" Type="http://schemas.openxmlformats.org/officeDocument/2006/relationships/customXml" Target="../ink/ink486.xml"/><Relationship Id="rId230" Type="http://schemas.openxmlformats.org/officeDocument/2006/relationships/customXml" Target="../ink/ink388.xml"/><Relationship Id="rId25" Type="http://schemas.openxmlformats.org/officeDocument/2006/relationships/image" Target="../media/image292.png"/><Relationship Id="rId67" Type="http://schemas.openxmlformats.org/officeDocument/2006/relationships/image" Target="../media/image313.png"/><Relationship Id="rId272" Type="http://schemas.openxmlformats.org/officeDocument/2006/relationships/customXml" Target="../ink/ink409.xml"/><Relationship Id="rId328" Type="http://schemas.openxmlformats.org/officeDocument/2006/relationships/customXml" Target="../ink/ink437.xml"/><Relationship Id="rId132" Type="http://schemas.openxmlformats.org/officeDocument/2006/relationships/customXml" Target="../ink/ink339.xml"/><Relationship Id="rId174" Type="http://schemas.openxmlformats.org/officeDocument/2006/relationships/customXml" Target="../ink/ink360.xml"/><Relationship Id="rId381" Type="http://schemas.openxmlformats.org/officeDocument/2006/relationships/image" Target="../media/image470.png"/><Relationship Id="rId241" Type="http://schemas.openxmlformats.org/officeDocument/2006/relationships/image" Target="../media/image400.png"/><Relationship Id="rId437" Type="http://schemas.openxmlformats.org/officeDocument/2006/relationships/image" Target="../media/image498.png"/><Relationship Id="rId36" Type="http://schemas.openxmlformats.org/officeDocument/2006/relationships/customXml" Target="../ink/ink291.xml"/><Relationship Id="rId283" Type="http://schemas.openxmlformats.org/officeDocument/2006/relationships/image" Target="../media/image421.png"/><Relationship Id="rId339" Type="http://schemas.openxmlformats.org/officeDocument/2006/relationships/image" Target="../media/image449.png"/><Relationship Id="rId78" Type="http://schemas.openxmlformats.org/officeDocument/2006/relationships/customXml" Target="../ink/ink312.xml"/><Relationship Id="rId101" Type="http://schemas.openxmlformats.org/officeDocument/2006/relationships/image" Target="../media/image330.png"/><Relationship Id="rId143" Type="http://schemas.openxmlformats.org/officeDocument/2006/relationships/image" Target="../media/image351.png"/><Relationship Id="rId185" Type="http://schemas.openxmlformats.org/officeDocument/2006/relationships/image" Target="../media/image372.png"/><Relationship Id="rId350" Type="http://schemas.openxmlformats.org/officeDocument/2006/relationships/customXml" Target="../ink/ink448.xml"/><Relationship Id="rId406" Type="http://schemas.openxmlformats.org/officeDocument/2006/relationships/customXml" Target="../ink/ink476.xml"/><Relationship Id="rId9" Type="http://schemas.openxmlformats.org/officeDocument/2006/relationships/image" Target="../media/image284.png"/><Relationship Id="rId210" Type="http://schemas.openxmlformats.org/officeDocument/2006/relationships/customXml" Target="../ink/ink378.xml"/><Relationship Id="rId392" Type="http://schemas.openxmlformats.org/officeDocument/2006/relationships/customXml" Target="../ink/ink469.xml"/><Relationship Id="rId448" Type="http://schemas.openxmlformats.org/officeDocument/2006/relationships/customXml" Target="../ink/ink497.xml"/><Relationship Id="rId252" Type="http://schemas.openxmlformats.org/officeDocument/2006/relationships/customXml" Target="../ink/ink399.xml"/><Relationship Id="rId294" Type="http://schemas.openxmlformats.org/officeDocument/2006/relationships/customXml" Target="../ink/ink420.xml"/><Relationship Id="rId308" Type="http://schemas.openxmlformats.org/officeDocument/2006/relationships/customXml" Target="../ink/ink427.xml"/><Relationship Id="rId47" Type="http://schemas.openxmlformats.org/officeDocument/2006/relationships/image" Target="../media/image303.png"/><Relationship Id="rId89" Type="http://schemas.openxmlformats.org/officeDocument/2006/relationships/image" Target="../media/image324.png"/><Relationship Id="rId112" Type="http://schemas.openxmlformats.org/officeDocument/2006/relationships/customXml" Target="../ink/ink329.xml"/><Relationship Id="rId154" Type="http://schemas.openxmlformats.org/officeDocument/2006/relationships/customXml" Target="../ink/ink350.xml"/><Relationship Id="rId361" Type="http://schemas.openxmlformats.org/officeDocument/2006/relationships/image" Target="../media/image460.png"/><Relationship Id="rId196" Type="http://schemas.openxmlformats.org/officeDocument/2006/relationships/customXml" Target="../ink/ink371.xml"/><Relationship Id="rId417" Type="http://schemas.openxmlformats.org/officeDocument/2006/relationships/image" Target="../media/image488.png"/><Relationship Id="rId459" Type="http://schemas.openxmlformats.org/officeDocument/2006/relationships/image" Target="../media/image509.png"/><Relationship Id="rId16" Type="http://schemas.openxmlformats.org/officeDocument/2006/relationships/customXml" Target="../ink/ink281.xml"/><Relationship Id="rId221" Type="http://schemas.openxmlformats.org/officeDocument/2006/relationships/image" Target="../media/image390.png"/><Relationship Id="rId263" Type="http://schemas.openxmlformats.org/officeDocument/2006/relationships/image" Target="../media/image411.png"/><Relationship Id="rId319" Type="http://schemas.openxmlformats.org/officeDocument/2006/relationships/image" Target="../media/image439.png"/><Relationship Id="rId58" Type="http://schemas.openxmlformats.org/officeDocument/2006/relationships/customXml" Target="../ink/ink302.xml"/><Relationship Id="rId123" Type="http://schemas.openxmlformats.org/officeDocument/2006/relationships/image" Target="../media/image341.png"/><Relationship Id="rId330" Type="http://schemas.openxmlformats.org/officeDocument/2006/relationships/customXml" Target="../ink/ink438.xml"/><Relationship Id="rId165" Type="http://schemas.openxmlformats.org/officeDocument/2006/relationships/image" Target="../media/image362.png"/><Relationship Id="rId372" Type="http://schemas.openxmlformats.org/officeDocument/2006/relationships/customXml" Target="../ink/ink459.xml"/><Relationship Id="rId428" Type="http://schemas.openxmlformats.org/officeDocument/2006/relationships/customXml" Target="../ink/ink487.xml"/><Relationship Id="rId232" Type="http://schemas.openxmlformats.org/officeDocument/2006/relationships/customXml" Target="../ink/ink389.xml"/><Relationship Id="rId274" Type="http://schemas.openxmlformats.org/officeDocument/2006/relationships/customXml" Target="../ink/ink410.xml"/><Relationship Id="rId27" Type="http://schemas.openxmlformats.org/officeDocument/2006/relationships/image" Target="../media/image293.png"/><Relationship Id="rId69" Type="http://schemas.openxmlformats.org/officeDocument/2006/relationships/image" Target="../media/image314.png"/><Relationship Id="rId134" Type="http://schemas.openxmlformats.org/officeDocument/2006/relationships/customXml" Target="../ink/ink340.xml"/><Relationship Id="rId80" Type="http://schemas.openxmlformats.org/officeDocument/2006/relationships/customXml" Target="../ink/ink313.xml"/><Relationship Id="rId176" Type="http://schemas.openxmlformats.org/officeDocument/2006/relationships/customXml" Target="../ink/ink361.xml"/><Relationship Id="rId341" Type="http://schemas.openxmlformats.org/officeDocument/2006/relationships/image" Target="../media/image450.png"/><Relationship Id="rId383" Type="http://schemas.openxmlformats.org/officeDocument/2006/relationships/image" Target="../media/image471.png"/><Relationship Id="rId439" Type="http://schemas.openxmlformats.org/officeDocument/2006/relationships/image" Target="../media/image499.png"/><Relationship Id="rId201" Type="http://schemas.openxmlformats.org/officeDocument/2006/relationships/image" Target="../media/image380.png"/><Relationship Id="rId243" Type="http://schemas.openxmlformats.org/officeDocument/2006/relationships/image" Target="../media/image401.png"/><Relationship Id="rId285" Type="http://schemas.openxmlformats.org/officeDocument/2006/relationships/image" Target="../media/image422.png"/><Relationship Id="rId450" Type="http://schemas.openxmlformats.org/officeDocument/2006/relationships/customXml" Target="../ink/ink498.xml"/><Relationship Id="rId38" Type="http://schemas.openxmlformats.org/officeDocument/2006/relationships/customXml" Target="../ink/ink292.xml"/><Relationship Id="rId103" Type="http://schemas.openxmlformats.org/officeDocument/2006/relationships/image" Target="../media/image331.png"/><Relationship Id="rId310" Type="http://schemas.openxmlformats.org/officeDocument/2006/relationships/customXml" Target="../ink/ink428.xml"/><Relationship Id="rId91" Type="http://schemas.openxmlformats.org/officeDocument/2006/relationships/image" Target="../media/image325.png"/><Relationship Id="rId145" Type="http://schemas.openxmlformats.org/officeDocument/2006/relationships/image" Target="../media/image352.png"/><Relationship Id="rId187" Type="http://schemas.openxmlformats.org/officeDocument/2006/relationships/image" Target="../media/image373.png"/><Relationship Id="rId352" Type="http://schemas.openxmlformats.org/officeDocument/2006/relationships/customXml" Target="../ink/ink449.xml"/><Relationship Id="rId394" Type="http://schemas.openxmlformats.org/officeDocument/2006/relationships/customXml" Target="../ink/ink470.xml"/><Relationship Id="rId408" Type="http://schemas.openxmlformats.org/officeDocument/2006/relationships/customXml" Target="../ink/ink477.xml"/><Relationship Id="rId212" Type="http://schemas.openxmlformats.org/officeDocument/2006/relationships/customXml" Target="../ink/ink379.xml"/><Relationship Id="rId254" Type="http://schemas.openxmlformats.org/officeDocument/2006/relationships/customXml" Target="../ink/ink400.xml"/><Relationship Id="rId49" Type="http://schemas.openxmlformats.org/officeDocument/2006/relationships/image" Target="../media/image304.png"/><Relationship Id="rId114" Type="http://schemas.openxmlformats.org/officeDocument/2006/relationships/customXml" Target="../ink/ink330.xml"/><Relationship Id="rId296" Type="http://schemas.openxmlformats.org/officeDocument/2006/relationships/customXml" Target="../ink/ink421.xml"/><Relationship Id="rId461" Type="http://schemas.openxmlformats.org/officeDocument/2006/relationships/image" Target="../media/image510.png"/><Relationship Id="rId60" Type="http://schemas.openxmlformats.org/officeDocument/2006/relationships/customXml" Target="../ink/ink303.xml"/><Relationship Id="rId156" Type="http://schemas.openxmlformats.org/officeDocument/2006/relationships/customXml" Target="../ink/ink351.xml"/><Relationship Id="rId198" Type="http://schemas.openxmlformats.org/officeDocument/2006/relationships/customXml" Target="../ink/ink372.xml"/><Relationship Id="rId321" Type="http://schemas.openxmlformats.org/officeDocument/2006/relationships/image" Target="../media/image440.png"/><Relationship Id="rId363" Type="http://schemas.openxmlformats.org/officeDocument/2006/relationships/image" Target="../media/image461.png"/><Relationship Id="rId419" Type="http://schemas.openxmlformats.org/officeDocument/2006/relationships/image" Target="../media/image489.png"/><Relationship Id="rId223" Type="http://schemas.openxmlformats.org/officeDocument/2006/relationships/image" Target="../media/image391.png"/><Relationship Id="rId430" Type="http://schemas.openxmlformats.org/officeDocument/2006/relationships/customXml" Target="../ink/ink488.xml"/><Relationship Id="rId18" Type="http://schemas.openxmlformats.org/officeDocument/2006/relationships/customXml" Target="../ink/ink282.xml"/><Relationship Id="rId265" Type="http://schemas.openxmlformats.org/officeDocument/2006/relationships/image" Target="../media/image412.png"/><Relationship Id="rId125" Type="http://schemas.openxmlformats.org/officeDocument/2006/relationships/image" Target="../media/image342.png"/><Relationship Id="rId167" Type="http://schemas.openxmlformats.org/officeDocument/2006/relationships/image" Target="../media/image363.png"/><Relationship Id="rId332" Type="http://schemas.openxmlformats.org/officeDocument/2006/relationships/customXml" Target="../ink/ink439.xml"/><Relationship Id="rId374" Type="http://schemas.openxmlformats.org/officeDocument/2006/relationships/customXml" Target="../ink/ink460.xml"/><Relationship Id="rId71" Type="http://schemas.openxmlformats.org/officeDocument/2006/relationships/image" Target="../media/image315.png"/><Relationship Id="rId234" Type="http://schemas.openxmlformats.org/officeDocument/2006/relationships/customXml" Target="../ink/ink390.xml"/><Relationship Id="rId2" Type="http://schemas.openxmlformats.org/officeDocument/2006/relationships/customXml" Target="../ink/ink274.xml"/><Relationship Id="rId29" Type="http://schemas.openxmlformats.org/officeDocument/2006/relationships/image" Target="../media/image294.png"/><Relationship Id="rId276" Type="http://schemas.openxmlformats.org/officeDocument/2006/relationships/customXml" Target="../ink/ink411.xml"/><Relationship Id="rId441" Type="http://schemas.openxmlformats.org/officeDocument/2006/relationships/image" Target="../media/image500.png"/><Relationship Id="rId40" Type="http://schemas.openxmlformats.org/officeDocument/2006/relationships/customXml" Target="../ink/ink293.xml"/><Relationship Id="rId115" Type="http://schemas.openxmlformats.org/officeDocument/2006/relationships/image" Target="../media/image337.png"/><Relationship Id="rId136" Type="http://schemas.openxmlformats.org/officeDocument/2006/relationships/customXml" Target="../ink/ink341.xml"/><Relationship Id="rId157" Type="http://schemas.openxmlformats.org/officeDocument/2006/relationships/image" Target="../media/image358.png"/><Relationship Id="rId178" Type="http://schemas.openxmlformats.org/officeDocument/2006/relationships/customXml" Target="../ink/ink362.xml"/><Relationship Id="rId301" Type="http://schemas.openxmlformats.org/officeDocument/2006/relationships/image" Target="../media/image430.png"/><Relationship Id="rId322" Type="http://schemas.openxmlformats.org/officeDocument/2006/relationships/customXml" Target="../ink/ink434.xml"/><Relationship Id="rId343" Type="http://schemas.openxmlformats.org/officeDocument/2006/relationships/image" Target="../media/image451.png"/><Relationship Id="rId364" Type="http://schemas.openxmlformats.org/officeDocument/2006/relationships/customXml" Target="../ink/ink455.xml"/><Relationship Id="rId61" Type="http://schemas.openxmlformats.org/officeDocument/2006/relationships/image" Target="../media/image310.png"/><Relationship Id="rId82" Type="http://schemas.openxmlformats.org/officeDocument/2006/relationships/customXml" Target="../ink/ink314.xml"/><Relationship Id="rId199" Type="http://schemas.openxmlformats.org/officeDocument/2006/relationships/image" Target="../media/image379.png"/><Relationship Id="rId203" Type="http://schemas.openxmlformats.org/officeDocument/2006/relationships/image" Target="../media/image381.png"/><Relationship Id="rId385" Type="http://schemas.openxmlformats.org/officeDocument/2006/relationships/image" Target="../media/image472.png"/><Relationship Id="rId19" Type="http://schemas.openxmlformats.org/officeDocument/2006/relationships/image" Target="../media/image289.png"/><Relationship Id="rId224" Type="http://schemas.openxmlformats.org/officeDocument/2006/relationships/customXml" Target="../ink/ink385.xml"/><Relationship Id="rId245" Type="http://schemas.openxmlformats.org/officeDocument/2006/relationships/image" Target="../media/image402.png"/><Relationship Id="rId266" Type="http://schemas.openxmlformats.org/officeDocument/2006/relationships/customXml" Target="../ink/ink406.xml"/><Relationship Id="rId287" Type="http://schemas.openxmlformats.org/officeDocument/2006/relationships/image" Target="../media/image423.png"/><Relationship Id="rId410" Type="http://schemas.openxmlformats.org/officeDocument/2006/relationships/customXml" Target="../ink/ink478.xml"/><Relationship Id="rId431" Type="http://schemas.openxmlformats.org/officeDocument/2006/relationships/image" Target="../media/image495.png"/><Relationship Id="rId452" Type="http://schemas.openxmlformats.org/officeDocument/2006/relationships/customXml" Target="../ink/ink499.xml"/><Relationship Id="rId30" Type="http://schemas.openxmlformats.org/officeDocument/2006/relationships/customXml" Target="../ink/ink288.xml"/><Relationship Id="rId105" Type="http://schemas.openxmlformats.org/officeDocument/2006/relationships/image" Target="../media/image332.png"/><Relationship Id="rId126" Type="http://schemas.openxmlformats.org/officeDocument/2006/relationships/customXml" Target="../ink/ink336.xml"/><Relationship Id="rId147" Type="http://schemas.openxmlformats.org/officeDocument/2006/relationships/image" Target="../media/image353.png"/><Relationship Id="rId168" Type="http://schemas.openxmlformats.org/officeDocument/2006/relationships/customXml" Target="../ink/ink357.xml"/><Relationship Id="rId312" Type="http://schemas.openxmlformats.org/officeDocument/2006/relationships/customXml" Target="../ink/ink429.xml"/><Relationship Id="rId333" Type="http://schemas.openxmlformats.org/officeDocument/2006/relationships/image" Target="../media/image446.png"/><Relationship Id="rId354" Type="http://schemas.openxmlformats.org/officeDocument/2006/relationships/customXml" Target="../ink/ink450.xml"/><Relationship Id="rId51" Type="http://schemas.openxmlformats.org/officeDocument/2006/relationships/image" Target="../media/image305.png"/><Relationship Id="rId72" Type="http://schemas.openxmlformats.org/officeDocument/2006/relationships/customXml" Target="../ink/ink309.xml"/><Relationship Id="rId93" Type="http://schemas.openxmlformats.org/officeDocument/2006/relationships/image" Target="../media/image326.png"/><Relationship Id="rId189" Type="http://schemas.openxmlformats.org/officeDocument/2006/relationships/image" Target="../media/image374.png"/><Relationship Id="rId375" Type="http://schemas.openxmlformats.org/officeDocument/2006/relationships/image" Target="../media/image467.png"/><Relationship Id="rId396" Type="http://schemas.openxmlformats.org/officeDocument/2006/relationships/customXml" Target="../ink/ink471.xml"/><Relationship Id="rId3" Type="http://schemas.openxmlformats.org/officeDocument/2006/relationships/image" Target="../media/image281.png"/><Relationship Id="rId214" Type="http://schemas.openxmlformats.org/officeDocument/2006/relationships/customXml" Target="../ink/ink380.xml"/><Relationship Id="rId235" Type="http://schemas.openxmlformats.org/officeDocument/2006/relationships/image" Target="../media/image397.png"/><Relationship Id="rId256" Type="http://schemas.openxmlformats.org/officeDocument/2006/relationships/customXml" Target="../ink/ink401.xml"/><Relationship Id="rId277" Type="http://schemas.openxmlformats.org/officeDocument/2006/relationships/image" Target="../media/image418.png"/><Relationship Id="rId298" Type="http://schemas.openxmlformats.org/officeDocument/2006/relationships/customXml" Target="../ink/ink422.xml"/><Relationship Id="rId400" Type="http://schemas.openxmlformats.org/officeDocument/2006/relationships/customXml" Target="../ink/ink473.xml"/><Relationship Id="rId421" Type="http://schemas.openxmlformats.org/officeDocument/2006/relationships/image" Target="../media/image490.png"/><Relationship Id="rId442" Type="http://schemas.openxmlformats.org/officeDocument/2006/relationships/customXml" Target="../ink/ink494.xml"/><Relationship Id="rId116" Type="http://schemas.openxmlformats.org/officeDocument/2006/relationships/customXml" Target="../ink/ink331.xml"/><Relationship Id="rId137" Type="http://schemas.openxmlformats.org/officeDocument/2006/relationships/image" Target="../media/image348.png"/><Relationship Id="rId158" Type="http://schemas.openxmlformats.org/officeDocument/2006/relationships/customXml" Target="../ink/ink352.xml"/><Relationship Id="rId302" Type="http://schemas.openxmlformats.org/officeDocument/2006/relationships/customXml" Target="../ink/ink424.xml"/><Relationship Id="rId323" Type="http://schemas.openxmlformats.org/officeDocument/2006/relationships/image" Target="../media/image441.png"/><Relationship Id="rId344" Type="http://schemas.openxmlformats.org/officeDocument/2006/relationships/customXml" Target="../ink/ink445.xml"/><Relationship Id="rId20" Type="http://schemas.openxmlformats.org/officeDocument/2006/relationships/customXml" Target="../ink/ink283.xml"/><Relationship Id="rId41" Type="http://schemas.openxmlformats.org/officeDocument/2006/relationships/image" Target="../media/image300.png"/><Relationship Id="rId62" Type="http://schemas.openxmlformats.org/officeDocument/2006/relationships/customXml" Target="../ink/ink304.xml"/><Relationship Id="rId83" Type="http://schemas.openxmlformats.org/officeDocument/2006/relationships/image" Target="../media/image321.png"/><Relationship Id="rId179" Type="http://schemas.openxmlformats.org/officeDocument/2006/relationships/image" Target="../media/image369.png"/><Relationship Id="rId365" Type="http://schemas.openxmlformats.org/officeDocument/2006/relationships/image" Target="../media/image462.png"/><Relationship Id="rId386" Type="http://schemas.openxmlformats.org/officeDocument/2006/relationships/customXml" Target="../ink/ink466.xml"/><Relationship Id="rId190" Type="http://schemas.openxmlformats.org/officeDocument/2006/relationships/customXml" Target="../ink/ink368.xml"/><Relationship Id="rId204" Type="http://schemas.openxmlformats.org/officeDocument/2006/relationships/customXml" Target="../ink/ink375.xml"/><Relationship Id="rId225" Type="http://schemas.openxmlformats.org/officeDocument/2006/relationships/image" Target="../media/image392.png"/><Relationship Id="rId246" Type="http://schemas.openxmlformats.org/officeDocument/2006/relationships/customXml" Target="../ink/ink396.xml"/><Relationship Id="rId267" Type="http://schemas.openxmlformats.org/officeDocument/2006/relationships/image" Target="../media/image413.png"/><Relationship Id="rId288" Type="http://schemas.openxmlformats.org/officeDocument/2006/relationships/customXml" Target="../ink/ink417.xml"/><Relationship Id="rId411" Type="http://schemas.openxmlformats.org/officeDocument/2006/relationships/image" Target="../media/image485.png"/><Relationship Id="rId432" Type="http://schemas.openxmlformats.org/officeDocument/2006/relationships/customXml" Target="../ink/ink489.xml"/><Relationship Id="rId453" Type="http://schemas.openxmlformats.org/officeDocument/2006/relationships/image" Target="../media/image506.png"/><Relationship Id="rId106" Type="http://schemas.openxmlformats.org/officeDocument/2006/relationships/customXml" Target="../ink/ink326.xml"/><Relationship Id="rId127" Type="http://schemas.openxmlformats.org/officeDocument/2006/relationships/image" Target="../media/image343.png"/><Relationship Id="rId313" Type="http://schemas.openxmlformats.org/officeDocument/2006/relationships/image" Target="../media/image436.png"/><Relationship Id="rId10" Type="http://schemas.openxmlformats.org/officeDocument/2006/relationships/customXml" Target="../ink/ink278.xml"/><Relationship Id="rId31" Type="http://schemas.openxmlformats.org/officeDocument/2006/relationships/image" Target="../media/image295.png"/><Relationship Id="rId52" Type="http://schemas.openxmlformats.org/officeDocument/2006/relationships/customXml" Target="../ink/ink299.xml"/><Relationship Id="rId73" Type="http://schemas.openxmlformats.org/officeDocument/2006/relationships/image" Target="../media/image316.png"/><Relationship Id="rId94" Type="http://schemas.openxmlformats.org/officeDocument/2006/relationships/customXml" Target="../ink/ink320.xml"/><Relationship Id="rId148" Type="http://schemas.openxmlformats.org/officeDocument/2006/relationships/customXml" Target="../ink/ink347.xml"/><Relationship Id="rId169" Type="http://schemas.openxmlformats.org/officeDocument/2006/relationships/image" Target="../media/image364.png"/><Relationship Id="rId334" Type="http://schemas.openxmlformats.org/officeDocument/2006/relationships/customXml" Target="../ink/ink440.xml"/><Relationship Id="rId355" Type="http://schemas.openxmlformats.org/officeDocument/2006/relationships/image" Target="../media/image457.png"/><Relationship Id="rId376" Type="http://schemas.openxmlformats.org/officeDocument/2006/relationships/customXml" Target="../ink/ink461.xml"/><Relationship Id="rId397" Type="http://schemas.openxmlformats.org/officeDocument/2006/relationships/image" Target="../media/image478.png"/><Relationship Id="rId4" Type="http://schemas.openxmlformats.org/officeDocument/2006/relationships/customXml" Target="../ink/ink275.xml"/><Relationship Id="rId180" Type="http://schemas.openxmlformats.org/officeDocument/2006/relationships/customXml" Target="../ink/ink363.xml"/><Relationship Id="rId215" Type="http://schemas.openxmlformats.org/officeDocument/2006/relationships/image" Target="../media/image387.png"/><Relationship Id="rId236" Type="http://schemas.openxmlformats.org/officeDocument/2006/relationships/customXml" Target="../ink/ink391.xml"/><Relationship Id="rId257" Type="http://schemas.openxmlformats.org/officeDocument/2006/relationships/image" Target="../media/image408.png"/><Relationship Id="rId278" Type="http://schemas.openxmlformats.org/officeDocument/2006/relationships/customXml" Target="../ink/ink412.xml"/><Relationship Id="rId401" Type="http://schemas.openxmlformats.org/officeDocument/2006/relationships/image" Target="../media/image480.png"/><Relationship Id="rId422" Type="http://schemas.openxmlformats.org/officeDocument/2006/relationships/customXml" Target="../ink/ink484.xml"/><Relationship Id="rId443" Type="http://schemas.openxmlformats.org/officeDocument/2006/relationships/image" Target="../media/image501.png"/><Relationship Id="rId303" Type="http://schemas.openxmlformats.org/officeDocument/2006/relationships/image" Target="../media/image431.png"/><Relationship Id="rId42" Type="http://schemas.openxmlformats.org/officeDocument/2006/relationships/customXml" Target="../ink/ink294.xml"/><Relationship Id="rId84" Type="http://schemas.openxmlformats.org/officeDocument/2006/relationships/customXml" Target="../ink/ink315.xml"/><Relationship Id="rId138" Type="http://schemas.openxmlformats.org/officeDocument/2006/relationships/customXml" Target="../ink/ink342.xml"/><Relationship Id="rId345" Type="http://schemas.openxmlformats.org/officeDocument/2006/relationships/image" Target="../media/image452.png"/><Relationship Id="rId387" Type="http://schemas.openxmlformats.org/officeDocument/2006/relationships/image" Target="../media/image473.png"/><Relationship Id="rId191" Type="http://schemas.openxmlformats.org/officeDocument/2006/relationships/image" Target="../media/image375.png"/><Relationship Id="rId205" Type="http://schemas.openxmlformats.org/officeDocument/2006/relationships/image" Target="../media/image382.png"/><Relationship Id="rId247" Type="http://schemas.openxmlformats.org/officeDocument/2006/relationships/image" Target="../media/image403.png"/><Relationship Id="rId412" Type="http://schemas.openxmlformats.org/officeDocument/2006/relationships/customXml" Target="../ink/ink479.xml"/><Relationship Id="rId107" Type="http://schemas.openxmlformats.org/officeDocument/2006/relationships/image" Target="../media/image333.png"/><Relationship Id="rId289" Type="http://schemas.openxmlformats.org/officeDocument/2006/relationships/image" Target="../media/image424.png"/><Relationship Id="rId454" Type="http://schemas.openxmlformats.org/officeDocument/2006/relationships/customXml" Target="../ink/ink500.xml"/><Relationship Id="rId11" Type="http://schemas.openxmlformats.org/officeDocument/2006/relationships/image" Target="../media/image285.png"/><Relationship Id="rId53" Type="http://schemas.openxmlformats.org/officeDocument/2006/relationships/image" Target="../media/image306.png"/><Relationship Id="rId149" Type="http://schemas.openxmlformats.org/officeDocument/2006/relationships/image" Target="../media/image354.png"/><Relationship Id="rId314" Type="http://schemas.openxmlformats.org/officeDocument/2006/relationships/customXml" Target="../ink/ink430.xml"/><Relationship Id="rId356" Type="http://schemas.openxmlformats.org/officeDocument/2006/relationships/customXml" Target="../ink/ink451.xml"/><Relationship Id="rId398" Type="http://schemas.openxmlformats.org/officeDocument/2006/relationships/customXml" Target="../ink/ink472.xml"/><Relationship Id="rId95" Type="http://schemas.openxmlformats.org/officeDocument/2006/relationships/image" Target="../media/image327.png"/><Relationship Id="rId160" Type="http://schemas.openxmlformats.org/officeDocument/2006/relationships/customXml" Target="../ink/ink353.xml"/><Relationship Id="rId216" Type="http://schemas.openxmlformats.org/officeDocument/2006/relationships/customXml" Target="../ink/ink381.xml"/><Relationship Id="rId423" Type="http://schemas.openxmlformats.org/officeDocument/2006/relationships/image" Target="../media/image491.png"/><Relationship Id="rId258" Type="http://schemas.openxmlformats.org/officeDocument/2006/relationships/customXml" Target="../ink/ink402.xml"/><Relationship Id="rId22" Type="http://schemas.openxmlformats.org/officeDocument/2006/relationships/customXml" Target="../ink/ink284.xml"/><Relationship Id="rId64" Type="http://schemas.openxmlformats.org/officeDocument/2006/relationships/customXml" Target="../ink/ink305.xml"/><Relationship Id="rId118" Type="http://schemas.openxmlformats.org/officeDocument/2006/relationships/customXml" Target="../ink/ink332.xml"/><Relationship Id="rId325" Type="http://schemas.openxmlformats.org/officeDocument/2006/relationships/image" Target="../media/image442.png"/><Relationship Id="rId367" Type="http://schemas.openxmlformats.org/officeDocument/2006/relationships/image" Target="../media/image463.png"/><Relationship Id="rId171" Type="http://schemas.openxmlformats.org/officeDocument/2006/relationships/image" Target="../media/image365.png"/><Relationship Id="rId227" Type="http://schemas.openxmlformats.org/officeDocument/2006/relationships/image" Target="../media/image393.png"/><Relationship Id="rId269" Type="http://schemas.openxmlformats.org/officeDocument/2006/relationships/image" Target="../media/image414.png"/><Relationship Id="rId434" Type="http://schemas.openxmlformats.org/officeDocument/2006/relationships/customXml" Target="../ink/ink490.xml"/><Relationship Id="rId33" Type="http://schemas.openxmlformats.org/officeDocument/2006/relationships/image" Target="../media/image296.png"/><Relationship Id="rId129" Type="http://schemas.openxmlformats.org/officeDocument/2006/relationships/image" Target="../media/image344.png"/><Relationship Id="rId280" Type="http://schemas.openxmlformats.org/officeDocument/2006/relationships/customXml" Target="../ink/ink413.xml"/><Relationship Id="rId336" Type="http://schemas.openxmlformats.org/officeDocument/2006/relationships/customXml" Target="../ink/ink441.xml"/><Relationship Id="rId75" Type="http://schemas.openxmlformats.org/officeDocument/2006/relationships/image" Target="../media/image317.png"/><Relationship Id="rId140" Type="http://schemas.openxmlformats.org/officeDocument/2006/relationships/customXml" Target="../ink/ink343.xml"/><Relationship Id="rId182" Type="http://schemas.openxmlformats.org/officeDocument/2006/relationships/customXml" Target="../ink/ink364.xml"/><Relationship Id="rId378" Type="http://schemas.openxmlformats.org/officeDocument/2006/relationships/customXml" Target="../ink/ink462.xml"/><Relationship Id="rId403" Type="http://schemas.openxmlformats.org/officeDocument/2006/relationships/image" Target="../media/image481.png"/><Relationship Id="rId6" Type="http://schemas.openxmlformats.org/officeDocument/2006/relationships/customXml" Target="../ink/ink276.xml"/><Relationship Id="rId238" Type="http://schemas.openxmlformats.org/officeDocument/2006/relationships/customXml" Target="../ink/ink392.xml"/><Relationship Id="rId445" Type="http://schemas.openxmlformats.org/officeDocument/2006/relationships/image" Target="../media/image502.png"/><Relationship Id="rId291" Type="http://schemas.openxmlformats.org/officeDocument/2006/relationships/image" Target="../media/image425.png"/><Relationship Id="rId305" Type="http://schemas.openxmlformats.org/officeDocument/2006/relationships/image" Target="../media/image432.png"/><Relationship Id="rId347" Type="http://schemas.openxmlformats.org/officeDocument/2006/relationships/image" Target="../media/image453.png"/><Relationship Id="rId44" Type="http://schemas.openxmlformats.org/officeDocument/2006/relationships/customXml" Target="../ink/ink295.xml"/><Relationship Id="rId86" Type="http://schemas.openxmlformats.org/officeDocument/2006/relationships/customXml" Target="../ink/ink316.xml"/><Relationship Id="rId151" Type="http://schemas.openxmlformats.org/officeDocument/2006/relationships/image" Target="../media/image355.png"/><Relationship Id="rId389" Type="http://schemas.openxmlformats.org/officeDocument/2006/relationships/image" Target="../media/image474.png"/><Relationship Id="rId193" Type="http://schemas.openxmlformats.org/officeDocument/2006/relationships/image" Target="../media/image376.png"/><Relationship Id="rId207" Type="http://schemas.openxmlformats.org/officeDocument/2006/relationships/image" Target="../media/image383.png"/><Relationship Id="rId249" Type="http://schemas.openxmlformats.org/officeDocument/2006/relationships/image" Target="../media/image404.png"/><Relationship Id="rId414" Type="http://schemas.openxmlformats.org/officeDocument/2006/relationships/customXml" Target="../ink/ink480.xml"/><Relationship Id="rId456" Type="http://schemas.openxmlformats.org/officeDocument/2006/relationships/customXml" Target="../ink/ink501.xml"/><Relationship Id="rId13" Type="http://schemas.openxmlformats.org/officeDocument/2006/relationships/image" Target="../media/image286.png"/><Relationship Id="rId109" Type="http://schemas.openxmlformats.org/officeDocument/2006/relationships/image" Target="../media/image334.png"/><Relationship Id="rId260" Type="http://schemas.openxmlformats.org/officeDocument/2006/relationships/customXml" Target="../ink/ink403.xml"/><Relationship Id="rId316" Type="http://schemas.openxmlformats.org/officeDocument/2006/relationships/customXml" Target="../ink/ink431.xml"/><Relationship Id="rId55" Type="http://schemas.openxmlformats.org/officeDocument/2006/relationships/image" Target="../media/image307.png"/><Relationship Id="rId97" Type="http://schemas.openxmlformats.org/officeDocument/2006/relationships/image" Target="../media/image328.png"/><Relationship Id="rId120" Type="http://schemas.openxmlformats.org/officeDocument/2006/relationships/customXml" Target="../ink/ink333.xml"/><Relationship Id="rId358" Type="http://schemas.openxmlformats.org/officeDocument/2006/relationships/customXml" Target="../ink/ink452.xml"/><Relationship Id="rId162" Type="http://schemas.openxmlformats.org/officeDocument/2006/relationships/customXml" Target="../ink/ink354.xml"/><Relationship Id="rId218" Type="http://schemas.openxmlformats.org/officeDocument/2006/relationships/customXml" Target="../ink/ink382.xml"/><Relationship Id="rId425" Type="http://schemas.openxmlformats.org/officeDocument/2006/relationships/image" Target="../media/image492.png"/><Relationship Id="rId271" Type="http://schemas.openxmlformats.org/officeDocument/2006/relationships/image" Target="../media/image415.png"/><Relationship Id="rId24" Type="http://schemas.openxmlformats.org/officeDocument/2006/relationships/customXml" Target="../ink/ink285.xml"/><Relationship Id="rId66" Type="http://schemas.openxmlformats.org/officeDocument/2006/relationships/customXml" Target="../ink/ink306.xml"/><Relationship Id="rId131" Type="http://schemas.openxmlformats.org/officeDocument/2006/relationships/image" Target="../media/image345.png"/><Relationship Id="rId327" Type="http://schemas.openxmlformats.org/officeDocument/2006/relationships/image" Target="../media/image443.png"/><Relationship Id="rId369" Type="http://schemas.openxmlformats.org/officeDocument/2006/relationships/image" Target="../media/image464.png"/><Relationship Id="rId173" Type="http://schemas.openxmlformats.org/officeDocument/2006/relationships/image" Target="../media/image366.png"/><Relationship Id="rId229" Type="http://schemas.openxmlformats.org/officeDocument/2006/relationships/image" Target="../media/image394.png"/><Relationship Id="rId380" Type="http://schemas.openxmlformats.org/officeDocument/2006/relationships/customXml" Target="../ink/ink463.xml"/><Relationship Id="rId436" Type="http://schemas.openxmlformats.org/officeDocument/2006/relationships/customXml" Target="../ink/ink491.xml"/><Relationship Id="rId240" Type="http://schemas.openxmlformats.org/officeDocument/2006/relationships/customXml" Target="../ink/ink393.xml"/><Relationship Id="rId35" Type="http://schemas.openxmlformats.org/officeDocument/2006/relationships/image" Target="../media/image297.png"/><Relationship Id="rId77" Type="http://schemas.openxmlformats.org/officeDocument/2006/relationships/image" Target="../media/image318.png"/><Relationship Id="rId100" Type="http://schemas.openxmlformats.org/officeDocument/2006/relationships/customXml" Target="../ink/ink323.xml"/><Relationship Id="rId282" Type="http://schemas.openxmlformats.org/officeDocument/2006/relationships/customXml" Target="../ink/ink414.xml"/><Relationship Id="rId338" Type="http://schemas.openxmlformats.org/officeDocument/2006/relationships/customXml" Target="../ink/ink442.xml"/><Relationship Id="rId8" Type="http://schemas.openxmlformats.org/officeDocument/2006/relationships/customXml" Target="../ink/ink277.xml"/><Relationship Id="rId142" Type="http://schemas.openxmlformats.org/officeDocument/2006/relationships/customXml" Target="../ink/ink344.xml"/><Relationship Id="rId184" Type="http://schemas.openxmlformats.org/officeDocument/2006/relationships/customXml" Target="../ink/ink365.xml"/><Relationship Id="rId391" Type="http://schemas.openxmlformats.org/officeDocument/2006/relationships/image" Target="../media/image475.png"/><Relationship Id="rId405" Type="http://schemas.openxmlformats.org/officeDocument/2006/relationships/image" Target="../media/image482.png"/><Relationship Id="rId447" Type="http://schemas.openxmlformats.org/officeDocument/2006/relationships/image" Target="../media/image503.png"/><Relationship Id="rId251" Type="http://schemas.openxmlformats.org/officeDocument/2006/relationships/image" Target="../media/image405.png"/><Relationship Id="rId46" Type="http://schemas.openxmlformats.org/officeDocument/2006/relationships/customXml" Target="../ink/ink296.xml"/><Relationship Id="rId293" Type="http://schemas.openxmlformats.org/officeDocument/2006/relationships/image" Target="../media/image426.png"/><Relationship Id="rId307" Type="http://schemas.openxmlformats.org/officeDocument/2006/relationships/image" Target="../media/image433.png"/><Relationship Id="rId349" Type="http://schemas.openxmlformats.org/officeDocument/2006/relationships/image" Target="../media/image454.png"/><Relationship Id="rId88" Type="http://schemas.openxmlformats.org/officeDocument/2006/relationships/customXml" Target="../ink/ink317.xml"/><Relationship Id="rId111" Type="http://schemas.openxmlformats.org/officeDocument/2006/relationships/image" Target="../media/image335.png"/><Relationship Id="rId153" Type="http://schemas.openxmlformats.org/officeDocument/2006/relationships/image" Target="../media/image356.png"/><Relationship Id="rId195" Type="http://schemas.openxmlformats.org/officeDocument/2006/relationships/image" Target="../media/image377.png"/><Relationship Id="rId209" Type="http://schemas.openxmlformats.org/officeDocument/2006/relationships/image" Target="../media/image384.png"/><Relationship Id="rId360" Type="http://schemas.openxmlformats.org/officeDocument/2006/relationships/customXml" Target="../ink/ink453.xml"/><Relationship Id="rId416" Type="http://schemas.openxmlformats.org/officeDocument/2006/relationships/customXml" Target="../ink/ink481.xml"/><Relationship Id="rId220" Type="http://schemas.openxmlformats.org/officeDocument/2006/relationships/customXml" Target="../ink/ink383.xml"/><Relationship Id="rId458" Type="http://schemas.openxmlformats.org/officeDocument/2006/relationships/customXml" Target="../ink/ink502.xml"/><Relationship Id="rId15" Type="http://schemas.openxmlformats.org/officeDocument/2006/relationships/image" Target="../media/image287.png"/><Relationship Id="rId57" Type="http://schemas.openxmlformats.org/officeDocument/2006/relationships/image" Target="../media/image308.png"/><Relationship Id="rId262" Type="http://schemas.openxmlformats.org/officeDocument/2006/relationships/customXml" Target="../ink/ink404.xml"/><Relationship Id="rId318" Type="http://schemas.openxmlformats.org/officeDocument/2006/relationships/customXml" Target="../ink/ink432.xml"/><Relationship Id="rId99" Type="http://schemas.openxmlformats.org/officeDocument/2006/relationships/image" Target="../media/image329.png"/><Relationship Id="rId122" Type="http://schemas.openxmlformats.org/officeDocument/2006/relationships/customXml" Target="../ink/ink334.xml"/><Relationship Id="rId164" Type="http://schemas.openxmlformats.org/officeDocument/2006/relationships/customXml" Target="../ink/ink355.xml"/><Relationship Id="rId371" Type="http://schemas.openxmlformats.org/officeDocument/2006/relationships/image" Target="../media/image465.png"/><Relationship Id="rId427" Type="http://schemas.openxmlformats.org/officeDocument/2006/relationships/image" Target="../media/image493.png"/><Relationship Id="rId26" Type="http://schemas.openxmlformats.org/officeDocument/2006/relationships/customXml" Target="../ink/ink286.xml"/><Relationship Id="rId231" Type="http://schemas.openxmlformats.org/officeDocument/2006/relationships/image" Target="../media/image395.png"/><Relationship Id="rId273" Type="http://schemas.openxmlformats.org/officeDocument/2006/relationships/image" Target="../media/image416.png"/><Relationship Id="rId329" Type="http://schemas.openxmlformats.org/officeDocument/2006/relationships/image" Target="../media/image444.png"/><Relationship Id="rId68" Type="http://schemas.openxmlformats.org/officeDocument/2006/relationships/customXml" Target="../ink/ink307.xml"/><Relationship Id="rId133" Type="http://schemas.openxmlformats.org/officeDocument/2006/relationships/image" Target="../media/image346.png"/><Relationship Id="rId175" Type="http://schemas.openxmlformats.org/officeDocument/2006/relationships/image" Target="../media/image367.png"/><Relationship Id="rId340" Type="http://schemas.openxmlformats.org/officeDocument/2006/relationships/customXml" Target="../ink/ink443.xml"/><Relationship Id="rId200" Type="http://schemas.openxmlformats.org/officeDocument/2006/relationships/customXml" Target="../ink/ink373.xml"/><Relationship Id="rId382" Type="http://schemas.openxmlformats.org/officeDocument/2006/relationships/customXml" Target="../ink/ink464.xml"/><Relationship Id="rId438" Type="http://schemas.openxmlformats.org/officeDocument/2006/relationships/customXml" Target="../ink/ink492.xml"/><Relationship Id="rId242" Type="http://schemas.openxmlformats.org/officeDocument/2006/relationships/customXml" Target="../ink/ink394.xml"/><Relationship Id="rId284" Type="http://schemas.openxmlformats.org/officeDocument/2006/relationships/customXml" Target="../ink/ink415.xml"/><Relationship Id="rId37" Type="http://schemas.openxmlformats.org/officeDocument/2006/relationships/image" Target="../media/image298.png"/><Relationship Id="rId79" Type="http://schemas.openxmlformats.org/officeDocument/2006/relationships/image" Target="../media/image319.png"/><Relationship Id="rId102" Type="http://schemas.openxmlformats.org/officeDocument/2006/relationships/customXml" Target="../ink/ink324.xml"/><Relationship Id="rId144" Type="http://schemas.openxmlformats.org/officeDocument/2006/relationships/customXml" Target="../ink/ink345.xml"/><Relationship Id="rId90" Type="http://schemas.openxmlformats.org/officeDocument/2006/relationships/customXml" Target="../ink/ink318.xml"/><Relationship Id="rId186" Type="http://schemas.openxmlformats.org/officeDocument/2006/relationships/customXml" Target="../ink/ink366.xml"/><Relationship Id="rId351" Type="http://schemas.openxmlformats.org/officeDocument/2006/relationships/image" Target="../media/image455.png"/><Relationship Id="rId393" Type="http://schemas.openxmlformats.org/officeDocument/2006/relationships/image" Target="../media/image476.png"/><Relationship Id="rId407" Type="http://schemas.openxmlformats.org/officeDocument/2006/relationships/image" Target="../media/image483.png"/><Relationship Id="rId449" Type="http://schemas.openxmlformats.org/officeDocument/2006/relationships/image" Target="../media/image504.png"/><Relationship Id="rId211" Type="http://schemas.openxmlformats.org/officeDocument/2006/relationships/image" Target="../media/image385.png"/><Relationship Id="rId253" Type="http://schemas.openxmlformats.org/officeDocument/2006/relationships/image" Target="../media/image406.png"/><Relationship Id="rId295" Type="http://schemas.openxmlformats.org/officeDocument/2006/relationships/image" Target="../media/image427.png"/><Relationship Id="rId309" Type="http://schemas.openxmlformats.org/officeDocument/2006/relationships/image" Target="../media/image434.png"/><Relationship Id="rId460" Type="http://schemas.openxmlformats.org/officeDocument/2006/relationships/customXml" Target="../ink/ink503.xml"/><Relationship Id="rId48" Type="http://schemas.openxmlformats.org/officeDocument/2006/relationships/customXml" Target="../ink/ink297.xml"/><Relationship Id="rId113" Type="http://schemas.openxmlformats.org/officeDocument/2006/relationships/image" Target="../media/image336.png"/><Relationship Id="rId320" Type="http://schemas.openxmlformats.org/officeDocument/2006/relationships/customXml" Target="../ink/ink433.xml"/><Relationship Id="rId155" Type="http://schemas.openxmlformats.org/officeDocument/2006/relationships/image" Target="../media/image357.png"/><Relationship Id="rId197" Type="http://schemas.openxmlformats.org/officeDocument/2006/relationships/image" Target="../media/image378.png"/><Relationship Id="rId362" Type="http://schemas.openxmlformats.org/officeDocument/2006/relationships/customXml" Target="../ink/ink454.xml"/><Relationship Id="rId418" Type="http://schemas.openxmlformats.org/officeDocument/2006/relationships/customXml" Target="../ink/ink482.xml"/><Relationship Id="rId222" Type="http://schemas.openxmlformats.org/officeDocument/2006/relationships/customXml" Target="../ink/ink384.xml"/><Relationship Id="rId264" Type="http://schemas.openxmlformats.org/officeDocument/2006/relationships/customXml" Target="../ink/ink405.xml"/><Relationship Id="rId17" Type="http://schemas.openxmlformats.org/officeDocument/2006/relationships/image" Target="../media/image288.png"/><Relationship Id="rId59" Type="http://schemas.openxmlformats.org/officeDocument/2006/relationships/image" Target="../media/image309.png"/><Relationship Id="rId124" Type="http://schemas.openxmlformats.org/officeDocument/2006/relationships/customXml" Target="../ink/ink335.xml"/><Relationship Id="rId70" Type="http://schemas.openxmlformats.org/officeDocument/2006/relationships/customXml" Target="../ink/ink308.xml"/><Relationship Id="rId166" Type="http://schemas.openxmlformats.org/officeDocument/2006/relationships/customXml" Target="../ink/ink356.xml"/><Relationship Id="rId331" Type="http://schemas.openxmlformats.org/officeDocument/2006/relationships/image" Target="../media/image445.png"/><Relationship Id="rId373" Type="http://schemas.openxmlformats.org/officeDocument/2006/relationships/image" Target="../media/image466.png"/><Relationship Id="rId429" Type="http://schemas.openxmlformats.org/officeDocument/2006/relationships/image" Target="../media/image494.png"/><Relationship Id="rId1" Type="http://schemas.openxmlformats.org/officeDocument/2006/relationships/slideLayout" Target="../slideLayouts/slideLayout2.xml"/><Relationship Id="rId233" Type="http://schemas.openxmlformats.org/officeDocument/2006/relationships/image" Target="../media/image396.png"/><Relationship Id="rId440" Type="http://schemas.openxmlformats.org/officeDocument/2006/relationships/customXml" Target="../ink/ink493.xml"/><Relationship Id="rId28" Type="http://schemas.openxmlformats.org/officeDocument/2006/relationships/customXml" Target="../ink/ink287.xml"/><Relationship Id="rId275" Type="http://schemas.openxmlformats.org/officeDocument/2006/relationships/image" Target="../media/image417.png"/><Relationship Id="rId300" Type="http://schemas.openxmlformats.org/officeDocument/2006/relationships/customXml" Target="../ink/ink423.xml"/><Relationship Id="rId81" Type="http://schemas.openxmlformats.org/officeDocument/2006/relationships/image" Target="../media/image320.png"/><Relationship Id="rId135" Type="http://schemas.openxmlformats.org/officeDocument/2006/relationships/image" Target="../media/image347.png"/><Relationship Id="rId177" Type="http://schemas.openxmlformats.org/officeDocument/2006/relationships/image" Target="../media/image368.png"/><Relationship Id="rId342" Type="http://schemas.openxmlformats.org/officeDocument/2006/relationships/customXml" Target="../ink/ink444.xml"/><Relationship Id="rId384" Type="http://schemas.openxmlformats.org/officeDocument/2006/relationships/customXml" Target="../ink/ink465.xml"/><Relationship Id="rId202" Type="http://schemas.openxmlformats.org/officeDocument/2006/relationships/customXml" Target="../ink/ink374.xml"/><Relationship Id="rId244" Type="http://schemas.openxmlformats.org/officeDocument/2006/relationships/customXml" Target="../ink/ink395.xml"/><Relationship Id="rId39" Type="http://schemas.openxmlformats.org/officeDocument/2006/relationships/image" Target="../media/image299.png"/><Relationship Id="rId286" Type="http://schemas.openxmlformats.org/officeDocument/2006/relationships/customXml" Target="../ink/ink416.xml"/><Relationship Id="rId451" Type="http://schemas.openxmlformats.org/officeDocument/2006/relationships/image" Target="../media/image505.png"/><Relationship Id="rId50" Type="http://schemas.openxmlformats.org/officeDocument/2006/relationships/customXml" Target="../ink/ink298.xml"/><Relationship Id="rId104" Type="http://schemas.openxmlformats.org/officeDocument/2006/relationships/customXml" Target="../ink/ink325.xml"/><Relationship Id="rId146" Type="http://schemas.openxmlformats.org/officeDocument/2006/relationships/customXml" Target="../ink/ink346.xml"/><Relationship Id="rId188" Type="http://schemas.openxmlformats.org/officeDocument/2006/relationships/customXml" Target="../ink/ink367.xml"/><Relationship Id="rId311" Type="http://schemas.openxmlformats.org/officeDocument/2006/relationships/image" Target="../media/image435.png"/><Relationship Id="rId353" Type="http://schemas.openxmlformats.org/officeDocument/2006/relationships/image" Target="../media/image456.png"/><Relationship Id="rId395" Type="http://schemas.openxmlformats.org/officeDocument/2006/relationships/image" Target="../media/image477.png"/><Relationship Id="rId409" Type="http://schemas.openxmlformats.org/officeDocument/2006/relationships/image" Target="../media/image484.png"/><Relationship Id="rId92" Type="http://schemas.openxmlformats.org/officeDocument/2006/relationships/customXml" Target="../ink/ink319.xml"/><Relationship Id="rId213" Type="http://schemas.openxmlformats.org/officeDocument/2006/relationships/image" Target="../media/image386.png"/><Relationship Id="rId420" Type="http://schemas.openxmlformats.org/officeDocument/2006/relationships/customXml" Target="../ink/ink483.xml"/><Relationship Id="rId255" Type="http://schemas.openxmlformats.org/officeDocument/2006/relationships/image" Target="../media/image407.png"/><Relationship Id="rId297" Type="http://schemas.openxmlformats.org/officeDocument/2006/relationships/image" Target="../media/image42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1.png"/><Relationship Id="rId7" Type="http://schemas.openxmlformats.org/officeDocument/2006/relationships/image" Target="../media/image51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customXml" Target="../ink/ink505.xml"/><Relationship Id="rId5" Type="http://schemas.openxmlformats.org/officeDocument/2006/relationships/image" Target="../media/image512.png"/><Relationship Id="rId4" Type="http://schemas.openxmlformats.org/officeDocument/2006/relationships/customXml" Target="../ink/ink50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17" Type="http://schemas.openxmlformats.org/officeDocument/2006/relationships/image" Target="../media/image6810.png"/><Relationship Id="rId21" Type="http://schemas.openxmlformats.org/officeDocument/2006/relationships/image" Target="../media/image2010.png"/><Relationship Id="rId42" Type="http://schemas.openxmlformats.org/officeDocument/2006/relationships/customXml" Target="../ink/ink525.xml"/><Relationship Id="rId63" Type="http://schemas.openxmlformats.org/officeDocument/2006/relationships/image" Target="../media/image4110.png"/><Relationship Id="rId84" Type="http://schemas.openxmlformats.org/officeDocument/2006/relationships/customXml" Target="../ink/ink546.xml"/><Relationship Id="rId138" Type="http://schemas.openxmlformats.org/officeDocument/2006/relationships/customXml" Target="../ink/ink573.xml"/><Relationship Id="rId159" Type="http://schemas.openxmlformats.org/officeDocument/2006/relationships/image" Target="../media/image8910.png"/><Relationship Id="rId170" Type="http://schemas.openxmlformats.org/officeDocument/2006/relationships/customXml" Target="../ink/ink589.xml"/><Relationship Id="rId191" Type="http://schemas.openxmlformats.org/officeDocument/2006/relationships/image" Target="../media/image10510.png"/><Relationship Id="rId205" Type="http://schemas.openxmlformats.org/officeDocument/2006/relationships/image" Target="../media/image11210.png"/><Relationship Id="rId107" Type="http://schemas.openxmlformats.org/officeDocument/2006/relationships/image" Target="../media/image6310.png"/><Relationship Id="rId11" Type="http://schemas.openxmlformats.org/officeDocument/2006/relationships/image" Target="../media/image1510.png"/><Relationship Id="rId32" Type="http://schemas.openxmlformats.org/officeDocument/2006/relationships/customXml" Target="../ink/ink520.xml"/><Relationship Id="rId53" Type="http://schemas.openxmlformats.org/officeDocument/2006/relationships/image" Target="../media/image3610.png"/><Relationship Id="rId74" Type="http://schemas.openxmlformats.org/officeDocument/2006/relationships/customXml" Target="../ink/ink541.xml"/><Relationship Id="rId128" Type="http://schemas.openxmlformats.org/officeDocument/2006/relationships/customXml" Target="../ink/ink568.xml"/><Relationship Id="rId149" Type="http://schemas.openxmlformats.org/officeDocument/2006/relationships/image" Target="../media/image8410.png"/><Relationship Id="rId5" Type="http://schemas.openxmlformats.org/officeDocument/2006/relationships/image" Target="../media/image12100.png"/><Relationship Id="rId95" Type="http://schemas.openxmlformats.org/officeDocument/2006/relationships/image" Target="../media/image5710.png"/><Relationship Id="rId160" Type="http://schemas.openxmlformats.org/officeDocument/2006/relationships/customXml" Target="../ink/ink584.xml"/><Relationship Id="rId181" Type="http://schemas.openxmlformats.org/officeDocument/2006/relationships/image" Target="../media/image10010.png"/><Relationship Id="rId216" Type="http://schemas.openxmlformats.org/officeDocument/2006/relationships/customXml" Target="../ink/ink612.xml"/><Relationship Id="rId22" Type="http://schemas.openxmlformats.org/officeDocument/2006/relationships/customXml" Target="../ink/ink515.xml"/><Relationship Id="rId43" Type="http://schemas.openxmlformats.org/officeDocument/2006/relationships/image" Target="../media/image3110.png"/><Relationship Id="rId64" Type="http://schemas.openxmlformats.org/officeDocument/2006/relationships/customXml" Target="../ink/ink536.xml"/><Relationship Id="rId118" Type="http://schemas.openxmlformats.org/officeDocument/2006/relationships/customXml" Target="../ink/ink563.xml"/><Relationship Id="rId139" Type="http://schemas.openxmlformats.org/officeDocument/2006/relationships/image" Target="../media/image7910.png"/><Relationship Id="rId85" Type="http://schemas.openxmlformats.org/officeDocument/2006/relationships/image" Target="../media/image5210.png"/><Relationship Id="rId150" Type="http://schemas.openxmlformats.org/officeDocument/2006/relationships/customXml" Target="../ink/ink579.xml"/><Relationship Id="rId171" Type="http://schemas.openxmlformats.org/officeDocument/2006/relationships/image" Target="../media/image9510.png"/><Relationship Id="rId192" Type="http://schemas.openxmlformats.org/officeDocument/2006/relationships/customXml" Target="../ink/ink600.xml"/><Relationship Id="rId206" Type="http://schemas.openxmlformats.org/officeDocument/2006/relationships/customXml" Target="../ink/ink607.xml"/><Relationship Id="rId12" Type="http://schemas.openxmlformats.org/officeDocument/2006/relationships/customXml" Target="../ink/ink510.xml"/><Relationship Id="rId33" Type="http://schemas.openxmlformats.org/officeDocument/2006/relationships/image" Target="../media/image2610.png"/><Relationship Id="rId108" Type="http://schemas.openxmlformats.org/officeDocument/2006/relationships/customXml" Target="../ink/ink558.xml"/><Relationship Id="rId129" Type="http://schemas.openxmlformats.org/officeDocument/2006/relationships/image" Target="../media/image7410.png"/><Relationship Id="rId54" Type="http://schemas.openxmlformats.org/officeDocument/2006/relationships/customXml" Target="../ink/ink531.xml"/><Relationship Id="rId75" Type="http://schemas.openxmlformats.org/officeDocument/2006/relationships/image" Target="../media/image4710.png"/><Relationship Id="rId96" Type="http://schemas.openxmlformats.org/officeDocument/2006/relationships/customXml" Target="../ink/ink552.xml"/><Relationship Id="rId140" Type="http://schemas.openxmlformats.org/officeDocument/2006/relationships/customXml" Target="../ink/ink574.xml"/><Relationship Id="rId161" Type="http://schemas.openxmlformats.org/officeDocument/2006/relationships/image" Target="../media/image9010.png"/><Relationship Id="rId182" Type="http://schemas.openxmlformats.org/officeDocument/2006/relationships/customXml" Target="../ink/ink595.xml"/><Relationship Id="rId217" Type="http://schemas.openxmlformats.org/officeDocument/2006/relationships/image" Target="../media/image517.png"/><Relationship Id="rId6" Type="http://schemas.openxmlformats.org/officeDocument/2006/relationships/customXml" Target="../ink/ink507.xml"/><Relationship Id="rId23" Type="http://schemas.openxmlformats.org/officeDocument/2006/relationships/image" Target="../media/image2110.png"/><Relationship Id="rId119" Type="http://schemas.openxmlformats.org/officeDocument/2006/relationships/image" Target="../media/image6910.png"/><Relationship Id="rId44" Type="http://schemas.openxmlformats.org/officeDocument/2006/relationships/customXml" Target="../ink/ink526.xml"/><Relationship Id="rId65" Type="http://schemas.openxmlformats.org/officeDocument/2006/relationships/image" Target="../media/image4210.png"/><Relationship Id="rId86" Type="http://schemas.openxmlformats.org/officeDocument/2006/relationships/customXml" Target="../ink/ink547.xml"/><Relationship Id="rId130" Type="http://schemas.openxmlformats.org/officeDocument/2006/relationships/customXml" Target="../ink/ink569.xml"/><Relationship Id="rId151" Type="http://schemas.openxmlformats.org/officeDocument/2006/relationships/image" Target="../media/image8510.png"/><Relationship Id="rId172" Type="http://schemas.openxmlformats.org/officeDocument/2006/relationships/customXml" Target="../ink/ink590.xml"/><Relationship Id="rId193" Type="http://schemas.openxmlformats.org/officeDocument/2006/relationships/image" Target="../media/image10610.png"/><Relationship Id="rId207" Type="http://schemas.openxmlformats.org/officeDocument/2006/relationships/image" Target="../media/image11310.png"/><Relationship Id="rId13" Type="http://schemas.openxmlformats.org/officeDocument/2006/relationships/image" Target="../media/image1610.png"/><Relationship Id="rId109" Type="http://schemas.openxmlformats.org/officeDocument/2006/relationships/image" Target="../media/image6410.png"/><Relationship Id="rId34" Type="http://schemas.openxmlformats.org/officeDocument/2006/relationships/customXml" Target="../ink/ink521.xml"/><Relationship Id="rId55" Type="http://schemas.openxmlformats.org/officeDocument/2006/relationships/image" Target="../media/image3710.png"/><Relationship Id="rId76" Type="http://schemas.openxmlformats.org/officeDocument/2006/relationships/customXml" Target="../ink/ink542.xml"/><Relationship Id="rId97" Type="http://schemas.openxmlformats.org/officeDocument/2006/relationships/image" Target="../media/image5810.png"/><Relationship Id="rId120" Type="http://schemas.openxmlformats.org/officeDocument/2006/relationships/customXml" Target="../ink/ink564.xml"/><Relationship Id="rId141" Type="http://schemas.openxmlformats.org/officeDocument/2006/relationships/image" Target="../media/image8010.png"/><Relationship Id="rId7" Type="http://schemas.openxmlformats.org/officeDocument/2006/relationships/image" Target="../media/image1383.png"/><Relationship Id="rId162" Type="http://schemas.openxmlformats.org/officeDocument/2006/relationships/customXml" Target="../ink/ink585.xml"/><Relationship Id="rId183" Type="http://schemas.openxmlformats.org/officeDocument/2006/relationships/image" Target="../media/image10110.png"/><Relationship Id="rId218" Type="http://schemas.openxmlformats.org/officeDocument/2006/relationships/customXml" Target="../ink/ink613.xml"/><Relationship Id="rId24" Type="http://schemas.openxmlformats.org/officeDocument/2006/relationships/customXml" Target="../ink/ink516.xml"/><Relationship Id="rId45" Type="http://schemas.openxmlformats.org/officeDocument/2006/relationships/image" Target="../media/image3210.png"/><Relationship Id="rId66" Type="http://schemas.openxmlformats.org/officeDocument/2006/relationships/customXml" Target="../ink/ink537.xml"/><Relationship Id="rId87" Type="http://schemas.openxmlformats.org/officeDocument/2006/relationships/image" Target="../media/image5310.png"/><Relationship Id="rId110" Type="http://schemas.openxmlformats.org/officeDocument/2006/relationships/customXml" Target="../ink/ink559.xml"/><Relationship Id="rId131" Type="http://schemas.openxmlformats.org/officeDocument/2006/relationships/image" Target="../media/image7510.png"/><Relationship Id="rId152" Type="http://schemas.openxmlformats.org/officeDocument/2006/relationships/customXml" Target="../ink/ink580.xml"/><Relationship Id="rId173" Type="http://schemas.openxmlformats.org/officeDocument/2006/relationships/image" Target="../media/image9610.png"/><Relationship Id="rId194" Type="http://schemas.openxmlformats.org/officeDocument/2006/relationships/customXml" Target="../ink/ink601.xml"/><Relationship Id="rId208" Type="http://schemas.openxmlformats.org/officeDocument/2006/relationships/customXml" Target="../ink/ink608.xml"/><Relationship Id="rId14" Type="http://schemas.openxmlformats.org/officeDocument/2006/relationships/customXml" Target="../ink/ink511.xml"/><Relationship Id="rId35" Type="http://schemas.openxmlformats.org/officeDocument/2006/relationships/image" Target="../media/image2710.png"/><Relationship Id="rId56" Type="http://schemas.openxmlformats.org/officeDocument/2006/relationships/customXml" Target="../ink/ink532.xml"/><Relationship Id="rId77" Type="http://schemas.openxmlformats.org/officeDocument/2006/relationships/image" Target="../media/image4810.png"/><Relationship Id="rId100" Type="http://schemas.openxmlformats.org/officeDocument/2006/relationships/customXml" Target="../ink/ink554.xml"/><Relationship Id="rId8" Type="http://schemas.openxmlformats.org/officeDocument/2006/relationships/customXml" Target="../ink/ink508.xml"/><Relationship Id="rId98" Type="http://schemas.openxmlformats.org/officeDocument/2006/relationships/customXml" Target="../ink/ink553.xml"/><Relationship Id="rId121" Type="http://schemas.openxmlformats.org/officeDocument/2006/relationships/image" Target="../media/image7010.png"/><Relationship Id="rId142" Type="http://schemas.openxmlformats.org/officeDocument/2006/relationships/customXml" Target="../ink/ink575.xml"/><Relationship Id="rId163" Type="http://schemas.openxmlformats.org/officeDocument/2006/relationships/image" Target="../media/image9110.png"/><Relationship Id="rId184" Type="http://schemas.openxmlformats.org/officeDocument/2006/relationships/customXml" Target="../ink/ink596.xml"/><Relationship Id="rId219" Type="http://schemas.openxmlformats.org/officeDocument/2006/relationships/image" Target="../media/image518.png"/><Relationship Id="rId3" Type="http://schemas.openxmlformats.org/officeDocument/2006/relationships/image" Target="../media/image514.png"/><Relationship Id="rId214" Type="http://schemas.openxmlformats.org/officeDocument/2006/relationships/customXml" Target="../ink/ink611.xml"/><Relationship Id="rId25" Type="http://schemas.openxmlformats.org/officeDocument/2006/relationships/image" Target="../media/image2210.png"/><Relationship Id="rId46" Type="http://schemas.openxmlformats.org/officeDocument/2006/relationships/customXml" Target="../ink/ink527.xml"/><Relationship Id="rId67" Type="http://schemas.openxmlformats.org/officeDocument/2006/relationships/image" Target="../media/image4310.png"/><Relationship Id="rId116" Type="http://schemas.openxmlformats.org/officeDocument/2006/relationships/customXml" Target="../ink/ink562.xml"/><Relationship Id="rId137" Type="http://schemas.openxmlformats.org/officeDocument/2006/relationships/image" Target="../media/image7810.png"/><Relationship Id="rId158" Type="http://schemas.openxmlformats.org/officeDocument/2006/relationships/customXml" Target="../ink/ink583.xml"/><Relationship Id="rId20" Type="http://schemas.openxmlformats.org/officeDocument/2006/relationships/customXml" Target="../ink/ink514.xml"/><Relationship Id="rId41" Type="http://schemas.openxmlformats.org/officeDocument/2006/relationships/image" Target="../media/image3010.png"/><Relationship Id="rId62" Type="http://schemas.openxmlformats.org/officeDocument/2006/relationships/customXml" Target="../ink/ink535.xml"/><Relationship Id="rId83" Type="http://schemas.openxmlformats.org/officeDocument/2006/relationships/image" Target="../media/image5110.png"/><Relationship Id="rId88" Type="http://schemas.openxmlformats.org/officeDocument/2006/relationships/customXml" Target="../ink/ink548.xml"/><Relationship Id="rId111" Type="http://schemas.openxmlformats.org/officeDocument/2006/relationships/image" Target="../media/image6510.png"/><Relationship Id="rId132" Type="http://schemas.openxmlformats.org/officeDocument/2006/relationships/customXml" Target="../ink/ink570.xml"/><Relationship Id="rId153" Type="http://schemas.openxmlformats.org/officeDocument/2006/relationships/image" Target="../media/image8610.png"/><Relationship Id="rId174" Type="http://schemas.openxmlformats.org/officeDocument/2006/relationships/customXml" Target="../ink/ink591.xml"/><Relationship Id="rId179" Type="http://schemas.openxmlformats.org/officeDocument/2006/relationships/image" Target="../media/image9910.png"/><Relationship Id="rId195" Type="http://schemas.openxmlformats.org/officeDocument/2006/relationships/image" Target="../media/image10710.png"/><Relationship Id="rId209" Type="http://schemas.openxmlformats.org/officeDocument/2006/relationships/image" Target="../media/image11410.png"/><Relationship Id="rId190" Type="http://schemas.openxmlformats.org/officeDocument/2006/relationships/customXml" Target="../ink/ink599.xml"/><Relationship Id="rId204" Type="http://schemas.openxmlformats.org/officeDocument/2006/relationships/customXml" Target="../ink/ink606.xml"/><Relationship Id="rId220" Type="http://schemas.openxmlformats.org/officeDocument/2006/relationships/customXml" Target="../ink/ink614.xml"/><Relationship Id="rId225" Type="http://schemas.openxmlformats.org/officeDocument/2006/relationships/image" Target="../media/image521.png"/><Relationship Id="rId15" Type="http://schemas.openxmlformats.org/officeDocument/2006/relationships/image" Target="../media/image1710.png"/><Relationship Id="rId36" Type="http://schemas.openxmlformats.org/officeDocument/2006/relationships/customXml" Target="../ink/ink522.xml"/><Relationship Id="rId57" Type="http://schemas.openxmlformats.org/officeDocument/2006/relationships/image" Target="../media/image3810.png"/><Relationship Id="rId106" Type="http://schemas.openxmlformats.org/officeDocument/2006/relationships/customXml" Target="../ink/ink557.xml"/><Relationship Id="rId127" Type="http://schemas.openxmlformats.org/officeDocument/2006/relationships/image" Target="../media/image7310.png"/><Relationship Id="rId10" Type="http://schemas.openxmlformats.org/officeDocument/2006/relationships/customXml" Target="../ink/ink509.xml"/><Relationship Id="rId31" Type="http://schemas.openxmlformats.org/officeDocument/2006/relationships/image" Target="../media/image2510.png"/><Relationship Id="rId52" Type="http://schemas.openxmlformats.org/officeDocument/2006/relationships/customXml" Target="../ink/ink530.xml"/><Relationship Id="rId73" Type="http://schemas.openxmlformats.org/officeDocument/2006/relationships/image" Target="../media/image4610.png"/><Relationship Id="rId78" Type="http://schemas.openxmlformats.org/officeDocument/2006/relationships/customXml" Target="../ink/ink543.xml"/><Relationship Id="rId94" Type="http://schemas.openxmlformats.org/officeDocument/2006/relationships/customXml" Target="../ink/ink551.xml"/><Relationship Id="rId99" Type="http://schemas.openxmlformats.org/officeDocument/2006/relationships/image" Target="../media/image5910.png"/><Relationship Id="rId101" Type="http://schemas.openxmlformats.org/officeDocument/2006/relationships/image" Target="../media/image6010.png"/><Relationship Id="rId122" Type="http://schemas.openxmlformats.org/officeDocument/2006/relationships/customXml" Target="../ink/ink565.xml"/><Relationship Id="rId143" Type="http://schemas.openxmlformats.org/officeDocument/2006/relationships/image" Target="../media/image8110.png"/><Relationship Id="rId148" Type="http://schemas.openxmlformats.org/officeDocument/2006/relationships/customXml" Target="../ink/ink578.xml"/><Relationship Id="rId164" Type="http://schemas.openxmlformats.org/officeDocument/2006/relationships/customXml" Target="../ink/ink586.xml"/><Relationship Id="rId169" Type="http://schemas.openxmlformats.org/officeDocument/2006/relationships/image" Target="../media/image9410.png"/><Relationship Id="rId185" Type="http://schemas.openxmlformats.org/officeDocument/2006/relationships/image" Target="../media/image10210.png"/><Relationship Id="rId4" Type="http://schemas.openxmlformats.org/officeDocument/2006/relationships/customXml" Target="../ink/ink506.xml"/><Relationship Id="rId9" Type="http://schemas.openxmlformats.org/officeDocument/2006/relationships/image" Target="../media/image1410.png"/><Relationship Id="rId180" Type="http://schemas.openxmlformats.org/officeDocument/2006/relationships/customXml" Target="../ink/ink594.xml"/><Relationship Id="rId210" Type="http://schemas.openxmlformats.org/officeDocument/2006/relationships/customXml" Target="../ink/ink609.xml"/><Relationship Id="rId215" Type="http://schemas.openxmlformats.org/officeDocument/2006/relationships/image" Target="../media/image516.png"/><Relationship Id="rId26" Type="http://schemas.openxmlformats.org/officeDocument/2006/relationships/customXml" Target="../ink/ink517.xml"/><Relationship Id="rId47" Type="http://schemas.openxmlformats.org/officeDocument/2006/relationships/image" Target="../media/image3310.png"/><Relationship Id="rId68" Type="http://schemas.openxmlformats.org/officeDocument/2006/relationships/customXml" Target="../ink/ink538.xml"/><Relationship Id="rId89" Type="http://schemas.openxmlformats.org/officeDocument/2006/relationships/image" Target="../media/image5410.png"/><Relationship Id="rId112" Type="http://schemas.openxmlformats.org/officeDocument/2006/relationships/customXml" Target="../ink/ink560.xml"/><Relationship Id="rId133" Type="http://schemas.openxmlformats.org/officeDocument/2006/relationships/image" Target="../media/image7610.png"/><Relationship Id="rId154" Type="http://schemas.openxmlformats.org/officeDocument/2006/relationships/customXml" Target="../ink/ink581.xml"/><Relationship Id="rId175" Type="http://schemas.openxmlformats.org/officeDocument/2006/relationships/image" Target="../media/image9710.png"/><Relationship Id="rId196" Type="http://schemas.openxmlformats.org/officeDocument/2006/relationships/customXml" Target="../ink/ink602.xml"/><Relationship Id="rId200" Type="http://schemas.openxmlformats.org/officeDocument/2006/relationships/customXml" Target="../ink/ink604.xml"/><Relationship Id="rId16" Type="http://schemas.openxmlformats.org/officeDocument/2006/relationships/customXml" Target="../ink/ink512.xml"/><Relationship Id="rId221" Type="http://schemas.openxmlformats.org/officeDocument/2006/relationships/image" Target="../media/image519.png"/><Relationship Id="rId37" Type="http://schemas.openxmlformats.org/officeDocument/2006/relationships/image" Target="../media/image2810.png"/><Relationship Id="rId58" Type="http://schemas.openxmlformats.org/officeDocument/2006/relationships/customXml" Target="../ink/ink533.xml"/><Relationship Id="rId79" Type="http://schemas.openxmlformats.org/officeDocument/2006/relationships/image" Target="../media/image4910.png"/><Relationship Id="rId102" Type="http://schemas.openxmlformats.org/officeDocument/2006/relationships/customXml" Target="../ink/ink555.xml"/><Relationship Id="rId123" Type="http://schemas.openxmlformats.org/officeDocument/2006/relationships/image" Target="../media/image7110.png"/><Relationship Id="rId144" Type="http://schemas.openxmlformats.org/officeDocument/2006/relationships/customXml" Target="../ink/ink576.xml"/><Relationship Id="rId90" Type="http://schemas.openxmlformats.org/officeDocument/2006/relationships/customXml" Target="../ink/ink549.xml"/><Relationship Id="rId165" Type="http://schemas.openxmlformats.org/officeDocument/2006/relationships/image" Target="../media/image9210.png"/><Relationship Id="rId186" Type="http://schemas.openxmlformats.org/officeDocument/2006/relationships/customXml" Target="../ink/ink597.xml"/><Relationship Id="rId211" Type="http://schemas.openxmlformats.org/officeDocument/2006/relationships/image" Target="../media/image11510.png"/><Relationship Id="rId27" Type="http://schemas.openxmlformats.org/officeDocument/2006/relationships/image" Target="../media/image2310.png"/><Relationship Id="rId48" Type="http://schemas.openxmlformats.org/officeDocument/2006/relationships/customXml" Target="../ink/ink528.xml"/><Relationship Id="rId69" Type="http://schemas.openxmlformats.org/officeDocument/2006/relationships/image" Target="../media/image4410.png"/><Relationship Id="rId113" Type="http://schemas.openxmlformats.org/officeDocument/2006/relationships/image" Target="../media/image6610.png"/><Relationship Id="rId134" Type="http://schemas.openxmlformats.org/officeDocument/2006/relationships/customXml" Target="../ink/ink571.xml"/><Relationship Id="rId80" Type="http://schemas.openxmlformats.org/officeDocument/2006/relationships/customXml" Target="../ink/ink544.xml"/><Relationship Id="rId155" Type="http://schemas.openxmlformats.org/officeDocument/2006/relationships/image" Target="../media/image8710.png"/><Relationship Id="rId176" Type="http://schemas.openxmlformats.org/officeDocument/2006/relationships/customXml" Target="../ink/ink592.xml"/><Relationship Id="rId197" Type="http://schemas.openxmlformats.org/officeDocument/2006/relationships/image" Target="../media/image10810.png"/><Relationship Id="rId201" Type="http://schemas.openxmlformats.org/officeDocument/2006/relationships/image" Target="../media/image11010.png"/><Relationship Id="rId222" Type="http://schemas.openxmlformats.org/officeDocument/2006/relationships/customXml" Target="../ink/ink615.xml"/><Relationship Id="rId17" Type="http://schemas.openxmlformats.org/officeDocument/2006/relationships/image" Target="../media/image1810.png"/><Relationship Id="rId38" Type="http://schemas.openxmlformats.org/officeDocument/2006/relationships/customXml" Target="../ink/ink523.xml"/><Relationship Id="rId59" Type="http://schemas.openxmlformats.org/officeDocument/2006/relationships/image" Target="../media/image3910.png"/><Relationship Id="rId103" Type="http://schemas.openxmlformats.org/officeDocument/2006/relationships/image" Target="../media/image6110.png"/><Relationship Id="rId124" Type="http://schemas.openxmlformats.org/officeDocument/2006/relationships/customXml" Target="../ink/ink566.xml"/><Relationship Id="rId70" Type="http://schemas.openxmlformats.org/officeDocument/2006/relationships/customXml" Target="../ink/ink539.xml"/><Relationship Id="rId91" Type="http://schemas.openxmlformats.org/officeDocument/2006/relationships/image" Target="../media/image5510.png"/><Relationship Id="rId145" Type="http://schemas.openxmlformats.org/officeDocument/2006/relationships/image" Target="../media/image8210.png"/><Relationship Id="rId166" Type="http://schemas.openxmlformats.org/officeDocument/2006/relationships/customXml" Target="../ink/ink587.xml"/><Relationship Id="rId187" Type="http://schemas.openxmlformats.org/officeDocument/2006/relationships/image" Target="../media/image10310.png"/><Relationship Id="rId1" Type="http://schemas.openxmlformats.org/officeDocument/2006/relationships/slideLayout" Target="../slideLayouts/slideLayout2.xml"/><Relationship Id="rId212" Type="http://schemas.openxmlformats.org/officeDocument/2006/relationships/customXml" Target="../ink/ink610.xml"/><Relationship Id="rId28" Type="http://schemas.openxmlformats.org/officeDocument/2006/relationships/customXml" Target="../ink/ink518.xml"/><Relationship Id="rId49" Type="http://schemas.openxmlformats.org/officeDocument/2006/relationships/image" Target="../media/image3410.png"/><Relationship Id="rId114" Type="http://schemas.openxmlformats.org/officeDocument/2006/relationships/customXml" Target="../ink/ink561.xml"/><Relationship Id="rId60" Type="http://schemas.openxmlformats.org/officeDocument/2006/relationships/customXml" Target="../ink/ink534.xml"/><Relationship Id="rId81" Type="http://schemas.openxmlformats.org/officeDocument/2006/relationships/image" Target="../media/image5010.png"/><Relationship Id="rId135" Type="http://schemas.openxmlformats.org/officeDocument/2006/relationships/image" Target="../media/image7710.png"/><Relationship Id="rId156" Type="http://schemas.openxmlformats.org/officeDocument/2006/relationships/customXml" Target="../ink/ink582.xml"/><Relationship Id="rId177" Type="http://schemas.openxmlformats.org/officeDocument/2006/relationships/image" Target="../media/image9810.png"/><Relationship Id="rId198" Type="http://schemas.openxmlformats.org/officeDocument/2006/relationships/customXml" Target="../ink/ink603.xml"/><Relationship Id="rId202" Type="http://schemas.openxmlformats.org/officeDocument/2006/relationships/customXml" Target="../ink/ink605.xml"/><Relationship Id="rId223" Type="http://schemas.openxmlformats.org/officeDocument/2006/relationships/image" Target="../media/image520.png"/><Relationship Id="rId18" Type="http://schemas.openxmlformats.org/officeDocument/2006/relationships/customXml" Target="../ink/ink513.xml"/><Relationship Id="rId39" Type="http://schemas.openxmlformats.org/officeDocument/2006/relationships/image" Target="../media/image2910.png"/><Relationship Id="rId50" Type="http://schemas.openxmlformats.org/officeDocument/2006/relationships/customXml" Target="../ink/ink529.xml"/><Relationship Id="rId104" Type="http://schemas.openxmlformats.org/officeDocument/2006/relationships/customXml" Target="../ink/ink556.xml"/><Relationship Id="rId125" Type="http://schemas.openxmlformats.org/officeDocument/2006/relationships/image" Target="../media/image7210.png"/><Relationship Id="rId146" Type="http://schemas.openxmlformats.org/officeDocument/2006/relationships/customXml" Target="../ink/ink577.xml"/><Relationship Id="rId167" Type="http://schemas.openxmlformats.org/officeDocument/2006/relationships/image" Target="../media/image9310.png"/><Relationship Id="rId188" Type="http://schemas.openxmlformats.org/officeDocument/2006/relationships/customXml" Target="../ink/ink598.xml"/><Relationship Id="rId71" Type="http://schemas.openxmlformats.org/officeDocument/2006/relationships/image" Target="../media/image4510.png"/><Relationship Id="rId92" Type="http://schemas.openxmlformats.org/officeDocument/2006/relationships/customXml" Target="../ink/ink550.xml"/><Relationship Id="rId213" Type="http://schemas.openxmlformats.org/officeDocument/2006/relationships/image" Target="../media/image515.png"/><Relationship Id="rId2" Type="http://schemas.openxmlformats.org/officeDocument/2006/relationships/notesSlide" Target="../notesSlides/notesSlide15.xml"/><Relationship Id="rId29" Type="http://schemas.openxmlformats.org/officeDocument/2006/relationships/image" Target="../media/image2410.png"/><Relationship Id="rId40" Type="http://schemas.openxmlformats.org/officeDocument/2006/relationships/customXml" Target="../ink/ink524.xml"/><Relationship Id="rId115" Type="http://schemas.openxmlformats.org/officeDocument/2006/relationships/image" Target="../media/image6710.png"/><Relationship Id="rId136" Type="http://schemas.openxmlformats.org/officeDocument/2006/relationships/customXml" Target="../ink/ink572.xml"/><Relationship Id="rId157" Type="http://schemas.openxmlformats.org/officeDocument/2006/relationships/image" Target="../media/image8810.png"/><Relationship Id="rId178" Type="http://schemas.openxmlformats.org/officeDocument/2006/relationships/customXml" Target="../ink/ink593.xml"/><Relationship Id="rId61" Type="http://schemas.openxmlformats.org/officeDocument/2006/relationships/image" Target="../media/image4010.png"/><Relationship Id="rId82" Type="http://schemas.openxmlformats.org/officeDocument/2006/relationships/customXml" Target="../ink/ink545.xml"/><Relationship Id="rId199" Type="http://schemas.openxmlformats.org/officeDocument/2006/relationships/image" Target="../media/image10910.png"/><Relationship Id="rId203" Type="http://schemas.openxmlformats.org/officeDocument/2006/relationships/image" Target="../media/image11110.png"/><Relationship Id="rId19" Type="http://schemas.openxmlformats.org/officeDocument/2006/relationships/image" Target="../media/image1910.png"/><Relationship Id="rId224" Type="http://schemas.openxmlformats.org/officeDocument/2006/relationships/customXml" Target="../ink/ink616.xml"/><Relationship Id="rId30" Type="http://schemas.openxmlformats.org/officeDocument/2006/relationships/customXml" Target="../ink/ink519.xml"/><Relationship Id="rId105" Type="http://schemas.openxmlformats.org/officeDocument/2006/relationships/image" Target="../media/image6210.png"/><Relationship Id="rId126" Type="http://schemas.openxmlformats.org/officeDocument/2006/relationships/customXml" Target="../ink/ink567.xml"/><Relationship Id="rId147" Type="http://schemas.openxmlformats.org/officeDocument/2006/relationships/image" Target="../media/image8310.png"/><Relationship Id="rId168" Type="http://schemas.openxmlformats.org/officeDocument/2006/relationships/customXml" Target="../ink/ink588.xml"/><Relationship Id="rId51" Type="http://schemas.openxmlformats.org/officeDocument/2006/relationships/image" Target="../media/image3510.png"/><Relationship Id="rId72" Type="http://schemas.openxmlformats.org/officeDocument/2006/relationships/customXml" Target="../ink/ink540.xml"/><Relationship Id="rId93" Type="http://schemas.openxmlformats.org/officeDocument/2006/relationships/image" Target="../media/image5610.png"/><Relationship Id="rId189" Type="http://schemas.openxmlformats.org/officeDocument/2006/relationships/image" Target="../media/image10410.png"/></Relationships>
</file>

<file path=ppt/slides/_rels/slide17.xml.rels><?xml version="1.0" encoding="UTF-8" standalone="yes"?>
<Relationships xmlns="http://schemas.openxmlformats.org/package/2006/relationships"><Relationship Id="rId117" Type="http://schemas.openxmlformats.org/officeDocument/2006/relationships/image" Target="../media/image579.png"/><Relationship Id="rId21" Type="http://schemas.openxmlformats.org/officeDocument/2006/relationships/image" Target="../media/image531.png"/><Relationship Id="rId63" Type="http://schemas.openxmlformats.org/officeDocument/2006/relationships/image" Target="../media/image552.png"/><Relationship Id="rId159" Type="http://schemas.openxmlformats.org/officeDocument/2006/relationships/image" Target="../media/image600.png"/><Relationship Id="rId170" Type="http://schemas.openxmlformats.org/officeDocument/2006/relationships/customXml" Target="../ink/ink701.xml"/><Relationship Id="rId226" Type="http://schemas.openxmlformats.org/officeDocument/2006/relationships/customXml" Target="../ink/ink729.xml"/><Relationship Id="rId107" Type="http://schemas.openxmlformats.org/officeDocument/2006/relationships/image" Target="../media/image574.png"/><Relationship Id="rId11" Type="http://schemas.openxmlformats.org/officeDocument/2006/relationships/image" Target="../media/image526.png"/><Relationship Id="rId32" Type="http://schemas.openxmlformats.org/officeDocument/2006/relationships/customXml" Target="../ink/ink632.xml"/><Relationship Id="rId53" Type="http://schemas.openxmlformats.org/officeDocument/2006/relationships/image" Target="../media/image547.png"/><Relationship Id="rId74" Type="http://schemas.openxmlformats.org/officeDocument/2006/relationships/customXml" Target="../ink/ink653.xml"/><Relationship Id="rId128" Type="http://schemas.openxmlformats.org/officeDocument/2006/relationships/customXml" Target="../ink/ink680.xml"/><Relationship Id="rId149" Type="http://schemas.openxmlformats.org/officeDocument/2006/relationships/image" Target="../media/image595.png"/><Relationship Id="rId5" Type="http://schemas.openxmlformats.org/officeDocument/2006/relationships/image" Target="../media/image523.png"/><Relationship Id="rId95" Type="http://schemas.openxmlformats.org/officeDocument/2006/relationships/image" Target="../media/image568.png"/><Relationship Id="rId160" Type="http://schemas.openxmlformats.org/officeDocument/2006/relationships/customXml" Target="../ink/ink696.xml"/><Relationship Id="rId181" Type="http://schemas.openxmlformats.org/officeDocument/2006/relationships/image" Target="../media/image611.png"/><Relationship Id="rId216" Type="http://schemas.openxmlformats.org/officeDocument/2006/relationships/customXml" Target="../ink/ink724.xml"/><Relationship Id="rId237" Type="http://schemas.openxmlformats.org/officeDocument/2006/relationships/image" Target="../media/image639.png"/><Relationship Id="rId258" Type="http://schemas.openxmlformats.org/officeDocument/2006/relationships/customXml" Target="../ink/ink745.xml"/><Relationship Id="rId22" Type="http://schemas.openxmlformats.org/officeDocument/2006/relationships/customXml" Target="../ink/ink627.xml"/><Relationship Id="rId43" Type="http://schemas.openxmlformats.org/officeDocument/2006/relationships/image" Target="../media/image542.png"/><Relationship Id="rId64" Type="http://schemas.openxmlformats.org/officeDocument/2006/relationships/customXml" Target="../ink/ink648.xml"/><Relationship Id="rId118" Type="http://schemas.openxmlformats.org/officeDocument/2006/relationships/customXml" Target="../ink/ink675.xml"/><Relationship Id="rId139" Type="http://schemas.openxmlformats.org/officeDocument/2006/relationships/image" Target="../media/image590.png"/><Relationship Id="rId85" Type="http://schemas.openxmlformats.org/officeDocument/2006/relationships/image" Target="../media/image563.png"/><Relationship Id="rId150" Type="http://schemas.openxmlformats.org/officeDocument/2006/relationships/customXml" Target="../ink/ink691.xml"/><Relationship Id="rId171" Type="http://schemas.openxmlformats.org/officeDocument/2006/relationships/image" Target="../media/image606.png"/><Relationship Id="rId192" Type="http://schemas.openxmlformats.org/officeDocument/2006/relationships/customXml" Target="../ink/ink712.xml"/><Relationship Id="rId206" Type="http://schemas.openxmlformats.org/officeDocument/2006/relationships/customXml" Target="../ink/ink719.xml"/><Relationship Id="rId227" Type="http://schemas.openxmlformats.org/officeDocument/2006/relationships/image" Target="../media/image634.png"/><Relationship Id="rId248" Type="http://schemas.openxmlformats.org/officeDocument/2006/relationships/customXml" Target="../ink/ink740.xml"/><Relationship Id="rId12" Type="http://schemas.openxmlformats.org/officeDocument/2006/relationships/customXml" Target="../ink/ink622.xml"/><Relationship Id="rId33" Type="http://schemas.openxmlformats.org/officeDocument/2006/relationships/image" Target="../media/image537.png"/><Relationship Id="rId108" Type="http://schemas.openxmlformats.org/officeDocument/2006/relationships/customXml" Target="../ink/ink670.xml"/><Relationship Id="rId129" Type="http://schemas.openxmlformats.org/officeDocument/2006/relationships/image" Target="../media/image585.png"/><Relationship Id="rId54" Type="http://schemas.openxmlformats.org/officeDocument/2006/relationships/customXml" Target="../ink/ink643.xml"/><Relationship Id="rId75" Type="http://schemas.openxmlformats.org/officeDocument/2006/relationships/image" Target="../media/image558.png"/><Relationship Id="rId96" Type="http://schemas.openxmlformats.org/officeDocument/2006/relationships/customXml" Target="../ink/ink664.xml"/><Relationship Id="rId140" Type="http://schemas.openxmlformats.org/officeDocument/2006/relationships/customXml" Target="../ink/ink686.xml"/><Relationship Id="rId161" Type="http://schemas.openxmlformats.org/officeDocument/2006/relationships/image" Target="../media/image601.png"/><Relationship Id="rId182" Type="http://schemas.openxmlformats.org/officeDocument/2006/relationships/customXml" Target="../ink/ink707.xml"/><Relationship Id="rId217" Type="http://schemas.openxmlformats.org/officeDocument/2006/relationships/image" Target="../media/image629.png"/><Relationship Id="rId6" Type="http://schemas.openxmlformats.org/officeDocument/2006/relationships/customXml" Target="../ink/ink619.xml"/><Relationship Id="rId238" Type="http://schemas.openxmlformats.org/officeDocument/2006/relationships/customXml" Target="../ink/ink735.xml"/><Relationship Id="rId259" Type="http://schemas.openxmlformats.org/officeDocument/2006/relationships/image" Target="../media/image650.png"/><Relationship Id="rId23" Type="http://schemas.openxmlformats.org/officeDocument/2006/relationships/image" Target="../media/image532.png"/><Relationship Id="rId119" Type="http://schemas.openxmlformats.org/officeDocument/2006/relationships/image" Target="../media/image580.png"/><Relationship Id="rId44" Type="http://schemas.openxmlformats.org/officeDocument/2006/relationships/customXml" Target="../ink/ink638.xml"/><Relationship Id="rId65" Type="http://schemas.openxmlformats.org/officeDocument/2006/relationships/image" Target="../media/image553.png"/><Relationship Id="rId86" Type="http://schemas.openxmlformats.org/officeDocument/2006/relationships/customXml" Target="../ink/ink659.xml"/><Relationship Id="rId130" Type="http://schemas.openxmlformats.org/officeDocument/2006/relationships/customXml" Target="../ink/ink681.xml"/><Relationship Id="rId151" Type="http://schemas.openxmlformats.org/officeDocument/2006/relationships/image" Target="../media/image596.png"/><Relationship Id="rId172" Type="http://schemas.openxmlformats.org/officeDocument/2006/relationships/customXml" Target="../ink/ink702.xml"/><Relationship Id="rId193" Type="http://schemas.openxmlformats.org/officeDocument/2006/relationships/image" Target="../media/image617.png"/><Relationship Id="rId207" Type="http://schemas.openxmlformats.org/officeDocument/2006/relationships/image" Target="../media/image624.png"/><Relationship Id="rId228" Type="http://schemas.openxmlformats.org/officeDocument/2006/relationships/customXml" Target="../ink/ink730.xml"/><Relationship Id="rId249" Type="http://schemas.openxmlformats.org/officeDocument/2006/relationships/image" Target="../media/image645.png"/><Relationship Id="rId13" Type="http://schemas.openxmlformats.org/officeDocument/2006/relationships/image" Target="../media/image527.png"/><Relationship Id="rId109" Type="http://schemas.openxmlformats.org/officeDocument/2006/relationships/image" Target="../media/image575.png"/><Relationship Id="rId260" Type="http://schemas.openxmlformats.org/officeDocument/2006/relationships/customXml" Target="../ink/ink746.xml"/><Relationship Id="rId34" Type="http://schemas.openxmlformats.org/officeDocument/2006/relationships/customXml" Target="../ink/ink633.xml"/><Relationship Id="rId55" Type="http://schemas.openxmlformats.org/officeDocument/2006/relationships/image" Target="../media/image548.png"/><Relationship Id="rId76" Type="http://schemas.openxmlformats.org/officeDocument/2006/relationships/customXml" Target="../ink/ink654.xml"/><Relationship Id="rId97" Type="http://schemas.openxmlformats.org/officeDocument/2006/relationships/image" Target="../media/image569.png"/><Relationship Id="rId120" Type="http://schemas.openxmlformats.org/officeDocument/2006/relationships/customXml" Target="../ink/ink676.xml"/><Relationship Id="rId141" Type="http://schemas.openxmlformats.org/officeDocument/2006/relationships/image" Target="../media/image591.png"/><Relationship Id="rId7" Type="http://schemas.openxmlformats.org/officeDocument/2006/relationships/image" Target="../media/image524.png"/><Relationship Id="rId162" Type="http://schemas.openxmlformats.org/officeDocument/2006/relationships/customXml" Target="../ink/ink697.xml"/><Relationship Id="rId183" Type="http://schemas.openxmlformats.org/officeDocument/2006/relationships/image" Target="../media/image612.png"/><Relationship Id="rId218" Type="http://schemas.openxmlformats.org/officeDocument/2006/relationships/customXml" Target="../ink/ink725.xml"/><Relationship Id="rId239" Type="http://schemas.openxmlformats.org/officeDocument/2006/relationships/image" Target="../media/image640.png"/><Relationship Id="rId250" Type="http://schemas.openxmlformats.org/officeDocument/2006/relationships/customXml" Target="../ink/ink741.xml"/><Relationship Id="rId24" Type="http://schemas.openxmlformats.org/officeDocument/2006/relationships/customXml" Target="../ink/ink628.xml"/><Relationship Id="rId45" Type="http://schemas.openxmlformats.org/officeDocument/2006/relationships/image" Target="../media/image543.png"/><Relationship Id="rId66" Type="http://schemas.openxmlformats.org/officeDocument/2006/relationships/customXml" Target="../ink/ink649.xml"/><Relationship Id="rId87" Type="http://schemas.openxmlformats.org/officeDocument/2006/relationships/image" Target="../media/image564.png"/><Relationship Id="rId110" Type="http://schemas.openxmlformats.org/officeDocument/2006/relationships/customXml" Target="../ink/ink671.xml"/><Relationship Id="rId131" Type="http://schemas.openxmlformats.org/officeDocument/2006/relationships/image" Target="../media/image586.png"/><Relationship Id="rId152" Type="http://schemas.openxmlformats.org/officeDocument/2006/relationships/customXml" Target="../ink/ink692.xml"/><Relationship Id="rId173" Type="http://schemas.openxmlformats.org/officeDocument/2006/relationships/image" Target="../media/image607.png"/><Relationship Id="rId194" Type="http://schemas.openxmlformats.org/officeDocument/2006/relationships/customXml" Target="../ink/ink713.xml"/><Relationship Id="rId208" Type="http://schemas.openxmlformats.org/officeDocument/2006/relationships/customXml" Target="../ink/ink720.xml"/><Relationship Id="rId229" Type="http://schemas.openxmlformats.org/officeDocument/2006/relationships/image" Target="../media/image635.png"/><Relationship Id="rId240" Type="http://schemas.openxmlformats.org/officeDocument/2006/relationships/customXml" Target="../ink/ink736.xml"/><Relationship Id="rId261" Type="http://schemas.openxmlformats.org/officeDocument/2006/relationships/image" Target="../media/image651.png"/><Relationship Id="rId14" Type="http://schemas.openxmlformats.org/officeDocument/2006/relationships/customXml" Target="../ink/ink623.xml"/><Relationship Id="rId35" Type="http://schemas.openxmlformats.org/officeDocument/2006/relationships/image" Target="../media/image538.png"/><Relationship Id="rId56" Type="http://schemas.openxmlformats.org/officeDocument/2006/relationships/customXml" Target="../ink/ink644.xml"/><Relationship Id="rId77" Type="http://schemas.openxmlformats.org/officeDocument/2006/relationships/image" Target="../media/image559.png"/><Relationship Id="rId100" Type="http://schemas.openxmlformats.org/officeDocument/2006/relationships/customXml" Target="../ink/ink666.xml"/><Relationship Id="rId8" Type="http://schemas.openxmlformats.org/officeDocument/2006/relationships/customXml" Target="../ink/ink620.xml"/><Relationship Id="rId98" Type="http://schemas.openxmlformats.org/officeDocument/2006/relationships/customXml" Target="../ink/ink665.xml"/><Relationship Id="rId121" Type="http://schemas.openxmlformats.org/officeDocument/2006/relationships/image" Target="../media/image581.png"/><Relationship Id="rId142" Type="http://schemas.openxmlformats.org/officeDocument/2006/relationships/customXml" Target="../ink/ink687.xml"/><Relationship Id="rId163" Type="http://schemas.openxmlformats.org/officeDocument/2006/relationships/image" Target="../media/image602.png"/><Relationship Id="rId184" Type="http://schemas.openxmlformats.org/officeDocument/2006/relationships/customXml" Target="../ink/ink708.xml"/><Relationship Id="rId219" Type="http://schemas.openxmlformats.org/officeDocument/2006/relationships/image" Target="../media/image630.png"/><Relationship Id="rId230" Type="http://schemas.openxmlformats.org/officeDocument/2006/relationships/customXml" Target="../ink/ink731.xml"/><Relationship Id="rId251" Type="http://schemas.openxmlformats.org/officeDocument/2006/relationships/image" Target="../media/image646.png"/><Relationship Id="rId25" Type="http://schemas.openxmlformats.org/officeDocument/2006/relationships/image" Target="../media/image533.png"/><Relationship Id="rId46" Type="http://schemas.openxmlformats.org/officeDocument/2006/relationships/customXml" Target="../ink/ink639.xml"/><Relationship Id="rId67" Type="http://schemas.openxmlformats.org/officeDocument/2006/relationships/image" Target="../media/image554.png"/><Relationship Id="rId88" Type="http://schemas.openxmlformats.org/officeDocument/2006/relationships/customXml" Target="../ink/ink660.xml"/><Relationship Id="rId111" Type="http://schemas.openxmlformats.org/officeDocument/2006/relationships/image" Target="../media/image576.png"/><Relationship Id="rId132" Type="http://schemas.openxmlformats.org/officeDocument/2006/relationships/customXml" Target="../ink/ink682.xml"/><Relationship Id="rId153" Type="http://schemas.openxmlformats.org/officeDocument/2006/relationships/image" Target="../media/image597.png"/><Relationship Id="rId174" Type="http://schemas.openxmlformats.org/officeDocument/2006/relationships/customXml" Target="../ink/ink703.xml"/><Relationship Id="rId195" Type="http://schemas.openxmlformats.org/officeDocument/2006/relationships/image" Target="../media/image618.png"/><Relationship Id="rId209" Type="http://schemas.openxmlformats.org/officeDocument/2006/relationships/image" Target="../media/image625.png"/><Relationship Id="rId220" Type="http://schemas.openxmlformats.org/officeDocument/2006/relationships/customXml" Target="../ink/ink726.xml"/><Relationship Id="rId241" Type="http://schemas.openxmlformats.org/officeDocument/2006/relationships/image" Target="../media/image641.png"/><Relationship Id="rId15" Type="http://schemas.openxmlformats.org/officeDocument/2006/relationships/image" Target="../media/image528.png"/><Relationship Id="rId36" Type="http://schemas.openxmlformats.org/officeDocument/2006/relationships/customXml" Target="../ink/ink634.xml"/><Relationship Id="rId57" Type="http://schemas.openxmlformats.org/officeDocument/2006/relationships/image" Target="../media/image549.png"/><Relationship Id="rId262" Type="http://schemas.openxmlformats.org/officeDocument/2006/relationships/customXml" Target="../ink/ink747.xml"/><Relationship Id="rId78" Type="http://schemas.openxmlformats.org/officeDocument/2006/relationships/customXml" Target="../ink/ink655.xml"/><Relationship Id="rId99" Type="http://schemas.openxmlformats.org/officeDocument/2006/relationships/image" Target="../media/image570.png"/><Relationship Id="rId101" Type="http://schemas.openxmlformats.org/officeDocument/2006/relationships/image" Target="../media/image571.png"/><Relationship Id="rId122" Type="http://schemas.openxmlformats.org/officeDocument/2006/relationships/customXml" Target="../ink/ink677.xml"/><Relationship Id="rId143" Type="http://schemas.openxmlformats.org/officeDocument/2006/relationships/image" Target="../media/image592.png"/><Relationship Id="rId164" Type="http://schemas.openxmlformats.org/officeDocument/2006/relationships/customXml" Target="../ink/ink698.xml"/><Relationship Id="rId185" Type="http://schemas.openxmlformats.org/officeDocument/2006/relationships/image" Target="../media/image613.png"/><Relationship Id="rId9" Type="http://schemas.openxmlformats.org/officeDocument/2006/relationships/image" Target="../media/image525.png"/><Relationship Id="rId210" Type="http://schemas.openxmlformats.org/officeDocument/2006/relationships/customXml" Target="../ink/ink721.xml"/><Relationship Id="rId26" Type="http://schemas.openxmlformats.org/officeDocument/2006/relationships/customXml" Target="../ink/ink629.xml"/><Relationship Id="rId231" Type="http://schemas.openxmlformats.org/officeDocument/2006/relationships/image" Target="../media/image636.png"/><Relationship Id="rId252" Type="http://schemas.openxmlformats.org/officeDocument/2006/relationships/customXml" Target="../ink/ink742.xml"/><Relationship Id="rId47" Type="http://schemas.openxmlformats.org/officeDocument/2006/relationships/image" Target="../media/image544.png"/><Relationship Id="rId68" Type="http://schemas.openxmlformats.org/officeDocument/2006/relationships/customXml" Target="../ink/ink650.xml"/><Relationship Id="rId89" Type="http://schemas.openxmlformats.org/officeDocument/2006/relationships/image" Target="../media/image565.png"/><Relationship Id="rId112" Type="http://schemas.openxmlformats.org/officeDocument/2006/relationships/customXml" Target="../ink/ink672.xml"/><Relationship Id="rId133" Type="http://schemas.openxmlformats.org/officeDocument/2006/relationships/image" Target="../media/image587.png"/><Relationship Id="rId154" Type="http://schemas.openxmlformats.org/officeDocument/2006/relationships/customXml" Target="../ink/ink693.xml"/><Relationship Id="rId175" Type="http://schemas.openxmlformats.org/officeDocument/2006/relationships/image" Target="../media/image608.png"/><Relationship Id="rId196" Type="http://schemas.openxmlformats.org/officeDocument/2006/relationships/customXml" Target="../ink/ink714.xml"/><Relationship Id="rId200" Type="http://schemas.openxmlformats.org/officeDocument/2006/relationships/customXml" Target="../ink/ink716.xml"/><Relationship Id="rId16" Type="http://schemas.openxmlformats.org/officeDocument/2006/relationships/customXml" Target="../ink/ink624.xml"/><Relationship Id="rId221" Type="http://schemas.openxmlformats.org/officeDocument/2006/relationships/image" Target="../media/image631.png"/><Relationship Id="rId242" Type="http://schemas.openxmlformats.org/officeDocument/2006/relationships/customXml" Target="../ink/ink737.xml"/><Relationship Id="rId263" Type="http://schemas.openxmlformats.org/officeDocument/2006/relationships/image" Target="../media/image652.png"/><Relationship Id="rId37" Type="http://schemas.openxmlformats.org/officeDocument/2006/relationships/image" Target="../media/image539.png"/><Relationship Id="rId58" Type="http://schemas.openxmlformats.org/officeDocument/2006/relationships/customXml" Target="../ink/ink645.xml"/><Relationship Id="rId79" Type="http://schemas.openxmlformats.org/officeDocument/2006/relationships/image" Target="../media/image560.png"/><Relationship Id="rId102" Type="http://schemas.openxmlformats.org/officeDocument/2006/relationships/customXml" Target="../ink/ink667.xml"/><Relationship Id="rId123" Type="http://schemas.openxmlformats.org/officeDocument/2006/relationships/image" Target="../media/image582.png"/><Relationship Id="rId144" Type="http://schemas.openxmlformats.org/officeDocument/2006/relationships/customXml" Target="../ink/ink688.xml"/><Relationship Id="rId90" Type="http://schemas.openxmlformats.org/officeDocument/2006/relationships/customXml" Target="../ink/ink661.xml"/><Relationship Id="rId165" Type="http://schemas.openxmlformats.org/officeDocument/2006/relationships/image" Target="../media/image603.png"/><Relationship Id="rId186" Type="http://schemas.openxmlformats.org/officeDocument/2006/relationships/customXml" Target="../ink/ink709.xml"/><Relationship Id="rId211" Type="http://schemas.openxmlformats.org/officeDocument/2006/relationships/image" Target="../media/image626.png"/><Relationship Id="rId232" Type="http://schemas.openxmlformats.org/officeDocument/2006/relationships/customXml" Target="../ink/ink732.xml"/><Relationship Id="rId253" Type="http://schemas.openxmlformats.org/officeDocument/2006/relationships/image" Target="../media/image647.png"/><Relationship Id="rId27" Type="http://schemas.openxmlformats.org/officeDocument/2006/relationships/image" Target="../media/image534.png"/><Relationship Id="rId48" Type="http://schemas.openxmlformats.org/officeDocument/2006/relationships/customXml" Target="../ink/ink640.xml"/><Relationship Id="rId69" Type="http://schemas.openxmlformats.org/officeDocument/2006/relationships/image" Target="../media/image555.png"/><Relationship Id="rId113" Type="http://schemas.openxmlformats.org/officeDocument/2006/relationships/image" Target="../media/image577.png"/><Relationship Id="rId134" Type="http://schemas.openxmlformats.org/officeDocument/2006/relationships/customXml" Target="../ink/ink683.xml"/><Relationship Id="rId80" Type="http://schemas.openxmlformats.org/officeDocument/2006/relationships/customXml" Target="../ink/ink656.xml"/><Relationship Id="rId155" Type="http://schemas.openxmlformats.org/officeDocument/2006/relationships/image" Target="../media/image598.png"/><Relationship Id="rId176" Type="http://schemas.openxmlformats.org/officeDocument/2006/relationships/customXml" Target="../ink/ink704.xml"/><Relationship Id="rId197" Type="http://schemas.openxmlformats.org/officeDocument/2006/relationships/image" Target="../media/image619.png"/><Relationship Id="rId201" Type="http://schemas.openxmlformats.org/officeDocument/2006/relationships/image" Target="../media/image621.png"/><Relationship Id="rId222" Type="http://schemas.openxmlformats.org/officeDocument/2006/relationships/customXml" Target="../ink/ink727.xml"/><Relationship Id="rId243" Type="http://schemas.openxmlformats.org/officeDocument/2006/relationships/image" Target="../media/image642.png"/><Relationship Id="rId264" Type="http://schemas.openxmlformats.org/officeDocument/2006/relationships/customXml" Target="../ink/ink748.xml"/><Relationship Id="rId17" Type="http://schemas.openxmlformats.org/officeDocument/2006/relationships/image" Target="../media/image529.png"/><Relationship Id="rId38" Type="http://schemas.openxmlformats.org/officeDocument/2006/relationships/customXml" Target="../ink/ink635.xml"/><Relationship Id="rId59" Type="http://schemas.openxmlformats.org/officeDocument/2006/relationships/image" Target="../media/image550.png"/><Relationship Id="rId103" Type="http://schemas.openxmlformats.org/officeDocument/2006/relationships/image" Target="../media/image572.png"/><Relationship Id="rId124" Type="http://schemas.openxmlformats.org/officeDocument/2006/relationships/customXml" Target="../ink/ink678.xml"/><Relationship Id="rId70" Type="http://schemas.openxmlformats.org/officeDocument/2006/relationships/customXml" Target="../ink/ink651.xml"/><Relationship Id="rId91" Type="http://schemas.openxmlformats.org/officeDocument/2006/relationships/image" Target="../media/image566.png"/><Relationship Id="rId145" Type="http://schemas.openxmlformats.org/officeDocument/2006/relationships/image" Target="../media/image593.png"/><Relationship Id="rId166" Type="http://schemas.openxmlformats.org/officeDocument/2006/relationships/customXml" Target="../ink/ink699.xml"/><Relationship Id="rId187" Type="http://schemas.openxmlformats.org/officeDocument/2006/relationships/image" Target="../media/image614.png"/><Relationship Id="rId1" Type="http://schemas.openxmlformats.org/officeDocument/2006/relationships/slideLayout" Target="../slideLayouts/slideLayout2.xml"/><Relationship Id="rId212" Type="http://schemas.openxmlformats.org/officeDocument/2006/relationships/customXml" Target="../ink/ink722.xml"/><Relationship Id="rId233" Type="http://schemas.openxmlformats.org/officeDocument/2006/relationships/image" Target="../media/image637.png"/><Relationship Id="rId254" Type="http://schemas.openxmlformats.org/officeDocument/2006/relationships/customXml" Target="../ink/ink743.xml"/><Relationship Id="rId28" Type="http://schemas.openxmlformats.org/officeDocument/2006/relationships/customXml" Target="../ink/ink630.xml"/><Relationship Id="rId49" Type="http://schemas.openxmlformats.org/officeDocument/2006/relationships/image" Target="../media/image545.png"/><Relationship Id="rId114" Type="http://schemas.openxmlformats.org/officeDocument/2006/relationships/customXml" Target="../ink/ink673.xml"/><Relationship Id="rId60" Type="http://schemas.openxmlformats.org/officeDocument/2006/relationships/customXml" Target="../ink/ink646.xml"/><Relationship Id="rId81" Type="http://schemas.openxmlformats.org/officeDocument/2006/relationships/image" Target="../media/image561.png"/><Relationship Id="rId135" Type="http://schemas.openxmlformats.org/officeDocument/2006/relationships/image" Target="../media/image588.png"/><Relationship Id="rId156" Type="http://schemas.openxmlformats.org/officeDocument/2006/relationships/customXml" Target="../ink/ink694.xml"/><Relationship Id="rId177" Type="http://schemas.openxmlformats.org/officeDocument/2006/relationships/image" Target="../media/image609.png"/><Relationship Id="rId198" Type="http://schemas.openxmlformats.org/officeDocument/2006/relationships/customXml" Target="../ink/ink715.xml"/><Relationship Id="rId202" Type="http://schemas.openxmlformats.org/officeDocument/2006/relationships/customXml" Target="../ink/ink717.xml"/><Relationship Id="rId223" Type="http://schemas.openxmlformats.org/officeDocument/2006/relationships/image" Target="../media/image632.png"/><Relationship Id="rId244" Type="http://schemas.openxmlformats.org/officeDocument/2006/relationships/customXml" Target="../ink/ink738.xml"/><Relationship Id="rId18" Type="http://schemas.openxmlformats.org/officeDocument/2006/relationships/customXml" Target="../ink/ink625.xml"/><Relationship Id="rId39" Type="http://schemas.openxmlformats.org/officeDocument/2006/relationships/image" Target="../media/image540.png"/><Relationship Id="rId265" Type="http://schemas.openxmlformats.org/officeDocument/2006/relationships/image" Target="../media/image653.png"/><Relationship Id="rId50" Type="http://schemas.openxmlformats.org/officeDocument/2006/relationships/customXml" Target="../ink/ink641.xml"/><Relationship Id="rId104" Type="http://schemas.openxmlformats.org/officeDocument/2006/relationships/customXml" Target="../ink/ink668.xml"/><Relationship Id="rId125" Type="http://schemas.openxmlformats.org/officeDocument/2006/relationships/image" Target="../media/image583.png"/><Relationship Id="rId146" Type="http://schemas.openxmlformats.org/officeDocument/2006/relationships/customXml" Target="../ink/ink689.xml"/><Relationship Id="rId167" Type="http://schemas.openxmlformats.org/officeDocument/2006/relationships/image" Target="../media/image604.png"/><Relationship Id="rId188" Type="http://schemas.openxmlformats.org/officeDocument/2006/relationships/customXml" Target="../ink/ink710.xml"/><Relationship Id="rId71" Type="http://schemas.openxmlformats.org/officeDocument/2006/relationships/image" Target="../media/image556.png"/><Relationship Id="rId92" Type="http://schemas.openxmlformats.org/officeDocument/2006/relationships/customXml" Target="../ink/ink662.xml"/><Relationship Id="rId213" Type="http://schemas.openxmlformats.org/officeDocument/2006/relationships/image" Target="../media/image627.png"/><Relationship Id="rId234" Type="http://schemas.openxmlformats.org/officeDocument/2006/relationships/customXml" Target="../ink/ink733.xml"/><Relationship Id="rId2" Type="http://schemas.openxmlformats.org/officeDocument/2006/relationships/customXml" Target="../ink/ink617.xml"/><Relationship Id="rId29" Type="http://schemas.openxmlformats.org/officeDocument/2006/relationships/image" Target="../media/image535.png"/><Relationship Id="rId255" Type="http://schemas.openxmlformats.org/officeDocument/2006/relationships/image" Target="../media/image648.png"/><Relationship Id="rId40" Type="http://schemas.openxmlformats.org/officeDocument/2006/relationships/customXml" Target="../ink/ink636.xml"/><Relationship Id="rId115" Type="http://schemas.openxmlformats.org/officeDocument/2006/relationships/image" Target="../media/image578.png"/><Relationship Id="rId136" Type="http://schemas.openxmlformats.org/officeDocument/2006/relationships/customXml" Target="../ink/ink684.xml"/><Relationship Id="rId157" Type="http://schemas.openxmlformats.org/officeDocument/2006/relationships/image" Target="../media/image599.png"/><Relationship Id="rId178" Type="http://schemas.openxmlformats.org/officeDocument/2006/relationships/customXml" Target="../ink/ink705.xml"/><Relationship Id="rId61" Type="http://schemas.openxmlformats.org/officeDocument/2006/relationships/image" Target="../media/image551.png"/><Relationship Id="rId82" Type="http://schemas.openxmlformats.org/officeDocument/2006/relationships/customXml" Target="../ink/ink657.xml"/><Relationship Id="rId199" Type="http://schemas.openxmlformats.org/officeDocument/2006/relationships/image" Target="../media/image620.png"/><Relationship Id="rId203" Type="http://schemas.openxmlformats.org/officeDocument/2006/relationships/image" Target="../media/image622.png"/><Relationship Id="rId19" Type="http://schemas.openxmlformats.org/officeDocument/2006/relationships/image" Target="../media/image530.png"/><Relationship Id="rId224" Type="http://schemas.openxmlformats.org/officeDocument/2006/relationships/customXml" Target="../ink/ink728.xml"/><Relationship Id="rId245" Type="http://schemas.openxmlformats.org/officeDocument/2006/relationships/image" Target="../media/image643.png"/><Relationship Id="rId30" Type="http://schemas.openxmlformats.org/officeDocument/2006/relationships/customXml" Target="../ink/ink631.xml"/><Relationship Id="rId105" Type="http://schemas.openxmlformats.org/officeDocument/2006/relationships/image" Target="../media/image573.png"/><Relationship Id="rId126" Type="http://schemas.openxmlformats.org/officeDocument/2006/relationships/customXml" Target="../ink/ink679.xml"/><Relationship Id="rId147" Type="http://schemas.openxmlformats.org/officeDocument/2006/relationships/image" Target="../media/image594.png"/><Relationship Id="rId168" Type="http://schemas.openxmlformats.org/officeDocument/2006/relationships/customXml" Target="../ink/ink700.xml"/><Relationship Id="rId51" Type="http://schemas.openxmlformats.org/officeDocument/2006/relationships/image" Target="../media/image546.png"/><Relationship Id="rId72" Type="http://schemas.openxmlformats.org/officeDocument/2006/relationships/customXml" Target="../ink/ink652.xml"/><Relationship Id="rId93" Type="http://schemas.openxmlformats.org/officeDocument/2006/relationships/image" Target="../media/image567.png"/><Relationship Id="rId189" Type="http://schemas.openxmlformats.org/officeDocument/2006/relationships/image" Target="../media/image615.png"/><Relationship Id="rId3" Type="http://schemas.openxmlformats.org/officeDocument/2006/relationships/image" Target="../media/image522.png"/><Relationship Id="rId214" Type="http://schemas.openxmlformats.org/officeDocument/2006/relationships/customXml" Target="../ink/ink723.xml"/><Relationship Id="rId235" Type="http://schemas.openxmlformats.org/officeDocument/2006/relationships/image" Target="../media/image638.png"/><Relationship Id="rId256" Type="http://schemas.openxmlformats.org/officeDocument/2006/relationships/customXml" Target="../ink/ink744.xml"/><Relationship Id="rId116" Type="http://schemas.openxmlformats.org/officeDocument/2006/relationships/customXml" Target="../ink/ink674.xml"/><Relationship Id="rId137" Type="http://schemas.openxmlformats.org/officeDocument/2006/relationships/image" Target="../media/image589.png"/><Relationship Id="rId158" Type="http://schemas.openxmlformats.org/officeDocument/2006/relationships/customXml" Target="../ink/ink695.xml"/><Relationship Id="rId20" Type="http://schemas.openxmlformats.org/officeDocument/2006/relationships/customXml" Target="../ink/ink626.xml"/><Relationship Id="rId41" Type="http://schemas.openxmlformats.org/officeDocument/2006/relationships/image" Target="../media/image541.png"/><Relationship Id="rId62" Type="http://schemas.openxmlformats.org/officeDocument/2006/relationships/customXml" Target="../ink/ink647.xml"/><Relationship Id="rId83" Type="http://schemas.openxmlformats.org/officeDocument/2006/relationships/image" Target="../media/image562.png"/><Relationship Id="rId179" Type="http://schemas.openxmlformats.org/officeDocument/2006/relationships/image" Target="../media/image610.png"/><Relationship Id="rId190" Type="http://schemas.openxmlformats.org/officeDocument/2006/relationships/customXml" Target="../ink/ink711.xml"/><Relationship Id="rId204" Type="http://schemas.openxmlformats.org/officeDocument/2006/relationships/customXml" Target="../ink/ink718.xml"/><Relationship Id="rId225" Type="http://schemas.openxmlformats.org/officeDocument/2006/relationships/image" Target="../media/image633.png"/><Relationship Id="rId246" Type="http://schemas.openxmlformats.org/officeDocument/2006/relationships/customXml" Target="../ink/ink739.xml"/><Relationship Id="rId106" Type="http://schemas.openxmlformats.org/officeDocument/2006/relationships/customXml" Target="../ink/ink669.xml"/><Relationship Id="rId127" Type="http://schemas.openxmlformats.org/officeDocument/2006/relationships/image" Target="../media/image584.png"/><Relationship Id="rId10" Type="http://schemas.openxmlformats.org/officeDocument/2006/relationships/customXml" Target="../ink/ink621.xml"/><Relationship Id="rId31" Type="http://schemas.openxmlformats.org/officeDocument/2006/relationships/image" Target="../media/image536.png"/><Relationship Id="rId52" Type="http://schemas.openxmlformats.org/officeDocument/2006/relationships/customXml" Target="../ink/ink642.xml"/><Relationship Id="rId73" Type="http://schemas.openxmlformats.org/officeDocument/2006/relationships/image" Target="../media/image557.png"/><Relationship Id="rId94" Type="http://schemas.openxmlformats.org/officeDocument/2006/relationships/customXml" Target="../ink/ink663.xml"/><Relationship Id="rId148" Type="http://schemas.openxmlformats.org/officeDocument/2006/relationships/customXml" Target="../ink/ink690.xml"/><Relationship Id="rId169" Type="http://schemas.openxmlformats.org/officeDocument/2006/relationships/image" Target="../media/image605.png"/><Relationship Id="rId4" Type="http://schemas.openxmlformats.org/officeDocument/2006/relationships/customXml" Target="../ink/ink618.xml"/><Relationship Id="rId180" Type="http://schemas.openxmlformats.org/officeDocument/2006/relationships/customXml" Target="../ink/ink706.xml"/><Relationship Id="rId215" Type="http://schemas.openxmlformats.org/officeDocument/2006/relationships/image" Target="../media/image628.png"/><Relationship Id="rId236" Type="http://schemas.openxmlformats.org/officeDocument/2006/relationships/customXml" Target="../ink/ink734.xml"/><Relationship Id="rId257" Type="http://schemas.openxmlformats.org/officeDocument/2006/relationships/image" Target="../media/image649.png"/><Relationship Id="rId42" Type="http://schemas.openxmlformats.org/officeDocument/2006/relationships/customXml" Target="../ink/ink637.xml"/><Relationship Id="rId84" Type="http://schemas.openxmlformats.org/officeDocument/2006/relationships/customXml" Target="../ink/ink658.xml"/><Relationship Id="rId138" Type="http://schemas.openxmlformats.org/officeDocument/2006/relationships/customXml" Target="../ink/ink685.xml"/><Relationship Id="rId191" Type="http://schemas.openxmlformats.org/officeDocument/2006/relationships/image" Target="../media/image616.png"/><Relationship Id="rId205" Type="http://schemas.openxmlformats.org/officeDocument/2006/relationships/image" Target="../media/image623.png"/><Relationship Id="rId247" Type="http://schemas.openxmlformats.org/officeDocument/2006/relationships/image" Target="../media/image644.png"/></Relationships>
</file>

<file path=ppt/slides/_rels/slide18.xml.rels><?xml version="1.0" encoding="UTF-8" standalone="yes"?>
<Relationships xmlns="http://schemas.openxmlformats.org/package/2006/relationships"><Relationship Id="rId117" Type="http://schemas.openxmlformats.org/officeDocument/2006/relationships/image" Target="../media/image711.png"/><Relationship Id="rId299" Type="http://schemas.openxmlformats.org/officeDocument/2006/relationships/image" Target="../media/image802.png"/><Relationship Id="rId21" Type="http://schemas.openxmlformats.org/officeDocument/2006/relationships/image" Target="../media/image663.png"/><Relationship Id="rId63" Type="http://schemas.openxmlformats.org/officeDocument/2006/relationships/image" Target="../media/image684.png"/><Relationship Id="rId159" Type="http://schemas.openxmlformats.org/officeDocument/2006/relationships/image" Target="../media/image732.png"/><Relationship Id="rId324" Type="http://schemas.openxmlformats.org/officeDocument/2006/relationships/customXml" Target="../ink/ink910.xml"/><Relationship Id="rId366" Type="http://schemas.openxmlformats.org/officeDocument/2006/relationships/customXml" Target="../ink/ink931.xml"/><Relationship Id="rId170" Type="http://schemas.openxmlformats.org/officeDocument/2006/relationships/customXml" Target="../ink/ink833.xml"/><Relationship Id="rId226" Type="http://schemas.openxmlformats.org/officeDocument/2006/relationships/customXml" Target="../ink/ink861.xml"/><Relationship Id="rId268" Type="http://schemas.openxmlformats.org/officeDocument/2006/relationships/customXml" Target="../ink/ink882.xml"/><Relationship Id="rId32" Type="http://schemas.openxmlformats.org/officeDocument/2006/relationships/customXml" Target="../ink/ink764.xml"/><Relationship Id="rId74" Type="http://schemas.openxmlformats.org/officeDocument/2006/relationships/customXml" Target="../ink/ink785.xml"/><Relationship Id="rId128" Type="http://schemas.openxmlformats.org/officeDocument/2006/relationships/customXml" Target="../ink/ink812.xml"/><Relationship Id="rId335" Type="http://schemas.openxmlformats.org/officeDocument/2006/relationships/image" Target="../media/image820.png"/><Relationship Id="rId5" Type="http://schemas.openxmlformats.org/officeDocument/2006/relationships/image" Target="../media/image655.png"/><Relationship Id="rId181" Type="http://schemas.openxmlformats.org/officeDocument/2006/relationships/image" Target="../media/image743.png"/><Relationship Id="rId237" Type="http://schemas.openxmlformats.org/officeDocument/2006/relationships/image" Target="../media/image771.png"/><Relationship Id="rId279" Type="http://schemas.openxmlformats.org/officeDocument/2006/relationships/image" Target="../media/image792.png"/><Relationship Id="rId43" Type="http://schemas.openxmlformats.org/officeDocument/2006/relationships/image" Target="../media/image674.png"/><Relationship Id="rId139" Type="http://schemas.openxmlformats.org/officeDocument/2006/relationships/image" Target="../media/image722.png"/><Relationship Id="rId290" Type="http://schemas.openxmlformats.org/officeDocument/2006/relationships/customXml" Target="../ink/ink893.xml"/><Relationship Id="rId304" Type="http://schemas.openxmlformats.org/officeDocument/2006/relationships/customXml" Target="../ink/ink900.xml"/><Relationship Id="rId346" Type="http://schemas.openxmlformats.org/officeDocument/2006/relationships/customXml" Target="../ink/ink921.xml"/><Relationship Id="rId85" Type="http://schemas.openxmlformats.org/officeDocument/2006/relationships/image" Target="../media/image695.png"/><Relationship Id="rId150" Type="http://schemas.openxmlformats.org/officeDocument/2006/relationships/customXml" Target="../ink/ink823.xml"/><Relationship Id="rId192" Type="http://schemas.openxmlformats.org/officeDocument/2006/relationships/customXml" Target="../ink/ink844.xml"/><Relationship Id="rId206" Type="http://schemas.openxmlformats.org/officeDocument/2006/relationships/customXml" Target="../ink/ink851.xml"/><Relationship Id="rId248" Type="http://schemas.openxmlformats.org/officeDocument/2006/relationships/customXml" Target="../ink/ink872.xml"/><Relationship Id="rId12" Type="http://schemas.openxmlformats.org/officeDocument/2006/relationships/customXml" Target="../ink/ink754.xml"/><Relationship Id="rId108" Type="http://schemas.openxmlformats.org/officeDocument/2006/relationships/customXml" Target="../ink/ink802.xml"/><Relationship Id="rId315" Type="http://schemas.openxmlformats.org/officeDocument/2006/relationships/image" Target="../media/image810.png"/><Relationship Id="rId357" Type="http://schemas.openxmlformats.org/officeDocument/2006/relationships/image" Target="../media/image831.png"/><Relationship Id="rId54" Type="http://schemas.openxmlformats.org/officeDocument/2006/relationships/customXml" Target="../ink/ink775.xml"/><Relationship Id="rId96" Type="http://schemas.openxmlformats.org/officeDocument/2006/relationships/customXml" Target="../ink/ink796.xml"/><Relationship Id="rId161" Type="http://schemas.openxmlformats.org/officeDocument/2006/relationships/image" Target="../media/image733.png"/><Relationship Id="rId217" Type="http://schemas.openxmlformats.org/officeDocument/2006/relationships/image" Target="../media/image761.png"/><Relationship Id="rId259" Type="http://schemas.openxmlformats.org/officeDocument/2006/relationships/image" Target="../media/image782.png"/><Relationship Id="rId23" Type="http://schemas.openxmlformats.org/officeDocument/2006/relationships/image" Target="../media/image664.png"/><Relationship Id="rId119" Type="http://schemas.openxmlformats.org/officeDocument/2006/relationships/image" Target="../media/image712.png"/><Relationship Id="rId270" Type="http://schemas.openxmlformats.org/officeDocument/2006/relationships/customXml" Target="../ink/ink883.xml"/><Relationship Id="rId326" Type="http://schemas.openxmlformats.org/officeDocument/2006/relationships/customXml" Target="../ink/ink911.xml"/><Relationship Id="rId65" Type="http://schemas.openxmlformats.org/officeDocument/2006/relationships/image" Target="../media/image685.png"/><Relationship Id="rId130" Type="http://schemas.openxmlformats.org/officeDocument/2006/relationships/customXml" Target="../ink/ink813.xml"/><Relationship Id="rId368" Type="http://schemas.openxmlformats.org/officeDocument/2006/relationships/customXml" Target="../ink/ink932.xml"/><Relationship Id="rId172" Type="http://schemas.openxmlformats.org/officeDocument/2006/relationships/customXml" Target="../ink/ink834.xml"/><Relationship Id="rId228" Type="http://schemas.openxmlformats.org/officeDocument/2006/relationships/customXml" Target="../ink/ink862.xml"/><Relationship Id="rId281" Type="http://schemas.openxmlformats.org/officeDocument/2006/relationships/image" Target="../media/image793.png"/><Relationship Id="rId337" Type="http://schemas.openxmlformats.org/officeDocument/2006/relationships/image" Target="../media/image821.png"/><Relationship Id="rId34" Type="http://schemas.openxmlformats.org/officeDocument/2006/relationships/customXml" Target="../ink/ink765.xml"/><Relationship Id="rId76" Type="http://schemas.openxmlformats.org/officeDocument/2006/relationships/customXml" Target="../ink/ink786.xml"/><Relationship Id="rId141" Type="http://schemas.openxmlformats.org/officeDocument/2006/relationships/image" Target="../media/image723.png"/><Relationship Id="rId7" Type="http://schemas.openxmlformats.org/officeDocument/2006/relationships/image" Target="../media/image656.png"/><Relationship Id="rId183" Type="http://schemas.openxmlformats.org/officeDocument/2006/relationships/image" Target="../media/image744.png"/><Relationship Id="rId239" Type="http://schemas.openxmlformats.org/officeDocument/2006/relationships/image" Target="../media/image772.png"/><Relationship Id="rId250" Type="http://schemas.openxmlformats.org/officeDocument/2006/relationships/customXml" Target="../ink/ink873.xml"/><Relationship Id="rId292" Type="http://schemas.openxmlformats.org/officeDocument/2006/relationships/customXml" Target="../ink/ink894.xml"/><Relationship Id="rId306" Type="http://schemas.openxmlformats.org/officeDocument/2006/relationships/customXml" Target="../ink/ink901.xml"/><Relationship Id="rId45" Type="http://schemas.openxmlformats.org/officeDocument/2006/relationships/image" Target="../media/image675.png"/><Relationship Id="rId87" Type="http://schemas.openxmlformats.org/officeDocument/2006/relationships/image" Target="../media/image696.png"/><Relationship Id="rId110" Type="http://schemas.openxmlformats.org/officeDocument/2006/relationships/customXml" Target="../ink/ink803.xml"/><Relationship Id="rId348" Type="http://schemas.openxmlformats.org/officeDocument/2006/relationships/customXml" Target="../ink/ink922.xml"/><Relationship Id="rId152" Type="http://schemas.openxmlformats.org/officeDocument/2006/relationships/customXml" Target="../ink/ink824.xml"/><Relationship Id="rId194" Type="http://schemas.openxmlformats.org/officeDocument/2006/relationships/customXml" Target="../ink/ink845.xml"/><Relationship Id="rId208" Type="http://schemas.openxmlformats.org/officeDocument/2006/relationships/customXml" Target="../ink/ink852.xml"/><Relationship Id="rId261" Type="http://schemas.openxmlformats.org/officeDocument/2006/relationships/image" Target="../media/image783.png"/><Relationship Id="rId14" Type="http://schemas.openxmlformats.org/officeDocument/2006/relationships/customXml" Target="../ink/ink755.xml"/><Relationship Id="rId56" Type="http://schemas.openxmlformats.org/officeDocument/2006/relationships/customXml" Target="../ink/ink776.xml"/><Relationship Id="rId317" Type="http://schemas.openxmlformats.org/officeDocument/2006/relationships/image" Target="../media/image811.png"/><Relationship Id="rId359" Type="http://schemas.openxmlformats.org/officeDocument/2006/relationships/image" Target="../media/image832.png"/><Relationship Id="rId98" Type="http://schemas.openxmlformats.org/officeDocument/2006/relationships/customXml" Target="../ink/ink797.xml"/><Relationship Id="rId121" Type="http://schemas.openxmlformats.org/officeDocument/2006/relationships/image" Target="../media/image713.png"/><Relationship Id="rId163" Type="http://schemas.openxmlformats.org/officeDocument/2006/relationships/image" Target="../media/image734.png"/><Relationship Id="rId219" Type="http://schemas.openxmlformats.org/officeDocument/2006/relationships/image" Target="../media/image762.png"/><Relationship Id="rId370" Type="http://schemas.openxmlformats.org/officeDocument/2006/relationships/customXml" Target="../ink/ink933.xml"/><Relationship Id="rId230" Type="http://schemas.openxmlformats.org/officeDocument/2006/relationships/customXml" Target="../ink/ink863.xml"/><Relationship Id="rId25" Type="http://schemas.openxmlformats.org/officeDocument/2006/relationships/image" Target="../media/image665.png"/><Relationship Id="rId67" Type="http://schemas.openxmlformats.org/officeDocument/2006/relationships/image" Target="../media/image686.png"/><Relationship Id="rId272" Type="http://schemas.openxmlformats.org/officeDocument/2006/relationships/customXml" Target="../ink/ink884.xml"/><Relationship Id="rId328" Type="http://schemas.openxmlformats.org/officeDocument/2006/relationships/customXml" Target="../ink/ink912.xml"/><Relationship Id="rId132" Type="http://schemas.openxmlformats.org/officeDocument/2006/relationships/customXml" Target="../ink/ink814.xml"/><Relationship Id="rId174" Type="http://schemas.openxmlformats.org/officeDocument/2006/relationships/customXml" Target="../ink/ink835.xml"/><Relationship Id="rId241" Type="http://schemas.openxmlformats.org/officeDocument/2006/relationships/image" Target="../media/image773.png"/><Relationship Id="rId36" Type="http://schemas.openxmlformats.org/officeDocument/2006/relationships/customXml" Target="../ink/ink766.xml"/><Relationship Id="rId283" Type="http://schemas.openxmlformats.org/officeDocument/2006/relationships/image" Target="../media/image794.png"/><Relationship Id="rId339" Type="http://schemas.openxmlformats.org/officeDocument/2006/relationships/image" Target="../media/image822.png"/><Relationship Id="rId78" Type="http://schemas.openxmlformats.org/officeDocument/2006/relationships/customXml" Target="../ink/ink787.xml"/><Relationship Id="rId99" Type="http://schemas.openxmlformats.org/officeDocument/2006/relationships/image" Target="../media/image702.png"/><Relationship Id="rId101" Type="http://schemas.openxmlformats.org/officeDocument/2006/relationships/image" Target="../media/image703.png"/><Relationship Id="rId122" Type="http://schemas.openxmlformats.org/officeDocument/2006/relationships/customXml" Target="../ink/ink809.xml"/><Relationship Id="rId143" Type="http://schemas.openxmlformats.org/officeDocument/2006/relationships/image" Target="../media/image724.png"/><Relationship Id="rId164" Type="http://schemas.openxmlformats.org/officeDocument/2006/relationships/customXml" Target="../ink/ink830.xml"/><Relationship Id="rId185" Type="http://schemas.openxmlformats.org/officeDocument/2006/relationships/image" Target="../media/image745.png"/><Relationship Id="rId350" Type="http://schemas.openxmlformats.org/officeDocument/2006/relationships/customXml" Target="../ink/ink923.xml"/><Relationship Id="rId371" Type="http://schemas.openxmlformats.org/officeDocument/2006/relationships/image" Target="../media/image838.png"/><Relationship Id="rId9" Type="http://schemas.openxmlformats.org/officeDocument/2006/relationships/image" Target="../media/image657.png"/><Relationship Id="rId210" Type="http://schemas.openxmlformats.org/officeDocument/2006/relationships/customXml" Target="../ink/ink853.xml"/><Relationship Id="rId26" Type="http://schemas.openxmlformats.org/officeDocument/2006/relationships/customXml" Target="../ink/ink761.xml"/><Relationship Id="rId231" Type="http://schemas.openxmlformats.org/officeDocument/2006/relationships/image" Target="../media/image768.png"/><Relationship Id="rId252" Type="http://schemas.openxmlformats.org/officeDocument/2006/relationships/customXml" Target="../ink/ink874.xml"/><Relationship Id="rId273" Type="http://schemas.openxmlformats.org/officeDocument/2006/relationships/image" Target="../media/image789.png"/><Relationship Id="rId294" Type="http://schemas.openxmlformats.org/officeDocument/2006/relationships/customXml" Target="../ink/ink895.xml"/><Relationship Id="rId308" Type="http://schemas.openxmlformats.org/officeDocument/2006/relationships/customXml" Target="../ink/ink902.xml"/><Relationship Id="rId329" Type="http://schemas.openxmlformats.org/officeDocument/2006/relationships/image" Target="../media/image817.png"/><Relationship Id="rId47" Type="http://schemas.openxmlformats.org/officeDocument/2006/relationships/image" Target="../media/image676.png"/><Relationship Id="rId68" Type="http://schemas.openxmlformats.org/officeDocument/2006/relationships/customXml" Target="../ink/ink782.xml"/><Relationship Id="rId89" Type="http://schemas.openxmlformats.org/officeDocument/2006/relationships/image" Target="../media/image697.png"/><Relationship Id="rId112" Type="http://schemas.openxmlformats.org/officeDocument/2006/relationships/customXml" Target="../ink/ink804.xml"/><Relationship Id="rId133" Type="http://schemas.openxmlformats.org/officeDocument/2006/relationships/image" Target="../media/image719.png"/><Relationship Id="rId154" Type="http://schemas.openxmlformats.org/officeDocument/2006/relationships/customXml" Target="../ink/ink825.xml"/><Relationship Id="rId175" Type="http://schemas.openxmlformats.org/officeDocument/2006/relationships/image" Target="../media/image740.png"/><Relationship Id="rId340" Type="http://schemas.openxmlformats.org/officeDocument/2006/relationships/customXml" Target="../ink/ink918.xml"/><Relationship Id="rId361" Type="http://schemas.openxmlformats.org/officeDocument/2006/relationships/image" Target="../media/image833.png"/><Relationship Id="rId196" Type="http://schemas.openxmlformats.org/officeDocument/2006/relationships/customXml" Target="../ink/ink846.xml"/><Relationship Id="rId200" Type="http://schemas.openxmlformats.org/officeDocument/2006/relationships/customXml" Target="../ink/ink848.xml"/><Relationship Id="rId16" Type="http://schemas.openxmlformats.org/officeDocument/2006/relationships/customXml" Target="../ink/ink756.xml"/><Relationship Id="rId221" Type="http://schemas.openxmlformats.org/officeDocument/2006/relationships/image" Target="../media/image763.png"/><Relationship Id="rId242" Type="http://schemas.openxmlformats.org/officeDocument/2006/relationships/customXml" Target="../ink/ink869.xml"/><Relationship Id="rId263" Type="http://schemas.openxmlformats.org/officeDocument/2006/relationships/image" Target="../media/image784.png"/><Relationship Id="rId284" Type="http://schemas.openxmlformats.org/officeDocument/2006/relationships/customXml" Target="../ink/ink890.xml"/><Relationship Id="rId319" Type="http://schemas.openxmlformats.org/officeDocument/2006/relationships/image" Target="../media/image812.png"/><Relationship Id="rId37" Type="http://schemas.openxmlformats.org/officeDocument/2006/relationships/image" Target="../media/image671.png"/><Relationship Id="rId58" Type="http://schemas.openxmlformats.org/officeDocument/2006/relationships/customXml" Target="../ink/ink777.xml"/><Relationship Id="rId79" Type="http://schemas.openxmlformats.org/officeDocument/2006/relationships/image" Target="../media/image692.png"/><Relationship Id="rId102" Type="http://schemas.openxmlformats.org/officeDocument/2006/relationships/customXml" Target="../ink/ink799.xml"/><Relationship Id="rId123" Type="http://schemas.openxmlformats.org/officeDocument/2006/relationships/image" Target="../media/image714.png"/><Relationship Id="rId144" Type="http://schemas.openxmlformats.org/officeDocument/2006/relationships/customXml" Target="../ink/ink820.xml"/><Relationship Id="rId330" Type="http://schemas.openxmlformats.org/officeDocument/2006/relationships/customXml" Target="../ink/ink913.xml"/><Relationship Id="rId90" Type="http://schemas.openxmlformats.org/officeDocument/2006/relationships/customXml" Target="../ink/ink793.xml"/><Relationship Id="rId165" Type="http://schemas.openxmlformats.org/officeDocument/2006/relationships/image" Target="../media/image735.png"/><Relationship Id="rId186" Type="http://schemas.openxmlformats.org/officeDocument/2006/relationships/customXml" Target="../ink/ink841.xml"/><Relationship Id="rId351" Type="http://schemas.openxmlformats.org/officeDocument/2006/relationships/image" Target="../media/image828.png"/><Relationship Id="rId372" Type="http://schemas.openxmlformats.org/officeDocument/2006/relationships/customXml" Target="../ink/ink934.xml"/><Relationship Id="rId211" Type="http://schemas.openxmlformats.org/officeDocument/2006/relationships/image" Target="../media/image758.png"/><Relationship Id="rId232" Type="http://schemas.openxmlformats.org/officeDocument/2006/relationships/customXml" Target="../ink/ink864.xml"/><Relationship Id="rId253" Type="http://schemas.openxmlformats.org/officeDocument/2006/relationships/image" Target="../media/image779.png"/><Relationship Id="rId274" Type="http://schemas.openxmlformats.org/officeDocument/2006/relationships/customXml" Target="../ink/ink885.xml"/><Relationship Id="rId295" Type="http://schemas.openxmlformats.org/officeDocument/2006/relationships/image" Target="../media/image800.png"/><Relationship Id="rId309" Type="http://schemas.openxmlformats.org/officeDocument/2006/relationships/image" Target="../media/image807.png"/><Relationship Id="rId27" Type="http://schemas.openxmlformats.org/officeDocument/2006/relationships/image" Target="../media/image666.png"/><Relationship Id="rId48" Type="http://schemas.openxmlformats.org/officeDocument/2006/relationships/customXml" Target="../ink/ink772.xml"/><Relationship Id="rId69" Type="http://schemas.openxmlformats.org/officeDocument/2006/relationships/image" Target="../media/image687.png"/><Relationship Id="rId113" Type="http://schemas.openxmlformats.org/officeDocument/2006/relationships/image" Target="../media/image709.png"/><Relationship Id="rId134" Type="http://schemas.openxmlformats.org/officeDocument/2006/relationships/customXml" Target="../ink/ink815.xml"/><Relationship Id="rId320" Type="http://schemas.openxmlformats.org/officeDocument/2006/relationships/customXml" Target="../ink/ink908.xml"/><Relationship Id="rId80" Type="http://schemas.openxmlformats.org/officeDocument/2006/relationships/customXml" Target="../ink/ink788.xml"/><Relationship Id="rId155" Type="http://schemas.openxmlformats.org/officeDocument/2006/relationships/image" Target="../media/image730.png"/><Relationship Id="rId176" Type="http://schemas.openxmlformats.org/officeDocument/2006/relationships/customXml" Target="../ink/ink836.xml"/><Relationship Id="rId197" Type="http://schemas.openxmlformats.org/officeDocument/2006/relationships/image" Target="../media/image751.png"/><Relationship Id="rId341" Type="http://schemas.openxmlformats.org/officeDocument/2006/relationships/image" Target="../media/image823.png"/><Relationship Id="rId362" Type="http://schemas.openxmlformats.org/officeDocument/2006/relationships/customXml" Target="../ink/ink929.xml"/><Relationship Id="rId201" Type="http://schemas.openxmlformats.org/officeDocument/2006/relationships/image" Target="../media/image753.png"/><Relationship Id="rId222" Type="http://schemas.openxmlformats.org/officeDocument/2006/relationships/customXml" Target="../ink/ink859.xml"/><Relationship Id="rId243" Type="http://schemas.openxmlformats.org/officeDocument/2006/relationships/image" Target="../media/image774.png"/><Relationship Id="rId264" Type="http://schemas.openxmlformats.org/officeDocument/2006/relationships/customXml" Target="../ink/ink880.xml"/><Relationship Id="rId285" Type="http://schemas.openxmlformats.org/officeDocument/2006/relationships/image" Target="../media/image795.png"/><Relationship Id="rId17" Type="http://schemas.openxmlformats.org/officeDocument/2006/relationships/image" Target="../media/image661.png"/><Relationship Id="rId38" Type="http://schemas.openxmlformats.org/officeDocument/2006/relationships/customXml" Target="../ink/ink767.xml"/><Relationship Id="rId59" Type="http://schemas.openxmlformats.org/officeDocument/2006/relationships/image" Target="../media/image682.png"/><Relationship Id="rId103" Type="http://schemas.openxmlformats.org/officeDocument/2006/relationships/image" Target="../media/image704.png"/><Relationship Id="rId124" Type="http://schemas.openxmlformats.org/officeDocument/2006/relationships/customXml" Target="../ink/ink810.xml"/><Relationship Id="rId310" Type="http://schemas.openxmlformats.org/officeDocument/2006/relationships/customXml" Target="../ink/ink903.xml"/><Relationship Id="rId70" Type="http://schemas.openxmlformats.org/officeDocument/2006/relationships/customXml" Target="../ink/ink783.xml"/><Relationship Id="rId91" Type="http://schemas.openxmlformats.org/officeDocument/2006/relationships/image" Target="../media/image698.png"/><Relationship Id="rId145" Type="http://schemas.openxmlformats.org/officeDocument/2006/relationships/image" Target="../media/image725.png"/><Relationship Id="rId166" Type="http://schemas.openxmlformats.org/officeDocument/2006/relationships/customXml" Target="../ink/ink831.xml"/><Relationship Id="rId187" Type="http://schemas.openxmlformats.org/officeDocument/2006/relationships/image" Target="../media/image746.png"/><Relationship Id="rId331" Type="http://schemas.openxmlformats.org/officeDocument/2006/relationships/image" Target="../media/image818.png"/><Relationship Id="rId352" Type="http://schemas.openxmlformats.org/officeDocument/2006/relationships/customXml" Target="../ink/ink924.xml"/><Relationship Id="rId373" Type="http://schemas.openxmlformats.org/officeDocument/2006/relationships/image" Target="../media/image839.png"/><Relationship Id="rId1" Type="http://schemas.openxmlformats.org/officeDocument/2006/relationships/slideLayout" Target="../slideLayouts/slideLayout2.xml"/><Relationship Id="rId212" Type="http://schemas.openxmlformats.org/officeDocument/2006/relationships/customXml" Target="../ink/ink854.xml"/><Relationship Id="rId233" Type="http://schemas.openxmlformats.org/officeDocument/2006/relationships/image" Target="../media/image769.png"/><Relationship Id="rId254" Type="http://schemas.openxmlformats.org/officeDocument/2006/relationships/customXml" Target="../ink/ink875.xml"/><Relationship Id="rId28" Type="http://schemas.openxmlformats.org/officeDocument/2006/relationships/customXml" Target="../ink/ink762.xml"/><Relationship Id="rId49" Type="http://schemas.openxmlformats.org/officeDocument/2006/relationships/image" Target="../media/image677.png"/><Relationship Id="rId114" Type="http://schemas.openxmlformats.org/officeDocument/2006/relationships/customXml" Target="../ink/ink805.xml"/><Relationship Id="rId275" Type="http://schemas.openxmlformats.org/officeDocument/2006/relationships/image" Target="../media/image790.png"/><Relationship Id="rId296" Type="http://schemas.openxmlformats.org/officeDocument/2006/relationships/customXml" Target="../ink/ink896.xml"/><Relationship Id="rId300" Type="http://schemas.openxmlformats.org/officeDocument/2006/relationships/customXml" Target="../ink/ink898.xml"/><Relationship Id="rId60" Type="http://schemas.openxmlformats.org/officeDocument/2006/relationships/customXml" Target="../ink/ink778.xml"/><Relationship Id="rId81" Type="http://schemas.openxmlformats.org/officeDocument/2006/relationships/image" Target="../media/image693.png"/><Relationship Id="rId135" Type="http://schemas.openxmlformats.org/officeDocument/2006/relationships/image" Target="../media/image720.png"/><Relationship Id="rId156" Type="http://schemas.openxmlformats.org/officeDocument/2006/relationships/customXml" Target="../ink/ink826.xml"/><Relationship Id="rId177" Type="http://schemas.openxmlformats.org/officeDocument/2006/relationships/image" Target="../media/image741.png"/><Relationship Id="rId198" Type="http://schemas.openxmlformats.org/officeDocument/2006/relationships/customXml" Target="../ink/ink847.xml"/><Relationship Id="rId321" Type="http://schemas.openxmlformats.org/officeDocument/2006/relationships/image" Target="../media/image813.png"/><Relationship Id="rId342" Type="http://schemas.openxmlformats.org/officeDocument/2006/relationships/customXml" Target="../ink/ink919.xml"/><Relationship Id="rId363" Type="http://schemas.openxmlformats.org/officeDocument/2006/relationships/image" Target="../media/image834.png"/><Relationship Id="rId202" Type="http://schemas.openxmlformats.org/officeDocument/2006/relationships/customXml" Target="../ink/ink849.xml"/><Relationship Id="rId223" Type="http://schemas.openxmlformats.org/officeDocument/2006/relationships/image" Target="../media/image764.png"/><Relationship Id="rId244" Type="http://schemas.openxmlformats.org/officeDocument/2006/relationships/customXml" Target="../ink/ink870.xml"/><Relationship Id="rId18" Type="http://schemas.openxmlformats.org/officeDocument/2006/relationships/customXml" Target="../ink/ink757.xml"/><Relationship Id="rId39" Type="http://schemas.openxmlformats.org/officeDocument/2006/relationships/image" Target="../media/image672.png"/><Relationship Id="rId265" Type="http://schemas.openxmlformats.org/officeDocument/2006/relationships/image" Target="../media/image785.png"/><Relationship Id="rId286" Type="http://schemas.openxmlformats.org/officeDocument/2006/relationships/customXml" Target="../ink/ink891.xml"/><Relationship Id="rId50" Type="http://schemas.openxmlformats.org/officeDocument/2006/relationships/customXml" Target="../ink/ink773.xml"/><Relationship Id="rId104" Type="http://schemas.openxmlformats.org/officeDocument/2006/relationships/customXml" Target="../ink/ink800.xml"/><Relationship Id="rId125" Type="http://schemas.openxmlformats.org/officeDocument/2006/relationships/image" Target="../media/image715.png"/><Relationship Id="rId146" Type="http://schemas.openxmlformats.org/officeDocument/2006/relationships/customXml" Target="../ink/ink821.xml"/><Relationship Id="rId167" Type="http://schemas.openxmlformats.org/officeDocument/2006/relationships/image" Target="../media/image736.png"/><Relationship Id="rId188" Type="http://schemas.openxmlformats.org/officeDocument/2006/relationships/customXml" Target="../ink/ink842.xml"/><Relationship Id="rId311" Type="http://schemas.openxmlformats.org/officeDocument/2006/relationships/image" Target="../media/image808.png"/><Relationship Id="rId332" Type="http://schemas.openxmlformats.org/officeDocument/2006/relationships/customXml" Target="../ink/ink914.xml"/><Relationship Id="rId353" Type="http://schemas.openxmlformats.org/officeDocument/2006/relationships/image" Target="../media/image829.png"/><Relationship Id="rId71" Type="http://schemas.openxmlformats.org/officeDocument/2006/relationships/image" Target="../media/image688.png"/><Relationship Id="rId92" Type="http://schemas.openxmlformats.org/officeDocument/2006/relationships/customXml" Target="../ink/ink794.xml"/><Relationship Id="rId213" Type="http://schemas.openxmlformats.org/officeDocument/2006/relationships/image" Target="../media/image759.png"/><Relationship Id="rId234" Type="http://schemas.openxmlformats.org/officeDocument/2006/relationships/customXml" Target="../ink/ink865.xml"/><Relationship Id="rId2" Type="http://schemas.openxmlformats.org/officeDocument/2006/relationships/customXml" Target="../ink/ink749.xml"/><Relationship Id="rId29" Type="http://schemas.openxmlformats.org/officeDocument/2006/relationships/image" Target="../media/image667.png"/><Relationship Id="rId255" Type="http://schemas.openxmlformats.org/officeDocument/2006/relationships/image" Target="../media/image780.png"/><Relationship Id="rId276" Type="http://schemas.openxmlformats.org/officeDocument/2006/relationships/customXml" Target="../ink/ink886.xml"/><Relationship Id="rId297" Type="http://schemas.openxmlformats.org/officeDocument/2006/relationships/image" Target="../media/image801.png"/><Relationship Id="rId40" Type="http://schemas.openxmlformats.org/officeDocument/2006/relationships/customXml" Target="../ink/ink768.xml"/><Relationship Id="rId115" Type="http://schemas.openxmlformats.org/officeDocument/2006/relationships/image" Target="../media/image710.png"/><Relationship Id="rId136" Type="http://schemas.openxmlformats.org/officeDocument/2006/relationships/customXml" Target="../ink/ink816.xml"/><Relationship Id="rId157" Type="http://schemas.openxmlformats.org/officeDocument/2006/relationships/image" Target="../media/image731.png"/><Relationship Id="rId178" Type="http://schemas.openxmlformats.org/officeDocument/2006/relationships/customXml" Target="../ink/ink837.xml"/><Relationship Id="rId301" Type="http://schemas.openxmlformats.org/officeDocument/2006/relationships/image" Target="../media/image803.png"/><Relationship Id="rId322" Type="http://schemas.openxmlformats.org/officeDocument/2006/relationships/customXml" Target="../ink/ink909.xml"/><Relationship Id="rId343" Type="http://schemas.openxmlformats.org/officeDocument/2006/relationships/image" Target="../media/image824.png"/><Relationship Id="rId364" Type="http://schemas.openxmlformats.org/officeDocument/2006/relationships/customXml" Target="../ink/ink930.xml"/><Relationship Id="rId61" Type="http://schemas.openxmlformats.org/officeDocument/2006/relationships/image" Target="../media/image683.png"/><Relationship Id="rId82" Type="http://schemas.openxmlformats.org/officeDocument/2006/relationships/customXml" Target="../ink/ink789.xml"/><Relationship Id="rId199" Type="http://schemas.openxmlformats.org/officeDocument/2006/relationships/image" Target="../media/image752.png"/><Relationship Id="rId203" Type="http://schemas.openxmlformats.org/officeDocument/2006/relationships/image" Target="../media/image754.png"/><Relationship Id="rId19" Type="http://schemas.openxmlformats.org/officeDocument/2006/relationships/image" Target="../media/image662.png"/><Relationship Id="rId224" Type="http://schemas.openxmlformats.org/officeDocument/2006/relationships/customXml" Target="../ink/ink860.xml"/><Relationship Id="rId245" Type="http://schemas.openxmlformats.org/officeDocument/2006/relationships/image" Target="../media/image775.png"/><Relationship Id="rId266" Type="http://schemas.openxmlformats.org/officeDocument/2006/relationships/customXml" Target="../ink/ink881.xml"/><Relationship Id="rId287" Type="http://schemas.openxmlformats.org/officeDocument/2006/relationships/image" Target="../media/image796.png"/><Relationship Id="rId30" Type="http://schemas.openxmlformats.org/officeDocument/2006/relationships/customXml" Target="../ink/ink763.xml"/><Relationship Id="rId105" Type="http://schemas.openxmlformats.org/officeDocument/2006/relationships/image" Target="../media/image705.png"/><Relationship Id="rId126" Type="http://schemas.openxmlformats.org/officeDocument/2006/relationships/customXml" Target="../ink/ink811.xml"/><Relationship Id="rId147" Type="http://schemas.openxmlformats.org/officeDocument/2006/relationships/image" Target="../media/image726.png"/><Relationship Id="rId168" Type="http://schemas.openxmlformats.org/officeDocument/2006/relationships/customXml" Target="../ink/ink832.xml"/><Relationship Id="rId312" Type="http://schemas.openxmlformats.org/officeDocument/2006/relationships/customXml" Target="../ink/ink904.xml"/><Relationship Id="rId333" Type="http://schemas.openxmlformats.org/officeDocument/2006/relationships/image" Target="../media/image819.png"/><Relationship Id="rId354" Type="http://schemas.openxmlformats.org/officeDocument/2006/relationships/customXml" Target="../ink/ink925.xml"/><Relationship Id="rId51" Type="http://schemas.openxmlformats.org/officeDocument/2006/relationships/image" Target="../media/image678.png"/><Relationship Id="rId72" Type="http://schemas.openxmlformats.org/officeDocument/2006/relationships/customXml" Target="../ink/ink784.xml"/><Relationship Id="rId93" Type="http://schemas.openxmlformats.org/officeDocument/2006/relationships/image" Target="../media/image699.png"/><Relationship Id="rId189" Type="http://schemas.openxmlformats.org/officeDocument/2006/relationships/image" Target="../media/image747.png"/><Relationship Id="rId3" Type="http://schemas.openxmlformats.org/officeDocument/2006/relationships/image" Target="../media/image654.png"/><Relationship Id="rId214" Type="http://schemas.openxmlformats.org/officeDocument/2006/relationships/customXml" Target="../ink/ink855.xml"/><Relationship Id="rId235" Type="http://schemas.openxmlformats.org/officeDocument/2006/relationships/image" Target="../media/image770.png"/><Relationship Id="rId256" Type="http://schemas.openxmlformats.org/officeDocument/2006/relationships/customXml" Target="../ink/ink876.xml"/><Relationship Id="rId277" Type="http://schemas.openxmlformats.org/officeDocument/2006/relationships/image" Target="../media/image791.png"/><Relationship Id="rId298" Type="http://schemas.openxmlformats.org/officeDocument/2006/relationships/customXml" Target="../ink/ink897.xml"/><Relationship Id="rId116" Type="http://schemas.openxmlformats.org/officeDocument/2006/relationships/customXml" Target="../ink/ink806.xml"/><Relationship Id="rId137" Type="http://schemas.openxmlformats.org/officeDocument/2006/relationships/image" Target="../media/image721.png"/><Relationship Id="rId158" Type="http://schemas.openxmlformats.org/officeDocument/2006/relationships/customXml" Target="../ink/ink827.xml"/><Relationship Id="rId302" Type="http://schemas.openxmlformats.org/officeDocument/2006/relationships/customXml" Target="../ink/ink899.xml"/><Relationship Id="rId323" Type="http://schemas.openxmlformats.org/officeDocument/2006/relationships/image" Target="../media/image814.png"/><Relationship Id="rId344" Type="http://schemas.openxmlformats.org/officeDocument/2006/relationships/customXml" Target="../ink/ink920.xml"/><Relationship Id="rId20" Type="http://schemas.openxmlformats.org/officeDocument/2006/relationships/customXml" Target="../ink/ink758.xml"/><Relationship Id="rId41" Type="http://schemas.openxmlformats.org/officeDocument/2006/relationships/image" Target="../media/image673.png"/><Relationship Id="rId62" Type="http://schemas.openxmlformats.org/officeDocument/2006/relationships/customXml" Target="../ink/ink779.xml"/><Relationship Id="rId83" Type="http://schemas.openxmlformats.org/officeDocument/2006/relationships/image" Target="../media/image694.png"/><Relationship Id="rId179" Type="http://schemas.openxmlformats.org/officeDocument/2006/relationships/image" Target="../media/image742.png"/><Relationship Id="rId365" Type="http://schemas.openxmlformats.org/officeDocument/2006/relationships/image" Target="../media/image835.png"/><Relationship Id="rId190" Type="http://schemas.openxmlformats.org/officeDocument/2006/relationships/customXml" Target="../ink/ink843.xml"/><Relationship Id="rId204" Type="http://schemas.openxmlformats.org/officeDocument/2006/relationships/customXml" Target="../ink/ink850.xml"/><Relationship Id="rId225" Type="http://schemas.openxmlformats.org/officeDocument/2006/relationships/image" Target="../media/image765.png"/><Relationship Id="rId246" Type="http://schemas.openxmlformats.org/officeDocument/2006/relationships/customXml" Target="../ink/ink871.xml"/><Relationship Id="rId267" Type="http://schemas.openxmlformats.org/officeDocument/2006/relationships/image" Target="../media/image786.png"/><Relationship Id="rId288" Type="http://schemas.openxmlformats.org/officeDocument/2006/relationships/customXml" Target="../ink/ink892.xml"/><Relationship Id="rId106" Type="http://schemas.openxmlformats.org/officeDocument/2006/relationships/customXml" Target="../ink/ink801.xml"/><Relationship Id="rId127" Type="http://schemas.openxmlformats.org/officeDocument/2006/relationships/image" Target="../media/image716.png"/><Relationship Id="rId313" Type="http://schemas.openxmlformats.org/officeDocument/2006/relationships/image" Target="../media/image809.png"/><Relationship Id="rId10" Type="http://schemas.openxmlformats.org/officeDocument/2006/relationships/customXml" Target="../ink/ink753.xml"/><Relationship Id="rId31" Type="http://schemas.openxmlformats.org/officeDocument/2006/relationships/image" Target="../media/image668.png"/><Relationship Id="rId52" Type="http://schemas.openxmlformats.org/officeDocument/2006/relationships/customXml" Target="../ink/ink774.xml"/><Relationship Id="rId73" Type="http://schemas.openxmlformats.org/officeDocument/2006/relationships/image" Target="../media/image689.png"/><Relationship Id="rId94" Type="http://schemas.openxmlformats.org/officeDocument/2006/relationships/customXml" Target="../ink/ink795.xml"/><Relationship Id="rId148" Type="http://schemas.openxmlformats.org/officeDocument/2006/relationships/customXml" Target="../ink/ink822.xml"/><Relationship Id="rId169" Type="http://schemas.openxmlformats.org/officeDocument/2006/relationships/image" Target="../media/image737.png"/><Relationship Id="rId334" Type="http://schemas.openxmlformats.org/officeDocument/2006/relationships/customXml" Target="../ink/ink915.xml"/><Relationship Id="rId355" Type="http://schemas.openxmlformats.org/officeDocument/2006/relationships/image" Target="../media/image830.png"/><Relationship Id="rId4" Type="http://schemas.openxmlformats.org/officeDocument/2006/relationships/customXml" Target="../ink/ink750.xml"/><Relationship Id="rId180" Type="http://schemas.openxmlformats.org/officeDocument/2006/relationships/customXml" Target="../ink/ink838.xml"/><Relationship Id="rId215" Type="http://schemas.openxmlformats.org/officeDocument/2006/relationships/image" Target="../media/image760.png"/><Relationship Id="rId236" Type="http://schemas.openxmlformats.org/officeDocument/2006/relationships/customXml" Target="../ink/ink866.xml"/><Relationship Id="rId257" Type="http://schemas.openxmlformats.org/officeDocument/2006/relationships/image" Target="../media/image781.png"/><Relationship Id="rId278" Type="http://schemas.openxmlformats.org/officeDocument/2006/relationships/customXml" Target="../ink/ink887.xml"/><Relationship Id="rId303" Type="http://schemas.openxmlformats.org/officeDocument/2006/relationships/image" Target="../media/image804.png"/><Relationship Id="rId42" Type="http://schemas.openxmlformats.org/officeDocument/2006/relationships/customXml" Target="../ink/ink769.xml"/><Relationship Id="rId84" Type="http://schemas.openxmlformats.org/officeDocument/2006/relationships/customXml" Target="../ink/ink790.xml"/><Relationship Id="rId138" Type="http://schemas.openxmlformats.org/officeDocument/2006/relationships/customXml" Target="../ink/ink817.xml"/><Relationship Id="rId345" Type="http://schemas.openxmlformats.org/officeDocument/2006/relationships/image" Target="../media/image825.png"/><Relationship Id="rId191" Type="http://schemas.openxmlformats.org/officeDocument/2006/relationships/image" Target="../media/image748.png"/><Relationship Id="rId205" Type="http://schemas.openxmlformats.org/officeDocument/2006/relationships/image" Target="../media/image755.png"/><Relationship Id="rId247" Type="http://schemas.openxmlformats.org/officeDocument/2006/relationships/image" Target="../media/image776.png"/><Relationship Id="rId107" Type="http://schemas.openxmlformats.org/officeDocument/2006/relationships/image" Target="../media/image706.png"/><Relationship Id="rId289" Type="http://schemas.openxmlformats.org/officeDocument/2006/relationships/image" Target="../media/image797.png"/><Relationship Id="rId11" Type="http://schemas.openxmlformats.org/officeDocument/2006/relationships/image" Target="../media/image658.png"/><Relationship Id="rId53" Type="http://schemas.openxmlformats.org/officeDocument/2006/relationships/image" Target="../media/image679.png"/><Relationship Id="rId149" Type="http://schemas.openxmlformats.org/officeDocument/2006/relationships/image" Target="../media/image727.png"/><Relationship Id="rId314" Type="http://schemas.openxmlformats.org/officeDocument/2006/relationships/customXml" Target="../ink/ink905.xml"/><Relationship Id="rId356" Type="http://schemas.openxmlformats.org/officeDocument/2006/relationships/customXml" Target="../ink/ink926.xml"/><Relationship Id="rId95" Type="http://schemas.openxmlformats.org/officeDocument/2006/relationships/image" Target="../media/image700.png"/><Relationship Id="rId160" Type="http://schemas.openxmlformats.org/officeDocument/2006/relationships/customXml" Target="../ink/ink828.xml"/><Relationship Id="rId216" Type="http://schemas.openxmlformats.org/officeDocument/2006/relationships/customXml" Target="../ink/ink856.xml"/><Relationship Id="rId258" Type="http://schemas.openxmlformats.org/officeDocument/2006/relationships/customXml" Target="../ink/ink877.xml"/><Relationship Id="rId22" Type="http://schemas.openxmlformats.org/officeDocument/2006/relationships/customXml" Target="../ink/ink759.xml"/><Relationship Id="rId64" Type="http://schemas.openxmlformats.org/officeDocument/2006/relationships/customXml" Target="../ink/ink780.xml"/><Relationship Id="rId118" Type="http://schemas.openxmlformats.org/officeDocument/2006/relationships/customXml" Target="../ink/ink807.xml"/><Relationship Id="rId325" Type="http://schemas.openxmlformats.org/officeDocument/2006/relationships/image" Target="../media/image815.png"/><Relationship Id="rId367" Type="http://schemas.openxmlformats.org/officeDocument/2006/relationships/image" Target="../media/image836.png"/><Relationship Id="rId171" Type="http://schemas.openxmlformats.org/officeDocument/2006/relationships/image" Target="../media/image738.png"/><Relationship Id="rId227" Type="http://schemas.openxmlformats.org/officeDocument/2006/relationships/image" Target="../media/image766.png"/><Relationship Id="rId269" Type="http://schemas.openxmlformats.org/officeDocument/2006/relationships/image" Target="../media/image787.png"/><Relationship Id="rId33" Type="http://schemas.openxmlformats.org/officeDocument/2006/relationships/image" Target="../media/image669.png"/><Relationship Id="rId129" Type="http://schemas.openxmlformats.org/officeDocument/2006/relationships/image" Target="../media/image717.png"/><Relationship Id="rId280" Type="http://schemas.openxmlformats.org/officeDocument/2006/relationships/customXml" Target="../ink/ink888.xml"/><Relationship Id="rId336" Type="http://schemas.openxmlformats.org/officeDocument/2006/relationships/customXml" Target="../ink/ink916.xml"/><Relationship Id="rId75" Type="http://schemas.openxmlformats.org/officeDocument/2006/relationships/image" Target="../media/image690.png"/><Relationship Id="rId140" Type="http://schemas.openxmlformats.org/officeDocument/2006/relationships/customXml" Target="../ink/ink818.xml"/><Relationship Id="rId182" Type="http://schemas.openxmlformats.org/officeDocument/2006/relationships/customXml" Target="../ink/ink839.xml"/><Relationship Id="rId6" Type="http://schemas.openxmlformats.org/officeDocument/2006/relationships/customXml" Target="../ink/ink751.xml"/><Relationship Id="rId238" Type="http://schemas.openxmlformats.org/officeDocument/2006/relationships/customXml" Target="../ink/ink867.xml"/><Relationship Id="rId291" Type="http://schemas.openxmlformats.org/officeDocument/2006/relationships/image" Target="../media/image798.png"/><Relationship Id="rId305" Type="http://schemas.openxmlformats.org/officeDocument/2006/relationships/image" Target="../media/image805.png"/><Relationship Id="rId347" Type="http://schemas.openxmlformats.org/officeDocument/2006/relationships/image" Target="../media/image826.png"/><Relationship Id="rId44" Type="http://schemas.openxmlformats.org/officeDocument/2006/relationships/customXml" Target="../ink/ink770.xml"/><Relationship Id="rId86" Type="http://schemas.openxmlformats.org/officeDocument/2006/relationships/customXml" Target="../ink/ink791.xml"/><Relationship Id="rId151" Type="http://schemas.openxmlformats.org/officeDocument/2006/relationships/image" Target="../media/image728.png"/><Relationship Id="rId193" Type="http://schemas.openxmlformats.org/officeDocument/2006/relationships/image" Target="../media/image749.png"/><Relationship Id="rId207" Type="http://schemas.openxmlformats.org/officeDocument/2006/relationships/image" Target="../media/image756.png"/><Relationship Id="rId249" Type="http://schemas.openxmlformats.org/officeDocument/2006/relationships/image" Target="../media/image777.png"/><Relationship Id="rId13" Type="http://schemas.openxmlformats.org/officeDocument/2006/relationships/image" Target="../media/image659.png"/><Relationship Id="rId109" Type="http://schemas.openxmlformats.org/officeDocument/2006/relationships/image" Target="../media/image707.png"/><Relationship Id="rId260" Type="http://schemas.openxmlformats.org/officeDocument/2006/relationships/customXml" Target="../ink/ink878.xml"/><Relationship Id="rId316" Type="http://schemas.openxmlformats.org/officeDocument/2006/relationships/customXml" Target="../ink/ink906.xml"/><Relationship Id="rId55" Type="http://schemas.openxmlformats.org/officeDocument/2006/relationships/image" Target="../media/image680.png"/><Relationship Id="rId97" Type="http://schemas.openxmlformats.org/officeDocument/2006/relationships/image" Target="../media/image701.png"/><Relationship Id="rId120" Type="http://schemas.openxmlformats.org/officeDocument/2006/relationships/customXml" Target="../ink/ink808.xml"/><Relationship Id="rId358" Type="http://schemas.openxmlformats.org/officeDocument/2006/relationships/customXml" Target="../ink/ink927.xml"/><Relationship Id="rId162" Type="http://schemas.openxmlformats.org/officeDocument/2006/relationships/customXml" Target="../ink/ink829.xml"/><Relationship Id="rId218" Type="http://schemas.openxmlformats.org/officeDocument/2006/relationships/customXml" Target="../ink/ink857.xml"/><Relationship Id="rId271" Type="http://schemas.openxmlformats.org/officeDocument/2006/relationships/image" Target="../media/image788.png"/><Relationship Id="rId24" Type="http://schemas.openxmlformats.org/officeDocument/2006/relationships/customXml" Target="../ink/ink760.xml"/><Relationship Id="rId66" Type="http://schemas.openxmlformats.org/officeDocument/2006/relationships/customXml" Target="../ink/ink781.xml"/><Relationship Id="rId131" Type="http://schemas.openxmlformats.org/officeDocument/2006/relationships/image" Target="../media/image718.png"/><Relationship Id="rId327" Type="http://schemas.openxmlformats.org/officeDocument/2006/relationships/image" Target="../media/image816.png"/><Relationship Id="rId369" Type="http://schemas.openxmlformats.org/officeDocument/2006/relationships/image" Target="../media/image837.png"/><Relationship Id="rId173" Type="http://schemas.openxmlformats.org/officeDocument/2006/relationships/image" Target="../media/image739.png"/><Relationship Id="rId229" Type="http://schemas.openxmlformats.org/officeDocument/2006/relationships/image" Target="../media/image767.png"/><Relationship Id="rId240" Type="http://schemas.openxmlformats.org/officeDocument/2006/relationships/customXml" Target="../ink/ink868.xml"/><Relationship Id="rId35" Type="http://schemas.openxmlformats.org/officeDocument/2006/relationships/image" Target="../media/image670.png"/><Relationship Id="rId77" Type="http://schemas.openxmlformats.org/officeDocument/2006/relationships/image" Target="../media/image691.png"/><Relationship Id="rId100" Type="http://schemas.openxmlformats.org/officeDocument/2006/relationships/customXml" Target="../ink/ink798.xml"/><Relationship Id="rId282" Type="http://schemas.openxmlformats.org/officeDocument/2006/relationships/customXml" Target="../ink/ink889.xml"/><Relationship Id="rId338" Type="http://schemas.openxmlformats.org/officeDocument/2006/relationships/customXml" Target="../ink/ink917.xml"/><Relationship Id="rId8" Type="http://schemas.openxmlformats.org/officeDocument/2006/relationships/customXml" Target="../ink/ink752.xml"/><Relationship Id="rId142" Type="http://schemas.openxmlformats.org/officeDocument/2006/relationships/customXml" Target="../ink/ink819.xml"/><Relationship Id="rId184" Type="http://schemas.openxmlformats.org/officeDocument/2006/relationships/customXml" Target="../ink/ink840.xml"/><Relationship Id="rId251" Type="http://schemas.openxmlformats.org/officeDocument/2006/relationships/image" Target="../media/image778.png"/><Relationship Id="rId46" Type="http://schemas.openxmlformats.org/officeDocument/2006/relationships/customXml" Target="../ink/ink771.xml"/><Relationship Id="rId293" Type="http://schemas.openxmlformats.org/officeDocument/2006/relationships/image" Target="../media/image799.png"/><Relationship Id="rId307" Type="http://schemas.openxmlformats.org/officeDocument/2006/relationships/image" Target="../media/image806.png"/><Relationship Id="rId349" Type="http://schemas.openxmlformats.org/officeDocument/2006/relationships/image" Target="../media/image827.png"/><Relationship Id="rId88" Type="http://schemas.openxmlformats.org/officeDocument/2006/relationships/customXml" Target="../ink/ink792.xml"/><Relationship Id="rId111" Type="http://schemas.openxmlformats.org/officeDocument/2006/relationships/image" Target="../media/image708.png"/><Relationship Id="rId153" Type="http://schemas.openxmlformats.org/officeDocument/2006/relationships/image" Target="../media/image729.png"/><Relationship Id="rId195" Type="http://schemas.openxmlformats.org/officeDocument/2006/relationships/image" Target="../media/image750.png"/><Relationship Id="rId209" Type="http://schemas.openxmlformats.org/officeDocument/2006/relationships/image" Target="../media/image757.png"/><Relationship Id="rId360" Type="http://schemas.openxmlformats.org/officeDocument/2006/relationships/customXml" Target="../ink/ink928.xml"/><Relationship Id="rId220" Type="http://schemas.openxmlformats.org/officeDocument/2006/relationships/customXml" Target="../ink/ink858.xml"/><Relationship Id="rId15" Type="http://schemas.openxmlformats.org/officeDocument/2006/relationships/image" Target="../media/image660.png"/><Relationship Id="rId57" Type="http://schemas.openxmlformats.org/officeDocument/2006/relationships/image" Target="../media/image681.png"/><Relationship Id="rId262" Type="http://schemas.openxmlformats.org/officeDocument/2006/relationships/customXml" Target="../ink/ink879.xml"/><Relationship Id="rId318" Type="http://schemas.openxmlformats.org/officeDocument/2006/relationships/customXml" Target="../ink/ink907.xml"/></Relationships>
</file>

<file path=ppt/slides/_rels/slide19.xml.rels><?xml version="1.0" encoding="UTF-8" standalone="yes"?>
<Relationships xmlns="http://schemas.openxmlformats.org/package/2006/relationships"><Relationship Id="rId117" Type="http://schemas.openxmlformats.org/officeDocument/2006/relationships/customXml" Target="../ink/ink992.xml"/><Relationship Id="rId21" Type="http://schemas.openxmlformats.org/officeDocument/2006/relationships/customXml" Target="../ink/ink944.xml"/><Relationship Id="rId42" Type="http://schemas.openxmlformats.org/officeDocument/2006/relationships/image" Target="../media/image859.png"/><Relationship Id="rId63" Type="http://schemas.openxmlformats.org/officeDocument/2006/relationships/customXml" Target="../ink/ink965.xml"/><Relationship Id="rId84" Type="http://schemas.openxmlformats.org/officeDocument/2006/relationships/image" Target="../media/image880.png"/><Relationship Id="rId138" Type="http://schemas.openxmlformats.org/officeDocument/2006/relationships/image" Target="../media/image907.png"/><Relationship Id="rId159" Type="http://schemas.openxmlformats.org/officeDocument/2006/relationships/customXml" Target="../ink/ink1013.xml"/><Relationship Id="rId170" Type="http://schemas.openxmlformats.org/officeDocument/2006/relationships/image" Target="../media/image923.png"/><Relationship Id="rId191" Type="http://schemas.openxmlformats.org/officeDocument/2006/relationships/customXml" Target="../ink/ink1029.xml"/><Relationship Id="rId107" Type="http://schemas.openxmlformats.org/officeDocument/2006/relationships/customXml" Target="../ink/ink987.xml"/><Relationship Id="rId11" Type="http://schemas.openxmlformats.org/officeDocument/2006/relationships/customXml" Target="../ink/ink939.xml"/><Relationship Id="rId32" Type="http://schemas.openxmlformats.org/officeDocument/2006/relationships/image" Target="../media/image854.png"/><Relationship Id="rId53" Type="http://schemas.openxmlformats.org/officeDocument/2006/relationships/customXml" Target="../ink/ink960.xml"/><Relationship Id="rId74" Type="http://schemas.openxmlformats.org/officeDocument/2006/relationships/image" Target="../media/image875.png"/><Relationship Id="rId128" Type="http://schemas.openxmlformats.org/officeDocument/2006/relationships/image" Target="../media/image902.png"/><Relationship Id="rId149" Type="http://schemas.openxmlformats.org/officeDocument/2006/relationships/customXml" Target="../ink/ink1008.xml"/><Relationship Id="rId5" Type="http://schemas.openxmlformats.org/officeDocument/2006/relationships/customXml" Target="../ink/ink936.xml"/><Relationship Id="rId95" Type="http://schemas.openxmlformats.org/officeDocument/2006/relationships/customXml" Target="../ink/ink981.xml"/><Relationship Id="rId160" Type="http://schemas.openxmlformats.org/officeDocument/2006/relationships/image" Target="../media/image918.png"/><Relationship Id="rId181" Type="http://schemas.openxmlformats.org/officeDocument/2006/relationships/customXml" Target="../ink/ink1024.xml"/><Relationship Id="rId22" Type="http://schemas.openxmlformats.org/officeDocument/2006/relationships/image" Target="../media/image849.png"/><Relationship Id="rId43" Type="http://schemas.openxmlformats.org/officeDocument/2006/relationships/customXml" Target="../ink/ink955.xml"/><Relationship Id="rId64" Type="http://schemas.openxmlformats.org/officeDocument/2006/relationships/image" Target="../media/image870.png"/><Relationship Id="rId118" Type="http://schemas.openxmlformats.org/officeDocument/2006/relationships/image" Target="../media/image897.png"/><Relationship Id="rId139" Type="http://schemas.openxmlformats.org/officeDocument/2006/relationships/customXml" Target="../ink/ink1003.xml"/><Relationship Id="rId85" Type="http://schemas.openxmlformats.org/officeDocument/2006/relationships/customXml" Target="../ink/ink976.xml"/><Relationship Id="rId150" Type="http://schemas.openxmlformats.org/officeDocument/2006/relationships/image" Target="../media/image913.png"/><Relationship Id="rId171" Type="http://schemas.openxmlformats.org/officeDocument/2006/relationships/customXml" Target="../ink/ink1019.xml"/><Relationship Id="rId192" Type="http://schemas.openxmlformats.org/officeDocument/2006/relationships/image" Target="../media/image934.png"/><Relationship Id="rId12" Type="http://schemas.openxmlformats.org/officeDocument/2006/relationships/image" Target="../media/image844.png"/><Relationship Id="rId33" Type="http://schemas.openxmlformats.org/officeDocument/2006/relationships/customXml" Target="../ink/ink950.xml"/><Relationship Id="rId108" Type="http://schemas.openxmlformats.org/officeDocument/2006/relationships/image" Target="../media/image892.png"/><Relationship Id="rId129" Type="http://schemas.openxmlformats.org/officeDocument/2006/relationships/customXml" Target="../ink/ink998.xml"/><Relationship Id="rId54" Type="http://schemas.openxmlformats.org/officeDocument/2006/relationships/image" Target="../media/image865.png"/><Relationship Id="rId75" Type="http://schemas.openxmlformats.org/officeDocument/2006/relationships/customXml" Target="../ink/ink971.xml"/><Relationship Id="rId96" Type="http://schemas.openxmlformats.org/officeDocument/2006/relationships/image" Target="../media/image886.png"/><Relationship Id="rId140" Type="http://schemas.openxmlformats.org/officeDocument/2006/relationships/image" Target="../media/image908.png"/><Relationship Id="rId161" Type="http://schemas.openxmlformats.org/officeDocument/2006/relationships/customXml" Target="../ink/ink1014.xml"/><Relationship Id="rId182" Type="http://schemas.openxmlformats.org/officeDocument/2006/relationships/image" Target="../media/image929.png"/><Relationship Id="rId6" Type="http://schemas.openxmlformats.org/officeDocument/2006/relationships/image" Target="../media/image841.png"/><Relationship Id="rId23" Type="http://schemas.openxmlformats.org/officeDocument/2006/relationships/customXml" Target="../ink/ink945.xml"/><Relationship Id="rId119" Type="http://schemas.openxmlformats.org/officeDocument/2006/relationships/customXml" Target="../ink/ink993.xml"/><Relationship Id="rId44" Type="http://schemas.openxmlformats.org/officeDocument/2006/relationships/image" Target="../media/image860.png"/><Relationship Id="rId65" Type="http://schemas.openxmlformats.org/officeDocument/2006/relationships/customXml" Target="../ink/ink966.xml"/><Relationship Id="rId86" Type="http://schemas.openxmlformats.org/officeDocument/2006/relationships/image" Target="../media/image881.png"/><Relationship Id="rId130" Type="http://schemas.openxmlformats.org/officeDocument/2006/relationships/image" Target="../media/image903.png"/><Relationship Id="rId151" Type="http://schemas.openxmlformats.org/officeDocument/2006/relationships/customXml" Target="../ink/ink1009.xml"/><Relationship Id="rId172" Type="http://schemas.openxmlformats.org/officeDocument/2006/relationships/image" Target="../media/image924.png"/><Relationship Id="rId193" Type="http://schemas.openxmlformats.org/officeDocument/2006/relationships/customXml" Target="../ink/ink1030.xml"/><Relationship Id="rId13" Type="http://schemas.openxmlformats.org/officeDocument/2006/relationships/customXml" Target="../ink/ink940.xml"/><Relationship Id="rId109" Type="http://schemas.openxmlformats.org/officeDocument/2006/relationships/customXml" Target="../ink/ink988.xml"/><Relationship Id="rId34" Type="http://schemas.openxmlformats.org/officeDocument/2006/relationships/image" Target="../media/image855.png"/><Relationship Id="rId55" Type="http://schemas.openxmlformats.org/officeDocument/2006/relationships/customXml" Target="../ink/ink961.xml"/><Relationship Id="rId76" Type="http://schemas.openxmlformats.org/officeDocument/2006/relationships/image" Target="../media/image876.png"/><Relationship Id="rId97" Type="http://schemas.openxmlformats.org/officeDocument/2006/relationships/customXml" Target="../ink/ink982.xml"/><Relationship Id="rId120" Type="http://schemas.openxmlformats.org/officeDocument/2006/relationships/image" Target="../media/image898.png"/><Relationship Id="rId141" Type="http://schemas.openxmlformats.org/officeDocument/2006/relationships/customXml" Target="../ink/ink1004.xml"/><Relationship Id="rId7" Type="http://schemas.openxmlformats.org/officeDocument/2006/relationships/customXml" Target="../ink/ink937.xml"/><Relationship Id="rId71" Type="http://schemas.openxmlformats.org/officeDocument/2006/relationships/customXml" Target="../ink/ink969.xml"/><Relationship Id="rId92" Type="http://schemas.openxmlformats.org/officeDocument/2006/relationships/image" Target="../media/image884.png"/><Relationship Id="rId162" Type="http://schemas.openxmlformats.org/officeDocument/2006/relationships/image" Target="../media/image919.png"/><Relationship Id="rId183" Type="http://schemas.openxmlformats.org/officeDocument/2006/relationships/customXml" Target="../ink/ink1025.xml"/><Relationship Id="rId2" Type="http://schemas.openxmlformats.org/officeDocument/2006/relationships/notesSlide" Target="../notesSlides/notesSlide16.xml"/><Relationship Id="rId29" Type="http://schemas.openxmlformats.org/officeDocument/2006/relationships/customXml" Target="../ink/ink948.xml"/><Relationship Id="rId24" Type="http://schemas.openxmlformats.org/officeDocument/2006/relationships/image" Target="../media/image850.png"/><Relationship Id="rId40" Type="http://schemas.openxmlformats.org/officeDocument/2006/relationships/image" Target="../media/image858.png"/><Relationship Id="rId45" Type="http://schemas.openxmlformats.org/officeDocument/2006/relationships/customXml" Target="../ink/ink956.xml"/><Relationship Id="rId66" Type="http://schemas.openxmlformats.org/officeDocument/2006/relationships/image" Target="../media/image871.png"/><Relationship Id="rId87" Type="http://schemas.openxmlformats.org/officeDocument/2006/relationships/customXml" Target="../ink/ink977.xml"/><Relationship Id="rId110" Type="http://schemas.openxmlformats.org/officeDocument/2006/relationships/image" Target="../media/image893.png"/><Relationship Id="rId115" Type="http://schemas.openxmlformats.org/officeDocument/2006/relationships/customXml" Target="../ink/ink991.xml"/><Relationship Id="rId131" Type="http://schemas.openxmlformats.org/officeDocument/2006/relationships/customXml" Target="../ink/ink999.xml"/><Relationship Id="rId136" Type="http://schemas.openxmlformats.org/officeDocument/2006/relationships/image" Target="../media/image906.png"/><Relationship Id="rId157" Type="http://schemas.openxmlformats.org/officeDocument/2006/relationships/customXml" Target="../ink/ink1012.xml"/><Relationship Id="rId178" Type="http://schemas.openxmlformats.org/officeDocument/2006/relationships/image" Target="../media/image927.png"/><Relationship Id="rId61" Type="http://schemas.openxmlformats.org/officeDocument/2006/relationships/customXml" Target="../ink/ink964.xml"/><Relationship Id="rId82" Type="http://schemas.openxmlformats.org/officeDocument/2006/relationships/image" Target="../media/image879.png"/><Relationship Id="rId152" Type="http://schemas.openxmlformats.org/officeDocument/2006/relationships/image" Target="../media/image914.png"/><Relationship Id="rId173" Type="http://schemas.openxmlformats.org/officeDocument/2006/relationships/customXml" Target="../ink/ink1020.xml"/><Relationship Id="rId194" Type="http://schemas.openxmlformats.org/officeDocument/2006/relationships/image" Target="../media/image935.png"/><Relationship Id="rId19" Type="http://schemas.openxmlformats.org/officeDocument/2006/relationships/customXml" Target="../ink/ink943.xml"/><Relationship Id="rId14" Type="http://schemas.openxmlformats.org/officeDocument/2006/relationships/image" Target="../media/image845.png"/><Relationship Id="rId30" Type="http://schemas.openxmlformats.org/officeDocument/2006/relationships/image" Target="../media/image853.png"/><Relationship Id="rId35" Type="http://schemas.openxmlformats.org/officeDocument/2006/relationships/customXml" Target="../ink/ink951.xml"/><Relationship Id="rId56" Type="http://schemas.openxmlformats.org/officeDocument/2006/relationships/image" Target="../media/image866.png"/><Relationship Id="rId77" Type="http://schemas.openxmlformats.org/officeDocument/2006/relationships/customXml" Target="../ink/ink972.xml"/><Relationship Id="rId100" Type="http://schemas.openxmlformats.org/officeDocument/2006/relationships/image" Target="../media/image888.png"/><Relationship Id="rId105" Type="http://schemas.openxmlformats.org/officeDocument/2006/relationships/customXml" Target="../ink/ink986.xml"/><Relationship Id="rId126" Type="http://schemas.openxmlformats.org/officeDocument/2006/relationships/image" Target="../media/image901.png"/><Relationship Id="rId147" Type="http://schemas.openxmlformats.org/officeDocument/2006/relationships/customXml" Target="../ink/ink1007.xml"/><Relationship Id="rId168" Type="http://schemas.openxmlformats.org/officeDocument/2006/relationships/image" Target="../media/image922.png"/><Relationship Id="rId8" Type="http://schemas.openxmlformats.org/officeDocument/2006/relationships/image" Target="../media/image842.png"/><Relationship Id="rId51" Type="http://schemas.openxmlformats.org/officeDocument/2006/relationships/customXml" Target="../ink/ink959.xml"/><Relationship Id="rId72" Type="http://schemas.openxmlformats.org/officeDocument/2006/relationships/image" Target="../media/image874.png"/><Relationship Id="rId93" Type="http://schemas.openxmlformats.org/officeDocument/2006/relationships/customXml" Target="../ink/ink980.xml"/><Relationship Id="rId98" Type="http://schemas.openxmlformats.org/officeDocument/2006/relationships/image" Target="../media/image887.png"/><Relationship Id="rId121" Type="http://schemas.openxmlformats.org/officeDocument/2006/relationships/customXml" Target="../ink/ink994.xml"/><Relationship Id="rId142" Type="http://schemas.openxmlformats.org/officeDocument/2006/relationships/image" Target="../media/image909.png"/><Relationship Id="rId163" Type="http://schemas.openxmlformats.org/officeDocument/2006/relationships/customXml" Target="../ink/ink1015.xml"/><Relationship Id="rId184" Type="http://schemas.openxmlformats.org/officeDocument/2006/relationships/image" Target="../media/image930.png"/><Relationship Id="rId189" Type="http://schemas.openxmlformats.org/officeDocument/2006/relationships/customXml" Target="../ink/ink1028.xml"/><Relationship Id="rId3" Type="http://schemas.openxmlformats.org/officeDocument/2006/relationships/customXml" Target="../ink/ink935.xml"/><Relationship Id="rId25" Type="http://schemas.openxmlformats.org/officeDocument/2006/relationships/customXml" Target="../ink/ink946.xml"/><Relationship Id="rId46" Type="http://schemas.openxmlformats.org/officeDocument/2006/relationships/image" Target="../media/image861.png"/><Relationship Id="rId67" Type="http://schemas.openxmlformats.org/officeDocument/2006/relationships/customXml" Target="../ink/ink967.xml"/><Relationship Id="rId116" Type="http://schemas.openxmlformats.org/officeDocument/2006/relationships/image" Target="../media/image896.png"/><Relationship Id="rId137" Type="http://schemas.openxmlformats.org/officeDocument/2006/relationships/customXml" Target="../ink/ink1002.xml"/><Relationship Id="rId158" Type="http://schemas.openxmlformats.org/officeDocument/2006/relationships/image" Target="../media/image917.png"/><Relationship Id="rId20" Type="http://schemas.openxmlformats.org/officeDocument/2006/relationships/image" Target="../media/image848.png"/><Relationship Id="rId41" Type="http://schemas.openxmlformats.org/officeDocument/2006/relationships/customXml" Target="../ink/ink954.xml"/><Relationship Id="rId62" Type="http://schemas.openxmlformats.org/officeDocument/2006/relationships/image" Target="../media/image869.png"/><Relationship Id="rId83" Type="http://schemas.openxmlformats.org/officeDocument/2006/relationships/customXml" Target="../ink/ink975.xml"/><Relationship Id="rId88" Type="http://schemas.openxmlformats.org/officeDocument/2006/relationships/image" Target="../media/image882.png"/><Relationship Id="rId111" Type="http://schemas.openxmlformats.org/officeDocument/2006/relationships/customXml" Target="../ink/ink989.xml"/><Relationship Id="rId132" Type="http://schemas.openxmlformats.org/officeDocument/2006/relationships/image" Target="../media/image904.png"/><Relationship Id="rId153" Type="http://schemas.openxmlformats.org/officeDocument/2006/relationships/customXml" Target="../ink/ink1010.xml"/><Relationship Id="rId174" Type="http://schemas.openxmlformats.org/officeDocument/2006/relationships/image" Target="../media/image925.png"/><Relationship Id="rId179" Type="http://schemas.openxmlformats.org/officeDocument/2006/relationships/customXml" Target="../ink/ink1023.xml"/><Relationship Id="rId195" Type="http://schemas.openxmlformats.org/officeDocument/2006/relationships/customXml" Target="../ink/ink1031.xml"/><Relationship Id="rId190" Type="http://schemas.openxmlformats.org/officeDocument/2006/relationships/image" Target="../media/image933.png"/><Relationship Id="rId15" Type="http://schemas.openxmlformats.org/officeDocument/2006/relationships/customXml" Target="../ink/ink941.xml"/><Relationship Id="rId36" Type="http://schemas.openxmlformats.org/officeDocument/2006/relationships/image" Target="../media/image856.png"/><Relationship Id="rId57" Type="http://schemas.openxmlformats.org/officeDocument/2006/relationships/customXml" Target="../ink/ink962.xml"/><Relationship Id="rId106" Type="http://schemas.openxmlformats.org/officeDocument/2006/relationships/image" Target="../media/image891.png"/><Relationship Id="rId127" Type="http://schemas.openxmlformats.org/officeDocument/2006/relationships/customXml" Target="../ink/ink997.xml"/><Relationship Id="rId10" Type="http://schemas.openxmlformats.org/officeDocument/2006/relationships/image" Target="../media/image843.png"/><Relationship Id="rId31" Type="http://schemas.openxmlformats.org/officeDocument/2006/relationships/customXml" Target="../ink/ink949.xml"/><Relationship Id="rId52" Type="http://schemas.openxmlformats.org/officeDocument/2006/relationships/image" Target="../media/image864.png"/><Relationship Id="rId73" Type="http://schemas.openxmlformats.org/officeDocument/2006/relationships/customXml" Target="../ink/ink970.xml"/><Relationship Id="rId78" Type="http://schemas.openxmlformats.org/officeDocument/2006/relationships/image" Target="../media/image877.png"/><Relationship Id="rId94" Type="http://schemas.openxmlformats.org/officeDocument/2006/relationships/image" Target="../media/image885.png"/><Relationship Id="rId99" Type="http://schemas.openxmlformats.org/officeDocument/2006/relationships/customXml" Target="../ink/ink983.xml"/><Relationship Id="rId101" Type="http://schemas.openxmlformats.org/officeDocument/2006/relationships/customXml" Target="../ink/ink984.xml"/><Relationship Id="rId122" Type="http://schemas.openxmlformats.org/officeDocument/2006/relationships/image" Target="../media/image899.png"/><Relationship Id="rId143" Type="http://schemas.openxmlformats.org/officeDocument/2006/relationships/customXml" Target="../ink/ink1005.xml"/><Relationship Id="rId148" Type="http://schemas.openxmlformats.org/officeDocument/2006/relationships/image" Target="../media/image912.png"/><Relationship Id="rId164" Type="http://schemas.openxmlformats.org/officeDocument/2006/relationships/image" Target="../media/image920.png"/><Relationship Id="rId169" Type="http://schemas.openxmlformats.org/officeDocument/2006/relationships/customXml" Target="../ink/ink1018.xml"/><Relationship Id="rId185" Type="http://schemas.openxmlformats.org/officeDocument/2006/relationships/customXml" Target="../ink/ink1026.xml"/><Relationship Id="rId4" Type="http://schemas.openxmlformats.org/officeDocument/2006/relationships/image" Target="../media/image840.png"/><Relationship Id="rId9" Type="http://schemas.openxmlformats.org/officeDocument/2006/relationships/customXml" Target="../ink/ink938.xml"/><Relationship Id="rId180" Type="http://schemas.openxmlformats.org/officeDocument/2006/relationships/image" Target="../media/image928.png"/><Relationship Id="rId26" Type="http://schemas.openxmlformats.org/officeDocument/2006/relationships/image" Target="../media/image851.png"/><Relationship Id="rId47" Type="http://schemas.openxmlformats.org/officeDocument/2006/relationships/customXml" Target="../ink/ink957.xml"/><Relationship Id="rId68" Type="http://schemas.openxmlformats.org/officeDocument/2006/relationships/image" Target="../media/image872.png"/><Relationship Id="rId89" Type="http://schemas.openxmlformats.org/officeDocument/2006/relationships/customXml" Target="../ink/ink978.xml"/><Relationship Id="rId112" Type="http://schemas.openxmlformats.org/officeDocument/2006/relationships/image" Target="../media/image894.png"/><Relationship Id="rId133" Type="http://schemas.openxmlformats.org/officeDocument/2006/relationships/customXml" Target="../ink/ink1000.xml"/><Relationship Id="rId154" Type="http://schemas.openxmlformats.org/officeDocument/2006/relationships/image" Target="../media/image915.png"/><Relationship Id="rId175" Type="http://schemas.openxmlformats.org/officeDocument/2006/relationships/customXml" Target="../ink/ink1021.xml"/><Relationship Id="rId196" Type="http://schemas.openxmlformats.org/officeDocument/2006/relationships/image" Target="../media/image936.png"/><Relationship Id="rId16" Type="http://schemas.openxmlformats.org/officeDocument/2006/relationships/image" Target="../media/image846.png"/><Relationship Id="rId37" Type="http://schemas.openxmlformats.org/officeDocument/2006/relationships/customXml" Target="../ink/ink952.xml"/><Relationship Id="rId58" Type="http://schemas.openxmlformats.org/officeDocument/2006/relationships/image" Target="../media/image867.png"/><Relationship Id="rId79" Type="http://schemas.openxmlformats.org/officeDocument/2006/relationships/customXml" Target="../ink/ink973.xml"/><Relationship Id="rId102" Type="http://schemas.openxmlformats.org/officeDocument/2006/relationships/image" Target="../media/image889.png"/><Relationship Id="rId123" Type="http://schemas.openxmlformats.org/officeDocument/2006/relationships/customXml" Target="../ink/ink995.xml"/><Relationship Id="rId144" Type="http://schemas.openxmlformats.org/officeDocument/2006/relationships/image" Target="../media/image910.png"/><Relationship Id="rId90" Type="http://schemas.openxmlformats.org/officeDocument/2006/relationships/image" Target="../media/image883.png"/><Relationship Id="rId165" Type="http://schemas.openxmlformats.org/officeDocument/2006/relationships/customXml" Target="../ink/ink1016.xml"/><Relationship Id="rId186" Type="http://schemas.openxmlformats.org/officeDocument/2006/relationships/image" Target="../media/image931.png"/><Relationship Id="rId27" Type="http://schemas.openxmlformats.org/officeDocument/2006/relationships/customXml" Target="../ink/ink947.xml"/><Relationship Id="rId48" Type="http://schemas.openxmlformats.org/officeDocument/2006/relationships/image" Target="../media/image862.png"/><Relationship Id="rId69" Type="http://schemas.openxmlformats.org/officeDocument/2006/relationships/customXml" Target="../ink/ink968.xml"/><Relationship Id="rId113" Type="http://schemas.openxmlformats.org/officeDocument/2006/relationships/customXml" Target="../ink/ink990.xml"/><Relationship Id="rId134" Type="http://schemas.openxmlformats.org/officeDocument/2006/relationships/image" Target="../media/image905.png"/><Relationship Id="rId80" Type="http://schemas.openxmlformats.org/officeDocument/2006/relationships/image" Target="../media/image878.png"/><Relationship Id="rId155" Type="http://schemas.openxmlformats.org/officeDocument/2006/relationships/customXml" Target="../ink/ink1011.xml"/><Relationship Id="rId176" Type="http://schemas.openxmlformats.org/officeDocument/2006/relationships/image" Target="../media/image926.png"/><Relationship Id="rId197" Type="http://schemas.openxmlformats.org/officeDocument/2006/relationships/customXml" Target="../ink/ink1032.xml"/><Relationship Id="rId17" Type="http://schemas.openxmlformats.org/officeDocument/2006/relationships/customXml" Target="../ink/ink942.xml"/><Relationship Id="rId38" Type="http://schemas.openxmlformats.org/officeDocument/2006/relationships/image" Target="../media/image857.png"/><Relationship Id="rId59" Type="http://schemas.openxmlformats.org/officeDocument/2006/relationships/customXml" Target="../ink/ink963.xml"/><Relationship Id="rId103" Type="http://schemas.openxmlformats.org/officeDocument/2006/relationships/customXml" Target="../ink/ink985.xml"/><Relationship Id="rId124" Type="http://schemas.openxmlformats.org/officeDocument/2006/relationships/image" Target="../media/image900.png"/><Relationship Id="rId70" Type="http://schemas.openxmlformats.org/officeDocument/2006/relationships/image" Target="../media/image873.png"/><Relationship Id="rId91" Type="http://schemas.openxmlformats.org/officeDocument/2006/relationships/customXml" Target="../ink/ink979.xml"/><Relationship Id="rId145" Type="http://schemas.openxmlformats.org/officeDocument/2006/relationships/customXml" Target="../ink/ink1006.xml"/><Relationship Id="rId166" Type="http://schemas.openxmlformats.org/officeDocument/2006/relationships/image" Target="../media/image921.png"/><Relationship Id="rId187" Type="http://schemas.openxmlformats.org/officeDocument/2006/relationships/customXml" Target="../ink/ink1027.xml"/><Relationship Id="rId1" Type="http://schemas.openxmlformats.org/officeDocument/2006/relationships/slideLayout" Target="../slideLayouts/slideLayout2.xml"/><Relationship Id="rId28" Type="http://schemas.openxmlformats.org/officeDocument/2006/relationships/image" Target="../media/image852.png"/><Relationship Id="rId49" Type="http://schemas.openxmlformats.org/officeDocument/2006/relationships/customXml" Target="../ink/ink958.xml"/><Relationship Id="rId114" Type="http://schemas.openxmlformats.org/officeDocument/2006/relationships/image" Target="../media/image895.png"/><Relationship Id="rId60" Type="http://schemas.openxmlformats.org/officeDocument/2006/relationships/image" Target="../media/image868.png"/><Relationship Id="rId81" Type="http://schemas.openxmlformats.org/officeDocument/2006/relationships/customXml" Target="../ink/ink974.xml"/><Relationship Id="rId135" Type="http://schemas.openxmlformats.org/officeDocument/2006/relationships/customXml" Target="../ink/ink1001.xml"/><Relationship Id="rId156" Type="http://schemas.openxmlformats.org/officeDocument/2006/relationships/image" Target="../media/image916.png"/><Relationship Id="rId177" Type="http://schemas.openxmlformats.org/officeDocument/2006/relationships/customXml" Target="../ink/ink1022.xml"/><Relationship Id="rId198" Type="http://schemas.openxmlformats.org/officeDocument/2006/relationships/image" Target="../media/image937.png"/><Relationship Id="rId18" Type="http://schemas.openxmlformats.org/officeDocument/2006/relationships/image" Target="../media/image847.png"/><Relationship Id="rId39" Type="http://schemas.openxmlformats.org/officeDocument/2006/relationships/customXml" Target="../ink/ink953.xml"/><Relationship Id="rId50" Type="http://schemas.openxmlformats.org/officeDocument/2006/relationships/image" Target="../media/image863.png"/><Relationship Id="rId104" Type="http://schemas.openxmlformats.org/officeDocument/2006/relationships/image" Target="../media/image890.png"/><Relationship Id="rId125" Type="http://schemas.openxmlformats.org/officeDocument/2006/relationships/customXml" Target="../ink/ink996.xml"/><Relationship Id="rId146" Type="http://schemas.openxmlformats.org/officeDocument/2006/relationships/image" Target="../media/image911.png"/><Relationship Id="rId167" Type="http://schemas.openxmlformats.org/officeDocument/2006/relationships/customXml" Target="../ink/ink1017.xml"/><Relationship Id="rId188" Type="http://schemas.openxmlformats.org/officeDocument/2006/relationships/image" Target="../media/image93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17" Type="http://schemas.openxmlformats.org/officeDocument/2006/relationships/image" Target="../media/image996.png"/><Relationship Id="rId299" Type="http://schemas.openxmlformats.org/officeDocument/2006/relationships/image" Target="../media/image1086.png"/><Relationship Id="rId21" Type="http://schemas.openxmlformats.org/officeDocument/2006/relationships/image" Target="../media/image948.png"/><Relationship Id="rId63" Type="http://schemas.openxmlformats.org/officeDocument/2006/relationships/image" Target="../media/image969.png"/><Relationship Id="rId159" Type="http://schemas.openxmlformats.org/officeDocument/2006/relationships/image" Target="../media/image1016.png"/><Relationship Id="rId324" Type="http://schemas.openxmlformats.org/officeDocument/2006/relationships/customXml" Target="../ink/ink1194.xml"/><Relationship Id="rId170" Type="http://schemas.openxmlformats.org/officeDocument/2006/relationships/customXml" Target="../ink/ink1117.xml"/><Relationship Id="rId226" Type="http://schemas.openxmlformats.org/officeDocument/2006/relationships/customXml" Target="../ink/ink1145.xml"/><Relationship Id="rId268" Type="http://schemas.openxmlformats.org/officeDocument/2006/relationships/customXml" Target="../ink/ink1166.xml"/><Relationship Id="rId32" Type="http://schemas.openxmlformats.org/officeDocument/2006/relationships/customXml" Target="../ink/ink1048.xml"/><Relationship Id="rId74" Type="http://schemas.openxmlformats.org/officeDocument/2006/relationships/customXml" Target="../ink/ink1069.xml"/><Relationship Id="rId128" Type="http://schemas.openxmlformats.org/officeDocument/2006/relationships/customXml" Target="../ink/ink1096.xml"/><Relationship Id="rId335" Type="http://schemas.openxmlformats.org/officeDocument/2006/relationships/image" Target="../media/image1104.png"/><Relationship Id="rId5" Type="http://schemas.openxmlformats.org/officeDocument/2006/relationships/image" Target="../media/image940.png"/><Relationship Id="rId181" Type="http://schemas.openxmlformats.org/officeDocument/2006/relationships/image" Target="../media/image1027.png"/><Relationship Id="rId237" Type="http://schemas.openxmlformats.org/officeDocument/2006/relationships/image" Target="../media/image1055.png"/><Relationship Id="rId279" Type="http://schemas.openxmlformats.org/officeDocument/2006/relationships/image" Target="../media/image1076.png"/><Relationship Id="rId43" Type="http://schemas.openxmlformats.org/officeDocument/2006/relationships/image" Target="../media/image959.png"/><Relationship Id="rId139" Type="http://schemas.openxmlformats.org/officeDocument/2006/relationships/image" Target="../media/image1007.png"/><Relationship Id="rId290" Type="http://schemas.openxmlformats.org/officeDocument/2006/relationships/customXml" Target="../ink/ink1177.xml"/><Relationship Id="rId304" Type="http://schemas.openxmlformats.org/officeDocument/2006/relationships/customXml" Target="../ink/ink1184.xml"/><Relationship Id="rId346" Type="http://schemas.openxmlformats.org/officeDocument/2006/relationships/customXml" Target="../ink/ink1205.xml"/><Relationship Id="rId85" Type="http://schemas.openxmlformats.org/officeDocument/2006/relationships/image" Target="../media/image980.png"/><Relationship Id="rId150" Type="http://schemas.openxmlformats.org/officeDocument/2006/relationships/customXml" Target="../ink/ink1107.xml"/><Relationship Id="rId192" Type="http://schemas.openxmlformats.org/officeDocument/2006/relationships/customXml" Target="../ink/ink1128.xml"/><Relationship Id="rId206" Type="http://schemas.openxmlformats.org/officeDocument/2006/relationships/customXml" Target="../ink/ink1135.xml"/><Relationship Id="rId248" Type="http://schemas.openxmlformats.org/officeDocument/2006/relationships/customXml" Target="../ink/ink1156.xml"/><Relationship Id="rId12" Type="http://schemas.openxmlformats.org/officeDocument/2006/relationships/customXml" Target="../ink/ink1038.xml"/><Relationship Id="rId108" Type="http://schemas.openxmlformats.org/officeDocument/2006/relationships/customXml" Target="../ink/ink1086.xml"/><Relationship Id="rId315" Type="http://schemas.openxmlformats.org/officeDocument/2006/relationships/image" Target="../media/image1094.png"/><Relationship Id="rId357" Type="http://schemas.openxmlformats.org/officeDocument/2006/relationships/image" Target="../media/image1115.png"/><Relationship Id="rId54" Type="http://schemas.openxmlformats.org/officeDocument/2006/relationships/customXml" Target="../ink/ink1059.xml"/><Relationship Id="rId96" Type="http://schemas.openxmlformats.org/officeDocument/2006/relationships/customXml" Target="../ink/ink1080.xml"/><Relationship Id="rId161" Type="http://schemas.openxmlformats.org/officeDocument/2006/relationships/image" Target="../media/image1017.png"/><Relationship Id="rId217" Type="http://schemas.openxmlformats.org/officeDocument/2006/relationships/image" Target="../media/image1045.png"/><Relationship Id="rId259" Type="http://schemas.openxmlformats.org/officeDocument/2006/relationships/image" Target="../media/image1066.png"/><Relationship Id="rId23" Type="http://schemas.openxmlformats.org/officeDocument/2006/relationships/image" Target="../media/image949.png"/><Relationship Id="rId119" Type="http://schemas.openxmlformats.org/officeDocument/2006/relationships/image" Target="../media/image997.png"/><Relationship Id="rId270" Type="http://schemas.openxmlformats.org/officeDocument/2006/relationships/customXml" Target="../ink/ink1167.xml"/><Relationship Id="rId326" Type="http://schemas.openxmlformats.org/officeDocument/2006/relationships/customXml" Target="../ink/ink1195.xml"/><Relationship Id="rId65" Type="http://schemas.openxmlformats.org/officeDocument/2006/relationships/image" Target="../media/image970.png"/><Relationship Id="rId130" Type="http://schemas.openxmlformats.org/officeDocument/2006/relationships/customXml" Target="../ink/ink1097.xml"/><Relationship Id="rId172" Type="http://schemas.openxmlformats.org/officeDocument/2006/relationships/customXml" Target="../ink/ink1118.xml"/><Relationship Id="rId228" Type="http://schemas.openxmlformats.org/officeDocument/2006/relationships/customXml" Target="../ink/ink1146.xml"/><Relationship Id="rId281" Type="http://schemas.openxmlformats.org/officeDocument/2006/relationships/image" Target="../media/image1077.png"/><Relationship Id="rId337" Type="http://schemas.openxmlformats.org/officeDocument/2006/relationships/image" Target="../media/image1105.png"/><Relationship Id="rId34" Type="http://schemas.openxmlformats.org/officeDocument/2006/relationships/customXml" Target="../ink/ink1049.xml"/><Relationship Id="rId76" Type="http://schemas.openxmlformats.org/officeDocument/2006/relationships/customXml" Target="../ink/ink1070.xml"/><Relationship Id="rId141" Type="http://schemas.openxmlformats.org/officeDocument/2006/relationships/image" Target="../media/image1008.png"/><Relationship Id="rId7" Type="http://schemas.openxmlformats.org/officeDocument/2006/relationships/image" Target="../media/image941.png"/><Relationship Id="rId183" Type="http://schemas.openxmlformats.org/officeDocument/2006/relationships/image" Target="../media/image1028.png"/><Relationship Id="rId239" Type="http://schemas.openxmlformats.org/officeDocument/2006/relationships/image" Target="../media/image1056.png"/><Relationship Id="rId250" Type="http://schemas.openxmlformats.org/officeDocument/2006/relationships/customXml" Target="../ink/ink1157.xml"/><Relationship Id="rId292" Type="http://schemas.openxmlformats.org/officeDocument/2006/relationships/customXml" Target="../ink/ink1178.xml"/><Relationship Id="rId306" Type="http://schemas.openxmlformats.org/officeDocument/2006/relationships/customXml" Target="../ink/ink1185.xml"/><Relationship Id="rId45" Type="http://schemas.openxmlformats.org/officeDocument/2006/relationships/image" Target="../media/image960.png"/><Relationship Id="rId87" Type="http://schemas.openxmlformats.org/officeDocument/2006/relationships/image" Target="../media/image981.png"/><Relationship Id="rId110" Type="http://schemas.openxmlformats.org/officeDocument/2006/relationships/customXml" Target="../ink/ink1087.xml"/><Relationship Id="rId348" Type="http://schemas.openxmlformats.org/officeDocument/2006/relationships/customXml" Target="../ink/ink1206.xml"/><Relationship Id="rId152" Type="http://schemas.openxmlformats.org/officeDocument/2006/relationships/customXml" Target="../ink/ink1108.xml"/><Relationship Id="rId194" Type="http://schemas.openxmlformats.org/officeDocument/2006/relationships/customXml" Target="../ink/ink1129.xml"/><Relationship Id="rId208" Type="http://schemas.openxmlformats.org/officeDocument/2006/relationships/customXml" Target="../ink/ink1136.xml"/><Relationship Id="rId261" Type="http://schemas.openxmlformats.org/officeDocument/2006/relationships/image" Target="../media/image1067.png"/><Relationship Id="rId14" Type="http://schemas.openxmlformats.org/officeDocument/2006/relationships/customXml" Target="../ink/ink1039.xml"/><Relationship Id="rId56" Type="http://schemas.openxmlformats.org/officeDocument/2006/relationships/customXml" Target="../ink/ink1060.xml"/><Relationship Id="rId317" Type="http://schemas.openxmlformats.org/officeDocument/2006/relationships/image" Target="../media/image1095.png"/><Relationship Id="rId98" Type="http://schemas.openxmlformats.org/officeDocument/2006/relationships/customXml" Target="../ink/ink1081.xml"/><Relationship Id="rId121" Type="http://schemas.openxmlformats.org/officeDocument/2006/relationships/image" Target="../media/image998.png"/><Relationship Id="rId163" Type="http://schemas.openxmlformats.org/officeDocument/2006/relationships/image" Target="../media/image1018.png"/><Relationship Id="rId219" Type="http://schemas.openxmlformats.org/officeDocument/2006/relationships/image" Target="../media/image1046.png"/><Relationship Id="rId230" Type="http://schemas.openxmlformats.org/officeDocument/2006/relationships/customXml" Target="../ink/ink1147.xml"/><Relationship Id="rId25" Type="http://schemas.openxmlformats.org/officeDocument/2006/relationships/image" Target="../media/image950.png"/><Relationship Id="rId46" Type="http://schemas.openxmlformats.org/officeDocument/2006/relationships/customXml" Target="../ink/ink1055.xml"/><Relationship Id="rId67" Type="http://schemas.openxmlformats.org/officeDocument/2006/relationships/image" Target="../media/image971.png"/><Relationship Id="rId272" Type="http://schemas.openxmlformats.org/officeDocument/2006/relationships/customXml" Target="../ink/ink1168.xml"/><Relationship Id="rId293" Type="http://schemas.openxmlformats.org/officeDocument/2006/relationships/image" Target="../media/image1083.png"/><Relationship Id="rId307" Type="http://schemas.openxmlformats.org/officeDocument/2006/relationships/image" Target="../media/image1090.png"/><Relationship Id="rId328" Type="http://schemas.openxmlformats.org/officeDocument/2006/relationships/customXml" Target="../ink/ink1196.xml"/><Relationship Id="rId349" Type="http://schemas.openxmlformats.org/officeDocument/2006/relationships/image" Target="../media/image1111.png"/><Relationship Id="rId88" Type="http://schemas.openxmlformats.org/officeDocument/2006/relationships/customXml" Target="../ink/ink1076.xml"/><Relationship Id="rId111" Type="http://schemas.openxmlformats.org/officeDocument/2006/relationships/image" Target="../media/image993.png"/><Relationship Id="rId132" Type="http://schemas.openxmlformats.org/officeDocument/2006/relationships/customXml" Target="../ink/ink1098.xml"/><Relationship Id="rId153" Type="http://schemas.openxmlformats.org/officeDocument/2006/relationships/image" Target="../media/image1013.png"/><Relationship Id="rId174" Type="http://schemas.openxmlformats.org/officeDocument/2006/relationships/customXml" Target="../ink/ink1119.xml"/><Relationship Id="rId195" Type="http://schemas.openxmlformats.org/officeDocument/2006/relationships/image" Target="../media/image1034.png"/><Relationship Id="rId209" Type="http://schemas.openxmlformats.org/officeDocument/2006/relationships/image" Target="../media/image1041.png"/><Relationship Id="rId220" Type="http://schemas.openxmlformats.org/officeDocument/2006/relationships/customXml" Target="../ink/ink1142.xml"/><Relationship Id="rId241" Type="http://schemas.openxmlformats.org/officeDocument/2006/relationships/image" Target="../media/image1057.png"/><Relationship Id="rId15" Type="http://schemas.openxmlformats.org/officeDocument/2006/relationships/image" Target="../media/image945.png"/><Relationship Id="rId36" Type="http://schemas.openxmlformats.org/officeDocument/2006/relationships/customXml" Target="../ink/ink1050.xml"/><Relationship Id="rId57" Type="http://schemas.openxmlformats.org/officeDocument/2006/relationships/image" Target="../media/image966.png"/><Relationship Id="rId262" Type="http://schemas.openxmlformats.org/officeDocument/2006/relationships/customXml" Target="../ink/ink1163.xml"/><Relationship Id="rId283" Type="http://schemas.openxmlformats.org/officeDocument/2006/relationships/image" Target="../media/image1078.png"/><Relationship Id="rId318" Type="http://schemas.openxmlformats.org/officeDocument/2006/relationships/customXml" Target="../ink/ink1191.xml"/><Relationship Id="rId339" Type="http://schemas.openxmlformats.org/officeDocument/2006/relationships/image" Target="../media/image1106.png"/><Relationship Id="rId78" Type="http://schemas.openxmlformats.org/officeDocument/2006/relationships/customXml" Target="../ink/ink1071.xml"/><Relationship Id="rId99" Type="http://schemas.openxmlformats.org/officeDocument/2006/relationships/image" Target="../media/image987.png"/><Relationship Id="rId101" Type="http://schemas.openxmlformats.org/officeDocument/2006/relationships/image" Target="../media/image988.png"/><Relationship Id="rId122" Type="http://schemas.openxmlformats.org/officeDocument/2006/relationships/customXml" Target="../ink/ink1093.xml"/><Relationship Id="rId143" Type="http://schemas.openxmlformats.org/officeDocument/2006/relationships/image" Target="../media/image1009.png"/><Relationship Id="rId164" Type="http://schemas.openxmlformats.org/officeDocument/2006/relationships/customXml" Target="../ink/ink1114.xml"/><Relationship Id="rId185" Type="http://schemas.openxmlformats.org/officeDocument/2006/relationships/image" Target="../media/image1029.png"/><Relationship Id="rId350" Type="http://schemas.openxmlformats.org/officeDocument/2006/relationships/customXml" Target="../ink/ink1207.xml"/><Relationship Id="rId9" Type="http://schemas.openxmlformats.org/officeDocument/2006/relationships/image" Target="../media/image942.png"/><Relationship Id="rId210" Type="http://schemas.openxmlformats.org/officeDocument/2006/relationships/customXml" Target="../ink/ink1137.xml"/><Relationship Id="rId26" Type="http://schemas.openxmlformats.org/officeDocument/2006/relationships/customXml" Target="../ink/ink1045.xml"/><Relationship Id="rId231" Type="http://schemas.openxmlformats.org/officeDocument/2006/relationships/image" Target="../media/image1052.png"/><Relationship Id="rId252" Type="http://schemas.openxmlformats.org/officeDocument/2006/relationships/customXml" Target="../ink/ink1158.xml"/><Relationship Id="rId273" Type="http://schemas.openxmlformats.org/officeDocument/2006/relationships/image" Target="../media/image1073.png"/><Relationship Id="rId294" Type="http://schemas.openxmlformats.org/officeDocument/2006/relationships/customXml" Target="../ink/ink1179.xml"/><Relationship Id="rId308" Type="http://schemas.openxmlformats.org/officeDocument/2006/relationships/customXml" Target="../ink/ink1186.xml"/><Relationship Id="rId329" Type="http://schemas.openxmlformats.org/officeDocument/2006/relationships/image" Target="../media/image1101.png"/><Relationship Id="rId47" Type="http://schemas.openxmlformats.org/officeDocument/2006/relationships/image" Target="../media/image961.png"/><Relationship Id="rId68" Type="http://schemas.openxmlformats.org/officeDocument/2006/relationships/customXml" Target="../ink/ink1066.xml"/><Relationship Id="rId89" Type="http://schemas.openxmlformats.org/officeDocument/2006/relationships/image" Target="../media/image982.png"/><Relationship Id="rId112" Type="http://schemas.openxmlformats.org/officeDocument/2006/relationships/customXml" Target="../ink/ink1088.xml"/><Relationship Id="rId133" Type="http://schemas.openxmlformats.org/officeDocument/2006/relationships/image" Target="../media/image1004.png"/><Relationship Id="rId154" Type="http://schemas.openxmlformats.org/officeDocument/2006/relationships/customXml" Target="../ink/ink1109.xml"/><Relationship Id="rId175" Type="http://schemas.openxmlformats.org/officeDocument/2006/relationships/image" Target="../media/image1024.png"/><Relationship Id="rId340" Type="http://schemas.openxmlformats.org/officeDocument/2006/relationships/customXml" Target="../ink/ink1202.xml"/><Relationship Id="rId196" Type="http://schemas.openxmlformats.org/officeDocument/2006/relationships/customXml" Target="../ink/ink1130.xml"/><Relationship Id="rId200" Type="http://schemas.openxmlformats.org/officeDocument/2006/relationships/customXml" Target="../ink/ink1132.xml"/><Relationship Id="rId16" Type="http://schemas.openxmlformats.org/officeDocument/2006/relationships/customXml" Target="../ink/ink1040.xml"/><Relationship Id="rId221" Type="http://schemas.openxmlformats.org/officeDocument/2006/relationships/image" Target="../media/image1047.png"/><Relationship Id="rId242" Type="http://schemas.openxmlformats.org/officeDocument/2006/relationships/customXml" Target="../ink/ink1153.xml"/><Relationship Id="rId263" Type="http://schemas.openxmlformats.org/officeDocument/2006/relationships/image" Target="../media/image1068.png"/><Relationship Id="rId284" Type="http://schemas.openxmlformats.org/officeDocument/2006/relationships/customXml" Target="../ink/ink1174.xml"/><Relationship Id="rId319" Type="http://schemas.openxmlformats.org/officeDocument/2006/relationships/image" Target="../media/image1096.png"/><Relationship Id="rId37" Type="http://schemas.openxmlformats.org/officeDocument/2006/relationships/image" Target="../media/image956.png"/><Relationship Id="rId58" Type="http://schemas.openxmlformats.org/officeDocument/2006/relationships/customXml" Target="../ink/ink1061.xml"/><Relationship Id="rId79" Type="http://schemas.openxmlformats.org/officeDocument/2006/relationships/image" Target="../media/image977.png"/><Relationship Id="rId102" Type="http://schemas.openxmlformats.org/officeDocument/2006/relationships/customXml" Target="../ink/ink1083.xml"/><Relationship Id="rId123" Type="http://schemas.openxmlformats.org/officeDocument/2006/relationships/image" Target="../media/image999.png"/><Relationship Id="rId144" Type="http://schemas.openxmlformats.org/officeDocument/2006/relationships/customXml" Target="../ink/ink1104.xml"/><Relationship Id="rId330" Type="http://schemas.openxmlformats.org/officeDocument/2006/relationships/customXml" Target="../ink/ink1197.xml"/><Relationship Id="rId90" Type="http://schemas.openxmlformats.org/officeDocument/2006/relationships/customXml" Target="../ink/ink1077.xml"/><Relationship Id="rId165" Type="http://schemas.openxmlformats.org/officeDocument/2006/relationships/image" Target="../media/image1019.png"/><Relationship Id="rId186" Type="http://schemas.openxmlformats.org/officeDocument/2006/relationships/customXml" Target="../ink/ink1125.xml"/><Relationship Id="rId351" Type="http://schemas.openxmlformats.org/officeDocument/2006/relationships/image" Target="../media/image1112.png"/><Relationship Id="rId211" Type="http://schemas.openxmlformats.org/officeDocument/2006/relationships/image" Target="../media/image1042.png"/><Relationship Id="rId232" Type="http://schemas.openxmlformats.org/officeDocument/2006/relationships/customXml" Target="../ink/ink1148.xml"/><Relationship Id="rId253" Type="http://schemas.openxmlformats.org/officeDocument/2006/relationships/image" Target="../media/image1063.png"/><Relationship Id="rId274" Type="http://schemas.openxmlformats.org/officeDocument/2006/relationships/customXml" Target="../ink/ink1169.xml"/><Relationship Id="rId295" Type="http://schemas.openxmlformats.org/officeDocument/2006/relationships/image" Target="../media/image1084.png"/><Relationship Id="rId309" Type="http://schemas.openxmlformats.org/officeDocument/2006/relationships/image" Target="../media/image1091.png"/><Relationship Id="rId27" Type="http://schemas.openxmlformats.org/officeDocument/2006/relationships/image" Target="../media/image951.png"/><Relationship Id="rId48" Type="http://schemas.openxmlformats.org/officeDocument/2006/relationships/customXml" Target="../ink/ink1056.xml"/><Relationship Id="rId69" Type="http://schemas.openxmlformats.org/officeDocument/2006/relationships/image" Target="../media/image972.png"/><Relationship Id="rId113" Type="http://schemas.openxmlformats.org/officeDocument/2006/relationships/image" Target="../media/image994.png"/><Relationship Id="rId134" Type="http://schemas.openxmlformats.org/officeDocument/2006/relationships/customXml" Target="../ink/ink1099.xml"/><Relationship Id="rId320" Type="http://schemas.openxmlformats.org/officeDocument/2006/relationships/customXml" Target="../ink/ink1192.xml"/><Relationship Id="rId80" Type="http://schemas.openxmlformats.org/officeDocument/2006/relationships/customXml" Target="../ink/ink1072.xml"/><Relationship Id="rId155" Type="http://schemas.openxmlformats.org/officeDocument/2006/relationships/image" Target="../media/image1014.png"/><Relationship Id="rId176" Type="http://schemas.openxmlformats.org/officeDocument/2006/relationships/customXml" Target="../ink/ink1120.xml"/><Relationship Id="rId197" Type="http://schemas.openxmlformats.org/officeDocument/2006/relationships/image" Target="../media/image1035.png"/><Relationship Id="rId341" Type="http://schemas.openxmlformats.org/officeDocument/2006/relationships/image" Target="../media/image1107.png"/><Relationship Id="rId201" Type="http://schemas.openxmlformats.org/officeDocument/2006/relationships/image" Target="../media/image1037.png"/><Relationship Id="rId222" Type="http://schemas.openxmlformats.org/officeDocument/2006/relationships/customXml" Target="../ink/ink1143.xml"/><Relationship Id="rId243" Type="http://schemas.openxmlformats.org/officeDocument/2006/relationships/image" Target="../media/image1058.png"/><Relationship Id="rId264" Type="http://schemas.openxmlformats.org/officeDocument/2006/relationships/customXml" Target="../ink/ink1164.xml"/><Relationship Id="rId285" Type="http://schemas.openxmlformats.org/officeDocument/2006/relationships/image" Target="../media/image1079.png"/><Relationship Id="rId17" Type="http://schemas.openxmlformats.org/officeDocument/2006/relationships/image" Target="../media/image946.png"/><Relationship Id="rId38" Type="http://schemas.openxmlformats.org/officeDocument/2006/relationships/customXml" Target="../ink/ink1051.xml"/><Relationship Id="rId59" Type="http://schemas.openxmlformats.org/officeDocument/2006/relationships/image" Target="../media/image967.png"/><Relationship Id="rId103" Type="http://schemas.openxmlformats.org/officeDocument/2006/relationships/image" Target="../media/image989.png"/><Relationship Id="rId124" Type="http://schemas.openxmlformats.org/officeDocument/2006/relationships/customXml" Target="../ink/ink1094.xml"/><Relationship Id="rId310" Type="http://schemas.openxmlformats.org/officeDocument/2006/relationships/customXml" Target="../ink/ink1187.xml"/><Relationship Id="rId70" Type="http://schemas.openxmlformats.org/officeDocument/2006/relationships/customXml" Target="../ink/ink1067.xml"/><Relationship Id="rId91" Type="http://schemas.openxmlformats.org/officeDocument/2006/relationships/image" Target="../media/image983.png"/><Relationship Id="rId145" Type="http://schemas.openxmlformats.org/officeDocument/2006/relationships/image" Target="../media/image1010.png"/><Relationship Id="rId166" Type="http://schemas.openxmlformats.org/officeDocument/2006/relationships/customXml" Target="../ink/ink1115.xml"/><Relationship Id="rId187" Type="http://schemas.openxmlformats.org/officeDocument/2006/relationships/image" Target="../media/image1030.png"/><Relationship Id="rId331" Type="http://schemas.openxmlformats.org/officeDocument/2006/relationships/image" Target="../media/image1102.png"/><Relationship Id="rId352" Type="http://schemas.openxmlformats.org/officeDocument/2006/relationships/customXml" Target="../ink/ink1208.xml"/><Relationship Id="rId1" Type="http://schemas.openxmlformats.org/officeDocument/2006/relationships/slideLayout" Target="../slideLayouts/slideLayout2.xml"/><Relationship Id="rId212" Type="http://schemas.openxmlformats.org/officeDocument/2006/relationships/customXml" Target="../ink/ink1138.xml"/><Relationship Id="rId233" Type="http://schemas.openxmlformats.org/officeDocument/2006/relationships/image" Target="../media/image1053.png"/><Relationship Id="rId254" Type="http://schemas.openxmlformats.org/officeDocument/2006/relationships/customXml" Target="../ink/ink1159.xml"/><Relationship Id="rId28" Type="http://schemas.openxmlformats.org/officeDocument/2006/relationships/customXml" Target="../ink/ink1046.xml"/><Relationship Id="rId49" Type="http://schemas.openxmlformats.org/officeDocument/2006/relationships/image" Target="../media/image962.png"/><Relationship Id="rId114" Type="http://schemas.openxmlformats.org/officeDocument/2006/relationships/customXml" Target="../ink/ink1089.xml"/><Relationship Id="rId275" Type="http://schemas.openxmlformats.org/officeDocument/2006/relationships/image" Target="../media/image1074.png"/><Relationship Id="rId296" Type="http://schemas.openxmlformats.org/officeDocument/2006/relationships/customXml" Target="../ink/ink1180.xml"/><Relationship Id="rId300" Type="http://schemas.openxmlformats.org/officeDocument/2006/relationships/customXml" Target="../ink/ink1182.xml"/><Relationship Id="rId60" Type="http://schemas.openxmlformats.org/officeDocument/2006/relationships/customXml" Target="../ink/ink1062.xml"/><Relationship Id="rId81" Type="http://schemas.openxmlformats.org/officeDocument/2006/relationships/image" Target="../media/image978.png"/><Relationship Id="rId135" Type="http://schemas.openxmlformats.org/officeDocument/2006/relationships/image" Target="../media/image1005.png"/><Relationship Id="rId156" Type="http://schemas.openxmlformats.org/officeDocument/2006/relationships/customXml" Target="../ink/ink1110.xml"/><Relationship Id="rId177" Type="http://schemas.openxmlformats.org/officeDocument/2006/relationships/image" Target="../media/image1025.png"/><Relationship Id="rId198" Type="http://schemas.openxmlformats.org/officeDocument/2006/relationships/customXml" Target="../ink/ink1131.xml"/><Relationship Id="rId321" Type="http://schemas.openxmlformats.org/officeDocument/2006/relationships/image" Target="../media/image1097.png"/><Relationship Id="rId342" Type="http://schemas.openxmlformats.org/officeDocument/2006/relationships/customXml" Target="../ink/ink1203.xml"/><Relationship Id="rId202" Type="http://schemas.openxmlformats.org/officeDocument/2006/relationships/customXml" Target="../ink/ink1133.xml"/><Relationship Id="rId223" Type="http://schemas.openxmlformats.org/officeDocument/2006/relationships/image" Target="../media/image1048.png"/><Relationship Id="rId244" Type="http://schemas.openxmlformats.org/officeDocument/2006/relationships/customXml" Target="../ink/ink1154.xml"/><Relationship Id="rId18" Type="http://schemas.openxmlformats.org/officeDocument/2006/relationships/customXml" Target="../ink/ink1041.xml"/><Relationship Id="rId39" Type="http://schemas.openxmlformats.org/officeDocument/2006/relationships/image" Target="../media/image957.png"/><Relationship Id="rId265" Type="http://schemas.openxmlformats.org/officeDocument/2006/relationships/image" Target="../media/image1069.png"/><Relationship Id="rId286" Type="http://schemas.openxmlformats.org/officeDocument/2006/relationships/customXml" Target="../ink/ink1175.xml"/><Relationship Id="rId50" Type="http://schemas.openxmlformats.org/officeDocument/2006/relationships/customXml" Target="../ink/ink1057.xml"/><Relationship Id="rId104" Type="http://schemas.openxmlformats.org/officeDocument/2006/relationships/customXml" Target="../ink/ink1084.xml"/><Relationship Id="rId125" Type="http://schemas.openxmlformats.org/officeDocument/2006/relationships/image" Target="../media/image1000.png"/><Relationship Id="rId146" Type="http://schemas.openxmlformats.org/officeDocument/2006/relationships/customXml" Target="../ink/ink1105.xml"/><Relationship Id="rId167" Type="http://schemas.openxmlformats.org/officeDocument/2006/relationships/image" Target="../media/image1020.png"/><Relationship Id="rId188" Type="http://schemas.openxmlformats.org/officeDocument/2006/relationships/customXml" Target="../ink/ink1126.xml"/><Relationship Id="rId311" Type="http://schemas.openxmlformats.org/officeDocument/2006/relationships/image" Target="../media/image1092.png"/><Relationship Id="rId332" Type="http://schemas.openxmlformats.org/officeDocument/2006/relationships/customXml" Target="../ink/ink1198.xml"/><Relationship Id="rId353" Type="http://schemas.openxmlformats.org/officeDocument/2006/relationships/image" Target="../media/image1113.png"/><Relationship Id="rId71" Type="http://schemas.openxmlformats.org/officeDocument/2006/relationships/image" Target="../media/image973.png"/><Relationship Id="rId92" Type="http://schemas.openxmlformats.org/officeDocument/2006/relationships/customXml" Target="../ink/ink1078.xml"/><Relationship Id="rId213" Type="http://schemas.openxmlformats.org/officeDocument/2006/relationships/image" Target="../media/image1043.png"/><Relationship Id="rId234" Type="http://schemas.openxmlformats.org/officeDocument/2006/relationships/customXml" Target="../ink/ink1149.xml"/><Relationship Id="rId2" Type="http://schemas.openxmlformats.org/officeDocument/2006/relationships/customXml" Target="../ink/ink1033.xml"/><Relationship Id="rId29" Type="http://schemas.openxmlformats.org/officeDocument/2006/relationships/image" Target="../media/image952.png"/><Relationship Id="rId255" Type="http://schemas.openxmlformats.org/officeDocument/2006/relationships/image" Target="../media/image1064.png"/><Relationship Id="rId276" Type="http://schemas.openxmlformats.org/officeDocument/2006/relationships/customXml" Target="../ink/ink1170.xml"/><Relationship Id="rId297" Type="http://schemas.openxmlformats.org/officeDocument/2006/relationships/image" Target="../media/image1085.png"/><Relationship Id="rId40" Type="http://schemas.openxmlformats.org/officeDocument/2006/relationships/customXml" Target="../ink/ink1052.xml"/><Relationship Id="rId115" Type="http://schemas.openxmlformats.org/officeDocument/2006/relationships/image" Target="../media/image995.png"/><Relationship Id="rId136" Type="http://schemas.openxmlformats.org/officeDocument/2006/relationships/customXml" Target="../ink/ink1100.xml"/><Relationship Id="rId157" Type="http://schemas.openxmlformats.org/officeDocument/2006/relationships/image" Target="../media/image1015.png"/><Relationship Id="rId178" Type="http://schemas.openxmlformats.org/officeDocument/2006/relationships/customXml" Target="../ink/ink1121.xml"/><Relationship Id="rId301" Type="http://schemas.openxmlformats.org/officeDocument/2006/relationships/image" Target="../media/image1087.png"/><Relationship Id="rId322" Type="http://schemas.openxmlformats.org/officeDocument/2006/relationships/customXml" Target="../ink/ink1193.xml"/><Relationship Id="rId343" Type="http://schemas.openxmlformats.org/officeDocument/2006/relationships/image" Target="../media/image1108.png"/><Relationship Id="rId61" Type="http://schemas.openxmlformats.org/officeDocument/2006/relationships/image" Target="../media/image968.png"/><Relationship Id="rId82" Type="http://schemas.openxmlformats.org/officeDocument/2006/relationships/customXml" Target="../ink/ink1073.xml"/><Relationship Id="rId199" Type="http://schemas.openxmlformats.org/officeDocument/2006/relationships/image" Target="../media/image1036.png"/><Relationship Id="rId203" Type="http://schemas.openxmlformats.org/officeDocument/2006/relationships/image" Target="../media/image1038.png"/><Relationship Id="rId19" Type="http://schemas.openxmlformats.org/officeDocument/2006/relationships/image" Target="../media/image947.png"/><Relationship Id="rId224" Type="http://schemas.openxmlformats.org/officeDocument/2006/relationships/customXml" Target="../ink/ink1144.xml"/><Relationship Id="rId245" Type="http://schemas.openxmlformats.org/officeDocument/2006/relationships/image" Target="../media/image1059.png"/><Relationship Id="rId266" Type="http://schemas.openxmlformats.org/officeDocument/2006/relationships/customXml" Target="../ink/ink1165.xml"/><Relationship Id="rId287" Type="http://schemas.openxmlformats.org/officeDocument/2006/relationships/image" Target="../media/image1080.png"/><Relationship Id="rId30" Type="http://schemas.openxmlformats.org/officeDocument/2006/relationships/customXml" Target="../ink/ink1047.xml"/><Relationship Id="rId105" Type="http://schemas.openxmlformats.org/officeDocument/2006/relationships/image" Target="../media/image990.png"/><Relationship Id="rId126" Type="http://schemas.openxmlformats.org/officeDocument/2006/relationships/customXml" Target="../ink/ink1095.xml"/><Relationship Id="rId147" Type="http://schemas.openxmlformats.org/officeDocument/2006/relationships/image" Target="../media/image804.png"/><Relationship Id="rId168" Type="http://schemas.openxmlformats.org/officeDocument/2006/relationships/customXml" Target="../ink/ink1116.xml"/><Relationship Id="rId312" Type="http://schemas.openxmlformats.org/officeDocument/2006/relationships/customXml" Target="../ink/ink1188.xml"/><Relationship Id="rId333" Type="http://schemas.openxmlformats.org/officeDocument/2006/relationships/image" Target="../media/image1103.png"/><Relationship Id="rId354" Type="http://schemas.openxmlformats.org/officeDocument/2006/relationships/customXml" Target="../ink/ink1209.xml"/><Relationship Id="rId51" Type="http://schemas.openxmlformats.org/officeDocument/2006/relationships/image" Target="../media/image963.png"/><Relationship Id="rId72" Type="http://schemas.openxmlformats.org/officeDocument/2006/relationships/customXml" Target="../ink/ink1068.xml"/><Relationship Id="rId93" Type="http://schemas.openxmlformats.org/officeDocument/2006/relationships/image" Target="../media/image984.png"/><Relationship Id="rId189" Type="http://schemas.openxmlformats.org/officeDocument/2006/relationships/image" Target="../media/image1031.png"/><Relationship Id="rId3" Type="http://schemas.openxmlformats.org/officeDocument/2006/relationships/image" Target="../media/image939.png"/><Relationship Id="rId214" Type="http://schemas.openxmlformats.org/officeDocument/2006/relationships/customXml" Target="../ink/ink1139.xml"/><Relationship Id="rId235" Type="http://schemas.openxmlformats.org/officeDocument/2006/relationships/image" Target="../media/image1054.png"/><Relationship Id="rId256" Type="http://schemas.openxmlformats.org/officeDocument/2006/relationships/customXml" Target="../ink/ink1160.xml"/><Relationship Id="rId277" Type="http://schemas.openxmlformats.org/officeDocument/2006/relationships/image" Target="../media/image1075.png"/><Relationship Id="rId298" Type="http://schemas.openxmlformats.org/officeDocument/2006/relationships/customXml" Target="../ink/ink1181.xml"/><Relationship Id="rId116" Type="http://schemas.openxmlformats.org/officeDocument/2006/relationships/customXml" Target="../ink/ink1090.xml"/><Relationship Id="rId137" Type="http://schemas.openxmlformats.org/officeDocument/2006/relationships/image" Target="../media/image1006.png"/><Relationship Id="rId158" Type="http://schemas.openxmlformats.org/officeDocument/2006/relationships/customXml" Target="../ink/ink1111.xml"/><Relationship Id="rId302" Type="http://schemas.openxmlformats.org/officeDocument/2006/relationships/customXml" Target="../ink/ink1183.xml"/><Relationship Id="rId323" Type="http://schemas.openxmlformats.org/officeDocument/2006/relationships/image" Target="../media/image1098.png"/><Relationship Id="rId344" Type="http://schemas.openxmlformats.org/officeDocument/2006/relationships/customXml" Target="../ink/ink1204.xml"/><Relationship Id="rId20" Type="http://schemas.openxmlformats.org/officeDocument/2006/relationships/customXml" Target="../ink/ink1042.xml"/><Relationship Id="rId41" Type="http://schemas.openxmlformats.org/officeDocument/2006/relationships/image" Target="../media/image958.png"/><Relationship Id="rId62" Type="http://schemas.openxmlformats.org/officeDocument/2006/relationships/customXml" Target="../ink/ink1063.xml"/><Relationship Id="rId83" Type="http://schemas.openxmlformats.org/officeDocument/2006/relationships/image" Target="../media/image979.png"/><Relationship Id="rId179" Type="http://schemas.openxmlformats.org/officeDocument/2006/relationships/image" Target="../media/image1026.png"/><Relationship Id="rId190" Type="http://schemas.openxmlformats.org/officeDocument/2006/relationships/customXml" Target="../ink/ink1127.xml"/><Relationship Id="rId204" Type="http://schemas.openxmlformats.org/officeDocument/2006/relationships/customXml" Target="../ink/ink1134.xml"/><Relationship Id="rId225" Type="http://schemas.openxmlformats.org/officeDocument/2006/relationships/image" Target="../media/image1049.png"/><Relationship Id="rId246" Type="http://schemas.openxmlformats.org/officeDocument/2006/relationships/customXml" Target="../ink/ink1155.xml"/><Relationship Id="rId267" Type="http://schemas.openxmlformats.org/officeDocument/2006/relationships/image" Target="../media/image1070.png"/><Relationship Id="rId288" Type="http://schemas.openxmlformats.org/officeDocument/2006/relationships/customXml" Target="../ink/ink1176.xml"/><Relationship Id="rId106" Type="http://schemas.openxmlformats.org/officeDocument/2006/relationships/customXml" Target="../ink/ink1085.xml"/><Relationship Id="rId127" Type="http://schemas.openxmlformats.org/officeDocument/2006/relationships/image" Target="../media/image1001.png"/><Relationship Id="rId313" Type="http://schemas.openxmlformats.org/officeDocument/2006/relationships/image" Target="../media/image1093.png"/><Relationship Id="rId10" Type="http://schemas.openxmlformats.org/officeDocument/2006/relationships/customXml" Target="../ink/ink1037.xml"/><Relationship Id="rId31" Type="http://schemas.openxmlformats.org/officeDocument/2006/relationships/image" Target="../media/image953.png"/><Relationship Id="rId52" Type="http://schemas.openxmlformats.org/officeDocument/2006/relationships/customXml" Target="../ink/ink1058.xml"/><Relationship Id="rId73" Type="http://schemas.openxmlformats.org/officeDocument/2006/relationships/image" Target="../media/image974.png"/><Relationship Id="rId94" Type="http://schemas.openxmlformats.org/officeDocument/2006/relationships/customXml" Target="../ink/ink1079.xml"/><Relationship Id="rId148" Type="http://schemas.openxmlformats.org/officeDocument/2006/relationships/customXml" Target="../ink/ink1106.xml"/><Relationship Id="rId169" Type="http://schemas.openxmlformats.org/officeDocument/2006/relationships/image" Target="../media/image1021.png"/><Relationship Id="rId334" Type="http://schemas.openxmlformats.org/officeDocument/2006/relationships/customXml" Target="../ink/ink1199.xml"/><Relationship Id="rId355" Type="http://schemas.openxmlformats.org/officeDocument/2006/relationships/image" Target="../media/image1114.png"/><Relationship Id="rId4" Type="http://schemas.openxmlformats.org/officeDocument/2006/relationships/customXml" Target="../ink/ink1034.xml"/><Relationship Id="rId180" Type="http://schemas.openxmlformats.org/officeDocument/2006/relationships/customXml" Target="../ink/ink1122.xml"/><Relationship Id="rId215" Type="http://schemas.openxmlformats.org/officeDocument/2006/relationships/image" Target="../media/image1044.png"/><Relationship Id="rId236" Type="http://schemas.openxmlformats.org/officeDocument/2006/relationships/customXml" Target="../ink/ink1150.xml"/><Relationship Id="rId257" Type="http://schemas.openxmlformats.org/officeDocument/2006/relationships/image" Target="../media/image1065.png"/><Relationship Id="rId278" Type="http://schemas.openxmlformats.org/officeDocument/2006/relationships/customXml" Target="../ink/ink1171.xml"/><Relationship Id="rId303" Type="http://schemas.openxmlformats.org/officeDocument/2006/relationships/image" Target="../media/image1088.png"/><Relationship Id="rId42" Type="http://schemas.openxmlformats.org/officeDocument/2006/relationships/customXml" Target="../ink/ink1053.xml"/><Relationship Id="rId84" Type="http://schemas.openxmlformats.org/officeDocument/2006/relationships/customXml" Target="../ink/ink1074.xml"/><Relationship Id="rId138" Type="http://schemas.openxmlformats.org/officeDocument/2006/relationships/customXml" Target="../ink/ink1101.xml"/><Relationship Id="rId345" Type="http://schemas.openxmlformats.org/officeDocument/2006/relationships/image" Target="../media/image1109.png"/><Relationship Id="rId191" Type="http://schemas.openxmlformats.org/officeDocument/2006/relationships/image" Target="../media/image1032.png"/><Relationship Id="rId205" Type="http://schemas.openxmlformats.org/officeDocument/2006/relationships/image" Target="../media/image1039.png"/><Relationship Id="rId247" Type="http://schemas.openxmlformats.org/officeDocument/2006/relationships/image" Target="../media/image1060.png"/><Relationship Id="rId107" Type="http://schemas.openxmlformats.org/officeDocument/2006/relationships/image" Target="../media/image991.png"/><Relationship Id="rId289" Type="http://schemas.openxmlformats.org/officeDocument/2006/relationships/image" Target="../media/image1081.png"/><Relationship Id="rId11" Type="http://schemas.openxmlformats.org/officeDocument/2006/relationships/image" Target="../media/image943.png"/><Relationship Id="rId53" Type="http://schemas.openxmlformats.org/officeDocument/2006/relationships/image" Target="../media/image964.png"/><Relationship Id="rId149" Type="http://schemas.openxmlformats.org/officeDocument/2006/relationships/image" Target="../media/image1011.png"/><Relationship Id="rId314" Type="http://schemas.openxmlformats.org/officeDocument/2006/relationships/customXml" Target="../ink/ink1189.xml"/><Relationship Id="rId356" Type="http://schemas.openxmlformats.org/officeDocument/2006/relationships/customXml" Target="../ink/ink1210.xml"/><Relationship Id="rId95" Type="http://schemas.openxmlformats.org/officeDocument/2006/relationships/image" Target="../media/image985.png"/><Relationship Id="rId160" Type="http://schemas.openxmlformats.org/officeDocument/2006/relationships/customXml" Target="../ink/ink1112.xml"/><Relationship Id="rId216" Type="http://schemas.openxmlformats.org/officeDocument/2006/relationships/customXml" Target="../ink/ink1140.xml"/><Relationship Id="rId258" Type="http://schemas.openxmlformats.org/officeDocument/2006/relationships/customXml" Target="../ink/ink1161.xml"/><Relationship Id="rId22" Type="http://schemas.openxmlformats.org/officeDocument/2006/relationships/customXml" Target="../ink/ink1043.xml"/><Relationship Id="rId64" Type="http://schemas.openxmlformats.org/officeDocument/2006/relationships/customXml" Target="../ink/ink1064.xml"/><Relationship Id="rId118" Type="http://schemas.openxmlformats.org/officeDocument/2006/relationships/customXml" Target="../ink/ink1091.xml"/><Relationship Id="rId325" Type="http://schemas.openxmlformats.org/officeDocument/2006/relationships/image" Target="../media/image1099.png"/><Relationship Id="rId171" Type="http://schemas.openxmlformats.org/officeDocument/2006/relationships/image" Target="../media/image1022.png"/><Relationship Id="rId227" Type="http://schemas.openxmlformats.org/officeDocument/2006/relationships/image" Target="../media/image1050.png"/><Relationship Id="rId269" Type="http://schemas.openxmlformats.org/officeDocument/2006/relationships/image" Target="../media/image1071.png"/><Relationship Id="rId33" Type="http://schemas.openxmlformats.org/officeDocument/2006/relationships/image" Target="../media/image954.png"/><Relationship Id="rId129" Type="http://schemas.openxmlformats.org/officeDocument/2006/relationships/image" Target="../media/image1002.png"/><Relationship Id="rId280" Type="http://schemas.openxmlformats.org/officeDocument/2006/relationships/customXml" Target="../ink/ink1172.xml"/><Relationship Id="rId336" Type="http://schemas.openxmlformats.org/officeDocument/2006/relationships/customXml" Target="../ink/ink1200.xml"/><Relationship Id="rId75" Type="http://schemas.openxmlformats.org/officeDocument/2006/relationships/image" Target="../media/image975.png"/><Relationship Id="rId140" Type="http://schemas.openxmlformats.org/officeDocument/2006/relationships/customXml" Target="../ink/ink1102.xml"/><Relationship Id="rId182" Type="http://schemas.openxmlformats.org/officeDocument/2006/relationships/customXml" Target="../ink/ink1123.xml"/><Relationship Id="rId6" Type="http://schemas.openxmlformats.org/officeDocument/2006/relationships/customXml" Target="../ink/ink1035.xml"/><Relationship Id="rId238" Type="http://schemas.openxmlformats.org/officeDocument/2006/relationships/customXml" Target="../ink/ink1151.xml"/><Relationship Id="rId291" Type="http://schemas.openxmlformats.org/officeDocument/2006/relationships/image" Target="../media/image1082.png"/><Relationship Id="rId305" Type="http://schemas.openxmlformats.org/officeDocument/2006/relationships/image" Target="../media/image1089.png"/><Relationship Id="rId347" Type="http://schemas.openxmlformats.org/officeDocument/2006/relationships/image" Target="../media/image1110.png"/><Relationship Id="rId44" Type="http://schemas.openxmlformats.org/officeDocument/2006/relationships/customXml" Target="../ink/ink1054.xml"/><Relationship Id="rId86" Type="http://schemas.openxmlformats.org/officeDocument/2006/relationships/customXml" Target="../ink/ink1075.xml"/><Relationship Id="rId151" Type="http://schemas.openxmlformats.org/officeDocument/2006/relationships/image" Target="../media/image1012.png"/><Relationship Id="rId193" Type="http://schemas.openxmlformats.org/officeDocument/2006/relationships/image" Target="../media/image1033.png"/><Relationship Id="rId207" Type="http://schemas.openxmlformats.org/officeDocument/2006/relationships/image" Target="../media/image1040.png"/><Relationship Id="rId249" Type="http://schemas.openxmlformats.org/officeDocument/2006/relationships/image" Target="../media/image1061.png"/><Relationship Id="rId13" Type="http://schemas.openxmlformats.org/officeDocument/2006/relationships/image" Target="../media/image944.png"/><Relationship Id="rId109" Type="http://schemas.openxmlformats.org/officeDocument/2006/relationships/image" Target="../media/image992.png"/><Relationship Id="rId260" Type="http://schemas.openxmlformats.org/officeDocument/2006/relationships/customXml" Target="../ink/ink1162.xml"/><Relationship Id="rId316" Type="http://schemas.openxmlformats.org/officeDocument/2006/relationships/customXml" Target="../ink/ink1190.xml"/><Relationship Id="rId55" Type="http://schemas.openxmlformats.org/officeDocument/2006/relationships/image" Target="../media/image965.png"/><Relationship Id="rId97" Type="http://schemas.openxmlformats.org/officeDocument/2006/relationships/image" Target="../media/image986.png"/><Relationship Id="rId120" Type="http://schemas.openxmlformats.org/officeDocument/2006/relationships/customXml" Target="../ink/ink1092.xml"/><Relationship Id="rId162" Type="http://schemas.openxmlformats.org/officeDocument/2006/relationships/customXml" Target="../ink/ink1113.xml"/><Relationship Id="rId218" Type="http://schemas.openxmlformats.org/officeDocument/2006/relationships/customXml" Target="../ink/ink1141.xml"/><Relationship Id="rId271" Type="http://schemas.openxmlformats.org/officeDocument/2006/relationships/image" Target="../media/image1072.png"/><Relationship Id="rId24" Type="http://schemas.openxmlformats.org/officeDocument/2006/relationships/customXml" Target="../ink/ink1044.xml"/><Relationship Id="rId66" Type="http://schemas.openxmlformats.org/officeDocument/2006/relationships/customXml" Target="../ink/ink1065.xml"/><Relationship Id="rId131" Type="http://schemas.openxmlformats.org/officeDocument/2006/relationships/image" Target="../media/image1003.png"/><Relationship Id="rId327" Type="http://schemas.openxmlformats.org/officeDocument/2006/relationships/image" Target="../media/image1100.png"/><Relationship Id="rId173" Type="http://schemas.openxmlformats.org/officeDocument/2006/relationships/image" Target="../media/image1023.png"/><Relationship Id="rId229" Type="http://schemas.openxmlformats.org/officeDocument/2006/relationships/image" Target="../media/image1051.png"/><Relationship Id="rId240" Type="http://schemas.openxmlformats.org/officeDocument/2006/relationships/customXml" Target="../ink/ink1152.xml"/><Relationship Id="rId35" Type="http://schemas.openxmlformats.org/officeDocument/2006/relationships/image" Target="../media/image955.png"/><Relationship Id="rId77" Type="http://schemas.openxmlformats.org/officeDocument/2006/relationships/image" Target="../media/image976.png"/><Relationship Id="rId100" Type="http://schemas.openxmlformats.org/officeDocument/2006/relationships/customXml" Target="../ink/ink1082.xml"/><Relationship Id="rId282" Type="http://schemas.openxmlformats.org/officeDocument/2006/relationships/customXml" Target="../ink/ink1173.xml"/><Relationship Id="rId338" Type="http://schemas.openxmlformats.org/officeDocument/2006/relationships/customXml" Target="../ink/ink1201.xml"/><Relationship Id="rId8" Type="http://schemas.openxmlformats.org/officeDocument/2006/relationships/customXml" Target="../ink/ink1036.xml"/><Relationship Id="rId142" Type="http://schemas.openxmlformats.org/officeDocument/2006/relationships/customXml" Target="../ink/ink1103.xml"/><Relationship Id="rId184" Type="http://schemas.openxmlformats.org/officeDocument/2006/relationships/customXml" Target="../ink/ink1124.xml"/><Relationship Id="rId251" Type="http://schemas.openxmlformats.org/officeDocument/2006/relationships/image" Target="../media/image1062.png"/></Relationships>
</file>

<file path=ppt/slides/_rels/slide22.xml.rels><?xml version="1.0" encoding="UTF-8" standalone="yes"?>
<Relationships xmlns="http://schemas.openxmlformats.org/package/2006/relationships"><Relationship Id="rId117" Type="http://schemas.openxmlformats.org/officeDocument/2006/relationships/image" Target="../media/image1173.png"/><Relationship Id="rId21" Type="http://schemas.openxmlformats.org/officeDocument/2006/relationships/image" Target="../media/image1125.png"/><Relationship Id="rId63" Type="http://schemas.openxmlformats.org/officeDocument/2006/relationships/image" Target="../media/image1146.png"/><Relationship Id="rId159" Type="http://schemas.openxmlformats.org/officeDocument/2006/relationships/image" Target="../media/image1194.png"/><Relationship Id="rId324" Type="http://schemas.openxmlformats.org/officeDocument/2006/relationships/customXml" Target="../ink/ink1372.xml"/><Relationship Id="rId366" Type="http://schemas.openxmlformats.org/officeDocument/2006/relationships/customXml" Target="../ink/ink1393.xml"/><Relationship Id="rId170" Type="http://schemas.openxmlformats.org/officeDocument/2006/relationships/customXml" Target="../ink/ink1295.xml"/><Relationship Id="rId226" Type="http://schemas.openxmlformats.org/officeDocument/2006/relationships/customXml" Target="../ink/ink1323.xml"/><Relationship Id="rId433" Type="http://schemas.openxmlformats.org/officeDocument/2006/relationships/image" Target="../media/image1330.png"/><Relationship Id="rId268" Type="http://schemas.openxmlformats.org/officeDocument/2006/relationships/customXml" Target="../ink/ink1344.xml"/><Relationship Id="rId475" Type="http://schemas.openxmlformats.org/officeDocument/2006/relationships/image" Target="../media/image1351.png"/><Relationship Id="rId32" Type="http://schemas.openxmlformats.org/officeDocument/2006/relationships/customXml" Target="../ink/ink1226.xml"/><Relationship Id="rId74" Type="http://schemas.openxmlformats.org/officeDocument/2006/relationships/customXml" Target="../ink/ink1247.xml"/><Relationship Id="rId128" Type="http://schemas.openxmlformats.org/officeDocument/2006/relationships/customXml" Target="../ink/ink1274.xml"/><Relationship Id="rId335" Type="http://schemas.openxmlformats.org/officeDocument/2006/relationships/image" Target="../media/image1282.png"/><Relationship Id="rId377" Type="http://schemas.openxmlformats.org/officeDocument/2006/relationships/image" Target="../media/image1302.png"/><Relationship Id="rId500" Type="http://schemas.openxmlformats.org/officeDocument/2006/relationships/customXml" Target="../ink/ink1460.xml"/><Relationship Id="rId5" Type="http://schemas.openxmlformats.org/officeDocument/2006/relationships/image" Target="../media/image1117.png"/><Relationship Id="rId181" Type="http://schemas.openxmlformats.org/officeDocument/2006/relationships/image" Target="../media/image1205.png"/><Relationship Id="rId237" Type="http://schemas.openxmlformats.org/officeDocument/2006/relationships/image" Target="../media/image1233.png"/><Relationship Id="rId402" Type="http://schemas.openxmlformats.org/officeDocument/2006/relationships/customXml" Target="../ink/ink1411.xml"/><Relationship Id="rId279" Type="http://schemas.openxmlformats.org/officeDocument/2006/relationships/image" Target="../media/image1254.png"/><Relationship Id="rId444" Type="http://schemas.openxmlformats.org/officeDocument/2006/relationships/customXml" Target="../ink/ink1432.xml"/><Relationship Id="rId486" Type="http://schemas.openxmlformats.org/officeDocument/2006/relationships/customXml" Target="../ink/ink1453.xml"/><Relationship Id="rId43" Type="http://schemas.openxmlformats.org/officeDocument/2006/relationships/image" Target="../media/image1136.png"/><Relationship Id="rId139" Type="http://schemas.openxmlformats.org/officeDocument/2006/relationships/image" Target="../media/image1184.png"/><Relationship Id="rId290" Type="http://schemas.openxmlformats.org/officeDocument/2006/relationships/customXml" Target="../ink/ink1355.xml"/><Relationship Id="rId304" Type="http://schemas.openxmlformats.org/officeDocument/2006/relationships/customXml" Target="../ink/ink1362.xml"/><Relationship Id="rId346" Type="http://schemas.openxmlformats.org/officeDocument/2006/relationships/customXml" Target="../ink/ink1383.xml"/><Relationship Id="rId388" Type="http://schemas.openxmlformats.org/officeDocument/2006/relationships/customXml" Target="../ink/ink1404.xml"/><Relationship Id="rId511" Type="http://schemas.openxmlformats.org/officeDocument/2006/relationships/image" Target="../media/image1369.png"/><Relationship Id="rId85" Type="http://schemas.openxmlformats.org/officeDocument/2006/relationships/image" Target="../media/image1157.png"/><Relationship Id="rId150" Type="http://schemas.openxmlformats.org/officeDocument/2006/relationships/customXml" Target="../ink/ink1285.xml"/><Relationship Id="rId192" Type="http://schemas.openxmlformats.org/officeDocument/2006/relationships/customXml" Target="../ink/ink1306.xml"/><Relationship Id="rId206" Type="http://schemas.openxmlformats.org/officeDocument/2006/relationships/customXml" Target="../ink/ink1313.xml"/><Relationship Id="rId413" Type="http://schemas.openxmlformats.org/officeDocument/2006/relationships/image" Target="../media/image1320.png"/><Relationship Id="rId248" Type="http://schemas.openxmlformats.org/officeDocument/2006/relationships/customXml" Target="../ink/ink1334.xml"/><Relationship Id="rId455" Type="http://schemas.openxmlformats.org/officeDocument/2006/relationships/image" Target="../media/image1341.png"/><Relationship Id="rId497" Type="http://schemas.openxmlformats.org/officeDocument/2006/relationships/image" Target="../media/image1362.png"/><Relationship Id="rId12" Type="http://schemas.openxmlformats.org/officeDocument/2006/relationships/customXml" Target="../ink/ink1216.xml"/><Relationship Id="rId108" Type="http://schemas.openxmlformats.org/officeDocument/2006/relationships/customXml" Target="../ink/ink1264.xml"/><Relationship Id="rId315" Type="http://schemas.openxmlformats.org/officeDocument/2006/relationships/image" Target="../media/image1272.png"/><Relationship Id="rId357" Type="http://schemas.openxmlformats.org/officeDocument/2006/relationships/image" Target="../media/image1292.png"/><Relationship Id="rId54" Type="http://schemas.openxmlformats.org/officeDocument/2006/relationships/customXml" Target="../ink/ink1237.xml"/><Relationship Id="rId96" Type="http://schemas.openxmlformats.org/officeDocument/2006/relationships/customXml" Target="../ink/ink1258.xml"/><Relationship Id="rId161" Type="http://schemas.openxmlformats.org/officeDocument/2006/relationships/image" Target="../media/image1195.png"/><Relationship Id="rId217" Type="http://schemas.openxmlformats.org/officeDocument/2006/relationships/image" Target="../media/image1223.png"/><Relationship Id="rId399" Type="http://schemas.openxmlformats.org/officeDocument/2006/relationships/image" Target="../media/image1313.png"/><Relationship Id="rId259" Type="http://schemas.openxmlformats.org/officeDocument/2006/relationships/image" Target="../media/image1244.png"/><Relationship Id="rId424" Type="http://schemas.openxmlformats.org/officeDocument/2006/relationships/customXml" Target="../ink/ink1422.xml"/><Relationship Id="rId466" Type="http://schemas.openxmlformats.org/officeDocument/2006/relationships/customXml" Target="../ink/ink1443.xml"/><Relationship Id="rId23" Type="http://schemas.openxmlformats.org/officeDocument/2006/relationships/image" Target="../media/image1126.png"/><Relationship Id="rId119" Type="http://schemas.openxmlformats.org/officeDocument/2006/relationships/image" Target="../media/image1174.png"/><Relationship Id="rId270" Type="http://schemas.openxmlformats.org/officeDocument/2006/relationships/customXml" Target="../ink/ink1345.xml"/><Relationship Id="rId326" Type="http://schemas.openxmlformats.org/officeDocument/2006/relationships/customXml" Target="../ink/ink1373.xml"/><Relationship Id="rId65" Type="http://schemas.openxmlformats.org/officeDocument/2006/relationships/image" Target="../media/image1147.png"/><Relationship Id="rId130" Type="http://schemas.openxmlformats.org/officeDocument/2006/relationships/customXml" Target="../ink/ink1275.xml"/><Relationship Id="rId368" Type="http://schemas.openxmlformats.org/officeDocument/2006/relationships/customXml" Target="../ink/ink1394.xml"/><Relationship Id="rId172" Type="http://schemas.openxmlformats.org/officeDocument/2006/relationships/customXml" Target="../ink/ink1296.xml"/><Relationship Id="rId228" Type="http://schemas.openxmlformats.org/officeDocument/2006/relationships/customXml" Target="../ink/ink1324.xml"/><Relationship Id="rId435" Type="http://schemas.openxmlformats.org/officeDocument/2006/relationships/image" Target="../media/image1331.png"/><Relationship Id="rId477" Type="http://schemas.openxmlformats.org/officeDocument/2006/relationships/image" Target="../media/image1352.png"/><Relationship Id="rId281" Type="http://schemas.openxmlformats.org/officeDocument/2006/relationships/image" Target="../media/image1255.png"/><Relationship Id="rId337" Type="http://schemas.openxmlformats.org/officeDocument/2006/relationships/image" Target="../media/image804.png"/><Relationship Id="rId502" Type="http://schemas.openxmlformats.org/officeDocument/2006/relationships/customXml" Target="../ink/ink1461.xml"/><Relationship Id="rId34" Type="http://schemas.openxmlformats.org/officeDocument/2006/relationships/customXml" Target="../ink/ink1227.xml"/><Relationship Id="rId76" Type="http://schemas.openxmlformats.org/officeDocument/2006/relationships/customXml" Target="../ink/ink1248.xml"/><Relationship Id="rId141" Type="http://schemas.openxmlformats.org/officeDocument/2006/relationships/image" Target="../media/image1185.png"/><Relationship Id="rId379" Type="http://schemas.openxmlformats.org/officeDocument/2006/relationships/image" Target="../media/image1303.png"/><Relationship Id="rId7" Type="http://schemas.openxmlformats.org/officeDocument/2006/relationships/image" Target="../media/image1118.png"/><Relationship Id="rId183" Type="http://schemas.openxmlformats.org/officeDocument/2006/relationships/image" Target="../media/image1206.png"/><Relationship Id="rId239" Type="http://schemas.openxmlformats.org/officeDocument/2006/relationships/image" Target="../media/image1234.png"/><Relationship Id="rId390" Type="http://schemas.openxmlformats.org/officeDocument/2006/relationships/customXml" Target="../ink/ink1405.xml"/><Relationship Id="rId404" Type="http://schemas.openxmlformats.org/officeDocument/2006/relationships/customXml" Target="../ink/ink1412.xml"/><Relationship Id="rId446" Type="http://schemas.openxmlformats.org/officeDocument/2006/relationships/customXml" Target="../ink/ink1433.xml"/><Relationship Id="rId250" Type="http://schemas.openxmlformats.org/officeDocument/2006/relationships/customXml" Target="../ink/ink1335.xml"/><Relationship Id="rId292" Type="http://schemas.openxmlformats.org/officeDocument/2006/relationships/customXml" Target="../ink/ink1356.xml"/><Relationship Id="rId306" Type="http://schemas.openxmlformats.org/officeDocument/2006/relationships/customXml" Target="../ink/ink1363.xml"/><Relationship Id="rId488" Type="http://schemas.openxmlformats.org/officeDocument/2006/relationships/customXml" Target="../ink/ink1454.xml"/><Relationship Id="rId45" Type="http://schemas.openxmlformats.org/officeDocument/2006/relationships/image" Target="../media/image1137.png"/><Relationship Id="rId87" Type="http://schemas.openxmlformats.org/officeDocument/2006/relationships/image" Target="../media/image1158.png"/><Relationship Id="rId110" Type="http://schemas.openxmlformats.org/officeDocument/2006/relationships/customXml" Target="../ink/ink1265.xml"/><Relationship Id="rId348" Type="http://schemas.openxmlformats.org/officeDocument/2006/relationships/customXml" Target="../ink/ink1384.xml"/><Relationship Id="rId513" Type="http://schemas.openxmlformats.org/officeDocument/2006/relationships/image" Target="../media/image1370.png"/><Relationship Id="rId152" Type="http://schemas.openxmlformats.org/officeDocument/2006/relationships/customXml" Target="../ink/ink1286.xml"/><Relationship Id="rId194" Type="http://schemas.openxmlformats.org/officeDocument/2006/relationships/customXml" Target="../ink/ink1307.xml"/><Relationship Id="rId208" Type="http://schemas.openxmlformats.org/officeDocument/2006/relationships/customXml" Target="../ink/ink1314.xml"/><Relationship Id="rId415" Type="http://schemas.openxmlformats.org/officeDocument/2006/relationships/image" Target="../media/image1321.png"/><Relationship Id="rId457" Type="http://schemas.openxmlformats.org/officeDocument/2006/relationships/image" Target="../media/image1342.png"/><Relationship Id="rId261" Type="http://schemas.openxmlformats.org/officeDocument/2006/relationships/image" Target="../media/image1245.png"/><Relationship Id="rId499" Type="http://schemas.openxmlformats.org/officeDocument/2006/relationships/image" Target="../media/image1363.png"/><Relationship Id="rId14" Type="http://schemas.openxmlformats.org/officeDocument/2006/relationships/customXml" Target="../ink/ink1217.xml"/><Relationship Id="rId56" Type="http://schemas.openxmlformats.org/officeDocument/2006/relationships/customXml" Target="../ink/ink1238.xml"/><Relationship Id="rId317" Type="http://schemas.openxmlformats.org/officeDocument/2006/relationships/image" Target="../media/image1273.png"/><Relationship Id="rId359" Type="http://schemas.openxmlformats.org/officeDocument/2006/relationships/image" Target="../media/image1293.png"/><Relationship Id="rId98" Type="http://schemas.openxmlformats.org/officeDocument/2006/relationships/customXml" Target="../ink/ink1259.xml"/><Relationship Id="rId121" Type="http://schemas.openxmlformats.org/officeDocument/2006/relationships/image" Target="../media/image1175.png"/><Relationship Id="rId163" Type="http://schemas.openxmlformats.org/officeDocument/2006/relationships/image" Target="../media/image1196.png"/><Relationship Id="rId219" Type="http://schemas.openxmlformats.org/officeDocument/2006/relationships/image" Target="../media/image1224.png"/><Relationship Id="rId370" Type="http://schemas.openxmlformats.org/officeDocument/2006/relationships/customXml" Target="../ink/ink1395.xml"/><Relationship Id="rId426" Type="http://schemas.openxmlformats.org/officeDocument/2006/relationships/customXml" Target="../ink/ink1423.xml"/><Relationship Id="rId230" Type="http://schemas.openxmlformats.org/officeDocument/2006/relationships/customXml" Target="../ink/ink1325.xml"/><Relationship Id="rId468" Type="http://schemas.openxmlformats.org/officeDocument/2006/relationships/customXml" Target="../ink/ink1444.xml"/><Relationship Id="rId25" Type="http://schemas.openxmlformats.org/officeDocument/2006/relationships/image" Target="../media/image1127.png"/><Relationship Id="rId67" Type="http://schemas.openxmlformats.org/officeDocument/2006/relationships/image" Target="../media/image1148.png"/><Relationship Id="rId272" Type="http://schemas.openxmlformats.org/officeDocument/2006/relationships/customXml" Target="../ink/ink1346.xml"/><Relationship Id="rId328" Type="http://schemas.openxmlformats.org/officeDocument/2006/relationships/customXml" Target="../ink/ink1374.xml"/><Relationship Id="rId132" Type="http://schemas.openxmlformats.org/officeDocument/2006/relationships/customXml" Target="../ink/ink1276.xml"/><Relationship Id="rId174" Type="http://schemas.openxmlformats.org/officeDocument/2006/relationships/customXml" Target="../ink/ink1297.xml"/><Relationship Id="rId381" Type="http://schemas.openxmlformats.org/officeDocument/2006/relationships/image" Target="../media/image1304.png"/><Relationship Id="rId241" Type="http://schemas.openxmlformats.org/officeDocument/2006/relationships/image" Target="../media/image1235.png"/><Relationship Id="rId437" Type="http://schemas.openxmlformats.org/officeDocument/2006/relationships/image" Target="../media/image1332.png"/><Relationship Id="rId479" Type="http://schemas.openxmlformats.org/officeDocument/2006/relationships/image" Target="../media/image1353.png"/><Relationship Id="rId36" Type="http://schemas.openxmlformats.org/officeDocument/2006/relationships/customXml" Target="../ink/ink1228.xml"/><Relationship Id="rId283" Type="http://schemas.openxmlformats.org/officeDocument/2006/relationships/image" Target="../media/image1256.png"/><Relationship Id="rId339" Type="http://schemas.openxmlformats.org/officeDocument/2006/relationships/image" Target="../media/image1283.png"/><Relationship Id="rId490" Type="http://schemas.openxmlformats.org/officeDocument/2006/relationships/customXml" Target="../ink/ink1455.xml"/><Relationship Id="rId504" Type="http://schemas.openxmlformats.org/officeDocument/2006/relationships/customXml" Target="../ink/ink1462.xml"/><Relationship Id="rId78" Type="http://schemas.openxmlformats.org/officeDocument/2006/relationships/customXml" Target="../ink/ink1249.xml"/><Relationship Id="rId101" Type="http://schemas.openxmlformats.org/officeDocument/2006/relationships/image" Target="../media/image1165.png"/><Relationship Id="rId143" Type="http://schemas.openxmlformats.org/officeDocument/2006/relationships/image" Target="../media/image1186.png"/><Relationship Id="rId185" Type="http://schemas.openxmlformats.org/officeDocument/2006/relationships/image" Target="../media/image1207.png"/><Relationship Id="rId350" Type="http://schemas.openxmlformats.org/officeDocument/2006/relationships/customXml" Target="../ink/ink1385.xml"/><Relationship Id="rId406" Type="http://schemas.openxmlformats.org/officeDocument/2006/relationships/customXml" Target="../ink/ink1413.xml"/><Relationship Id="rId9" Type="http://schemas.openxmlformats.org/officeDocument/2006/relationships/image" Target="../media/image1119.png"/><Relationship Id="rId210" Type="http://schemas.openxmlformats.org/officeDocument/2006/relationships/customXml" Target="../ink/ink1315.xml"/><Relationship Id="rId392" Type="http://schemas.openxmlformats.org/officeDocument/2006/relationships/customXml" Target="../ink/ink1406.xml"/><Relationship Id="rId448" Type="http://schemas.openxmlformats.org/officeDocument/2006/relationships/customXml" Target="../ink/ink1434.xml"/><Relationship Id="rId252" Type="http://schemas.openxmlformats.org/officeDocument/2006/relationships/customXml" Target="../ink/ink1336.xml"/><Relationship Id="rId294" Type="http://schemas.openxmlformats.org/officeDocument/2006/relationships/customXml" Target="../ink/ink1357.xml"/><Relationship Id="rId308" Type="http://schemas.openxmlformats.org/officeDocument/2006/relationships/customXml" Target="../ink/ink1364.xml"/><Relationship Id="rId47" Type="http://schemas.openxmlformats.org/officeDocument/2006/relationships/image" Target="../media/image1138.png"/><Relationship Id="rId89" Type="http://schemas.openxmlformats.org/officeDocument/2006/relationships/image" Target="../media/image1159.png"/><Relationship Id="rId112" Type="http://schemas.openxmlformats.org/officeDocument/2006/relationships/customXml" Target="../ink/ink1266.xml"/><Relationship Id="rId154" Type="http://schemas.openxmlformats.org/officeDocument/2006/relationships/customXml" Target="../ink/ink1287.xml"/><Relationship Id="rId361" Type="http://schemas.openxmlformats.org/officeDocument/2006/relationships/image" Target="../media/image1294.png"/><Relationship Id="rId196" Type="http://schemas.openxmlformats.org/officeDocument/2006/relationships/customXml" Target="../ink/ink1308.xml"/><Relationship Id="rId417" Type="http://schemas.openxmlformats.org/officeDocument/2006/relationships/image" Target="../media/image1322.png"/><Relationship Id="rId459" Type="http://schemas.openxmlformats.org/officeDocument/2006/relationships/image" Target="../media/image1343.png"/><Relationship Id="rId16" Type="http://schemas.openxmlformats.org/officeDocument/2006/relationships/customXml" Target="../ink/ink1218.xml"/><Relationship Id="rId221" Type="http://schemas.openxmlformats.org/officeDocument/2006/relationships/image" Target="../media/image1225.png"/><Relationship Id="rId263" Type="http://schemas.openxmlformats.org/officeDocument/2006/relationships/image" Target="../media/image1246.png"/><Relationship Id="rId319" Type="http://schemas.openxmlformats.org/officeDocument/2006/relationships/image" Target="../media/image1274.png"/><Relationship Id="rId470" Type="http://schemas.openxmlformats.org/officeDocument/2006/relationships/customXml" Target="../ink/ink1445.xml"/><Relationship Id="rId58" Type="http://schemas.openxmlformats.org/officeDocument/2006/relationships/customXml" Target="../ink/ink1239.xml"/><Relationship Id="rId123" Type="http://schemas.openxmlformats.org/officeDocument/2006/relationships/image" Target="../media/image1176.png"/><Relationship Id="rId330" Type="http://schemas.openxmlformats.org/officeDocument/2006/relationships/customXml" Target="../ink/ink1375.xml"/><Relationship Id="rId165" Type="http://schemas.openxmlformats.org/officeDocument/2006/relationships/image" Target="../media/image1197.png"/><Relationship Id="rId372" Type="http://schemas.openxmlformats.org/officeDocument/2006/relationships/customXml" Target="../ink/ink1396.xml"/><Relationship Id="rId428" Type="http://schemas.openxmlformats.org/officeDocument/2006/relationships/customXml" Target="../ink/ink1424.xml"/><Relationship Id="rId232" Type="http://schemas.openxmlformats.org/officeDocument/2006/relationships/customXml" Target="../ink/ink1326.xml"/><Relationship Id="rId274" Type="http://schemas.openxmlformats.org/officeDocument/2006/relationships/customXml" Target="../ink/ink1347.xml"/><Relationship Id="rId481" Type="http://schemas.openxmlformats.org/officeDocument/2006/relationships/image" Target="../media/image1354.png"/><Relationship Id="rId27" Type="http://schemas.openxmlformats.org/officeDocument/2006/relationships/image" Target="../media/image1128.png"/><Relationship Id="rId69" Type="http://schemas.openxmlformats.org/officeDocument/2006/relationships/image" Target="../media/image1149.png"/><Relationship Id="rId134" Type="http://schemas.openxmlformats.org/officeDocument/2006/relationships/customXml" Target="../ink/ink1277.xml"/><Relationship Id="rId80" Type="http://schemas.openxmlformats.org/officeDocument/2006/relationships/customXml" Target="../ink/ink1250.xml"/><Relationship Id="rId176" Type="http://schemas.openxmlformats.org/officeDocument/2006/relationships/customXml" Target="../ink/ink1298.xml"/><Relationship Id="rId341" Type="http://schemas.openxmlformats.org/officeDocument/2006/relationships/image" Target="../media/image1284.png"/><Relationship Id="rId383" Type="http://schemas.openxmlformats.org/officeDocument/2006/relationships/image" Target="../media/image1305.png"/><Relationship Id="rId439" Type="http://schemas.openxmlformats.org/officeDocument/2006/relationships/image" Target="../media/image1333.png"/><Relationship Id="rId201" Type="http://schemas.openxmlformats.org/officeDocument/2006/relationships/image" Target="../media/image1215.png"/><Relationship Id="rId243" Type="http://schemas.openxmlformats.org/officeDocument/2006/relationships/image" Target="../media/image1236.png"/><Relationship Id="rId285" Type="http://schemas.openxmlformats.org/officeDocument/2006/relationships/image" Target="../media/image1257.png"/><Relationship Id="rId450" Type="http://schemas.openxmlformats.org/officeDocument/2006/relationships/customXml" Target="../ink/ink1435.xml"/><Relationship Id="rId506" Type="http://schemas.openxmlformats.org/officeDocument/2006/relationships/customXml" Target="../ink/ink1463.xml"/><Relationship Id="rId38" Type="http://schemas.openxmlformats.org/officeDocument/2006/relationships/customXml" Target="../ink/ink1229.xml"/><Relationship Id="rId103" Type="http://schemas.openxmlformats.org/officeDocument/2006/relationships/image" Target="../media/image1166.png"/><Relationship Id="rId310" Type="http://schemas.openxmlformats.org/officeDocument/2006/relationships/customXml" Target="../ink/ink1365.xml"/><Relationship Id="rId492" Type="http://schemas.openxmlformats.org/officeDocument/2006/relationships/customXml" Target="../ink/ink1456.xml"/><Relationship Id="rId91" Type="http://schemas.openxmlformats.org/officeDocument/2006/relationships/image" Target="../media/image1160.png"/><Relationship Id="rId145" Type="http://schemas.openxmlformats.org/officeDocument/2006/relationships/image" Target="../media/image1187.png"/><Relationship Id="rId187" Type="http://schemas.openxmlformats.org/officeDocument/2006/relationships/image" Target="../media/image1208.png"/><Relationship Id="rId352" Type="http://schemas.openxmlformats.org/officeDocument/2006/relationships/customXml" Target="../ink/ink1386.xml"/><Relationship Id="rId394" Type="http://schemas.openxmlformats.org/officeDocument/2006/relationships/customXml" Target="../ink/ink1407.xml"/><Relationship Id="rId408" Type="http://schemas.openxmlformats.org/officeDocument/2006/relationships/customXml" Target="../ink/ink1414.xml"/><Relationship Id="rId212" Type="http://schemas.openxmlformats.org/officeDocument/2006/relationships/customXml" Target="../ink/ink1316.xml"/><Relationship Id="rId254" Type="http://schemas.openxmlformats.org/officeDocument/2006/relationships/customXml" Target="../ink/ink1337.xml"/><Relationship Id="rId49" Type="http://schemas.openxmlformats.org/officeDocument/2006/relationships/image" Target="../media/image1139.png"/><Relationship Id="rId114" Type="http://schemas.openxmlformats.org/officeDocument/2006/relationships/customXml" Target="../ink/ink1267.xml"/><Relationship Id="rId296" Type="http://schemas.openxmlformats.org/officeDocument/2006/relationships/customXml" Target="../ink/ink1358.xml"/><Relationship Id="rId461" Type="http://schemas.openxmlformats.org/officeDocument/2006/relationships/image" Target="../media/image1344.png"/><Relationship Id="rId60" Type="http://schemas.openxmlformats.org/officeDocument/2006/relationships/customXml" Target="../ink/ink1240.xml"/><Relationship Id="rId156" Type="http://schemas.openxmlformats.org/officeDocument/2006/relationships/customXml" Target="../ink/ink1288.xml"/><Relationship Id="rId198" Type="http://schemas.openxmlformats.org/officeDocument/2006/relationships/customXml" Target="../ink/ink1309.xml"/><Relationship Id="rId321" Type="http://schemas.openxmlformats.org/officeDocument/2006/relationships/image" Target="../media/image1275.png"/><Relationship Id="rId363" Type="http://schemas.openxmlformats.org/officeDocument/2006/relationships/image" Target="../media/image1295.png"/><Relationship Id="rId419" Type="http://schemas.openxmlformats.org/officeDocument/2006/relationships/image" Target="../media/image1323.png"/><Relationship Id="rId223" Type="http://schemas.openxmlformats.org/officeDocument/2006/relationships/image" Target="../media/image1226.png"/><Relationship Id="rId430" Type="http://schemas.openxmlformats.org/officeDocument/2006/relationships/customXml" Target="../ink/ink1425.xml"/><Relationship Id="rId18" Type="http://schemas.openxmlformats.org/officeDocument/2006/relationships/customXml" Target="../ink/ink1219.xml"/><Relationship Id="rId265" Type="http://schemas.openxmlformats.org/officeDocument/2006/relationships/image" Target="../media/image1247.png"/><Relationship Id="rId472" Type="http://schemas.openxmlformats.org/officeDocument/2006/relationships/customXml" Target="../ink/ink1446.xml"/><Relationship Id="rId125" Type="http://schemas.openxmlformats.org/officeDocument/2006/relationships/image" Target="../media/image1177.png"/><Relationship Id="rId167" Type="http://schemas.openxmlformats.org/officeDocument/2006/relationships/image" Target="../media/image1198.png"/><Relationship Id="rId332" Type="http://schemas.openxmlformats.org/officeDocument/2006/relationships/customXml" Target="../ink/ink1376.xml"/><Relationship Id="rId374" Type="http://schemas.openxmlformats.org/officeDocument/2006/relationships/customXml" Target="../ink/ink1397.xml"/><Relationship Id="rId71" Type="http://schemas.openxmlformats.org/officeDocument/2006/relationships/image" Target="../media/image1150.png"/><Relationship Id="rId234" Type="http://schemas.openxmlformats.org/officeDocument/2006/relationships/customXml" Target="../ink/ink1327.xml"/><Relationship Id="rId2" Type="http://schemas.openxmlformats.org/officeDocument/2006/relationships/customXml" Target="../ink/ink1211.xml"/><Relationship Id="rId29" Type="http://schemas.openxmlformats.org/officeDocument/2006/relationships/image" Target="../media/image1129.png"/><Relationship Id="rId276" Type="http://schemas.openxmlformats.org/officeDocument/2006/relationships/customXml" Target="../ink/ink1348.xml"/><Relationship Id="rId441" Type="http://schemas.openxmlformats.org/officeDocument/2006/relationships/image" Target="../media/image1334.png"/><Relationship Id="rId483" Type="http://schemas.openxmlformats.org/officeDocument/2006/relationships/image" Target="../media/image1355.png"/><Relationship Id="rId40" Type="http://schemas.openxmlformats.org/officeDocument/2006/relationships/customXml" Target="../ink/ink1230.xml"/><Relationship Id="rId136" Type="http://schemas.openxmlformats.org/officeDocument/2006/relationships/customXml" Target="../ink/ink1278.xml"/><Relationship Id="rId178" Type="http://schemas.openxmlformats.org/officeDocument/2006/relationships/customXml" Target="../ink/ink1299.xml"/><Relationship Id="rId301" Type="http://schemas.openxmlformats.org/officeDocument/2006/relationships/image" Target="../media/image1265.png"/><Relationship Id="rId343" Type="http://schemas.openxmlformats.org/officeDocument/2006/relationships/image" Target="../media/image1285.png"/><Relationship Id="rId82" Type="http://schemas.openxmlformats.org/officeDocument/2006/relationships/customXml" Target="../ink/ink1251.xml"/><Relationship Id="rId203" Type="http://schemas.openxmlformats.org/officeDocument/2006/relationships/image" Target="../media/image1216.png"/><Relationship Id="rId385" Type="http://schemas.openxmlformats.org/officeDocument/2006/relationships/image" Target="../media/image1306.png"/><Relationship Id="rId245" Type="http://schemas.openxmlformats.org/officeDocument/2006/relationships/image" Target="../media/image1237.png"/><Relationship Id="rId287" Type="http://schemas.openxmlformats.org/officeDocument/2006/relationships/image" Target="../media/image1258.png"/><Relationship Id="rId410" Type="http://schemas.openxmlformats.org/officeDocument/2006/relationships/customXml" Target="../ink/ink1415.xml"/><Relationship Id="rId452" Type="http://schemas.openxmlformats.org/officeDocument/2006/relationships/customXml" Target="../ink/ink1436.xml"/><Relationship Id="rId494" Type="http://schemas.openxmlformats.org/officeDocument/2006/relationships/customXml" Target="../ink/ink1457.xml"/><Relationship Id="rId508" Type="http://schemas.openxmlformats.org/officeDocument/2006/relationships/customXml" Target="../ink/ink1464.xml"/><Relationship Id="rId105" Type="http://schemas.openxmlformats.org/officeDocument/2006/relationships/image" Target="../media/image1167.png"/><Relationship Id="rId147" Type="http://schemas.openxmlformats.org/officeDocument/2006/relationships/image" Target="../media/image1188.png"/><Relationship Id="rId312" Type="http://schemas.openxmlformats.org/officeDocument/2006/relationships/customXml" Target="../ink/ink1366.xml"/><Relationship Id="rId354" Type="http://schemas.openxmlformats.org/officeDocument/2006/relationships/customXml" Target="../ink/ink1387.xml"/><Relationship Id="rId51" Type="http://schemas.openxmlformats.org/officeDocument/2006/relationships/image" Target="../media/image1140.png"/><Relationship Id="rId93" Type="http://schemas.openxmlformats.org/officeDocument/2006/relationships/image" Target="../media/image1161.png"/><Relationship Id="rId189" Type="http://schemas.openxmlformats.org/officeDocument/2006/relationships/image" Target="../media/image1209.png"/><Relationship Id="rId396" Type="http://schemas.openxmlformats.org/officeDocument/2006/relationships/customXml" Target="../ink/ink1408.xml"/><Relationship Id="rId214" Type="http://schemas.openxmlformats.org/officeDocument/2006/relationships/customXml" Target="../ink/ink1317.xml"/><Relationship Id="rId256" Type="http://schemas.openxmlformats.org/officeDocument/2006/relationships/customXml" Target="../ink/ink1338.xml"/><Relationship Id="rId298" Type="http://schemas.openxmlformats.org/officeDocument/2006/relationships/customXml" Target="../ink/ink1359.xml"/><Relationship Id="rId421" Type="http://schemas.openxmlformats.org/officeDocument/2006/relationships/image" Target="../media/image1324.png"/><Relationship Id="rId463" Type="http://schemas.openxmlformats.org/officeDocument/2006/relationships/image" Target="../media/image1345.png"/><Relationship Id="rId116" Type="http://schemas.openxmlformats.org/officeDocument/2006/relationships/customXml" Target="../ink/ink1268.xml"/><Relationship Id="rId158" Type="http://schemas.openxmlformats.org/officeDocument/2006/relationships/customXml" Target="../ink/ink1289.xml"/><Relationship Id="rId323" Type="http://schemas.openxmlformats.org/officeDocument/2006/relationships/image" Target="../media/image1276.png"/><Relationship Id="rId20" Type="http://schemas.openxmlformats.org/officeDocument/2006/relationships/customXml" Target="../ink/ink1220.xml"/><Relationship Id="rId62" Type="http://schemas.openxmlformats.org/officeDocument/2006/relationships/customXml" Target="../ink/ink1241.xml"/><Relationship Id="rId365" Type="http://schemas.openxmlformats.org/officeDocument/2006/relationships/image" Target="../media/image1296.png"/><Relationship Id="rId225" Type="http://schemas.openxmlformats.org/officeDocument/2006/relationships/image" Target="../media/image1227.png"/><Relationship Id="rId267" Type="http://schemas.openxmlformats.org/officeDocument/2006/relationships/image" Target="../media/image1248.png"/><Relationship Id="rId432" Type="http://schemas.openxmlformats.org/officeDocument/2006/relationships/customXml" Target="../ink/ink1426.xml"/><Relationship Id="rId474" Type="http://schemas.openxmlformats.org/officeDocument/2006/relationships/customXml" Target="../ink/ink1447.xml"/><Relationship Id="rId127" Type="http://schemas.openxmlformats.org/officeDocument/2006/relationships/image" Target="../media/image1178.png"/><Relationship Id="rId31" Type="http://schemas.openxmlformats.org/officeDocument/2006/relationships/image" Target="../media/image1130.png"/><Relationship Id="rId73" Type="http://schemas.openxmlformats.org/officeDocument/2006/relationships/image" Target="../media/image1151.png"/><Relationship Id="rId169" Type="http://schemas.openxmlformats.org/officeDocument/2006/relationships/image" Target="../media/image1199.png"/><Relationship Id="rId334" Type="http://schemas.openxmlformats.org/officeDocument/2006/relationships/customXml" Target="../ink/ink1377.xml"/><Relationship Id="rId376" Type="http://schemas.openxmlformats.org/officeDocument/2006/relationships/customXml" Target="../ink/ink1398.xml"/><Relationship Id="rId4" Type="http://schemas.openxmlformats.org/officeDocument/2006/relationships/customXml" Target="../ink/ink1212.xml"/><Relationship Id="rId180" Type="http://schemas.openxmlformats.org/officeDocument/2006/relationships/customXml" Target="../ink/ink1300.xml"/><Relationship Id="rId236" Type="http://schemas.openxmlformats.org/officeDocument/2006/relationships/customXml" Target="../ink/ink1328.xml"/><Relationship Id="rId278" Type="http://schemas.openxmlformats.org/officeDocument/2006/relationships/customXml" Target="../ink/ink1349.xml"/><Relationship Id="rId401" Type="http://schemas.openxmlformats.org/officeDocument/2006/relationships/image" Target="../media/image1314.png"/><Relationship Id="rId443" Type="http://schemas.openxmlformats.org/officeDocument/2006/relationships/image" Target="../media/image1335.png"/><Relationship Id="rId303" Type="http://schemas.openxmlformats.org/officeDocument/2006/relationships/image" Target="../media/image1266.png"/><Relationship Id="rId485" Type="http://schemas.openxmlformats.org/officeDocument/2006/relationships/image" Target="../media/image1356.png"/><Relationship Id="rId42" Type="http://schemas.openxmlformats.org/officeDocument/2006/relationships/customXml" Target="../ink/ink1231.xml"/><Relationship Id="rId84" Type="http://schemas.openxmlformats.org/officeDocument/2006/relationships/customXml" Target="../ink/ink1252.xml"/><Relationship Id="rId138" Type="http://schemas.openxmlformats.org/officeDocument/2006/relationships/customXml" Target="../ink/ink1279.xml"/><Relationship Id="rId345" Type="http://schemas.openxmlformats.org/officeDocument/2006/relationships/image" Target="../media/image1286.png"/><Relationship Id="rId387" Type="http://schemas.openxmlformats.org/officeDocument/2006/relationships/image" Target="../media/image1307.png"/><Relationship Id="rId510" Type="http://schemas.openxmlformats.org/officeDocument/2006/relationships/customXml" Target="../ink/ink1465.xml"/><Relationship Id="rId191" Type="http://schemas.openxmlformats.org/officeDocument/2006/relationships/image" Target="../media/image1210.png"/><Relationship Id="rId205" Type="http://schemas.openxmlformats.org/officeDocument/2006/relationships/image" Target="../media/image1217.png"/><Relationship Id="rId247" Type="http://schemas.openxmlformats.org/officeDocument/2006/relationships/image" Target="../media/image1238.png"/><Relationship Id="rId412" Type="http://schemas.openxmlformats.org/officeDocument/2006/relationships/customXml" Target="../ink/ink1416.xml"/><Relationship Id="rId107" Type="http://schemas.openxmlformats.org/officeDocument/2006/relationships/image" Target="../media/image1168.png"/><Relationship Id="rId289" Type="http://schemas.openxmlformats.org/officeDocument/2006/relationships/image" Target="../media/image1259.png"/><Relationship Id="rId454" Type="http://schemas.openxmlformats.org/officeDocument/2006/relationships/customXml" Target="../ink/ink1437.xml"/><Relationship Id="rId496" Type="http://schemas.openxmlformats.org/officeDocument/2006/relationships/customXml" Target="../ink/ink1458.xml"/><Relationship Id="rId11" Type="http://schemas.openxmlformats.org/officeDocument/2006/relationships/image" Target="../media/image1120.png"/><Relationship Id="rId53" Type="http://schemas.openxmlformats.org/officeDocument/2006/relationships/image" Target="../media/image1141.png"/><Relationship Id="rId149" Type="http://schemas.openxmlformats.org/officeDocument/2006/relationships/image" Target="../media/image1189.png"/><Relationship Id="rId314" Type="http://schemas.openxmlformats.org/officeDocument/2006/relationships/customXml" Target="../ink/ink1367.xml"/><Relationship Id="rId356" Type="http://schemas.openxmlformats.org/officeDocument/2006/relationships/customXml" Target="../ink/ink1388.xml"/><Relationship Id="rId398" Type="http://schemas.openxmlformats.org/officeDocument/2006/relationships/customXml" Target="../ink/ink1409.xml"/><Relationship Id="rId95" Type="http://schemas.openxmlformats.org/officeDocument/2006/relationships/image" Target="../media/image1162.png"/><Relationship Id="rId160" Type="http://schemas.openxmlformats.org/officeDocument/2006/relationships/customXml" Target="../ink/ink1290.xml"/><Relationship Id="rId216" Type="http://schemas.openxmlformats.org/officeDocument/2006/relationships/customXml" Target="../ink/ink1318.xml"/><Relationship Id="rId423" Type="http://schemas.openxmlformats.org/officeDocument/2006/relationships/image" Target="../media/image1325.png"/><Relationship Id="rId258" Type="http://schemas.openxmlformats.org/officeDocument/2006/relationships/customXml" Target="../ink/ink1339.xml"/><Relationship Id="rId465" Type="http://schemas.openxmlformats.org/officeDocument/2006/relationships/image" Target="../media/image1346.png"/><Relationship Id="rId22" Type="http://schemas.openxmlformats.org/officeDocument/2006/relationships/customXml" Target="../ink/ink1221.xml"/><Relationship Id="rId64" Type="http://schemas.openxmlformats.org/officeDocument/2006/relationships/customXml" Target="../ink/ink1242.xml"/><Relationship Id="rId118" Type="http://schemas.openxmlformats.org/officeDocument/2006/relationships/customXml" Target="../ink/ink1269.xml"/><Relationship Id="rId325" Type="http://schemas.openxmlformats.org/officeDocument/2006/relationships/image" Target="../media/image1277.png"/><Relationship Id="rId367" Type="http://schemas.openxmlformats.org/officeDocument/2006/relationships/image" Target="../media/image1297.png"/><Relationship Id="rId171" Type="http://schemas.openxmlformats.org/officeDocument/2006/relationships/image" Target="../media/image1200.png"/><Relationship Id="rId227" Type="http://schemas.openxmlformats.org/officeDocument/2006/relationships/image" Target="../media/image1228.png"/><Relationship Id="rId269" Type="http://schemas.openxmlformats.org/officeDocument/2006/relationships/image" Target="../media/image1249.png"/><Relationship Id="rId434" Type="http://schemas.openxmlformats.org/officeDocument/2006/relationships/customXml" Target="../ink/ink1427.xml"/><Relationship Id="rId476" Type="http://schemas.openxmlformats.org/officeDocument/2006/relationships/customXml" Target="../ink/ink1448.xml"/><Relationship Id="rId33" Type="http://schemas.openxmlformats.org/officeDocument/2006/relationships/image" Target="../media/image1131.png"/><Relationship Id="rId129" Type="http://schemas.openxmlformats.org/officeDocument/2006/relationships/image" Target="../media/image1179.png"/><Relationship Id="rId280" Type="http://schemas.openxmlformats.org/officeDocument/2006/relationships/customXml" Target="../ink/ink1350.xml"/><Relationship Id="rId336" Type="http://schemas.openxmlformats.org/officeDocument/2006/relationships/customXml" Target="../ink/ink1378.xml"/><Relationship Id="rId501" Type="http://schemas.openxmlformats.org/officeDocument/2006/relationships/image" Target="../media/image1364.png"/><Relationship Id="rId75" Type="http://schemas.openxmlformats.org/officeDocument/2006/relationships/image" Target="../media/image1152.png"/><Relationship Id="rId140" Type="http://schemas.openxmlformats.org/officeDocument/2006/relationships/customXml" Target="../ink/ink1280.xml"/><Relationship Id="rId182" Type="http://schemas.openxmlformats.org/officeDocument/2006/relationships/customXml" Target="../ink/ink1301.xml"/><Relationship Id="rId378" Type="http://schemas.openxmlformats.org/officeDocument/2006/relationships/customXml" Target="../ink/ink1399.xml"/><Relationship Id="rId403" Type="http://schemas.openxmlformats.org/officeDocument/2006/relationships/image" Target="../media/image1315.png"/><Relationship Id="rId6" Type="http://schemas.openxmlformats.org/officeDocument/2006/relationships/customXml" Target="../ink/ink1213.xml"/><Relationship Id="rId238" Type="http://schemas.openxmlformats.org/officeDocument/2006/relationships/customXml" Target="../ink/ink1329.xml"/><Relationship Id="rId445" Type="http://schemas.openxmlformats.org/officeDocument/2006/relationships/image" Target="../media/image1336.png"/><Relationship Id="rId487" Type="http://schemas.openxmlformats.org/officeDocument/2006/relationships/image" Target="../media/image1357.png"/><Relationship Id="rId291" Type="http://schemas.openxmlformats.org/officeDocument/2006/relationships/image" Target="../media/image1260.png"/><Relationship Id="rId305" Type="http://schemas.openxmlformats.org/officeDocument/2006/relationships/image" Target="../media/image1267.png"/><Relationship Id="rId347" Type="http://schemas.openxmlformats.org/officeDocument/2006/relationships/image" Target="../media/image1287.png"/><Relationship Id="rId512" Type="http://schemas.openxmlformats.org/officeDocument/2006/relationships/customXml" Target="../ink/ink1466.xml"/><Relationship Id="rId44" Type="http://schemas.openxmlformats.org/officeDocument/2006/relationships/customXml" Target="../ink/ink1232.xml"/><Relationship Id="rId86" Type="http://schemas.openxmlformats.org/officeDocument/2006/relationships/customXml" Target="../ink/ink1253.xml"/><Relationship Id="rId151" Type="http://schemas.openxmlformats.org/officeDocument/2006/relationships/image" Target="../media/image1190.png"/><Relationship Id="rId389" Type="http://schemas.openxmlformats.org/officeDocument/2006/relationships/image" Target="../media/image1308.png"/><Relationship Id="rId193" Type="http://schemas.openxmlformats.org/officeDocument/2006/relationships/image" Target="../media/image1211.png"/><Relationship Id="rId207" Type="http://schemas.openxmlformats.org/officeDocument/2006/relationships/image" Target="../media/image1218.png"/><Relationship Id="rId249" Type="http://schemas.openxmlformats.org/officeDocument/2006/relationships/image" Target="../media/image1239.png"/><Relationship Id="rId414" Type="http://schemas.openxmlformats.org/officeDocument/2006/relationships/customXml" Target="../ink/ink1417.xml"/><Relationship Id="rId456" Type="http://schemas.openxmlformats.org/officeDocument/2006/relationships/customXml" Target="../ink/ink1438.xml"/><Relationship Id="rId498" Type="http://schemas.openxmlformats.org/officeDocument/2006/relationships/customXml" Target="../ink/ink1459.xml"/><Relationship Id="rId13" Type="http://schemas.openxmlformats.org/officeDocument/2006/relationships/image" Target="../media/image1121.png"/><Relationship Id="rId109" Type="http://schemas.openxmlformats.org/officeDocument/2006/relationships/image" Target="../media/image1169.png"/><Relationship Id="rId260" Type="http://schemas.openxmlformats.org/officeDocument/2006/relationships/customXml" Target="../ink/ink1340.xml"/><Relationship Id="rId316" Type="http://schemas.openxmlformats.org/officeDocument/2006/relationships/customXml" Target="../ink/ink1368.xml"/><Relationship Id="rId55" Type="http://schemas.openxmlformats.org/officeDocument/2006/relationships/image" Target="../media/image1142.png"/><Relationship Id="rId97" Type="http://schemas.openxmlformats.org/officeDocument/2006/relationships/image" Target="../media/image1163.png"/><Relationship Id="rId120" Type="http://schemas.openxmlformats.org/officeDocument/2006/relationships/customXml" Target="../ink/ink1270.xml"/><Relationship Id="rId358" Type="http://schemas.openxmlformats.org/officeDocument/2006/relationships/customXml" Target="../ink/ink1389.xml"/><Relationship Id="rId162" Type="http://schemas.openxmlformats.org/officeDocument/2006/relationships/customXml" Target="../ink/ink1291.xml"/><Relationship Id="rId218" Type="http://schemas.openxmlformats.org/officeDocument/2006/relationships/customXml" Target="../ink/ink1319.xml"/><Relationship Id="rId425" Type="http://schemas.openxmlformats.org/officeDocument/2006/relationships/image" Target="../media/image1326.png"/><Relationship Id="rId467" Type="http://schemas.openxmlformats.org/officeDocument/2006/relationships/image" Target="../media/image1347.png"/><Relationship Id="rId271" Type="http://schemas.openxmlformats.org/officeDocument/2006/relationships/image" Target="../media/image1250.png"/><Relationship Id="rId24" Type="http://schemas.openxmlformats.org/officeDocument/2006/relationships/customXml" Target="../ink/ink1222.xml"/><Relationship Id="rId66" Type="http://schemas.openxmlformats.org/officeDocument/2006/relationships/customXml" Target="../ink/ink1243.xml"/><Relationship Id="rId131" Type="http://schemas.openxmlformats.org/officeDocument/2006/relationships/image" Target="../media/image1180.png"/><Relationship Id="rId327" Type="http://schemas.openxmlformats.org/officeDocument/2006/relationships/image" Target="../media/image1278.png"/><Relationship Id="rId369" Type="http://schemas.openxmlformats.org/officeDocument/2006/relationships/image" Target="../media/image1298.png"/><Relationship Id="rId173" Type="http://schemas.openxmlformats.org/officeDocument/2006/relationships/image" Target="../media/image1201.png"/><Relationship Id="rId229" Type="http://schemas.openxmlformats.org/officeDocument/2006/relationships/image" Target="../media/image1229.png"/><Relationship Id="rId380" Type="http://schemas.openxmlformats.org/officeDocument/2006/relationships/customXml" Target="../ink/ink1400.xml"/><Relationship Id="rId436" Type="http://schemas.openxmlformats.org/officeDocument/2006/relationships/customXml" Target="../ink/ink1428.xml"/><Relationship Id="rId240" Type="http://schemas.openxmlformats.org/officeDocument/2006/relationships/customXml" Target="../ink/ink1330.xml"/><Relationship Id="rId478" Type="http://schemas.openxmlformats.org/officeDocument/2006/relationships/customXml" Target="../ink/ink1449.xml"/><Relationship Id="rId35" Type="http://schemas.openxmlformats.org/officeDocument/2006/relationships/image" Target="../media/image1132.png"/><Relationship Id="rId77" Type="http://schemas.openxmlformats.org/officeDocument/2006/relationships/image" Target="../media/image1153.png"/><Relationship Id="rId100" Type="http://schemas.openxmlformats.org/officeDocument/2006/relationships/customXml" Target="../ink/ink1260.xml"/><Relationship Id="rId282" Type="http://schemas.openxmlformats.org/officeDocument/2006/relationships/customXml" Target="../ink/ink1351.xml"/><Relationship Id="rId338" Type="http://schemas.openxmlformats.org/officeDocument/2006/relationships/customXml" Target="../ink/ink1379.xml"/><Relationship Id="rId503" Type="http://schemas.openxmlformats.org/officeDocument/2006/relationships/image" Target="../media/image1365.png"/><Relationship Id="rId8" Type="http://schemas.openxmlformats.org/officeDocument/2006/relationships/customXml" Target="../ink/ink1214.xml"/><Relationship Id="rId142" Type="http://schemas.openxmlformats.org/officeDocument/2006/relationships/customXml" Target="../ink/ink1281.xml"/><Relationship Id="rId184" Type="http://schemas.openxmlformats.org/officeDocument/2006/relationships/customXml" Target="../ink/ink1302.xml"/><Relationship Id="rId391" Type="http://schemas.openxmlformats.org/officeDocument/2006/relationships/image" Target="../media/image1309.png"/><Relationship Id="rId405" Type="http://schemas.openxmlformats.org/officeDocument/2006/relationships/image" Target="../media/image1316.png"/><Relationship Id="rId447" Type="http://schemas.openxmlformats.org/officeDocument/2006/relationships/image" Target="../media/image1337.png"/><Relationship Id="rId251" Type="http://schemas.openxmlformats.org/officeDocument/2006/relationships/image" Target="../media/image1240.png"/><Relationship Id="rId489" Type="http://schemas.openxmlformats.org/officeDocument/2006/relationships/image" Target="../media/image1358.png"/><Relationship Id="rId46" Type="http://schemas.openxmlformats.org/officeDocument/2006/relationships/customXml" Target="../ink/ink1233.xml"/><Relationship Id="rId293" Type="http://schemas.openxmlformats.org/officeDocument/2006/relationships/image" Target="../media/image1261.png"/><Relationship Id="rId307" Type="http://schemas.openxmlformats.org/officeDocument/2006/relationships/image" Target="../media/image1268.png"/><Relationship Id="rId349" Type="http://schemas.openxmlformats.org/officeDocument/2006/relationships/image" Target="../media/image1288.png"/><Relationship Id="rId88" Type="http://schemas.openxmlformats.org/officeDocument/2006/relationships/customXml" Target="../ink/ink1254.xml"/><Relationship Id="rId111" Type="http://schemas.openxmlformats.org/officeDocument/2006/relationships/image" Target="../media/image1170.png"/><Relationship Id="rId153" Type="http://schemas.openxmlformats.org/officeDocument/2006/relationships/image" Target="../media/image1191.png"/><Relationship Id="rId195" Type="http://schemas.openxmlformats.org/officeDocument/2006/relationships/image" Target="../media/image1212.png"/><Relationship Id="rId209" Type="http://schemas.openxmlformats.org/officeDocument/2006/relationships/image" Target="../media/image1219.png"/><Relationship Id="rId360" Type="http://schemas.openxmlformats.org/officeDocument/2006/relationships/customXml" Target="../ink/ink1390.xml"/><Relationship Id="rId416" Type="http://schemas.openxmlformats.org/officeDocument/2006/relationships/customXml" Target="../ink/ink1418.xml"/><Relationship Id="rId220" Type="http://schemas.openxmlformats.org/officeDocument/2006/relationships/customXml" Target="../ink/ink1320.xml"/><Relationship Id="rId458" Type="http://schemas.openxmlformats.org/officeDocument/2006/relationships/customXml" Target="../ink/ink1439.xml"/><Relationship Id="rId15" Type="http://schemas.openxmlformats.org/officeDocument/2006/relationships/image" Target="../media/image1122.png"/><Relationship Id="rId57" Type="http://schemas.openxmlformats.org/officeDocument/2006/relationships/image" Target="../media/image1143.png"/><Relationship Id="rId262" Type="http://schemas.openxmlformats.org/officeDocument/2006/relationships/customXml" Target="../ink/ink1341.xml"/><Relationship Id="rId318" Type="http://schemas.openxmlformats.org/officeDocument/2006/relationships/customXml" Target="../ink/ink1369.xml"/><Relationship Id="rId99" Type="http://schemas.openxmlformats.org/officeDocument/2006/relationships/image" Target="../media/image1164.png"/><Relationship Id="rId122" Type="http://schemas.openxmlformats.org/officeDocument/2006/relationships/customXml" Target="../ink/ink1271.xml"/><Relationship Id="rId164" Type="http://schemas.openxmlformats.org/officeDocument/2006/relationships/customXml" Target="../ink/ink1292.xml"/><Relationship Id="rId371" Type="http://schemas.openxmlformats.org/officeDocument/2006/relationships/image" Target="../media/image1299.png"/><Relationship Id="rId427" Type="http://schemas.openxmlformats.org/officeDocument/2006/relationships/image" Target="../media/image1327.png"/><Relationship Id="rId469" Type="http://schemas.openxmlformats.org/officeDocument/2006/relationships/image" Target="../media/image1348.png"/><Relationship Id="rId26" Type="http://schemas.openxmlformats.org/officeDocument/2006/relationships/customXml" Target="../ink/ink1223.xml"/><Relationship Id="rId231" Type="http://schemas.openxmlformats.org/officeDocument/2006/relationships/image" Target="../media/image1230.png"/><Relationship Id="rId273" Type="http://schemas.openxmlformats.org/officeDocument/2006/relationships/image" Target="../media/image1251.png"/><Relationship Id="rId329" Type="http://schemas.openxmlformats.org/officeDocument/2006/relationships/image" Target="../media/image1279.png"/><Relationship Id="rId480" Type="http://schemas.openxmlformats.org/officeDocument/2006/relationships/customXml" Target="../ink/ink1450.xml"/><Relationship Id="rId68" Type="http://schemas.openxmlformats.org/officeDocument/2006/relationships/customXml" Target="../ink/ink1244.xml"/><Relationship Id="rId133" Type="http://schemas.openxmlformats.org/officeDocument/2006/relationships/image" Target="../media/image1181.png"/><Relationship Id="rId175" Type="http://schemas.openxmlformats.org/officeDocument/2006/relationships/image" Target="../media/image1202.png"/><Relationship Id="rId340" Type="http://schemas.openxmlformats.org/officeDocument/2006/relationships/customXml" Target="../ink/ink1380.xml"/><Relationship Id="rId200" Type="http://schemas.openxmlformats.org/officeDocument/2006/relationships/customXml" Target="../ink/ink1310.xml"/><Relationship Id="rId382" Type="http://schemas.openxmlformats.org/officeDocument/2006/relationships/customXml" Target="../ink/ink1401.xml"/><Relationship Id="rId438" Type="http://schemas.openxmlformats.org/officeDocument/2006/relationships/customXml" Target="../ink/ink1429.xml"/><Relationship Id="rId242" Type="http://schemas.openxmlformats.org/officeDocument/2006/relationships/customXml" Target="../ink/ink1331.xml"/><Relationship Id="rId284" Type="http://schemas.openxmlformats.org/officeDocument/2006/relationships/customXml" Target="../ink/ink1352.xml"/><Relationship Id="rId491" Type="http://schemas.openxmlformats.org/officeDocument/2006/relationships/image" Target="../media/image1359.png"/><Relationship Id="rId505" Type="http://schemas.openxmlformats.org/officeDocument/2006/relationships/image" Target="../media/image1366.png"/><Relationship Id="rId37" Type="http://schemas.openxmlformats.org/officeDocument/2006/relationships/image" Target="../media/image1133.png"/><Relationship Id="rId79" Type="http://schemas.openxmlformats.org/officeDocument/2006/relationships/image" Target="../media/image1154.png"/><Relationship Id="rId102" Type="http://schemas.openxmlformats.org/officeDocument/2006/relationships/customXml" Target="../ink/ink1261.xml"/><Relationship Id="rId144" Type="http://schemas.openxmlformats.org/officeDocument/2006/relationships/customXml" Target="../ink/ink1282.xml"/><Relationship Id="rId90" Type="http://schemas.openxmlformats.org/officeDocument/2006/relationships/customXml" Target="../ink/ink1255.xml"/><Relationship Id="rId186" Type="http://schemas.openxmlformats.org/officeDocument/2006/relationships/customXml" Target="../ink/ink1303.xml"/><Relationship Id="rId351" Type="http://schemas.openxmlformats.org/officeDocument/2006/relationships/image" Target="../media/image1289.png"/><Relationship Id="rId393" Type="http://schemas.openxmlformats.org/officeDocument/2006/relationships/image" Target="../media/image1310.png"/><Relationship Id="rId407" Type="http://schemas.openxmlformats.org/officeDocument/2006/relationships/image" Target="../media/image1317.png"/><Relationship Id="rId449" Type="http://schemas.openxmlformats.org/officeDocument/2006/relationships/image" Target="../media/image1338.png"/><Relationship Id="rId211" Type="http://schemas.openxmlformats.org/officeDocument/2006/relationships/image" Target="../media/image1220.png"/><Relationship Id="rId253" Type="http://schemas.openxmlformats.org/officeDocument/2006/relationships/image" Target="../media/image1241.png"/><Relationship Id="rId295" Type="http://schemas.openxmlformats.org/officeDocument/2006/relationships/image" Target="../media/image1262.png"/><Relationship Id="rId309" Type="http://schemas.openxmlformats.org/officeDocument/2006/relationships/image" Target="../media/image1269.png"/><Relationship Id="rId460" Type="http://schemas.openxmlformats.org/officeDocument/2006/relationships/customXml" Target="../ink/ink1440.xml"/><Relationship Id="rId48" Type="http://schemas.openxmlformats.org/officeDocument/2006/relationships/customXml" Target="../ink/ink1234.xml"/><Relationship Id="rId113" Type="http://schemas.openxmlformats.org/officeDocument/2006/relationships/image" Target="../media/image1171.png"/><Relationship Id="rId320" Type="http://schemas.openxmlformats.org/officeDocument/2006/relationships/customXml" Target="../ink/ink1370.xml"/><Relationship Id="rId155" Type="http://schemas.openxmlformats.org/officeDocument/2006/relationships/image" Target="../media/image1192.png"/><Relationship Id="rId197" Type="http://schemas.openxmlformats.org/officeDocument/2006/relationships/image" Target="../media/image1213.png"/><Relationship Id="rId362" Type="http://schemas.openxmlformats.org/officeDocument/2006/relationships/customXml" Target="../ink/ink1391.xml"/><Relationship Id="rId418" Type="http://schemas.openxmlformats.org/officeDocument/2006/relationships/customXml" Target="../ink/ink1419.xml"/><Relationship Id="rId222" Type="http://schemas.openxmlformats.org/officeDocument/2006/relationships/customXml" Target="../ink/ink1321.xml"/><Relationship Id="rId264" Type="http://schemas.openxmlformats.org/officeDocument/2006/relationships/customXml" Target="../ink/ink1342.xml"/><Relationship Id="rId471" Type="http://schemas.openxmlformats.org/officeDocument/2006/relationships/image" Target="../media/image1349.png"/><Relationship Id="rId17" Type="http://schemas.openxmlformats.org/officeDocument/2006/relationships/image" Target="../media/image1123.png"/><Relationship Id="rId59" Type="http://schemas.openxmlformats.org/officeDocument/2006/relationships/image" Target="../media/image1144.png"/><Relationship Id="rId124" Type="http://schemas.openxmlformats.org/officeDocument/2006/relationships/customXml" Target="../ink/ink1272.xml"/><Relationship Id="rId70" Type="http://schemas.openxmlformats.org/officeDocument/2006/relationships/customXml" Target="../ink/ink1245.xml"/><Relationship Id="rId166" Type="http://schemas.openxmlformats.org/officeDocument/2006/relationships/customXml" Target="../ink/ink1293.xml"/><Relationship Id="rId331" Type="http://schemas.openxmlformats.org/officeDocument/2006/relationships/image" Target="../media/image1280.png"/><Relationship Id="rId373" Type="http://schemas.openxmlformats.org/officeDocument/2006/relationships/image" Target="../media/image1300.png"/><Relationship Id="rId429" Type="http://schemas.openxmlformats.org/officeDocument/2006/relationships/image" Target="../media/image1328.png"/><Relationship Id="rId1" Type="http://schemas.openxmlformats.org/officeDocument/2006/relationships/slideLayout" Target="../slideLayouts/slideLayout2.xml"/><Relationship Id="rId233" Type="http://schemas.openxmlformats.org/officeDocument/2006/relationships/image" Target="../media/image1231.png"/><Relationship Id="rId440" Type="http://schemas.openxmlformats.org/officeDocument/2006/relationships/customXml" Target="../ink/ink1430.xml"/><Relationship Id="rId28" Type="http://schemas.openxmlformats.org/officeDocument/2006/relationships/customXml" Target="../ink/ink1224.xml"/><Relationship Id="rId275" Type="http://schemas.openxmlformats.org/officeDocument/2006/relationships/image" Target="../media/image1252.png"/><Relationship Id="rId300" Type="http://schemas.openxmlformats.org/officeDocument/2006/relationships/customXml" Target="../ink/ink1360.xml"/><Relationship Id="rId482" Type="http://schemas.openxmlformats.org/officeDocument/2006/relationships/customXml" Target="../ink/ink1451.xml"/><Relationship Id="rId81" Type="http://schemas.openxmlformats.org/officeDocument/2006/relationships/image" Target="../media/image1155.png"/><Relationship Id="rId135" Type="http://schemas.openxmlformats.org/officeDocument/2006/relationships/image" Target="../media/image1182.png"/><Relationship Id="rId177" Type="http://schemas.openxmlformats.org/officeDocument/2006/relationships/image" Target="../media/image1203.png"/><Relationship Id="rId342" Type="http://schemas.openxmlformats.org/officeDocument/2006/relationships/customXml" Target="../ink/ink1381.xml"/><Relationship Id="rId384" Type="http://schemas.openxmlformats.org/officeDocument/2006/relationships/customXml" Target="../ink/ink1402.xml"/><Relationship Id="rId202" Type="http://schemas.openxmlformats.org/officeDocument/2006/relationships/customXml" Target="../ink/ink1311.xml"/><Relationship Id="rId244" Type="http://schemas.openxmlformats.org/officeDocument/2006/relationships/customXml" Target="../ink/ink1332.xml"/><Relationship Id="rId39" Type="http://schemas.openxmlformats.org/officeDocument/2006/relationships/image" Target="../media/image1134.png"/><Relationship Id="rId286" Type="http://schemas.openxmlformats.org/officeDocument/2006/relationships/customXml" Target="../ink/ink1353.xml"/><Relationship Id="rId451" Type="http://schemas.openxmlformats.org/officeDocument/2006/relationships/image" Target="../media/image1339.png"/><Relationship Id="rId493" Type="http://schemas.openxmlformats.org/officeDocument/2006/relationships/image" Target="../media/image1360.png"/><Relationship Id="rId507" Type="http://schemas.openxmlformats.org/officeDocument/2006/relationships/image" Target="../media/image1367.png"/><Relationship Id="rId50" Type="http://schemas.openxmlformats.org/officeDocument/2006/relationships/customXml" Target="../ink/ink1235.xml"/><Relationship Id="rId104" Type="http://schemas.openxmlformats.org/officeDocument/2006/relationships/customXml" Target="../ink/ink1262.xml"/><Relationship Id="rId146" Type="http://schemas.openxmlformats.org/officeDocument/2006/relationships/customXml" Target="../ink/ink1283.xml"/><Relationship Id="rId188" Type="http://schemas.openxmlformats.org/officeDocument/2006/relationships/customXml" Target="../ink/ink1304.xml"/><Relationship Id="rId311" Type="http://schemas.openxmlformats.org/officeDocument/2006/relationships/image" Target="../media/image1270.png"/><Relationship Id="rId353" Type="http://schemas.openxmlformats.org/officeDocument/2006/relationships/image" Target="../media/image1290.png"/><Relationship Id="rId395" Type="http://schemas.openxmlformats.org/officeDocument/2006/relationships/image" Target="../media/image1311.png"/><Relationship Id="rId409" Type="http://schemas.openxmlformats.org/officeDocument/2006/relationships/image" Target="../media/image1318.png"/><Relationship Id="rId92" Type="http://schemas.openxmlformats.org/officeDocument/2006/relationships/customXml" Target="../ink/ink1256.xml"/><Relationship Id="rId213" Type="http://schemas.openxmlformats.org/officeDocument/2006/relationships/image" Target="../media/image1221.png"/><Relationship Id="rId420" Type="http://schemas.openxmlformats.org/officeDocument/2006/relationships/customXml" Target="../ink/ink1420.xml"/><Relationship Id="rId255" Type="http://schemas.openxmlformats.org/officeDocument/2006/relationships/image" Target="../media/image1242.png"/><Relationship Id="rId297" Type="http://schemas.openxmlformats.org/officeDocument/2006/relationships/image" Target="../media/image1263.png"/><Relationship Id="rId462" Type="http://schemas.openxmlformats.org/officeDocument/2006/relationships/customXml" Target="../ink/ink1441.xml"/><Relationship Id="rId115" Type="http://schemas.openxmlformats.org/officeDocument/2006/relationships/image" Target="../media/image1172.png"/><Relationship Id="rId157" Type="http://schemas.openxmlformats.org/officeDocument/2006/relationships/image" Target="../media/image1193.png"/><Relationship Id="rId322" Type="http://schemas.openxmlformats.org/officeDocument/2006/relationships/customXml" Target="../ink/ink1371.xml"/><Relationship Id="rId364" Type="http://schemas.openxmlformats.org/officeDocument/2006/relationships/customXml" Target="../ink/ink1392.xml"/><Relationship Id="rId61" Type="http://schemas.openxmlformats.org/officeDocument/2006/relationships/image" Target="../media/image1145.png"/><Relationship Id="rId199" Type="http://schemas.openxmlformats.org/officeDocument/2006/relationships/image" Target="../media/image1214.png"/><Relationship Id="rId19" Type="http://schemas.openxmlformats.org/officeDocument/2006/relationships/image" Target="../media/image1124.png"/><Relationship Id="rId224" Type="http://schemas.openxmlformats.org/officeDocument/2006/relationships/customXml" Target="../ink/ink1322.xml"/><Relationship Id="rId266" Type="http://schemas.openxmlformats.org/officeDocument/2006/relationships/customXml" Target="../ink/ink1343.xml"/><Relationship Id="rId431" Type="http://schemas.openxmlformats.org/officeDocument/2006/relationships/image" Target="../media/image1329.png"/><Relationship Id="rId473" Type="http://schemas.openxmlformats.org/officeDocument/2006/relationships/image" Target="../media/image1350.png"/><Relationship Id="rId30" Type="http://schemas.openxmlformats.org/officeDocument/2006/relationships/customXml" Target="../ink/ink1225.xml"/><Relationship Id="rId126" Type="http://schemas.openxmlformats.org/officeDocument/2006/relationships/customXml" Target="../ink/ink1273.xml"/><Relationship Id="rId168" Type="http://schemas.openxmlformats.org/officeDocument/2006/relationships/customXml" Target="../ink/ink1294.xml"/><Relationship Id="rId333" Type="http://schemas.openxmlformats.org/officeDocument/2006/relationships/image" Target="../media/image1281.png"/><Relationship Id="rId72" Type="http://schemas.openxmlformats.org/officeDocument/2006/relationships/customXml" Target="../ink/ink1246.xml"/><Relationship Id="rId375" Type="http://schemas.openxmlformats.org/officeDocument/2006/relationships/image" Target="../media/image1301.png"/><Relationship Id="rId3" Type="http://schemas.openxmlformats.org/officeDocument/2006/relationships/image" Target="../media/image1116.png"/><Relationship Id="rId235" Type="http://schemas.openxmlformats.org/officeDocument/2006/relationships/image" Target="../media/image1232.png"/><Relationship Id="rId277" Type="http://schemas.openxmlformats.org/officeDocument/2006/relationships/image" Target="../media/image1253.png"/><Relationship Id="rId400" Type="http://schemas.openxmlformats.org/officeDocument/2006/relationships/customXml" Target="../ink/ink1410.xml"/><Relationship Id="rId442" Type="http://schemas.openxmlformats.org/officeDocument/2006/relationships/customXml" Target="../ink/ink1431.xml"/><Relationship Id="rId484" Type="http://schemas.openxmlformats.org/officeDocument/2006/relationships/customXml" Target="../ink/ink1452.xml"/><Relationship Id="rId137" Type="http://schemas.openxmlformats.org/officeDocument/2006/relationships/image" Target="../media/image1183.png"/><Relationship Id="rId302" Type="http://schemas.openxmlformats.org/officeDocument/2006/relationships/customXml" Target="../ink/ink1361.xml"/><Relationship Id="rId344" Type="http://schemas.openxmlformats.org/officeDocument/2006/relationships/customXml" Target="../ink/ink1382.xml"/><Relationship Id="rId41" Type="http://schemas.openxmlformats.org/officeDocument/2006/relationships/image" Target="../media/image1135.png"/><Relationship Id="rId83" Type="http://schemas.openxmlformats.org/officeDocument/2006/relationships/image" Target="../media/image1156.png"/><Relationship Id="rId179" Type="http://schemas.openxmlformats.org/officeDocument/2006/relationships/image" Target="../media/image1204.png"/><Relationship Id="rId386" Type="http://schemas.openxmlformats.org/officeDocument/2006/relationships/customXml" Target="../ink/ink1403.xml"/><Relationship Id="rId190" Type="http://schemas.openxmlformats.org/officeDocument/2006/relationships/customXml" Target="../ink/ink1305.xml"/><Relationship Id="rId204" Type="http://schemas.openxmlformats.org/officeDocument/2006/relationships/customXml" Target="../ink/ink1312.xml"/><Relationship Id="rId246" Type="http://schemas.openxmlformats.org/officeDocument/2006/relationships/customXml" Target="../ink/ink1333.xml"/><Relationship Id="rId288" Type="http://schemas.openxmlformats.org/officeDocument/2006/relationships/customXml" Target="../ink/ink1354.xml"/><Relationship Id="rId411" Type="http://schemas.openxmlformats.org/officeDocument/2006/relationships/image" Target="../media/image1319.png"/><Relationship Id="rId453" Type="http://schemas.openxmlformats.org/officeDocument/2006/relationships/image" Target="../media/image1340.png"/><Relationship Id="rId509" Type="http://schemas.openxmlformats.org/officeDocument/2006/relationships/image" Target="../media/image1368.png"/><Relationship Id="rId106" Type="http://schemas.openxmlformats.org/officeDocument/2006/relationships/customXml" Target="../ink/ink1263.xml"/><Relationship Id="rId313" Type="http://schemas.openxmlformats.org/officeDocument/2006/relationships/image" Target="../media/image1271.png"/><Relationship Id="rId495" Type="http://schemas.openxmlformats.org/officeDocument/2006/relationships/image" Target="../media/image1361.png"/><Relationship Id="rId10" Type="http://schemas.openxmlformats.org/officeDocument/2006/relationships/customXml" Target="../ink/ink1215.xml"/><Relationship Id="rId52" Type="http://schemas.openxmlformats.org/officeDocument/2006/relationships/customXml" Target="../ink/ink1236.xml"/><Relationship Id="rId94" Type="http://schemas.openxmlformats.org/officeDocument/2006/relationships/customXml" Target="../ink/ink1257.xml"/><Relationship Id="rId148" Type="http://schemas.openxmlformats.org/officeDocument/2006/relationships/customXml" Target="../ink/ink1284.xml"/><Relationship Id="rId355" Type="http://schemas.openxmlformats.org/officeDocument/2006/relationships/image" Target="../media/image1291.png"/><Relationship Id="rId397" Type="http://schemas.openxmlformats.org/officeDocument/2006/relationships/image" Target="../media/image1312.png"/><Relationship Id="rId215" Type="http://schemas.openxmlformats.org/officeDocument/2006/relationships/image" Target="../media/image1222.png"/><Relationship Id="rId257" Type="http://schemas.openxmlformats.org/officeDocument/2006/relationships/image" Target="../media/image1243.png"/><Relationship Id="rId422" Type="http://schemas.openxmlformats.org/officeDocument/2006/relationships/customXml" Target="../ink/ink1421.xml"/><Relationship Id="rId464" Type="http://schemas.openxmlformats.org/officeDocument/2006/relationships/customXml" Target="../ink/ink1442.xml"/><Relationship Id="rId299" Type="http://schemas.openxmlformats.org/officeDocument/2006/relationships/image" Target="../media/image126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6" Type="http://schemas.openxmlformats.org/officeDocument/2006/relationships/image" Target="../media/image12910.png"/><Relationship Id="rId21" Type="http://schemas.openxmlformats.org/officeDocument/2006/relationships/customXml" Target="../ink/ink1476.xml"/><Relationship Id="rId42" Type="http://schemas.openxmlformats.org/officeDocument/2006/relationships/image" Target="../media/image13710.png"/><Relationship Id="rId47" Type="http://schemas.openxmlformats.org/officeDocument/2006/relationships/customXml" Target="../ink/ink1489.xml"/><Relationship Id="rId63" Type="http://schemas.openxmlformats.org/officeDocument/2006/relationships/customXml" Target="../ink/ink1497.xml"/><Relationship Id="rId68" Type="http://schemas.openxmlformats.org/officeDocument/2006/relationships/image" Target="../media/image1500.png"/><Relationship Id="rId84" Type="http://schemas.openxmlformats.org/officeDocument/2006/relationships/image" Target="../media/image1580.png"/><Relationship Id="rId89" Type="http://schemas.openxmlformats.org/officeDocument/2006/relationships/customXml" Target="../ink/ink1510.xml"/><Relationship Id="rId16" Type="http://schemas.openxmlformats.org/officeDocument/2006/relationships/image" Target="../media/image12410.png"/><Relationship Id="rId11" Type="http://schemas.openxmlformats.org/officeDocument/2006/relationships/customXml" Target="../ink/ink1471.xml"/><Relationship Id="rId32" Type="http://schemas.openxmlformats.org/officeDocument/2006/relationships/image" Target="../media/image13210.png"/><Relationship Id="rId37" Type="http://schemas.openxmlformats.org/officeDocument/2006/relationships/customXml" Target="../ink/ink1484.xml"/><Relationship Id="rId53" Type="http://schemas.openxmlformats.org/officeDocument/2006/relationships/customXml" Target="../ink/ink1492.xml"/><Relationship Id="rId58" Type="http://schemas.openxmlformats.org/officeDocument/2006/relationships/image" Target="../media/image1450.png"/><Relationship Id="rId74" Type="http://schemas.openxmlformats.org/officeDocument/2006/relationships/image" Target="../media/image1530.png"/><Relationship Id="rId79" Type="http://schemas.openxmlformats.org/officeDocument/2006/relationships/customXml" Target="../ink/ink1505.xml"/><Relationship Id="rId5" Type="http://schemas.openxmlformats.org/officeDocument/2006/relationships/customXml" Target="../ink/ink1468.xml"/><Relationship Id="rId90" Type="http://schemas.openxmlformats.org/officeDocument/2006/relationships/image" Target="../media/image1611.png"/><Relationship Id="rId95" Type="http://schemas.openxmlformats.org/officeDocument/2006/relationships/customXml" Target="../ink/ink1513.xml"/><Relationship Id="rId22" Type="http://schemas.openxmlformats.org/officeDocument/2006/relationships/image" Target="../media/image12710.png"/><Relationship Id="rId27" Type="http://schemas.openxmlformats.org/officeDocument/2006/relationships/customXml" Target="../ink/ink1479.xml"/><Relationship Id="rId43" Type="http://schemas.openxmlformats.org/officeDocument/2006/relationships/customXml" Target="../ink/ink1487.xml"/><Relationship Id="rId48" Type="http://schemas.openxmlformats.org/officeDocument/2006/relationships/image" Target="../media/image1400.png"/><Relationship Id="rId64" Type="http://schemas.openxmlformats.org/officeDocument/2006/relationships/image" Target="../media/image1480.png"/><Relationship Id="rId69" Type="http://schemas.openxmlformats.org/officeDocument/2006/relationships/customXml" Target="../ink/ink1500.xml"/><Relationship Id="rId8" Type="http://schemas.openxmlformats.org/officeDocument/2006/relationships/image" Target="../media/image12010.png"/><Relationship Id="rId51" Type="http://schemas.openxmlformats.org/officeDocument/2006/relationships/customXml" Target="../ink/ink1491.xml"/><Relationship Id="rId72" Type="http://schemas.openxmlformats.org/officeDocument/2006/relationships/image" Target="../media/image1520.png"/><Relationship Id="rId80" Type="http://schemas.openxmlformats.org/officeDocument/2006/relationships/image" Target="../media/image1560.png"/><Relationship Id="rId85" Type="http://schemas.openxmlformats.org/officeDocument/2006/relationships/customXml" Target="../ink/ink1508.xml"/><Relationship Id="rId93" Type="http://schemas.openxmlformats.org/officeDocument/2006/relationships/customXml" Target="../ink/ink1512.xml"/><Relationship Id="rId3" Type="http://schemas.openxmlformats.org/officeDocument/2006/relationships/customXml" Target="../ink/ink1467.xml"/><Relationship Id="rId12" Type="http://schemas.openxmlformats.org/officeDocument/2006/relationships/image" Target="../media/image12210.png"/><Relationship Id="rId17" Type="http://schemas.openxmlformats.org/officeDocument/2006/relationships/customXml" Target="../ink/ink1474.xml"/><Relationship Id="rId25" Type="http://schemas.openxmlformats.org/officeDocument/2006/relationships/customXml" Target="../ink/ink1478.xml"/><Relationship Id="rId33" Type="http://schemas.openxmlformats.org/officeDocument/2006/relationships/customXml" Target="../ink/ink1482.xml"/><Relationship Id="rId38" Type="http://schemas.openxmlformats.org/officeDocument/2006/relationships/image" Target="../media/image13510.png"/><Relationship Id="rId46" Type="http://schemas.openxmlformats.org/officeDocument/2006/relationships/image" Target="../media/image1390.png"/><Relationship Id="rId59" Type="http://schemas.openxmlformats.org/officeDocument/2006/relationships/customXml" Target="../ink/ink1495.xml"/><Relationship Id="rId67" Type="http://schemas.openxmlformats.org/officeDocument/2006/relationships/customXml" Target="../ink/ink1499.xml"/><Relationship Id="rId20" Type="http://schemas.openxmlformats.org/officeDocument/2006/relationships/image" Target="../media/image12610.png"/><Relationship Id="rId41" Type="http://schemas.openxmlformats.org/officeDocument/2006/relationships/customXml" Target="../ink/ink1486.xml"/><Relationship Id="rId54" Type="http://schemas.openxmlformats.org/officeDocument/2006/relationships/image" Target="../media/image1430.png"/><Relationship Id="rId62" Type="http://schemas.openxmlformats.org/officeDocument/2006/relationships/image" Target="../media/image1470.png"/><Relationship Id="rId70" Type="http://schemas.openxmlformats.org/officeDocument/2006/relationships/image" Target="../media/image1511.png"/><Relationship Id="rId75" Type="http://schemas.openxmlformats.org/officeDocument/2006/relationships/customXml" Target="../ink/ink1503.xml"/><Relationship Id="rId83" Type="http://schemas.openxmlformats.org/officeDocument/2006/relationships/customXml" Target="../ink/ink1507.xml"/><Relationship Id="rId88" Type="http://schemas.openxmlformats.org/officeDocument/2006/relationships/image" Target="../media/image1600.png"/><Relationship Id="rId91" Type="http://schemas.openxmlformats.org/officeDocument/2006/relationships/customXml" Target="../ink/ink1511.xml"/><Relationship Id="rId96" Type="http://schemas.openxmlformats.org/officeDocument/2006/relationships/image" Target="../media/image164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910.png"/><Relationship Id="rId15" Type="http://schemas.openxmlformats.org/officeDocument/2006/relationships/customXml" Target="../ink/ink1473.xml"/><Relationship Id="rId23" Type="http://schemas.openxmlformats.org/officeDocument/2006/relationships/customXml" Target="../ink/ink1477.xml"/><Relationship Id="rId28" Type="http://schemas.openxmlformats.org/officeDocument/2006/relationships/image" Target="../media/image13010.png"/><Relationship Id="rId36" Type="http://schemas.openxmlformats.org/officeDocument/2006/relationships/image" Target="../media/image13410.png"/><Relationship Id="rId49" Type="http://schemas.openxmlformats.org/officeDocument/2006/relationships/customXml" Target="../ink/ink1490.xml"/><Relationship Id="rId57" Type="http://schemas.openxmlformats.org/officeDocument/2006/relationships/customXml" Target="../ink/ink1494.xml"/><Relationship Id="rId10" Type="http://schemas.openxmlformats.org/officeDocument/2006/relationships/image" Target="../media/image12110.png"/><Relationship Id="rId31" Type="http://schemas.openxmlformats.org/officeDocument/2006/relationships/customXml" Target="../ink/ink1481.xml"/><Relationship Id="rId44" Type="http://schemas.openxmlformats.org/officeDocument/2006/relationships/image" Target="../media/image1384.png"/><Relationship Id="rId52" Type="http://schemas.openxmlformats.org/officeDocument/2006/relationships/image" Target="../media/image1420.png"/><Relationship Id="rId60" Type="http://schemas.openxmlformats.org/officeDocument/2006/relationships/image" Target="../media/image1460.png"/><Relationship Id="rId65" Type="http://schemas.openxmlformats.org/officeDocument/2006/relationships/customXml" Target="../ink/ink1498.xml"/><Relationship Id="rId73" Type="http://schemas.openxmlformats.org/officeDocument/2006/relationships/customXml" Target="../ink/ink1502.xml"/><Relationship Id="rId78" Type="http://schemas.openxmlformats.org/officeDocument/2006/relationships/image" Target="../media/image1550.png"/><Relationship Id="rId81" Type="http://schemas.openxmlformats.org/officeDocument/2006/relationships/customXml" Target="../ink/ink1506.xml"/><Relationship Id="rId86" Type="http://schemas.openxmlformats.org/officeDocument/2006/relationships/image" Target="../media/image1590.png"/><Relationship Id="rId94" Type="http://schemas.openxmlformats.org/officeDocument/2006/relationships/image" Target="../media/image1630.png"/><Relationship Id="rId4" Type="http://schemas.openxmlformats.org/officeDocument/2006/relationships/image" Target="../media/image11810.png"/><Relationship Id="rId9" Type="http://schemas.openxmlformats.org/officeDocument/2006/relationships/customXml" Target="../ink/ink1470.xml"/><Relationship Id="rId13" Type="http://schemas.openxmlformats.org/officeDocument/2006/relationships/customXml" Target="../ink/ink1472.xml"/><Relationship Id="rId18" Type="http://schemas.openxmlformats.org/officeDocument/2006/relationships/image" Target="../media/image12510.png"/><Relationship Id="rId39" Type="http://schemas.openxmlformats.org/officeDocument/2006/relationships/customXml" Target="../ink/ink1485.xml"/><Relationship Id="rId34" Type="http://schemas.openxmlformats.org/officeDocument/2006/relationships/image" Target="../media/image13310.png"/><Relationship Id="rId50" Type="http://schemas.openxmlformats.org/officeDocument/2006/relationships/image" Target="../media/image1411.png"/><Relationship Id="rId55" Type="http://schemas.openxmlformats.org/officeDocument/2006/relationships/customXml" Target="../ink/ink1493.xml"/><Relationship Id="rId76" Type="http://schemas.openxmlformats.org/officeDocument/2006/relationships/image" Target="../media/image1540.png"/><Relationship Id="rId7" Type="http://schemas.openxmlformats.org/officeDocument/2006/relationships/customXml" Target="../ink/ink1469.xml"/><Relationship Id="rId71" Type="http://schemas.openxmlformats.org/officeDocument/2006/relationships/customXml" Target="../ink/ink1501.xml"/><Relationship Id="rId92" Type="http://schemas.openxmlformats.org/officeDocument/2006/relationships/image" Target="../media/image1620.png"/><Relationship Id="rId2" Type="http://schemas.openxmlformats.org/officeDocument/2006/relationships/notesSlide" Target="../notesSlides/notesSlide22.xml"/><Relationship Id="rId29" Type="http://schemas.openxmlformats.org/officeDocument/2006/relationships/customXml" Target="../ink/ink1480.xml"/><Relationship Id="rId24" Type="http://schemas.openxmlformats.org/officeDocument/2006/relationships/image" Target="../media/image12810.png"/><Relationship Id="rId40" Type="http://schemas.openxmlformats.org/officeDocument/2006/relationships/image" Target="../media/image13610.png"/><Relationship Id="rId45" Type="http://schemas.openxmlformats.org/officeDocument/2006/relationships/customXml" Target="../ink/ink1488.xml"/><Relationship Id="rId66" Type="http://schemas.openxmlformats.org/officeDocument/2006/relationships/image" Target="../media/image1490.png"/><Relationship Id="rId87" Type="http://schemas.openxmlformats.org/officeDocument/2006/relationships/customXml" Target="../ink/ink1509.xml"/><Relationship Id="rId61" Type="http://schemas.openxmlformats.org/officeDocument/2006/relationships/customXml" Target="../ink/ink1496.xml"/><Relationship Id="rId82" Type="http://schemas.openxmlformats.org/officeDocument/2006/relationships/image" Target="../media/image1570.png"/><Relationship Id="rId19" Type="http://schemas.openxmlformats.org/officeDocument/2006/relationships/customXml" Target="../ink/ink1475.xml"/><Relationship Id="rId14" Type="http://schemas.openxmlformats.org/officeDocument/2006/relationships/image" Target="../media/image12310.png"/><Relationship Id="rId30" Type="http://schemas.openxmlformats.org/officeDocument/2006/relationships/image" Target="../media/image13110.png"/><Relationship Id="rId35" Type="http://schemas.openxmlformats.org/officeDocument/2006/relationships/customXml" Target="../ink/ink1483.xml"/><Relationship Id="rId56" Type="http://schemas.openxmlformats.org/officeDocument/2006/relationships/image" Target="../media/image1440.png"/><Relationship Id="rId77" Type="http://schemas.openxmlformats.org/officeDocument/2006/relationships/customXml" Target="../ink/ink150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3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6" Type="http://schemas.openxmlformats.org/officeDocument/2006/relationships/image" Target="../media/image1780.png"/><Relationship Id="rId21" Type="http://schemas.openxmlformats.org/officeDocument/2006/relationships/customXml" Target="../ink/ink1523.xml"/><Relationship Id="rId42" Type="http://schemas.openxmlformats.org/officeDocument/2006/relationships/image" Target="../media/image1860.png"/><Relationship Id="rId47" Type="http://schemas.openxmlformats.org/officeDocument/2006/relationships/customXml" Target="../ink/ink1536.xml"/><Relationship Id="rId63" Type="http://schemas.openxmlformats.org/officeDocument/2006/relationships/customXml" Target="../ink/ink1544.xml"/><Relationship Id="rId68" Type="http://schemas.openxmlformats.org/officeDocument/2006/relationships/image" Target="../media/image1990.png"/><Relationship Id="rId84" Type="http://schemas.openxmlformats.org/officeDocument/2006/relationships/image" Target="../media/image2070.png"/><Relationship Id="rId89" Type="http://schemas.openxmlformats.org/officeDocument/2006/relationships/customXml" Target="../ink/ink1557.xml"/><Relationship Id="rId16" Type="http://schemas.openxmlformats.org/officeDocument/2006/relationships/image" Target="../media/image1730.png"/><Relationship Id="rId11" Type="http://schemas.openxmlformats.org/officeDocument/2006/relationships/customXml" Target="../ink/ink1518.xml"/><Relationship Id="rId32" Type="http://schemas.openxmlformats.org/officeDocument/2006/relationships/image" Target="../media/image1811.png"/><Relationship Id="rId37" Type="http://schemas.openxmlformats.org/officeDocument/2006/relationships/customXml" Target="../ink/ink1531.xml"/><Relationship Id="rId53" Type="http://schemas.openxmlformats.org/officeDocument/2006/relationships/customXml" Target="../ink/ink1539.xml"/><Relationship Id="rId58" Type="http://schemas.openxmlformats.org/officeDocument/2006/relationships/image" Target="../media/image1940.png"/><Relationship Id="rId74" Type="http://schemas.openxmlformats.org/officeDocument/2006/relationships/image" Target="../media/image2020.png"/><Relationship Id="rId79" Type="http://schemas.openxmlformats.org/officeDocument/2006/relationships/customXml" Target="../ink/ink1552.xml"/><Relationship Id="rId102" Type="http://schemas.openxmlformats.org/officeDocument/2006/relationships/image" Target="../media/image2160.png"/><Relationship Id="rId5" Type="http://schemas.openxmlformats.org/officeDocument/2006/relationships/customXml" Target="../ink/ink1515.xml"/><Relationship Id="rId90" Type="http://schemas.openxmlformats.org/officeDocument/2006/relationships/image" Target="../media/image2100.png"/><Relationship Id="rId95" Type="http://schemas.openxmlformats.org/officeDocument/2006/relationships/customXml" Target="../ink/ink1560.xml"/><Relationship Id="rId22" Type="http://schemas.openxmlformats.org/officeDocument/2006/relationships/image" Target="../media/image1760.png"/><Relationship Id="rId27" Type="http://schemas.openxmlformats.org/officeDocument/2006/relationships/customXml" Target="../ink/ink1526.xml"/><Relationship Id="rId43" Type="http://schemas.openxmlformats.org/officeDocument/2006/relationships/customXml" Target="../ink/ink1534.xml"/><Relationship Id="rId48" Type="http://schemas.openxmlformats.org/officeDocument/2006/relationships/image" Target="../media/image1890.png"/><Relationship Id="rId64" Type="http://schemas.openxmlformats.org/officeDocument/2006/relationships/image" Target="../media/image1970.png"/><Relationship Id="rId69" Type="http://schemas.openxmlformats.org/officeDocument/2006/relationships/customXml" Target="../ink/ink1547.xml"/><Relationship Id="rId80" Type="http://schemas.openxmlformats.org/officeDocument/2006/relationships/image" Target="../media/image2050.png"/><Relationship Id="rId85" Type="http://schemas.openxmlformats.org/officeDocument/2006/relationships/customXml" Target="../ink/ink1555.xml"/><Relationship Id="rId12" Type="http://schemas.openxmlformats.org/officeDocument/2006/relationships/image" Target="../media/image1711.png"/><Relationship Id="rId17" Type="http://schemas.openxmlformats.org/officeDocument/2006/relationships/customXml" Target="../ink/ink1521.xml"/><Relationship Id="rId25" Type="http://schemas.openxmlformats.org/officeDocument/2006/relationships/customXml" Target="../ink/ink1525.xml"/><Relationship Id="rId33" Type="http://schemas.openxmlformats.org/officeDocument/2006/relationships/customXml" Target="../ink/ink1529.xml"/><Relationship Id="rId38" Type="http://schemas.openxmlformats.org/officeDocument/2006/relationships/image" Target="../media/image1840.png"/><Relationship Id="rId46" Type="http://schemas.openxmlformats.org/officeDocument/2006/relationships/image" Target="../media/image1880.png"/><Relationship Id="rId59" Type="http://schemas.openxmlformats.org/officeDocument/2006/relationships/customXml" Target="../ink/ink1542.xml"/><Relationship Id="rId67" Type="http://schemas.openxmlformats.org/officeDocument/2006/relationships/customXml" Target="../ink/ink1546.xml"/><Relationship Id="rId20" Type="http://schemas.openxmlformats.org/officeDocument/2006/relationships/image" Target="../media/image1750.png"/><Relationship Id="rId41" Type="http://schemas.openxmlformats.org/officeDocument/2006/relationships/customXml" Target="../ink/ink1533.xml"/><Relationship Id="rId54" Type="http://schemas.openxmlformats.org/officeDocument/2006/relationships/image" Target="../media/image1920.png"/><Relationship Id="rId62" Type="http://schemas.openxmlformats.org/officeDocument/2006/relationships/image" Target="../media/image1960.png"/><Relationship Id="rId70" Type="http://schemas.openxmlformats.org/officeDocument/2006/relationships/image" Target="../media/image2000.png"/><Relationship Id="rId75" Type="http://schemas.openxmlformats.org/officeDocument/2006/relationships/customXml" Target="../ink/ink1550.xml"/><Relationship Id="rId83" Type="http://schemas.openxmlformats.org/officeDocument/2006/relationships/customXml" Target="../ink/ink1554.xml"/><Relationship Id="rId88" Type="http://schemas.openxmlformats.org/officeDocument/2006/relationships/image" Target="../media/image2090.png"/><Relationship Id="rId91" Type="http://schemas.openxmlformats.org/officeDocument/2006/relationships/customXml" Target="../ink/ink1558.xml"/><Relationship Id="rId96" Type="http://schemas.openxmlformats.org/officeDocument/2006/relationships/image" Target="../media/image213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80.png"/><Relationship Id="rId15" Type="http://schemas.openxmlformats.org/officeDocument/2006/relationships/customXml" Target="../ink/ink1520.xml"/><Relationship Id="rId23" Type="http://schemas.openxmlformats.org/officeDocument/2006/relationships/customXml" Target="../ink/ink1524.xml"/><Relationship Id="rId28" Type="http://schemas.openxmlformats.org/officeDocument/2006/relationships/image" Target="../media/image1790.png"/><Relationship Id="rId36" Type="http://schemas.openxmlformats.org/officeDocument/2006/relationships/image" Target="../media/image1830.png"/><Relationship Id="rId49" Type="http://schemas.openxmlformats.org/officeDocument/2006/relationships/customXml" Target="../ink/ink1537.xml"/><Relationship Id="rId57" Type="http://schemas.openxmlformats.org/officeDocument/2006/relationships/customXml" Target="../ink/ink1541.xml"/><Relationship Id="rId10" Type="http://schemas.openxmlformats.org/officeDocument/2006/relationships/image" Target="../media/image1700.png"/><Relationship Id="rId31" Type="http://schemas.openxmlformats.org/officeDocument/2006/relationships/customXml" Target="../ink/ink1528.xml"/><Relationship Id="rId44" Type="http://schemas.openxmlformats.org/officeDocument/2006/relationships/image" Target="../media/image1870.png"/><Relationship Id="rId52" Type="http://schemas.openxmlformats.org/officeDocument/2006/relationships/image" Target="../media/image1911.png"/><Relationship Id="rId60" Type="http://schemas.openxmlformats.org/officeDocument/2006/relationships/image" Target="../media/image1950.png"/><Relationship Id="rId65" Type="http://schemas.openxmlformats.org/officeDocument/2006/relationships/customXml" Target="../ink/ink1545.xml"/><Relationship Id="rId73" Type="http://schemas.openxmlformats.org/officeDocument/2006/relationships/customXml" Target="../ink/ink1549.xml"/><Relationship Id="rId78" Type="http://schemas.openxmlformats.org/officeDocument/2006/relationships/image" Target="../media/image2040.png"/><Relationship Id="rId81" Type="http://schemas.openxmlformats.org/officeDocument/2006/relationships/customXml" Target="../ink/ink1553.xml"/><Relationship Id="rId86" Type="http://schemas.openxmlformats.org/officeDocument/2006/relationships/image" Target="../media/image2080.png"/><Relationship Id="rId94" Type="http://schemas.openxmlformats.org/officeDocument/2006/relationships/image" Target="../media/image2120.png"/><Relationship Id="rId99" Type="http://schemas.openxmlformats.org/officeDocument/2006/relationships/customXml" Target="../ink/ink1562.xml"/><Relationship Id="rId101" Type="http://schemas.openxmlformats.org/officeDocument/2006/relationships/customXml" Target="../ink/ink1563.xml"/><Relationship Id="rId4" Type="http://schemas.openxmlformats.org/officeDocument/2006/relationships/image" Target="../media/image1670.png"/><Relationship Id="rId9" Type="http://schemas.openxmlformats.org/officeDocument/2006/relationships/customXml" Target="../ink/ink1517.xml"/><Relationship Id="rId13" Type="http://schemas.openxmlformats.org/officeDocument/2006/relationships/customXml" Target="../ink/ink1519.xml"/><Relationship Id="rId18" Type="http://schemas.openxmlformats.org/officeDocument/2006/relationships/image" Target="../media/image1740.png"/><Relationship Id="rId39" Type="http://schemas.openxmlformats.org/officeDocument/2006/relationships/customXml" Target="../ink/ink1532.xml"/><Relationship Id="rId34" Type="http://schemas.openxmlformats.org/officeDocument/2006/relationships/image" Target="../media/image1820.png"/><Relationship Id="rId50" Type="http://schemas.openxmlformats.org/officeDocument/2006/relationships/image" Target="../media/image1900.png"/><Relationship Id="rId55" Type="http://schemas.openxmlformats.org/officeDocument/2006/relationships/customXml" Target="../ink/ink1540.xml"/><Relationship Id="rId76" Type="http://schemas.openxmlformats.org/officeDocument/2006/relationships/image" Target="../media/image2030.png"/><Relationship Id="rId97" Type="http://schemas.openxmlformats.org/officeDocument/2006/relationships/customXml" Target="../ink/ink1561.xml"/><Relationship Id="rId7" Type="http://schemas.openxmlformats.org/officeDocument/2006/relationships/customXml" Target="../ink/ink1516.xml"/><Relationship Id="rId71" Type="http://schemas.openxmlformats.org/officeDocument/2006/relationships/customXml" Target="../ink/ink1548.xml"/><Relationship Id="rId92" Type="http://schemas.openxmlformats.org/officeDocument/2006/relationships/image" Target="../media/image2111.png"/><Relationship Id="rId2" Type="http://schemas.openxmlformats.org/officeDocument/2006/relationships/notesSlide" Target="../notesSlides/notesSlide26.xml"/><Relationship Id="rId29" Type="http://schemas.openxmlformats.org/officeDocument/2006/relationships/customXml" Target="../ink/ink1527.xml"/><Relationship Id="rId24" Type="http://schemas.openxmlformats.org/officeDocument/2006/relationships/image" Target="../media/image1770.png"/><Relationship Id="rId40" Type="http://schemas.openxmlformats.org/officeDocument/2006/relationships/image" Target="../media/image1850.png"/><Relationship Id="rId45" Type="http://schemas.openxmlformats.org/officeDocument/2006/relationships/customXml" Target="../ink/ink1535.xml"/><Relationship Id="rId66" Type="http://schemas.openxmlformats.org/officeDocument/2006/relationships/image" Target="../media/image1980.png"/><Relationship Id="rId87" Type="http://schemas.openxmlformats.org/officeDocument/2006/relationships/customXml" Target="../ink/ink1556.xml"/><Relationship Id="rId61" Type="http://schemas.openxmlformats.org/officeDocument/2006/relationships/customXml" Target="../ink/ink1543.xml"/><Relationship Id="rId82" Type="http://schemas.openxmlformats.org/officeDocument/2006/relationships/image" Target="../media/image2060.png"/><Relationship Id="rId19" Type="http://schemas.openxmlformats.org/officeDocument/2006/relationships/customXml" Target="../ink/ink1522.xml"/><Relationship Id="rId14" Type="http://schemas.openxmlformats.org/officeDocument/2006/relationships/image" Target="../media/image1720.png"/><Relationship Id="rId30" Type="http://schemas.openxmlformats.org/officeDocument/2006/relationships/image" Target="../media/image1800.png"/><Relationship Id="rId35" Type="http://schemas.openxmlformats.org/officeDocument/2006/relationships/customXml" Target="../ink/ink1530.xml"/><Relationship Id="rId56" Type="http://schemas.openxmlformats.org/officeDocument/2006/relationships/image" Target="../media/image1930.png"/><Relationship Id="rId77" Type="http://schemas.openxmlformats.org/officeDocument/2006/relationships/customXml" Target="../ink/ink1551.xml"/><Relationship Id="rId100" Type="http://schemas.openxmlformats.org/officeDocument/2006/relationships/image" Target="../media/image2150.png"/><Relationship Id="rId8" Type="http://schemas.openxmlformats.org/officeDocument/2006/relationships/image" Target="../media/image1690.png"/><Relationship Id="rId51" Type="http://schemas.openxmlformats.org/officeDocument/2006/relationships/customXml" Target="../ink/ink1538.xml"/><Relationship Id="rId72" Type="http://schemas.openxmlformats.org/officeDocument/2006/relationships/image" Target="../media/image2011.png"/><Relationship Id="rId93" Type="http://schemas.openxmlformats.org/officeDocument/2006/relationships/customXml" Target="../ink/ink1559.xml"/><Relationship Id="rId98" Type="http://schemas.openxmlformats.org/officeDocument/2006/relationships/image" Target="../media/image2140.png"/><Relationship Id="rId3" Type="http://schemas.openxmlformats.org/officeDocument/2006/relationships/customXml" Target="../ink/ink151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4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5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6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7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8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138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1380.png"/><Relationship Id="rId5" Type="http://schemas.openxmlformats.org/officeDocument/2006/relationships/image" Target="../media/image1379.png"/><Relationship Id="rId4" Type="http://schemas.openxmlformats.org/officeDocument/2006/relationships/image" Target="../media/image1.emf"/></Relationships>
</file>

<file path=ppt/slides/_rels/slide38.xml.rels><?xml version="1.0" encoding="UTF-8" standalone="yes"?>
<Relationships xmlns="http://schemas.openxmlformats.org/package/2006/relationships"><Relationship Id="rId117" Type="http://schemas.openxmlformats.org/officeDocument/2006/relationships/customXml" Target="../ink/ink1621.xml"/><Relationship Id="rId21" Type="http://schemas.openxmlformats.org/officeDocument/2006/relationships/customXml" Target="../ink/ink1573.xml"/><Relationship Id="rId42" Type="http://schemas.openxmlformats.org/officeDocument/2006/relationships/image" Target="../media/image2411.png"/><Relationship Id="rId63" Type="http://schemas.openxmlformats.org/officeDocument/2006/relationships/customXml" Target="../ink/ink1594.xml"/><Relationship Id="rId84" Type="http://schemas.openxmlformats.org/officeDocument/2006/relationships/image" Target="../media/image2620.png"/><Relationship Id="rId138" Type="http://schemas.openxmlformats.org/officeDocument/2006/relationships/image" Target="../media/image2890.png"/><Relationship Id="rId159" Type="http://schemas.openxmlformats.org/officeDocument/2006/relationships/customXml" Target="../ink/ink1642.xml"/><Relationship Id="rId170" Type="http://schemas.openxmlformats.org/officeDocument/2006/relationships/image" Target="../media/image3050.png"/><Relationship Id="rId191" Type="http://schemas.openxmlformats.org/officeDocument/2006/relationships/customXml" Target="../ink/ink1658.xml"/><Relationship Id="rId205" Type="http://schemas.openxmlformats.org/officeDocument/2006/relationships/customXml" Target="../ink/ink1665.xml"/><Relationship Id="rId226" Type="http://schemas.openxmlformats.org/officeDocument/2006/relationships/image" Target="../media/image3330.png"/><Relationship Id="rId247" Type="http://schemas.openxmlformats.org/officeDocument/2006/relationships/customXml" Target="../ink/ink1686.xml"/><Relationship Id="rId107" Type="http://schemas.openxmlformats.org/officeDocument/2006/relationships/customXml" Target="../ink/ink1616.xml"/><Relationship Id="rId11" Type="http://schemas.openxmlformats.org/officeDocument/2006/relationships/customXml" Target="../ink/ink1568.xml"/><Relationship Id="rId32" Type="http://schemas.openxmlformats.org/officeDocument/2006/relationships/image" Target="../media/image2360.png"/><Relationship Id="rId53" Type="http://schemas.openxmlformats.org/officeDocument/2006/relationships/customXml" Target="../ink/ink1589.xml"/><Relationship Id="rId74" Type="http://schemas.openxmlformats.org/officeDocument/2006/relationships/image" Target="../media/image2570.png"/><Relationship Id="rId128" Type="http://schemas.openxmlformats.org/officeDocument/2006/relationships/image" Target="../media/image2840.png"/><Relationship Id="rId149" Type="http://schemas.openxmlformats.org/officeDocument/2006/relationships/customXml" Target="../ink/ink1637.xml"/><Relationship Id="rId5" Type="http://schemas.openxmlformats.org/officeDocument/2006/relationships/customXml" Target="../ink/ink1565.xml"/><Relationship Id="rId95" Type="http://schemas.openxmlformats.org/officeDocument/2006/relationships/customXml" Target="../ink/ink1610.xml"/><Relationship Id="rId160" Type="http://schemas.openxmlformats.org/officeDocument/2006/relationships/image" Target="../media/image3000.png"/><Relationship Id="rId181" Type="http://schemas.openxmlformats.org/officeDocument/2006/relationships/customXml" Target="../ink/ink1653.xml"/><Relationship Id="rId216" Type="http://schemas.openxmlformats.org/officeDocument/2006/relationships/image" Target="../media/image3280.png"/><Relationship Id="rId237" Type="http://schemas.openxmlformats.org/officeDocument/2006/relationships/customXml" Target="../ink/ink1681.xml"/><Relationship Id="rId258" Type="http://schemas.openxmlformats.org/officeDocument/2006/relationships/image" Target="../media/image3490.png"/><Relationship Id="rId22" Type="http://schemas.openxmlformats.org/officeDocument/2006/relationships/image" Target="../media/image2311.png"/><Relationship Id="rId43" Type="http://schemas.openxmlformats.org/officeDocument/2006/relationships/customXml" Target="../ink/ink1584.xml"/><Relationship Id="rId64" Type="http://schemas.openxmlformats.org/officeDocument/2006/relationships/image" Target="../media/image2520.png"/><Relationship Id="rId118" Type="http://schemas.openxmlformats.org/officeDocument/2006/relationships/image" Target="../media/image2790.png"/><Relationship Id="rId139" Type="http://schemas.openxmlformats.org/officeDocument/2006/relationships/customXml" Target="../ink/ink1632.xml"/><Relationship Id="rId85" Type="http://schemas.openxmlformats.org/officeDocument/2006/relationships/customXml" Target="../ink/ink1605.xml"/><Relationship Id="rId150" Type="http://schemas.openxmlformats.org/officeDocument/2006/relationships/image" Target="../media/image2950.png"/><Relationship Id="rId171" Type="http://schemas.openxmlformats.org/officeDocument/2006/relationships/customXml" Target="../ink/ink1648.xml"/><Relationship Id="rId192" Type="http://schemas.openxmlformats.org/officeDocument/2006/relationships/image" Target="../media/image3160.png"/><Relationship Id="rId206" Type="http://schemas.openxmlformats.org/officeDocument/2006/relationships/image" Target="../media/image3230.png"/><Relationship Id="rId227" Type="http://schemas.openxmlformats.org/officeDocument/2006/relationships/customXml" Target="../ink/ink1676.xml"/><Relationship Id="rId248" Type="http://schemas.openxmlformats.org/officeDocument/2006/relationships/image" Target="../media/image3440.png"/><Relationship Id="rId12" Type="http://schemas.openxmlformats.org/officeDocument/2006/relationships/image" Target="../media/image2260.png"/><Relationship Id="rId33" Type="http://schemas.openxmlformats.org/officeDocument/2006/relationships/customXml" Target="../ink/ink1579.xml"/><Relationship Id="rId108" Type="http://schemas.openxmlformats.org/officeDocument/2006/relationships/image" Target="../media/image2740.png"/><Relationship Id="rId129" Type="http://schemas.openxmlformats.org/officeDocument/2006/relationships/customXml" Target="../ink/ink1627.xml"/><Relationship Id="rId54" Type="http://schemas.openxmlformats.org/officeDocument/2006/relationships/image" Target="../media/image2470.png"/><Relationship Id="rId75" Type="http://schemas.openxmlformats.org/officeDocument/2006/relationships/customXml" Target="../ink/ink1600.xml"/><Relationship Id="rId96" Type="http://schemas.openxmlformats.org/officeDocument/2006/relationships/image" Target="../media/image2680.png"/><Relationship Id="rId140" Type="http://schemas.openxmlformats.org/officeDocument/2006/relationships/image" Target="../media/image2900.png"/><Relationship Id="rId161" Type="http://schemas.openxmlformats.org/officeDocument/2006/relationships/customXml" Target="../ink/ink1643.xml"/><Relationship Id="rId182" Type="http://schemas.openxmlformats.org/officeDocument/2006/relationships/image" Target="../media/image3111.png"/><Relationship Id="rId217" Type="http://schemas.openxmlformats.org/officeDocument/2006/relationships/customXml" Target="../ink/ink1671.xml"/><Relationship Id="rId6" Type="http://schemas.openxmlformats.org/officeDocument/2006/relationships/image" Target="../media/image2230.png"/><Relationship Id="rId238" Type="http://schemas.openxmlformats.org/officeDocument/2006/relationships/image" Target="../media/image3390.png"/><Relationship Id="rId23" Type="http://schemas.openxmlformats.org/officeDocument/2006/relationships/customXml" Target="../ink/ink1574.xml"/><Relationship Id="rId119" Type="http://schemas.openxmlformats.org/officeDocument/2006/relationships/customXml" Target="../ink/ink1622.xml"/><Relationship Id="rId44" Type="http://schemas.openxmlformats.org/officeDocument/2006/relationships/image" Target="../media/image2420.png"/><Relationship Id="rId65" Type="http://schemas.openxmlformats.org/officeDocument/2006/relationships/customXml" Target="../ink/ink1595.xml"/><Relationship Id="rId86" Type="http://schemas.openxmlformats.org/officeDocument/2006/relationships/image" Target="../media/image2630.png"/><Relationship Id="rId130" Type="http://schemas.openxmlformats.org/officeDocument/2006/relationships/image" Target="../media/image2850.png"/><Relationship Id="rId151" Type="http://schemas.openxmlformats.org/officeDocument/2006/relationships/customXml" Target="../ink/ink1638.xml"/><Relationship Id="rId172" Type="http://schemas.openxmlformats.org/officeDocument/2006/relationships/image" Target="../media/image3060.png"/><Relationship Id="rId193" Type="http://schemas.openxmlformats.org/officeDocument/2006/relationships/customXml" Target="../ink/ink1659.xml"/><Relationship Id="rId207" Type="http://schemas.openxmlformats.org/officeDocument/2006/relationships/customXml" Target="../ink/ink1666.xml"/><Relationship Id="rId228" Type="http://schemas.openxmlformats.org/officeDocument/2006/relationships/image" Target="../media/image3340.png"/><Relationship Id="rId249" Type="http://schemas.openxmlformats.org/officeDocument/2006/relationships/customXml" Target="../ink/ink1687.xml"/><Relationship Id="rId13" Type="http://schemas.openxmlformats.org/officeDocument/2006/relationships/customXml" Target="../ink/ink1569.xml"/><Relationship Id="rId109" Type="http://schemas.openxmlformats.org/officeDocument/2006/relationships/customXml" Target="../ink/ink1617.xml"/><Relationship Id="rId34" Type="http://schemas.openxmlformats.org/officeDocument/2006/relationships/image" Target="../media/image2370.png"/><Relationship Id="rId55" Type="http://schemas.openxmlformats.org/officeDocument/2006/relationships/customXml" Target="../ink/ink1590.xml"/><Relationship Id="rId76" Type="http://schemas.openxmlformats.org/officeDocument/2006/relationships/image" Target="../media/image2580.png"/><Relationship Id="rId97" Type="http://schemas.openxmlformats.org/officeDocument/2006/relationships/customXml" Target="../ink/ink1611.xml"/><Relationship Id="rId120" Type="http://schemas.openxmlformats.org/officeDocument/2006/relationships/image" Target="../media/image2800.png"/><Relationship Id="rId141" Type="http://schemas.openxmlformats.org/officeDocument/2006/relationships/customXml" Target="../ink/ink1633.xml"/><Relationship Id="rId7" Type="http://schemas.openxmlformats.org/officeDocument/2006/relationships/customXml" Target="../ink/ink1566.xml"/><Relationship Id="rId162" Type="http://schemas.openxmlformats.org/officeDocument/2006/relationships/image" Target="../media/image3011.png"/><Relationship Id="rId183" Type="http://schemas.openxmlformats.org/officeDocument/2006/relationships/customXml" Target="../ink/ink1654.xml"/><Relationship Id="rId218" Type="http://schemas.openxmlformats.org/officeDocument/2006/relationships/image" Target="../media/image3290.png"/><Relationship Id="rId239" Type="http://schemas.openxmlformats.org/officeDocument/2006/relationships/customXml" Target="../ink/ink1682.xml"/><Relationship Id="rId250" Type="http://schemas.openxmlformats.org/officeDocument/2006/relationships/image" Target="../media/image3450.png"/><Relationship Id="rId24" Type="http://schemas.openxmlformats.org/officeDocument/2006/relationships/image" Target="../media/image2320.png"/><Relationship Id="rId45" Type="http://schemas.openxmlformats.org/officeDocument/2006/relationships/customXml" Target="../ink/ink1585.xml"/><Relationship Id="rId66" Type="http://schemas.openxmlformats.org/officeDocument/2006/relationships/image" Target="../media/image2530.png"/><Relationship Id="rId87" Type="http://schemas.openxmlformats.org/officeDocument/2006/relationships/customXml" Target="../ink/ink1606.xml"/><Relationship Id="rId110" Type="http://schemas.openxmlformats.org/officeDocument/2006/relationships/image" Target="../media/image2750.png"/><Relationship Id="rId131" Type="http://schemas.openxmlformats.org/officeDocument/2006/relationships/customXml" Target="../ink/ink1628.xml"/><Relationship Id="rId152" Type="http://schemas.openxmlformats.org/officeDocument/2006/relationships/image" Target="../media/image2960.png"/><Relationship Id="rId173" Type="http://schemas.openxmlformats.org/officeDocument/2006/relationships/customXml" Target="../ink/ink1649.xml"/><Relationship Id="rId194" Type="http://schemas.openxmlformats.org/officeDocument/2006/relationships/image" Target="../media/image3170.png"/><Relationship Id="rId208" Type="http://schemas.openxmlformats.org/officeDocument/2006/relationships/image" Target="../media/image3240.png"/><Relationship Id="rId229" Type="http://schemas.openxmlformats.org/officeDocument/2006/relationships/customXml" Target="../ink/ink1677.xml"/><Relationship Id="rId240" Type="http://schemas.openxmlformats.org/officeDocument/2006/relationships/image" Target="../media/image3400.png"/><Relationship Id="rId14" Type="http://schemas.openxmlformats.org/officeDocument/2006/relationships/image" Target="../media/image2270.png"/><Relationship Id="rId35" Type="http://schemas.openxmlformats.org/officeDocument/2006/relationships/customXml" Target="../ink/ink1580.xml"/><Relationship Id="rId56" Type="http://schemas.openxmlformats.org/officeDocument/2006/relationships/image" Target="../media/image2480.png"/><Relationship Id="rId77" Type="http://schemas.openxmlformats.org/officeDocument/2006/relationships/customXml" Target="../ink/ink1601.xml"/><Relationship Id="rId100" Type="http://schemas.openxmlformats.org/officeDocument/2006/relationships/image" Target="../media/image2700.png"/><Relationship Id="rId8" Type="http://schemas.openxmlformats.org/officeDocument/2006/relationships/image" Target="../media/image2240.png"/><Relationship Id="rId98" Type="http://schemas.openxmlformats.org/officeDocument/2006/relationships/image" Target="../media/image2690.png"/><Relationship Id="rId121" Type="http://schemas.openxmlformats.org/officeDocument/2006/relationships/customXml" Target="../ink/ink1623.xml"/><Relationship Id="rId142" Type="http://schemas.openxmlformats.org/officeDocument/2006/relationships/image" Target="../media/image2911.png"/><Relationship Id="rId163" Type="http://schemas.openxmlformats.org/officeDocument/2006/relationships/customXml" Target="../ink/ink1644.xml"/><Relationship Id="rId184" Type="http://schemas.openxmlformats.org/officeDocument/2006/relationships/image" Target="../media/image3120.png"/><Relationship Id="rId219" Type="http://schemas.openxmlformats.org/officeDocument/2006/relationships/customXml" Target="../ink/ink1672.xml"/><Relationship Id="rId230" Type="http://schemas.openxmlformats.org/officeDocument/2006/relationships/image" Target="../media/image3350.png"/><Relationship Id="rId251" Type="http://schemas.openxmlformats.org/officeDocument/2006/relationships/customXml" Target="../ink/ink1688.xml"/><Relationship Id="rId25" Type="http://schemas.openxmlformats.org/officeDocument/2006/relationships/customXml" Target="../ink/ink1575.xml"/><Relationship Id="rId46" Type="http://schemas.openxmlformats.org/officeDocument/2006/relationships/image" Target="../media/image2430.png"/><Relationship Id="rId67" Type="http://schemas.openxmlformats.org/officeDocument/2006/relationships/customXml" Target="../ink/ink1596.xml"/><Relationship Id="rId88" Type="http://schemas.openxmlformats.org/officeDocument/2006/relationships/image" Target="../media/image2640.png"/><Relationship Id="rId111" Type="http://schemas.openxmlformats.org/officeDocument/2006/relationships/customXml" Target="../ink/ink1618.xml"/><Relationship Id="rId132" Type="http://schemas.openxmlformats.org/officeDocument/2006/relationships/image" Target="../media/image2860.png"/><Relationship Id="rId153" Type="http://schemas.openxmlformats.org/officeDocument/2006/relationships/customXml" Target="../ink/ink1639.xml"/><Relationship Id="rId174" Type="http://schemas.openxmlformats.org/officeDocument/2006/relationships/image" Target="../media/image3070.png"/><Relationship Id="rId195" Type="http://schemas.openxmlformats.org/officeDocument/2006/relationships/customXml" Target="../ink/ink1660.xml"/><Relationship Id="rId209" Type="http://schemas.openxmlformats.org/officeDocument/2006/relationships/customXml" Target="../ink/ink1667.xml"/><Relationship Id="rId220" Type="http://schemas.openxmlformats.org/officeDocument/2006/relationships/image" Target="../media/image3300.png"/><Relationship Id="rId241" Type="http://schemas.openxmlformats.org/officeDocument/2006/relationships/customXml" Target="../ink/ink1683.xml"/><Relationship Id="rId15" Type="http://schemas.openxmlformats.org/officeDocument/2006/relationships/customXml" Target="../ink/ink1570.xml"/><Relationship Id="rId36" Type="http://schemas.openxmlformats.org/officeDocument/2006/relationships/image" Target="../media/image2380.png"/><Relationship Id="rId57" Type="http://schemas.openxmlformats.org/officeDocument/2006/relationships/customXml" Target="../ink/ink1591.xml"/><Relationship Id="rId78" Type="http://schemas.openxmlformats.org/officeDocument/2006/relationships/image" Target="../media/image2590.png"/><Relationship Id="rId99" Type="http://schemas.openxmlformats.org/officeDocument/2006/relationships/customXml" Target="../ink/ink1612.xml"/><Relationship Id="rId101" Type="http://schemas.openxmlformats.org/officeDocument/2006/relationships/customXml" Target="../ink/ink1613.xml"/><Relationship Id="rId122" Type="http://schemas.openxmlformats.org/officeDocument/2006/relationships/image" Target="../media/image2811.png"/><Relationship Id="rId143" Type="http://schemas.openxmlformats.org/officeDocument/2006/relationships/customXml" Target="../ink/ink1634.xml"/><Relationship Id="rId164" Type="http://schemas.openxmlformats.org/officeDocument/2006/relationships/image" Target="../media/image3020.png"/><Relationship Id="rId185" Type="http://schemas.openxmlformats.org/officeDocument/2006/relationships/customXml" Target="../ink/ink1655.xml"/><Relationship Id="rId9" Type="http://schemas.openxmlformats.org/officeDocument/2006/relationships/customXml" Target="../ink/ink1567.xml"/><Relationship Id="rId210" Type="http://schemas.openxmlformats.org/officeDocument/2006/relationships/image" Target="../media/image3250.png"/><Relationship Id="rId26" Type="http://schemas.openxmlformats.org/officeDocument/2006/relationships/image" Target="../media/image2330.png"/><Relationship Id="rId231" Type="http://schemas.openxmlformats.org/officeDocument/2006/relationships/customXml" Target="../ink/ink1678.xml"/><Relationship Id="rId252" Type="http://schemas.openxmlformats.org/officeDocument/2006/relationships/image" Target="../media/image3460.png"/><Relationship Id="rId47" Type="http://schemas.openxmlformats.org/officeDocument/2006/relationships/customXml" Target="../ink/ink1586.xml"/><Relationship Id="rId68" Type="http://schemas.openxmlformats.org/officeDocument/2006/relationships/image" Target="../media/image2540.png"/><Relationship Id="rId89" Type="http://schemas.openxmlformats.org/officeDocument/2006/relationships/customXml" Target="../ink/ink1607.xml"/><Relationship Id="rId112" Type="http://schemas.openxmlformats.org/officeDocument/2006/relationships/image" Target="../media/image2760.png"/><Relationship Id="rId133" Type="http://schemas.openxmlformats.org/officeDocument/2006/relationships/customXml" Target="../ink/ink1629.xml"/><Relationship Id="rId154" Type="http://schemas.openxmlformats.org/officeDocument/2006/relationships/image" Target="../media/image2970.png"/><Relationship Id="rId175" Type="http://schemas.openxmlformats.org/officeDocument/2006/relationships/customXml" Target="../ink/ink1650.xml"/><Relationship Id="rId196" Type="http://schemas.openxmlformats.org/officeDocument/2006/relationships/image" Target="../media/image3180.png"/><Relationship Id="rId200" Type="http://schemas.openxmlformats.org/officeDocument/2006/relationships/image" Target="../media/image3200.png"/><Relationship Id="rId16" Type="http://schemas.openxmlformats.org/officeDocument/2006/relationships/image" Target="../media/image2280.png"/><Relationship Id="rId221" Type="http://schemas.openxmlformats.org/officeDocument/2006/relationships/customXml" Target="../ink/ink1673.xml"/><Relationship Id="rId242" Type="http://schemas.openxmlformats.org/officeDocument/2006/relationships/image" Target="../media/image3411.png"/><Relationship Id="rId37" Type="http://schemas.openxmlformats.org/officeDocument/2006/relationships/customXml" Target="../ink/ink1581.xml"/><Relationship Id="rId58" Type="http://schemas.openxmlformats.org/officeDocument/2006/relationships/image" Target="../media/image2490.png"/><Relationship Id="rId79" Type="http://schemas.openxmlformats.org/officeDocument/2006/relationships/customXml" Target="../ink/ink1602.xml"/><Relationship Id="rId102" Type="http://schemas.openxmlformats.org/officeDocument/2006/relationships/image" Target="../media/image2711.png"/><Relationship Id="rId123" Type="http://schemas.openxmlformats.org/officeDocument/2006/relationships/customXml" Target="../ink/ink1624.xml"/><Relationship Id="rId144" Type="http://schemas.openxmlformats.org/officeDocument/2006/relationships/image" Target="../media/image2920.png"/><Relationship Id="rId90" Type="http://schemas.openxmlformats.org/officeDocument/2006/relationships/image" Target="../media/image2650.png"/><Relationship Id="rId165" Type="http://schemas.openxmlformats.org/officeDocument/2006/relationships/customXml" Target="../ink/ink1645.xml"/><Relationship Id="rId186" Type="http://schemas.openxmlformats.org/officeDocument/2006/relationships/image" Target="../media/image3130.png"/><Relationship Id="rId211" Type="http://schemas.openxmlformats.org/officeDocument/2006/relationships/customXml" Target="../ink/ink1668.xml"/><Relationship Id="rId232" Type="http://schemas.openxmlformats.org/officeDocument/2006/relationships/image" Target="../media/image3360.png"/><Relationship Id="rId253" Type="http://schemas.openxmlformats.org/officeDocument/2006/relationships/customXml" Target="../ink/ink1689.xml"/><Relationship Id="rId27" Type="http://schemas.openxmlformats.org/officeDocument/2006/relationships/customXml" Target="../ink/ink1576.xml"/><Relationship Id="rId48" Type="http://schemas.openxmlformats.org/officeDocument/2006/relationships/image" Target="../media/image2440.png"/><Relationship Id="rId69" Type="http://schemas.openxmlformats.org/officeDocument/2006/relationships/customXml" Target="../ink/ink1597.xml"/><Relationship Id="rId113" Type="http://schemas.openxmlformats.org/officeDocument/2006/relationships/customXml" Target="../ink/ink1619.xml"/><Relationship Id="rId134" Type="http://schemas.openxmlformats.org/officeDocument/2006/relationships/image" Target="../media/image2870.png"/><Relationship Id="rId80" Type="http://schemas.openxmlformats.org/officeDocument/2006/relationships/image" Target="../media/image2600.png"/><Relationship Id="rId155" Type="http://schemas.openxmlformats.org/officeDocument/2006/relationships/customXml" Target="../ink/ink1640.xml"/><Relationship Id="rId176" Type="http://schemas.openxmlformats.org/officeDocument/2006/relationships/image" Target="../media/image3080.png"/><Relationship Id="rId197" Type="http://schemas.openxmlformats.org/officeDocument/2006/relationships/customXml" Target="../ink/ink1661.xml"/><Relationship Id="rId201" Type="http://schemas.openxmlformats.org/officeDocument/2006/relationships/customXml" Target="../ink/ink1663.xml"/><Relationship Id="rId222" Type="http://schemas.openxmlformats.org/officeDocument/2006/relationships/image" Target="../media/image3311.png"/><Relationship Id="rId243" Type="http://schemas.openxmlformats.org/officeDocument/2006/relationships/customXml" Target="../ink/ink1684.xml"/><Relationship Id="rId17" Type="http://schemas.openxmlformats.org/officeDocument/2006/relationships/customXml" Target="../ink/ink1571.xml"/><Relationship Id="rId38" Type="http://schemas.openxmlformats.org/officeDocument/2006/relationships/image" Target="../media/image2390.png"/><Relationship Id="rId59" Type="http://schemas.openxmlformats.org/officeDocument/2006/relationships/customXml" Target="../ink/ink1592.xml"/><Relationship Id="rId103" Type="http://schemas.openxmlformats.org/officeDocument/2006/relationships/customXml" Target="../ink/ink1614.xml"/><Relationship Id="rId124" Type="http://schemas.openxmlformats.org/officeDocument/2006/relationships/image" Target="../media/image2820.png"/><Relationship Id="rId70" Type="http://schemas.openxmlformats.org/officeDocument/2006/relationships/image" Target="../media/image2550.png"/><Relationship Id="rId91" Type="http://schemas.openxmlformats.org/officeDocument/2006/relationships/customXml" Target="../ink/ink1608.xml"/><Relationship Id="rId145" Type="http://schemas.openxmlformats.org/officeDocument/2006/relationships/customXml" Target="../ink/ink1635.xml"/><Relationship Id="rId166" Type="http://schemas.openxmlformats.org/officeDocument/2006/relationships/image" Target="../media/image3030.png"/><Relationship Id="rId187" Type="http://schemas.openxmlformats.org/officeDocument/2006/relationships/customXml" Target="../ink/ink1656.xml"/><Relationship Id="rId1" Type="http://schemas.openxmlformats.org/officeDocument/2006/relationships/slideLayout" Target="../slideLayouts/slideLayout2.xml"/><Relationship Id="rId212" Type="http://schemas.openxmlformats.org/officeDocument/2006/relationships/image" Target="../media/image3260.png"/><Relationship Id="rId233" Type="http://schemas.openxmlformats.org/officeDocument/2006/relationships/customXml" Target="../ink/ink1679.xml"/><Relationship Id="rId254" Type="http://schemas.openxmlformats.org/officeDocument/2006/relationships/image" Target="../media/image3470.png"/><Relationship Id="rId28" Type="http://schemas.openxmlformats.org/officeDocument/2006/relationships/image" Target="../media/image2340.png"/><Relationship Id="rId49" Type="http://schemas.openxmlformats.org/officeDocument/2006/relationships/customXml" Target="../ink/ink1587.xml"/><Relationship Id="rId114" Type="http://schemas.openxmlformats.org/officeDocument/2006/relationships/image" Target="../media/image2770.png"/><Relationship Id="rId60" Type="http://schemas.openxmlformats.org/officeDocument/2006/relationships/image" Target="../media/image2500.png"/><Relationship Id="rId81" Type="http://schemas.openxmlformats.org/officeDocument/2006/relationships/customXml" Target="../ink/ink1603.xml"/><Relationship Id="rId135" Type="http://schemas.openxmlformats.org/officeDocument/2006/relationships/customXml" Target="../ink/ink1630.xml"/><Relationship Id="rId156" Type="http://schemas.openxmlformats.org/officeDocument/2006/relationships/image" Target="../media/image2980.png"/><Relationship Id="rId177" Type="http://schemas.openxmlformats.org/officeDocument/2006/relationships/customXml" Target="../ink/ink1651.xml"/><Relationship Id="rId198" Type="http://schemas.openxmlformats.org/officeDocument/2006/relationships/image" Target="../media/image3190.png"/><Relationship Id="rId202" Type="http://schemas.openxmlformats.org/officeDocument/2006/relationships/image" Target="../media/image3211.png"/><Relationship Id="rId223" Type="http://schemas.openxmlformats.org/officeDocument/2006/relationships/customXml" Target="../ink/ink1674.xml"/><Relationship Id="rId244" Type="http://schemas.openxmlformats.org/officeDocument/2006/relationships/image" Target="../media/image3420.png"/><Relationship Id="rId18" Type="http://schemas.openxmlformats.org/officeDocument/2006/relationships/image" Target="../media/image2290.png"/><Relationship Id="rId39" Type="http://schemas.openxmlformats.org/officeDocument/2006/relationships/customXml" Target="../ink/ink1582.xml"/><Relationship Id="rId50" Type="http://schemas.openxmlformats.org/officeDocument/2006/relationships/image" Target="../media/image2450.png"/><Relationship Id="rId104" Type="http://schemas.openxmlformats.org/officeDocument/2006/relationships/image" Target="../media/image2720.png"/><Relationship Id="rId125" Type="http://schemas.openxmlformats.org/officeDocument/2006/relationships/customXml" Target="../ink/ink1625.xml"/><Relationship Id="rId146" Type="http://schemas.openxmlformats.org/officeDocument/2006/relationships/image" Target="../media/image2930.png"/><Relationship Id="rId167" Type="http://schemas.openxmlformats.org/officeDocument/2006/relationships/customXml" Target="../ink/ink1646.xml"/><Relationship Id="rId188" Type="http://schemas.openxmlformats.org/officeDocument/2006/relationships/image" Target="../media/image3140.png"/><Relationship Id="rId71" Type="http://schemas.openxmlformats.org/officeDocument/2006/relationships/customXml" Target="../ink/ink1598.xml"/><Relationship Id="rId92" Type="http://schemas.openxmlformats.org/officeDocument/2006/relationships/image" Target="../media/image2660.png"/><Relationship Id="rId213" Type="http://schemas.openxmlformats.org/officeDocument/2006/relationships/customXml" Target="../ink/ink1669.xml"/><Relationship Id="rId234" Type="http://schemas.openxmlformats.org/officeDocument/2006/relationships/image" Target="../media/image3370.png"/><Relationship Id="rId2" Type="http://schemas.openxmlformats.org/officeDocument/2006/relationships/notesSlide" Target="../notesSlides/notesSlide32.xml"/><Relationship Id="rId29" Type="http://schemas.openxmlformats.org/officeDocument/2006/relationships/customXml" Target="../ink/ink1577.xml"/><Relationship Id="rId255" Type="http://schemas.openxmlformats.org/officeDocument/2006/relationships/customXml" Target="../ink/ink1690.xml"/><Relationship Id="rId40" Type="http://schemas.openxmlformats.org/officeDocument/2006/relationships/image" Target="../media/image2400.png"/><Relationship Id="rId115" Type="http://schemas.openxmlformats.org/officeDocument/2006/relationships/customXml" Target="../ink/ink1620.xml"/><Relationship Id="rId136" Type="http://schemas.openxmlformats.org/officeDocument/2006/relationships/image" Target="../media/image2880.png"/><Relationship Id="rId157" Type="http://schemas.openxmlformats.org/officeDocument/2006/relationships/customXml" Target="../ink/ink1641.xml"/><Relationship Id="rId178" Type="http://schemas.openxmlformats.org/officeDocument/2006/relationships/image" Target="../media/image3090.png"/><Relationship Id="rId61" Type="http://schemas.openxmlformats.org/officeDocument/2006/relationships/customXml" Target="../ink/ink1593.xml"/><Relationship Id="rId82" Type="http://schemas.openxmlformats.org/officeDocument/2006/relationships/image" Target="../media/image2611.png"/><Relationship Id="rId199" Type="http://schemas.openxmlformats.org/officeDocument/2006/relationships/customXml" Target="../ink/ink1662.xml"/><Relationship Id="rId203" Type="http://schemas.openxmlformats.org/officeDocument/2006/relationships/customXml" Target="../ink/ink1664.xml"/><Relationship Id="rId19" Type="http://schemas.openxmlformats.org/officeDocument/2006/relationships/customXml" Target="../ink/ink1572.xml"/><Relationship Id="rId224" Type="http://schemas.openxmlformats.org/officeDocument/2006/relationships/image" Target="../media/image3320.png"/><Relationship Id="rId245" Type="http://schemas.openxmlformats.org/officeDocument/2006/relationships/customXml" Target="../ink/ink1685.xml"/><Relationship Id="rId30" Type="http://schemas.openxmlformats.org/officeDocument/2006/relationships/image" Target="../media/image2350.png"/><Relationship Id="rId105" Type="http://schemas.openxmlformats.org/officeDocument/2006/relationships/customXml" Target="../ink/ink1615.xml"/><Relationship Id="rId126" Type="http://schemas.openxmlformats.org/officeDocument/2006/relationships/image" Target="../media/image2830.png"/><Relationship Id="rId147" Type="http://schemas.openxmlformats.org/officeDocument/2006/relationships/customXml" Target="../ink/ink1636.xml"/><Relationship Id="rId168" Type="http://schemas.openxmlformats.org/officeDocument/2006/relationships/image" Target="../media/image3040.png"/><Relationship Id="rId51" Type="http://schemas.openxmlformats.org/officeDocument/2006/relationships/customXml" Target="../ink/ink1588.xml"/><Relationship Id="rId72" Type="http://schemas.openxmlformats.org/officeDocument/2006/relationships/image" Target="../media/image2560.png"/><Relationship Id="rId93" Type="http://schemas.openxmlformats.org/officeDocument/2006/relationships/customXml" Target="../ink/ink1609.xml"/><Relationship Id="rId189" Type="http://schemas.openxmlformats.org/officeDocument/2006/relationships/customXml" Target="../ink/ink1657.xml"/><Relationship Id="rId3" Type="http://schemas.openxmlformats.org/officeDocument/2006/relationships/customXml" Target="../ink/ink1564.xml"/><Relationship Id="rId214" Type="http://schemas.openxmlformats.org/officeDocument/2006/relationships/image" Target="../media/image3270.png"/><Relationship Id="rId235" Type="http://schemas.openxmlformats.org/officeDocument/2006/relationships/customXml" Target="../ink/ink1680.xml"/><Relationship Id="rId256" Type="http://schemas.openxmlformats.org/officeDocument/2006/relationships/image" Target="../media/image3480.png"/><Relationship Id="rId116" Type="http://schemas.openxmlformats.org/officeDocument/2006/relationships/image" Target="../media/image2780.png"/><Relationship Id="rId137" Type="http://schemas.openxmlformats.org/officeDocument/2006/relationships/customXml" Target="../ink/ink1631.xml"/><Relationship Id="rId158" Type="http://schemas.openxmlformats.org/officeDocument/2006/relationships/image" Target="../media/image2990.png"/><Relationship Id="rId20" Type="http://schemas.openxmlformats.org/officeDocument/2006/relationships/image" Target="../media/image2300.png"/><Relationship Id="rId41" Type="http://schemas.openxmlformats.org/officeDocument/2006/relationships/customXml" Target="../ink/ink1583.xml"/><Relationship Id="rId62" Type="http://schemas.openxmlformats.org/officeDocument/2006/relationships/image" Target="../media/image2511.png"/><Relationship Id="rId83" Type="http://schemas.openxmlformats.org/officeDocument/2006/relationships/customXml" Target="../ink/ink1604.xml"/><Relationship Id="rId179" Type="http://schemas.openxmlformats.org/officeDocument/2006/relationships/customXml" Target="../ink/ink1652.xml"/><Relationship Id="rId190" Type="http://schemas.openxmlformats.org/officeDocument/2006/relationships/image" Target="../media/image3150.png"/><Relationship Id="rId204" Type="http://schemas.openxmlformats.org/officeDocument/2006/relationships/image" Target="../media/image3220.png"/><Relationship Id="rId225" Type="http://schemas.openxmlformats.org/officeDocument/2006/relationships/customXml" Target="../ink/ink1675.xml"/><Relationship Id="rId246" Type="http://schemas.openxmlformats.org/officeDocument/2006/relationships/image" Target="../media/image3430.png"/><Relationship Id="rId106" Type="http://schemas.openxmlformats.org/officeDocument/2006/relationships/image" Target="../media/image2730.png"/><Relationship Id="rId127" Type="http://schemas.openxmlformats.org/officeDocument/2006/relationships/customXml" Target="../ink/ink1626.xml"/><Relationship Id="rId10" Type="http://schemas.openxmlformats.org/officeDocument/2006/relationships/image" Target="../media/image2250.png"/><Relationship Id="rId31" Type="http://schemas.openxmlformats.org/officeDocument/2006/relationships/customXml" Target="../ink/ink1578.xml"/><Relationship Id="rId52" Type="http://schemas.openxmlformats.org/officeDocument/2006/relationships/image" Target="../media/image2460.png"/><Relationship Id="rId73" Type="http://schemas.openxmlformats.org/officeDocument/2006/relationships/customXml" Target="../ink/ink1599.xml"/><Relationship Id="rId94" Type="http://schemas.openxmlformats.org/officeDocument/2006/relationships/image" Target="../media/image2670.png"/><Relationship Id="rId148" Type="http://schemas.openxmlformats.org/officeDocument/2006/relationships/image" Target="../media/image2940.png"/><Relationship Id="rId169" Type="http://schemas.openxmlformats.org/officeDocument/2006/relationships/customXml" Target="../ink/ink1647.xml"/><Relationship Id="rId4" Type="http://schemas.openxmlformats.org/officeDocument/2006/relationships/image" Target="../media/image2220.png"/><Relationship Id="rId180" Type="http://schemas.openxmlformats.org/officeDocument/2006/relationships/image" Target="../media/image3100.png"/><Relationship Id="rId215" Type="http://schemas.openxmlformats.org/officeDocument/2006/relationships/customXml" Target="../ink/ink1670.xml"/><Relationship Id="rId236" Type="http://schemas.openxmlformats.org/officeDocument/2006/relationships/image" Target="../media/image3380.png"/><Relationship Id="rId257" Type="http://schemas.openxmlformats.org/officeDocument/2006/relationships/customXml" Target="../ink/ink1691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customXml" Target="../ink/ink6.xml"/><Relationship Id="rId18" Type="http://schemas.openxmlformats.org/officeDocument/2006/relationships/image" Target="../media/image10.png"/><Relationship Id="rId26" Type="http://schemas.openxmlformats.org/officeDocument/2006/relationships/image" Target="../media/image14.png"/><Relationship Id="rId21" Type="http://schemas.openxmlformats.org/officeDocument/2006/relationships/customXml" Target="../ink/ink10.xml"/><Relationship Id="rId34" Type="http://schemas.openxmlformats.org/officeDocument/2006/relationships/image" Target="../media/image18.png"/><Relationship Id="rId7" Type="http://schemas.openxmlformats.org/officeDocument/2006/relationships/customXml" Target="../ink/ink3.xml"/><Relationship Id="rId12" Type="http://schemas.openxmlformats.org/officeDocument/2006/relationships/image" Target="../media/image7.png"/><Relationship Id="rId17" Type="http://schemas.openxmlformats.org/officeDocument/2006/relationships/customXml" Target="../ink/ink8.xml"/><Relationship Id="rId25" Type="http://schemas.openxmlformats.org/officeDocument/2006/relationships/customXml" Target="../ink/ink12.xml"/><Relationship Id="rId33" Type="http://schemas.openxmlformats.org/officeDocument/2006/relationships/customXml" Target="../ink/ink16.xml"/><Relationship Id="rId38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9.png"/><Relationship Id="rId20" Type="http://schemas.openxmlformats.org/officeDocument/2006/relationships/image" Target="../media/image11.png"/><Relationship Id="rId29" Type="http://schemas.openxmlformats.org/officeDocument/2006/relationships/customXml" Target="../ink/ink1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11" Type="http://schemas.openxmlformats.org/officeDocument/2006/relationships/customXml" Target="../ink/ink5.xml"/><Relationship Id="rId24" Type="http://schemas.openxmlformats.org/officeDocument/2006/relationships/image" Target="../media/image13.png"/><Relationship Id="rId32" Type="http://schemas.openxmlformats.org/officeDocument/2006/relationships/image" Target="../media/image17.png"/><Relationship Id="rId37" Type="http://schemas.openxmlformats.org/officeDocument/2006/relationships/customXml" Target="../ink/ink18.xml"/><Relationship Id="rId5" Type="http://schemas.openxmlformats.org/officeDocument/2006/relationships/customXml" Target="../ink/ink2.xml"/><Relationship Id="rId15" Type="http://schemas.openxmlformats.org/officeDocument/2006/relationships/customXml" Target="../ink/ink7.xml"/><Relationship Id="rId23" Type="http://schemas.openxmlformats.org/officeDocument/2006/relationships/customXml" Target="../ink/ink11.xml"/><Relationship Id="rId28" Type="http://schemas.openxmlformats.org/officeDocument/2006/relationships/image" Target="../media/image15.png"/><Relationship Id="rId36" Type="http://schemas.openxmlformats.org/officeDocument/2006/relationships/image" Target="../media/image19.png"/><Relationship Id="rId10" Type="http://schemas.openxmlformats.org/officeDocument/2006/relationships/image" Target="../media/image6.png"/><Relationship Id="rId19" Type="http://schemas.openxmlformats.org/officeDocument/2006/relationships/customXml" Target="../ink/ink9.xml"/><Relationship Id="rId31" Type="http://schemas.openxmlformats.org/officeDocument/2006/relationships/customXml" Target="../ink/ink15.xml"/><Relationship Id="rId4" Type="http://schemas.openxmlformats.org/officeDocument/2006/relationships/image" Target="../media/image3.png"/><Relationship Id="rId9" Type="http://schemas.openxmlformats.org/officeDocument/2006/relationships/customXml" Target="../ink/ink4.xml"/><Relationship Id="rId14" Type="http://schemas.openxmlformats.org/officeDocument/2006/relationships/image" Target="../media/image8.png"/><Relationship Id="rId22" Type="http://schemas.openxmlformats.org/officeDocument/2006/relationships/image" Target="../media/image12.png"/><Relationship Id="rId27" Type="http://schemas.openxmlformats.org/officeDocument/2006/relationships/customXml" Target="../ink/ink13.xml"/><Relationship Id="rId30" Type="http://schemas.openxmlformats.org/officeDocument/2006/relationships/image" Target="../media/image16.png"/><Relationship Id="rId35" Type="http://schemas.openxmlformats.org/officeDocument/2006/relationships/customXml" Target="../ink/ink17.xml"/><Relationship Id="rId8" Type="http://schemas.openxmlformats.org/officeDocument/2006/relationships/image" Target="../media/image5.png"/><Relationship Id="rId3" Type="http://schemas.openxmlformats.org/officeDocument/2006/relationships/customXml" Target="../ink/ink1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82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83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ustomXml" Target="../ink/ink21.xml"/><Relationship Id="rId13" Type="http://schemas.openxmlformats.org/officeDocument/2006/relationships/image" Target="../media/image26.png"/><Relationship Id="rId3" Type="http://schemas.openxmlformats.org/officeDocument/2006/relationships/image" Target="../media/image22.png"/><Relationship Id="rId7" Type="http://schemas.openxmlformats.org/officeDocument/2006/relationships/image" Target="../media/image23.png"/><Relationship Id="rId12" Type="http://schemas.openxmlformats.org/officeDocument/2006/relationships/customXml" Target="../ink/ink2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customXml" Target="../ink/ink20.xml"/><Relationship Id="rId11" Type="http://schemas.openxmlformats.org/officeDocument/2006/relationships/image" Target="../media/image25.png"/><Relationship Id="rId5" Type="http://schemas.openxmlformats.org/officeDocument/2006/relationships/image" Target="../media/image20.png"/><Relationship Id="rId10" Type="http://schemas.openxmlformats.org/officeDocument/2006/relationships/customXml" Target="../ink/ink22.xml"/><Relationship Id="rId4" Type="http://schemas.openxmlformats.org/officeDocument/2006/relationships/customXml" Target="../ink/ink19.xml"/><Relationship Id="rId9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2.png"/><Relationship Id="rId18" Type="http://schemas.openxmlformats.org/officeDocument/2006/relationships/customXml" Target="../ink/ink31.xml"/><Relationship Id="rId26" Type="http://schemas.openxmlformats.org/officeDocument/2006/relationships/customXml" Target="../ink/ink35.xml"/><Relationship Id="rId39" Type="http://schemas.openxmlformats.org/officeDocument/2006/relationships/image" Target="../media/image45.png"/><Relationship Id="rId21" Type="http://schemas.openxmlformats.org/officeDocument/2006/relationships/image" Target="../media/image36.png"/><Relationship Id="rId34" Type="http://schemas.openxmlformats.org/officeDocument/2006/relationships/customXml" Target="../ink/ink39.xml"/><Relationship Id="rId42" Type="http://schemas.openxmlformats.org/officeDocument/2006/relationships/customXml" Target="../ink/ink43.xml"/><Relationship Id="rId47" Type="http://schemas.openxmlformats.org/officeDocument/2006/relationships/image" Target="../media/image49.png"/><Relationship Id="rId50" Type="http://schemas.openxmlformats.org/officeDocument/2006/relationships/customXml" Target="../ink/ink47.xml"/><Relationship Id="rId55" Type="http://schemas.openxmlformats.org/officeDocument/2006/relationships/image" Target="../media/image53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8.xml"/><Relationship Id="rId16" Type="http://schemas.openxmlformats.org/officeDocument/2006/relationships/customXml" Target="../ink/ink30.xml"/><Relationship Id="rId29" Type="http://schemas.openxmlformats.org/officeDocument/2006/relationships/image" Target="../media/image40.png"/><Relationship Id="rId11" Type="http://schemas.openxmlformats.org/officeDocument/2006/relationships/image" Target="../media/image31.png"/><Relationship Id="rId24" Type="http://schemas.openxmlformats.org/officeDocument/2006/relationships/customXml" Target="../ink/ink34.xml"/><Relationship Id="rId32" Type="http://schemas.openxmlformats.org/officeDocument/2006/relationships/customXml" Target="../ink/ink38.xml"/><Relationship Id="rId37" Type="http://schemas.openxmlformats.org/officeDocument/2006/relationships/image" Target="../media/image44.png"/><Relationship Id="rId40" Type="http://schemas.openxmlformats.org/officeDocument/2006/relationships/customXml" Target="../ink/ink42.xml"/><Relationship Id="rId45" Type="http://schemas.openxmlformats.org/officeDocument/2006/relationships/image" Target="../media/image48.png"/><Relationship Id="rId53" Type="http://schemas.openxmlformats.org/officeDocument/2006/relationships/image" Target="../media/image52.png"/><Relationship Id="rId5" Type="http://schemas.openxmlformats.org/officeDocument/2006/relationships/image" Target="../media/image28.png"/><Relationship Id="rId10" Type="http://schemas.openxmlformats.org/officeDocument/2006/relationships/customXml" Target="../ink/ink27.xml"/><Relationship Id="rId19" Type="http://schemas.openxmlformats.org/officeDocument/2006/relationships/image" Target="../media/image35.png"/><Relationship Id="rId31" Type="http://schemas.openxmlformats.org/officeDocument/2006/relationships/image" Target="../media/image41.png"/><Relationship Id="rId44" Type="http://schemas.openxmlformats.org/officeDocument/2006/relationships/customXml" Target="../ink/ink44.xml"/><Relationship Id="rId52" Type="http://schemas.openxmlformats.org/officeDocument/2006/relationships/customXml" Target="../ink/ink48.xml"/><Relationship Id="rId4" Type="http://schemas.openxmlformats.org/officeDocument/2006/relationships/customXml" Target="../ink/ink24.xml"/><Relationship Id="rId9" Type="http://schemas.openxmlformats.org/officeDocument/2006/relationships/image" Target="../media/image30.png"/><Relationship Id="rId14" Type="http://schemas.openxmlformats.org/officeDocument/2006/relationships/customXml" Target="../ink/ink29.xml"/><Relationship Id="rId22" Type="http://schemas.openxmlformats.org/officeDocument/2006/relationships/customXml" Target="../ink/ink33.xml"/><Relationship Id="rId27" Type="http://schemas.openxmlformats.org/officeDocument/2006/relationships/image" Target="../media/image39.png"/><Relationship Id="rId30" Type="http://schemas.openxmlformats.org/officeDocument/2006/relationships/customXml" Target="../ink/ink37.xml"/><Relationship Id="rId35" Type="http://schemas.openxmlformats.org/officeDocument/2006/relationships/image" Target="../media/image43.png"/><Relationship Id="rId43" Type="http://schemas.openxmlformats.org/officeDocument/2006/relationships/image" Target="../media/image47.png"/><Relationship Id="rId48" Type="http://schemas.openxmlformats.org/officeDocument/2006/relationships/customXml" Target="../ink/ink46.xml"/><Relationship Id="rId8" Type="http://schemas.openxmlformats.org/officeDocument/2006/relationships/customXml" Target="../ink/ink26.xml"/><Relationship Id="rId51" Type="http://schemas.openxmlformats.org/officeDocument/2006/relationships/image" Target="../media/image51.png"/><Relationship Id="rId3" Type="http://schemas.openxmlformats.org/officeDocument/2006/relationships/image" Target="../media/image27.png"/><Relationship Id="rId12" Type="http://schemas.openxmlformats.org/officeDocument/2006/relationships/customXml" Target="../ink/ink28.xml"/><Relationship Id="rId17" Type="http://schemas.openxmlformats.org/officeDocument/2006/relationships/image" Target="../media/image34.png"/><Relationship Id="rId25" Type="http://schemas.openxmlformats.org/officeDocument/2006/relationships/image" Target="../media/image38.png"/><Relationship Id="rId33" Type="http://schemas.openxmlformats.org/officeDocument/2006/relationships/image" Target="../media/image42.png"/><Relationship Id="rId38" Type="http://schemas.openxmlformats.org/officeDocument/2006/relationships/customXml" Target="../ink/ink41.xml"/><Relationship Id="rId46" Type="http://schemas.openxmlformats.org/officeDocument/2006/relationships/customXml" Target="../ink/ink45.xml"/><Relationship Id="rId20" Type="http://schemas.openxmlformats.org/officeDocument/2006/relationships/customXml" Target="../ink/ink32.xml"/><Relationship Id="rId41" Type="http://schemas.openxmlformats.org/officeDocument/2006/relationships/image" Target="../media/image46.png"/><Relationship Id="rId54" Type="http://schemas.openxmlformats.org/officeDocument/2006/relationships/customXml" Target="../ink/ink49.xml"/><Relationship Id="rId1" Type="http://schemas.openxmlformats.org/officeDocument/2006/relationships/slideLayout" Target="../slideLayouts/slideLayout2.xml"/><Relationship Id="rId6" Type="http://schemas.openxmlformats.org/officeDocument/2006/relationships/customXml" Target="../ink/ink25.xml"/><Relationship Id="rId15" Type="http://schemas.openxmlformats.org/officeDocument/2006/relationships/image" Target="../media/image33.png"/><Relationship Id="rId23" Type="http://schemas.openxmlformats.org/officeDocument/2006/relationships/image" Target="../media/image37.png"/><Relationship Id="rId28" Type="http://schemas.openxmlformats.org/officeDocument/2006/relationships/customXml" Target="../ink/ink36.xml"/><Relationship Id="rId36" Type="http://schemas.openxmlformats.org/officeDocument/2006/relationships/customXml" Target="../ink/ink40.xml"/><Relationship Id="rId49" Type="http://schemas.openxmlformats.org/officeDocument/2006/relationships/image" Target="../media/image50.png"/></Relationships>
</file>

<file path=ppt/slides/_rels/slide9.xml.rels><?xml version="1.0" encoding="UTF-8" standalone="yes"?>
<Relationships xmlns="http://schemas.openxmlformats.org/package/2006/relationships"><Relationship Id="rId26" Type="http://schemas.openxmlformats.org/officeDocument/2006/relationships/customXml" Target="../ink/ink61.xml"/><Relationship Id="rId21" Type="http://schemas.openxmlformats.org/officeDocument/2006/relationships/image" Target="../media/image63.png"/><Relationship Id="rId42" Type="http://schemas.openxmlformats.org/officeDocument/2006/relationships/customXml" Target="../ink/ink69.xml"/><Relationship Id="rId47" Type="http://schemas.openxmlformats.org/officeDocument/2006/relationships/image" Target="../media/image76.png"/><Relationship Id="rId63" Type="http://schemas.openxmlformats.org/officeDocument/2006/relationships/image" Target="../media/image84.png"/><Relationship Id="rId68" Type="http://schemas.openxmlformats.org/officeDocument/2006/relationships/customXml" Target="../ink/ink82.xml"/><Relationship Id="rId84" Type="http://schemas.openxmlformats.org/officeDocument/2006/relationships/customXml" Target="../ink/ink90.xml"/><Relationship Id="rId89" Type="http://schemas.openxmlformats.org/officeDocument/2006/relationships/image" Target="../media/image97.png"/><Relationship Id="rId16" Type="http://schemas.openxmlformats.org/officeDocument/2006/relationships/customXml" Target="../ink/ink56.xml"/><Relationship Id="rId11" Type="http://schemas.openxmlformats.org/officeDocument/2006/relationships/image" Target="../media/image58.png"/><Relationship Id="rId32" Type="http://schemas.openxmlformats.org/officeDocument/2006/relationships/customXml" Target="../ink/ink64.xml"/><Relationship Id="rId37" Type="http://schemas.openxmlformats.org/officeDocument/2006/relationships/image" Target="../media/image71.png"/><Relationship Id="rId53" Type="http://schemas.openxmlformats.org/officeDocument/2006/relationships/image" Target="../media/image79.png"/><Relationship Id="rId58" Type="http://schemas.openxmlformats.org/officeDocument/2006/relationships/customXml" Target="../ink/ink77.xml"/><Relationship Id="rId74" Type="http://schemas.openxmlformats.org/officeDocument/2006/relationships/customXml" Target="../ink/ink85.xml"/><Relationship Id="rId79" Type="http://schemas.openxmlformats.org/officeDocument/2006/relationships/image" Target="../media/image92.png"/><Relationship Id="rId5" Type="http://schemas.openxmlformats.org/officeDocument/2006/relationships/image" Target="../media/image55.png"/><Relationship Id="rId90" Type="http://schemas.openxmlformats.org/officeDocument/2006/relationships/customXml" Target="../ink/ink93.xml"/><Relationship Id="rId22" Type="http://schemas.openxmlformats.org/officeDocument/2006/relationships/customXml" Target="../ink/ink59.xml"/><Relationship Id="rId27" Type="http://schemas.openxmlformats.org/officeDocument/2006/relationships/image" Target="../media/image66.png"/><Relationship Id="rId43" Type="http://schemas.openxmlformats.org/officeDocument/2006/relationships/image" Target="../media/image74.png"/><Relationship Id="rId48" Type="http://schemas.openxmlformats.org/officeDocument/2006/relationships/customXml" Target="../ink/ink72.xml"/><Relationship Id="rId64" Type="http://schemas.openxmlformats.org/officeDocument/2006/relationships/customXml" Target="../ink/ink80.xml"/><Relationship Id="rId69" Type="http://schemas.openxmlformats.org/officeDocument/2006/relationships/image" Target="../media/image87.png"/><Relationship Id="rId8" Type="http://schemas.openxmlformats.org/officeDocument/2006/relationships/customXml" Target="../ink/ink52.xml"/><Relationship Id="rId51" Type="http://schemas.openxmlformats.org/officeDocument/2006/relationships/image" Target="../media/image78.png"/><Relationship Id="rId72" Type="http://schemas.openxmlformats.org/officeDocument/2006/relationships/customXml" Target="../ink/ink84.xml"/><Relationship Id="rId80" Type="http://schemas.openxmlformats.org/officeDocument/2006/relationships/customXml" Target="../ink/ink88.xml"/><Relationship Id="rId85" Type="http://schemas.openxmlformats.org/officeDocument/2006/relationships/image" Target="../media/image95.png"/><Relationship Id="rId93" Type="http://schemas.openxmlformats.org/officeDocument/2006/relationships/image" Target="../media/image99.png"/><Relationship Id="rId3" Type="http://schemas.openxmlformats.org/officeDocument/2006/relationships/image" Target="../media/image54.png"/><Relationship Id="rId12" Type="http://schemas.openxmlformats.org/officeDocument/2006/relationships/customXml" Target="../ink/ink54.xml"/><Relationship Id="rId17" Type="http://schemas.openxmlformats.org/officeDocument/2006/relationships/image" Target="../media/image61.png"/><Relationship Id="rId25" Type="http://schemas.openxmlformats.org/officeDocument/2006/relationships/image" Target="../media/image65.png"/><Relationship Id="rId33" Type="http://schemas.openxmlformats.org/officeDocument/2006/relationships/image" Target="../media/image69.png"/><Relationship Id="rId38" Type="http://schemas.openxmlformats.org/officeDocument/2006/relationships/customXml" Target="../ink/ink67.xml"/><Relationship Id="rId46" Type="http://schemas.openxmlformats.org/officeDocument/2006/relationships/customXml" Target="../ink/ink71.xml"/><Relationship Id="rId59" Type="http://schemas.openxmlformats.org/officeDocument/2006/relationships/image" Target="../media/image82.png"/><Relationship Id="rId67" Type="http://schemas.openxmlformats.org/officeDocument/2006/relationships/image" Target="../media/image86.png"/><Relationship Id="rId20" Type="http://schemas.openxmlformats.org/officeDocument/2006/relationships/customXml" Target="../ink/ink58.xml"/><Relationship Id="rId41" Type="http://schemas.openxmlformats.org/officeDocument/2006/relationships/image" Target="../media/image73.png"/><Relationship Id="rId54" Type="http://schemas.openxmlformats.org/officeDocument/2006/relationships/customXml" Target="../ink/ink75.xml"/><Relationship Id="rId62" Type="http://schemas.openxmlformats.org/officeDocument/2006/relationships/customXml" Target="../ink/ink79.xml"/><Relationship Id="rId70" Type="http://schemas.openxmlformats.org/officeDocument/2006/relationships/customXml" Target="../ink/ink83.xml"/><Relationship Id="rId75" Type="http://schemas.openxmlformats.org/officeDocument/2006/relationships/image" Target="../media/image90.png"/><Relationship Id="rId83" Type="http://schemas.openxmlformats.org/officeDocument/2006/relationships/image" Target="../media/image94.png"/><Relationship Id="rId88" Type="http://schemas.openxmlformats.org/officeDocument/2006/relationships/customXml" Target="../ink/ink92.xml"/><Relationship Id="rId91" Type="http://schemas.openxmlformats.org/officeDocument/2006/relationships/image" Target="../media/image98.png"/><Relationship Id="rId1" Type="http://schemas.openxmlformats.org/officeDocument/2006/relationships/slideLayout" Target="../slideLayouts/slideLayout2.xml"/><Relationship Id="rId6" Type="http://schemas.openxmlformats.org/officeDocument/2006/relationships/customXml" Target="../ink/ink51.xml"/><Relationship Id="rId15" Type="http://schemas.openxmlformats.org/officeDocument/2006/relationships/image" Target="../media/image60.png"/><Relationship Id="rId23" Type="http://schemas.openxmlformats.org/officeDocument/2006/relationships/image" Target="../media/image64.png"/><Relationship Id="rId28" Type="http://schemas.openxmlformats.org/officeDocument/2006/relationships/customXml" Target="../ink/ink62.xml"/><Relationship Id="rId36" Type="http://schemas.openxmlformats.org/officeDocument/2006/relationships/customXml" Target="../ink/ink66.xml"/><Relationship Id="rId49" Type="http://schemas.openxmlformats.org/officeDocument/2006/relationships/image" Target="../media/image77.png"/><Relationship Id="rId57" Type="http://schemas.openxmlformats.org/officeDocument/2006/relationships/image" Target="../media/image81.png"/><Relationship Id="rId10" Type="http://schemas.openxmlformats.org/officeDocument/2006/relationships/customXml" Target="../ink/ink53.xml"/><Relationship Id="rId31" Type="http://schemas.openxmlformats.org/officeDocument/2006/relationships/image" Target="../media/image68.png"/><Relationship Id="rId44" Type="http://schemas.openxmlformats.org/officeDocument/2006/relationships/customXml" Target="../ink/ink70.xml"/><Relationship Id="rId52" Type="http://schemas.openxmlformats.org/officeDocument/2006/relationships/customXml" Target="../ink/ink74.xml"/><Relationship Id="rId60" Type="http://schemas.openxmlformats.org/officeDocument/2006/relationships/customXml" Target="../ink/ink78.xml"/><Relationship Id="rId65" Type="http://schemas.openxmlformats.org/officeDocument/2006/relationships/image" Target="../media/image85.png"/><Relationship Id="rId73" Type="http://schemas.openxmlformats.org/officeDocument/2006/relationships/image" Target="../media/image89.png"/><Relationship Id="rId78" Type="http://schemas.openxmlformats.org/officeDocument/2006/relationships/customXml" Target="../ink/ink87.xml"/><Relationship Id="rId81" Type="http://schemas.openxmlformats.org/officeDocument/2006/relationships/image" Target="../media/image93.png"/><Relationship Id="rId86" Type="http://schemas.openxmlformats.org/officeDocument/2006/relationships/customXml" Target="../ink/ink91.xml"/><Relationship Id="rId4" Type="http://schemas.openxmlformats.org/officeDocument/2006/relationships/customXml" Target="../ink/ink50.xml"/><Relationship Id="rId9" Type="http://schemas.openxmlformats.org/officeDocument/2006/relationships/image" Target="../media/image57.png"/><Relationship Id="rId13" Type="http://schemas.openxmlformats.org/officeDocument/2006/relationships/image" Target="../media/image59.png"/><Relationship Id="rId18" Type="http://schemas.openxmlformats.org/officeDocument/2006/relationships/customXml" Target="../ink/ink57.xml"/><Relationship Id="rId39" Type="http://schemas.openxmlformats.org/officeDocument/2006/relationships/image" Target="../media/image72.png"/><Relationship Id="rId34" Type="http://schemas.openxmlformats.org/officeDocument/2006/relationships/customXml" Target="../ink/ink65.xml"/><Relationship Id="rId50" Type="http://schemas.openxmlformats.org/officeDocument/2006/relationships/customXml" Target="../ink/ink73.xml"/><Relationship Id="rId55" Type="http://schemas.openxmlformats.org/officeDocument/2006/relationships/image" Target="../media/image80.png"/><Relationship Id="rId76" Type="http://schemas.openxmlformats.org/officeDocument/2006/relationships/customXml" Target="../ink/ink86.xml"/><Relationship Id="rId7" Type="http://schemas.openxmlformats.org/officeDocument/2006/relationships/image" Target="../media/image56.png"/><Relationship Id="rId71" Type="http://schemas.openxmlformats.org/officeDocument/2006/relationships/image" Target="../media/image88.png"/><Relationship Id="rId92" Type="http://schemas.openxmlformats.org/officeDocument/2006/relationships/customXml" Target="../ink/ink94.xml"/><Relationship Id="rId2" Type="http://schemas.openxmlformats.org/officeDocument/2006/relationships/notesSlide" Target="../notesSlides/notesSlide9.xml"/><Relationship Id="rId29" Type="http://schemas.openxmlformats.org/officeDocument/2006/relationships/image" Target="../media/image67.png"/><Relationship Id="rId24" Type="http://schemas.openxmlformats.org/officeDocument/2006/relationships/customXml" Target="../ink/ink60.xml"/><Relationship Id="rId40" Type="http://schemas.openxmlformats.org/officeDocument/2006/relationships/customXml" Target="../ink/ink68.xml"/><Relationship Id="rId45" Type="http://schemas.openxmlformats.org/officeDocument/2006/relationships/image" Target="../media/image75.png"/><Relationship Id="rId66" Type="http://schemas.openxmlformats.org/officeDocument/2006/relationships/customXml" Target="../ink/ink81.xml"/><Relationship Id="rId87" Type="http://schemas.openxmlformats.org/officeDocument/2006/relationships/image" Target="../media/image96.png"/><Relationship Id="rId61" Type="http://schemas.openxmlformats.org/officeDocument/2006/relationships/image" Target="../media/image83.png"/><Relationship Id="rId82" Type="http://schemas.openxmlformats.org/officeDocument/2006/relationships/customXml" Target="../ink/ink89.xml"/><Relationship Id="rId19" Type="http://schemas.openxmlformats.org/officeDocument/2006/relationships/image" Target="../media/image62.png"/><Relationship Id="rId14" Type="http://schemas.openxmlformats.org/officeDocument/2006/relationships/customXml" Target="../ink/ink55.xml"/><Relationship Id="rId30" Type="http://schemas.openxmlformats.org/officeDocument/2006/relationships/customXml" Target="../ink/ink63.xml"/><Relationship Id="rId35" Type="http://schemas.openxmlformats.org/officeDocument/2006/relationships/image" Target="../media/image70.png"/><Relationship Id="rId56" Type="http://schemas.openxmlformats.org/officeDocument/2006/relationships/customXml" Target="../ink/ink76.xml"/><Relationship Id="rId77" Type="http://schemas.openxmlformats.org/officeDocument/2006/relationships/image" Target="../media/image9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1"/>
          <p:cNvSpPr txBox="1">
            <a:spLocks noGrp="1"/>
          </p:cNvSpPr>
          <p:nvPr>
            <p:ph type="ctrTitle"/>
          </p:nvPr>
        </p:nvSpPr>
        <p:spPr>
          <a:xfrm>
            <a:off x="1537854" y="2674072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</a:pPr>
            <a:r>
              <a:rPr lang="en-US" sz="6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tistical Learning - </a:t>
            </a:r>
            <a:br>
              <a:rPr lang="en-US" sz="6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6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bability and Distributions- Week 2 </a:t>
            </a:r>
            <a:endParaRPr sz="60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</a:pPr>
            <a:endParaRPr sz="60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Google Shape;138;p10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r>
              <a:rPr lang="en-US"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ultiplication Rule</a:t>
            </a:r>
            <a:endParaRPr/>
          </a:p>
        </p:txBody>
      </p:sp>
      <p:pic>
        <p:nvPicPr>
          <p:cNvPr id="139" name="Google Shape;139;p1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38200" y="1956580"/>
            <a:ext cx="10587382" cy="397998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Google Shape;144;p11"/>
          <p:cNvSpPr txBox="1">
            <a:spLocks noGrp="1"/>
          </p:cNvSpPr>
          <p:nvPr>
            <p:ph type="title"/>
          </p:nvPr>
        </p:nvSpPr>
        <p:spPr>
          <a:xfrm>
            <a:off x="753794" y="0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r>
              <a:rPr lang="en-US"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ultiplication Rule</a:t>
            </a:r>
            <a:endParaRPr/>
          </a:p>
        </p:txBody>
      </p:sp>
      <p:pic>
        <p:nvPicPr>
          <p:cNvPr id="145" name="Google Shape;145;p1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527516" y="1319872"/>
            <a:ext cx="8600687" cy="5538128"/>
          </a:xfrm>
          <a:prstGeom prst="rect">
            <a:avLst/>
          </a:prstGeom>
          <a:noFill/>
          <a:ln>
            <a:noFill/>
          </a:ln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4">
            <p14:nvContentPartPr>
              <p14:cNvPr id="2" name="Ink 1">
                <a:extLst>
                  <a:ext uri="{FF2B5EF4-FFF2-40B4-BE49-F238E27FC236}">
                    <a16:creationId xmlns:a16="http://schemas.microsoft.com/office/drawing/2014/main" id="{FAF03DFE-E193-5022-E9BB-2C723E22BE25}"/>
                  </a:ext>
                </a:extLst>
              </p14:cNvPr>
              <p14:cNvContentPartPr/>
              <p14:nvPr/>
            </p14:nvContentPartPr>
            <p14:xfrm>
              <a:off x="2358101" y="3851132"/>
              <a:ext cx="360" cy="360"/>
            </p14:xfrm>
          </p:contentPart>
        </mc:Choice>
        <mc:Fallback>
          <p:pic>
            <p:nvPicPr>
              <p:cNvPr id="2" name="Ink 1">
                <a:extLst>
                  <a:ext uri="{FF2B5EF4-FFF2-40B4-BE49-F238E27FC236}">
                    <a16:creationId xmlns:a16="http://schemas.microsoft.com/office/drawing/2014/main" id="{FAF03DFE-E193-5022-E9BB-2C723E22BE25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349461" y="3842132"/>
                <a:ext cx="18000" cy="18000"/>
              </a:xfrm>
              <a:prstGeom prst="rect">
                <a:avLst/>
              </a:prstGeom>
            </p:spPr>
          </p:pic>
        </mc:Fallback>
      </mc:AlternateContent>
      <p:grpSp>
        <p:nvGrpSpPr>
          <p:cNvPr id="25" name="Group 24">
            <a:extLst>
              <a:ext uri="{FF2B5EF4-FFF2-40B4-BE49-F238E27FC236}">
                <a16:creationId xmlns:a16="http://schemas.microsoft.com/office/drawing/2014/main" id="{6DB30CB4-077A-627F-CD4F-88F57D0F116C}"/>
              </a:ext>
            </a:extLst>
          </p:cNvPr>
          <p:cNvGrpSpPr/>
          <p:nvPr/>
        </p:nvGrpSpPr>
        <p:grpSpPr>
          <a:xfrm>
            <a:off x="7228541" y="993092"/>
            <a:ext cx="1368000" cy="1581480"/>
            <a:chOff x="7565141" y="803012"/>
            <a:chExt cx="1368000" cy="158148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6">
              <p14:nvContentPartPr>
                <p14:cNvPr id="3" name="Ink 2">
                  <a:extLst>
                    <a:ext uri="{FF2B5EF4-FFF2-40B4-BE49-F238E27FC236}">
                      <a16:creationId xmlns:a16="http://schemas.microsoft.com/office/drawing/2014/main" id="{2026C077-FBEF-05F3-C416-BB59DFC75718}"/>
                    </a:ext>
                  </a:extLst>
                </p14:cNvPr>
                <p14:cNvContentPartPr/>
                <p14:nvPr/>
              </p14:nvContentPartPr>
              <p14:xfrm>
                <a:off x="7565141" y="886532"/>
                <a:ext cx="587160" cy="717840"/>
              </p14:xfrm>
            </p:contentPart>
          </mc:Choice>
          <mc:Fallback>
            <p:pic>
              <p:nvPicPr>
                <p:cNvPr id="3" name="Ink 2">
                  <a:extLst>
                    <a:ext uri="{FF2B5EF4-FFF2-40B4-BE49-F238E27FC236}">
                      <a16:creationId xmlns:a16="http://schemas.microsoft.com/office/drawing/2014/main" id="{2026C077-FBEF-05F3-C416-BB59DFC75718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7549661" y="871412"/>
                  <a:ext cx="617760" cy="748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">
              <p14:nvContentPartPr>
                <p14:cNvPr id="4" name="Ink 3">
                  <a:extLst>
                    <a:ext uri="{FF2B5EF4-FFF2-40B4-BE49-F238E27FC236}">
                      <a16:creationId xmlns:a16="http://schemas.microsoft.com/office/drawing/2014/main" id="{94693732-BB43-EFD6-A930-49855B76D5C3}"/>
                    </a:ext>
                  </a:extLst>
                </p14:cNvPr>
                <p14:cNvContentPartPr/>
                <p14:nvPr/>
              </p14:nvContentPartPr>
              <p14:xfrm>
                <a:off x="7859261" y="803012"/>
                <a:ext cx="662040" cy="808920"/>
              </p14:xfrm>
            </p:contentPart>
          </mc:Choice>
          <mc:Fallback>
            <p:pic>
              <p:nvPicPr>
                <p:cNvPr id="4" name="Ink 3">
                  <a:extLst>
                    <a:ext uri="{FF2B5EF4-FFF2-40B4-BE49-F238E27FC236}">
                      <a16:creationId xmlns:a16="http://schemas.microsoft.com/office/drawing/2014/main" id="{94693732-BB43-EFD6-A930-49855B76D5C3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7844141" y="787892"/>
                  <a:ext cx="692640" cy="839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">
              <p14:nvContentPartPr>
                <p14:cNvPr id="5" name="Ink 4">
                  <a:extLst>
                    <a:ext uri="{FF2B5EF4-FFF2-40B4-BE49-F238E27FC236}">
                      <a16:creationId xmlns:a16="http://schemas.microsoft.com/office/drawing/2014/main" id="{EACB06FE-95F1-7863-A6A0-C879DB8D4C1C}"/>
                    </a:ext>
                  </a:extLst>
                </p14:cNvPr>
                <p14:cNvContentPartPr/>
                <p14:nvPr/>
              </p14:nvContentPartPr>
              <p14:xfrm>
                <a:off x="7907861" y="1047452"/>
                <a:ext cx="183960" cy="59040"/>
              </p14:xfrm>
            </p:contentPart>
          </mc:Choice>
          <mc:Fallback>
            <p:pic>
              <p:nvPicPr>
                <p:cNvPr id="5" name="Ink 4">
                  <a:extLst>
                    <a:ext uri="{FF2B5EF4-FFF2-40B4-BE49-F238E27FC236}">
                      <a16:creationId xmlns:a16="http://schemas.microsoft.com/office/drawing/2014/main" id="{EACB06FE-95F1-7863-A6A0-C879DB8D4C1C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7892741" y="1032332"/>
                  <a:ext cx="214200" cy="89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">
              <p14:nvContentPartPr>
                <p14:cNvPr id="6" name="Ink 5">
                  <a:extLst>
                    <a:ext uri="{FF2B5EF4-FFF2-40B4-BE49-F238E27FC236}">
                      <a16:creationId xmlns:a16="http://schemas.microsoft.com/office/drawing/2014/main" id="{0EA88EA8-1574-D8D0-38B8-8FCE81A972F5}"/>
                    </a:ext>
                  </a:extLst>
                </p14:cNvPr>
                <p14:cNvContentPartPr/>
                <p14:nvPr/>
              </p14:nvContentPartPr>
              <p14:xfrm>
                <a:off x="7886981" y="1179932"/>
                <a:ext cx="207360" cy="40320"/>
              </p14:xfrm>
            </p:contentPart>
          </mc:Choice>
          <mc:Fallback>
            <p:pic>
              <p:nvPicPr>
                <p:cNvPr id="6" name="Ink 5">
                  <a:extLst>
                    <a:ext uri="{FF2B5EF4-FFF2-40B4-BE49-F238E27FC236}">
                      <a16:creationId xmlns:a16="http://schemas.microsoft.com/office/drawing/2014/main" id="{0EA88EA8-1574-D8D0-38B8-8FCE81A972F5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7871861" y="1164812"/>
                  <a:ext cx="237960" cy="70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">
              <p14:nvContentPartPr>
                <p14:cNvPr id="7" name="Ink 6">
                  <a:extLst>
                    <a:ext uri="{FF2B5EF4-FFF2-40B4-BE49-F238E27FC236}">
                      <a16:creationId xmlns:a16="http://schemas.microsoft.com/office/drawing/2014/main" id="{46796B34-65E6-0935-99CF-C8C4B8A9ABB2}"/>
                    </a:ext>
                  </a:extLst>
                </p14:cNvPr>
                <p14:cNvContentPartPr/>
                <p14:nvPr/>
              </p14:nvContentPartPr>
              <p14:xfrm>
                <a:off x="7899941" y="1272452"/>
                <a:ext cx="209880" cy="46440"/>
              </p14:xfrm>
            </p:contentPart>
          </mc:Choice>
          <mc:Fallback>
            <p:pic>
              <p:nvPicPr>
                <p:cNvPr id="7" name="Ink 6">
                  <a:extLst>
                    <a:ext uri="{FF2B5EF4-FFF2-40B4-BE49-F238E27FC236}">
                      <a16:creationId xmlns:a16="http://schemas.microsoft.com/office/drawing/2014/main" id="{46796B34-65E6-0935-99CF-C8C4B8A9ABB2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7884821" y="1257332"/>
                  <a:ext cx="240480" cy="77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">
              <p14:nvContentPartPr>
                <p14:cNvPr id="8" name="Ink 7">
                  <a:extLst>
                    <a:ext uri="{FF2B5EF4-FFF2-40B4-BE49-F238E27FC236}">
                      <a16:creationId xmlns:a16="http://schemas.microsoft.com/office/drawing/2014/main" id="{B9CA47D0-0F33-F1CF-AC46-98BE183D2E0C}"/>
                    </a:ext>
                  </a:extLst>
                </p14:cNvPr>
                <p14:cNvContentPartPr/>
                <p14:nvPr/>
              </p14:nvContentPartPr>
              <p14:xfrm>
                <a:off x="7919021" y="1363532"/>
                <a:ext cx="174240" cy="57600"/>
              </p14:xfrm>
            </p:contentPart>
          </mc:Choice>
          <mc:Fallback>
            <p:pic>
              <p:nvPicPr>
                <p:cNvPr id="8" name="Ink 7">
                  <a:extLst>
                    <a:ext uri="{FF2B5EF4-FFF2-40B4-BE49-F238E27FC236}">
                      <a16:creationId xmlns:a16="http://schemas.microsoft.com/office/drawing/2014/main" id="{B9CA47D0-0F33-F1CF-AC46-98BE183D2E0C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7903901" y="1348052"/>
                  <a:ext cx="204480" cy="88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8">
              <p14:nvContentPartPr>
                <p14:cNvPr id="9" name="Ink 8">
                  <a:extLst>
                    <a:ext uri="{FF2B5EF4-FFF2-40B4-BE49-F238E27FC236}">
                      <a16:creationId xmlns:a16="http://schemas.microsoft.com/office/drawing/2014/main" id="{F23DE4AD-0C49-FF2A-8944-C301A65681EB}"/>
                    </a:ext>
                  </a:extLst>
                </p14:cNvPr>
                <p14:cNvContentPartPr/>
                <p14:nvPr/>
              </p14:nvContentPartPr>
              <p14:xfrm>
                <a:off x="7965101" y="1480532"/>
                <a:ext cx="99000" cy="19800"/>
              </p14:xfrm>
            </p:contentPart>
          </mc:Choice>
          <mc:Fallback>
            <p:pic>
              <p:nvPicPr>
                <p:cNvPr id="9" name="Ink 8">
                  <a:extLst>
                    <a:ext uri="{FF2B5EF4-FFF2-40B4-BE49-F238E27FC236}">
                      <a16:creationId xmlns:a16="http://schemas.microsoft.com/office/drawing/2014/main" id="{F23DE4AD-0C49-FF2A-8944-C301A65681EB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7949981" y="1465412"/>
                  <a:ext cx="129240" cy="50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0">
              <p14:nvContentPartPr>
                <p14:cNvPr id="10" name="Ink 9">
                  <a:extLst>
                    <a:ext uri="{FF2B5EF4-FFF2-40B4-BE49-F238E27FC236}">
                      <a16:creationId xmlns:a16="http://schemas.microsoft.com/office/drawing/2014/main" id="{215C5AF2-F02C-4CB0-EDFD-403CA88D67DD}"/>
                    </a:ext>
                  </a:extLst>
                </p14:cNvPr>
                <p14:cNvContentPartPr/>
                <p14:nvPr/>
              </p14:nvContentPartPr>
              <p14:xfrm>
                <a:off x="7680341" y="1278932"/>
                <a:ext cx="114480" cy="171360"/>
              </p14:xfrm>
            </p:contentPart>
          </mc:Choice>
          <mc:Fallback>
            <p:pic>
              <p:nvPicPr>
                <p:cNvPr id="10" name="Ink 9">
                  <a:extLst>
                    <a:ext uri="{FF2B5EF4-FFF2-40B4-BE49-F238E27FC236}">
                      <a16:creationId xmlns:a16="http://schemas.microsoft.com/office/drawing/2014/main" id="{215C5AF2-F02C-4CB0-EDFD-403CA88D67DD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7664861" y="1263812"/>
                  <a:ext cx="145080" cy="201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2">
              <p14:nvContentPartPr>
                <p14:cNvPr id="11" name="Ink 10">
                  <a:extLst>
                    <a:ext uri="{FF2B5EF4-FFF2-40B4-BE49-F238E27FC236}">
                      <a16:creationId xmlns:a16="http://schemas.microsoft.com/office/drawing/2014/main" id="{4890239B-B67A-32F3-0B18-C4F4C04ADD09}"/>
                    </a:ext>
                  </a:extLst>
                </p14:cNvPr>
                <p14:cNvContentPartPr/>
                <p14:nvPr/>
              </p14:nvContentPartPr>
              <p14:xfrm>
                <a:off x="7695821" y="1323932"/>
                <a:ext cx="107640" cy="67680"/>
              </p14:xfrm>
            </p:contentPart>
          </mc:Choice>
          <mc:Fallback>
            <p:pic>
              <p:nvPicPr>
                <p:cNvPr id="11" name="Ink 10">
                  <a:extLst>
                    <a:ext uri="{FF2B5EF4-FFF2-40B4-BE49-F238E27FC236}">
                      <a16:creationId xmlns:a16="http://schemas.microsoft.com/office/drawing/2014/main" id="{4890239B-B67A-32F3-0B18-C4F4C04ADD09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7680701" y="1308452"/>
                  <a:ext cx="138240" cy="98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4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3301123C-F7F0-FBBE-E75D-3B779734CA62}"/>
                    </a:ext>
                  </a:extLst>
                </p14:cNvPr>
                <p14:cNvContentPartPr/>
                <p14:nvPr/>
              </p14:nvContentPartPr>
              <p14:xfrm>
                <a:off x="8233301" y="1159412"/>
                <a:ext cx="99360" cy="143280"/>
              </p14:xfrm>
            </p:contentPart>
          </mc:Choice>
          <mc:Fallback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3301123C-F7F0-FBBE-E75D-3B779734CA62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8218181" y="1144292"/>
                  <a:ext cx="129960" cy="173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6">
              <p14:nvContentPartPr>
                <p14:cNvPr id="13" name="Ink 12">
                  <a:extLst>
                    <a:ext uri="{FF2B5EF4-FFF2-40B4-BE49-F238E27FC236}">
                      <a16:creationId xmlns:a16="http://schemas.microsoft.com/office/drawing/2014/main" id="{0F7CB3BB-E33D-9551-9CB5-8B5813102EFA}"/>
                    </a:ext>
                  </a:extLst>
                </p14:cNvPr>
                <p14:cNvContentPartPr/>
                <p14:nvPr/>
              </p14:nvContentPartPr>
              <p14:xfrm>
                <a:off x="7964741" y="1569452"/>
                <a:ext cx="74160" cy="289800"/>
              </p14:xfrm>
            </p:contentPart>
          </mc:Choice>
          <mc:Fallback>
            <p:pic>
              <p:nvPicPr>
                <p:cNvPr id="13" name="Ink 12">
                  <a:extLst>
                    <a:ext uri="{FF2B5EF4-FFF2-40B4-BE49-F238E27FC236}">
                      <a16:creationId xmlns:a16="http://schemas.microsoft.com/office/drawing/2014/main" id="{0F7CB3BB-E33D-9551-9CB5-8B5813102EFA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7949621" y="1553972"/>
                  <a:ext cx="104760" cy="320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8">
              <p14:nvContentPartPr>
                <p14:cNvPr id="14" name="Ink 13">
                  <a:extLst>
                    <a:ext uri="{FF2B5EF4-FFF2-40B4-BE49-F238E27FC236}">
                      <a16:creationId xmlns:a16="http://schemas.microsoft.com/office/drawing/2014/main" id="{7CAF5DBA-4D88-9C94-C976-18582BD29721}"/>
                    </a:ext>
                  </a:extLst>
                </p14:cNvPr>
                <p14:cNvContentPartPr/>
                <p14:nvPr/>
              </p14:nvContentPartPr>
              <p14:xfrm>
                <a:off x="7929461" y="1769252"/>
                <a:ext cx="202680" cy="110520"/>
              </p14:xfrm>
            </p:contentPart>
          </mc:Choice>
          <mc:Fallback>
            <p:pic>
              <p:nvPicPr>
                <p:cNvPr id="14" name="Ink 13">
                  <a:extLst>
                    <a:ext uri="{FF2B5EF4-FFF2-40B4-BE49-F238E27FC236}">
                      <a16:creationId xmlns:a16="http://schemas.microsoft.com/office/drawing/2014/main" id="{7CAF5DBA-4D88-9C94-C976-18582BD29721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7913981" y="1754132"/>
                  <a:ext cx="233280" cy="141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0">
              <p14:nvContentPartPr>
                <p14:cNvPr id="15" name="Ink 14">
                  <a:extLst>
                    <a:ext uri="{FF2B5EF4-FFF2-40B4-BE49-F238E27FC236}">
                      <a16:creationId xmlns:a16="http://schemas.microsoft.com/office/drawing/2014/main" id="{A57CD122-1E6B-FAA1-EF3E-E651542C5B73}"/>
                    </a:ext>
                  </a:extLst>
                </p14:cNvPr>
                <p14:cNvContentPartPr/>
                <p14:nvPr/>
              </p14:nvContentPartPr>
              <p14:xfrm>
                <a:off x="7988861" y="2059772"/>
                <a:ext cx="135720" cy="186840"/>
              </p14:xfrm>
            </p:contentPart>
          </mc:Choice>
          <mc:Fallback>
            <p:pic>
              <p:nvPicPr>
                <p:cNvPr id="15" name="Ink 14">
                  <a:extLst>
                    <a:ext uri="{FF2B5EF4-FFF2-40B4-BE49-F238E27FC236}">
                      <a16:creationId xmlns:a16="http://schemas.microsoft.com/office/drawing/2014/main" id="{A57CD122-1E6B-FAA1-EF3E-E651542C5B73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7973381" y="2044652"/>
                  <a:ext cx="165960" cy="217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2">
              <p14:nvContentPartPr>
                <p14:cNvPr id="16" name="Ink 15">
                  <a:extLst>
                    <a:ext uri="{FF2B5EF4-FFF2-40B4-BE49-F238E27FC236}">
                      <a16:creationId xmlns:a16="http://schemas.microsoft.com/office/drawing/2014/main" id="{4F1692A3-A5B6-967E-BFE0-01061B4C928B}"/>
                    </a:ext>
                  </a:extLst>
                </p14:cNvPr>
                <p14:cNvContentPartPr/>
                <p14:nvPr/>
              </p14:nvContentPartPr>
              <p14:xfrm>
                <a:off x="7985981" y="2059412"/>
                <a:ext cx="346680" cy="185040"/>
              </p14:xfrm>
            </p:contentPart>
          </mc:Choice>
          <mc:Fallback>
            <p:pic>
              <p:nvPicPr>
                <p:cNvPr id="16" name="Ink 15">
                  <a:extLst>
                    <a:ext uri="{FF2B5EF4-FFF2-40B4-BE49-F238E27FC236}">
                      <a16:creationId xmlns:a16="http://schemas.microsoft.com/office/drawing/2014/main" id="{4F1692A3-A5B6-967E-BFE0-01061B4C928B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7970501" y="2043932"/>
                  <a:ext cx="377280" cy="215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4">
              <p14:nvContentPartPr>
                <p14:cNvPr id="17" name="Ink 16">
                  <a:extLst>
                    <a:ext uri="{FF2B5EF4-FFF2-40B4-BE49-F238E27FC236}">
                      <a16:creationId xmlns:a16="http://schemas.microsoft.com/office/drawing/2014/main" id="{B010DE17-03CA-94A6-739E-A2D22A94D46D}"/>
                    </a:ext>
                  </a:extLst>
                </p14:cNvPr>
                <p14:cNvContentPartPr/>
                <p14:nvPr/>
              </p14:nvContentPartPr>
              <p14:xfrm>
                <a:off x="8378381" y="2006132"/>
                <a:ext cx="148320" cy="162720"/>
              </p14:xfrm>
            </p:contentPart>
          </mc:Choice>
          <mc:Fallback>
            <p:pic>
              <p:nvPicPr>
                <p:cNvPr id="17" name="Ink 16">
                  <a:extLst>
                    <a:ext uri="{FF2B5EF4-FFF2-40B4-BE49-F238E27FC236}">
                      <a16:creationId xmlns:a16="http://schemas.microsoft.com/office/drawing/2014/main" id="{B010DE17-03CA-94A6-739E-A2D22A94D46D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8363261" y="1990652"/>
                  <a:ext cx="178920" cy="193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6">
              <p14:nvContentPartPr>
                <p14:cNvPr id="18" name="Ink 17">
                  <a:extLst>
                    <a:ext uri="{FF2B5EF4-FFF2-40B4-BE49-F238E27FC236}">
                      <a16:creationId xmlns:a16="http://schemas.microsoft.com/office/drawing/2014/main" id="{C9867DD7-99EA-E4A8-A2D7-64E058098ECA}"/>
                    </a:ext>
                  </a:extLst>
                </p14:cNvPr>
                <p14:cNvContentPartPr/>
                <p14:nvPr/>
              </p14:nvContentPartPr>
              <p14:xfrm>
                <a:off x="8505101" y="1969412"/>
                <a:ext cx="147240" cy="286920"/>
              </p14:xfrm>
            </p:contentPart>
          </mc:Choice>
          <mc:Fallback>
            <p:pic>
              <p:nvPicPr>
                <p:cNvPr id="18" name="Ink 17">
                  <a:extLst>
                    <a:ext uri="{FF2B5EF4-FFF2-40B4-BE49-F238E27FC236}">
                      <a16:creationId xmlns:a16="http://schemas.microsoft.com/office/drawing/2014/main" id="{C9867DD7-99EA-E4A8-A2D7-64E058098ECA}"/>
                    </a:ext>
                  </a:extLst>
                </p:cNvPr>
                <p:cNvPicPr/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8489621" y="1954292"/>
                  <a:ext cx="177840" cy="317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8">
              <p14:nvContentPartPr>
                <p14:cNvPr id="19" name="Ink 18">
                  <a:extLst>
                    <a:ext uri="{FF2B5EF4-FFF2-40B4-BE49-F238E27FC236}">
                      <a16:creationId xmlns:a16="http://schemas.microsoft.com/office/drawing/2014/main" id="{8341819E-0DA0-DBEF-8C30-F6CB4730E561}"/>
                    </a:ext>
                  </a:extLst>
                </p14:cNvPr>
                <p14:cNvContentPartPr/>
                <p14:nvPr/>
              </p14:nvContentPartPr>
              <p14:xfrm>
                <a:off x="7763861" y="2089292"/>
                <a:ext cx="176400" cy="228600"/>
              </p14:xfrm>
            </p:contentPart>
          </mc:Choice>
          <mc:Fallback>
            <p:pic>
              <p:nvPicPr>
                <p:cNvPr id="19" name="Ink 18">
                  <a:extLst>
                    <a:ext uri="{FF2B5EF4-FFF2-40B4-BE49-F238E27FC236}">
                      <a16:creationId xmlns:a16="http://schemas.microsoft.com/office/drawing/2014/main" id="{8341819E-0DA0-DBEF-8C30-F6CB4730E561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7748381" y="2074172"/>
                  <a:ext cx="207000" cy="259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0">
              <p14:nvContentPartPr>
                <p14:cNvPr id="20" name="Ink 19">
                  <a:extLst>
                    <a:ext uri="{FF2B5EF4-FFF2-40B4-BE49-F238E27FC236}">
                      <a16:creationId xmlns:a16="http://schemas.microsoft.com/office/drawing/2014/main" id="{05180B6F-091A-F9AB-0E80-AE7D6EC9032D}"/>
                    </a:ext>
                  </a:extLst>
                </p14:cNvPr>
                <p14:cNvContentPartPr/>
                <p14:nvPr/>
              </p14:nvContentPartPr>
              <p14:xfrm>
                <a:off x="8402501" y="1894172"/>
                <a:ext cx="75600" cy="113760"/>
              </p14:xfrm>
            </p:contentPart>
          </mc:Choice>
          <mc:Fallback>
            <p:pic>
              <p:nvPicPr>
                <p:cNvPr id="20" name="Ink 19">
                  <a:extLst>
                    <a:ext uri="{FF2B5EF4-FFF2-40B4-BE49-F238E27FC236}">
                      <a16:creationId xmlns:a16="http://schemas.microsoft.com/office/drawing/2014/main" id="{05180B6F-091A-F9AB-0E80-AE7D6EC9032D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8387381" y="1878692"/>
                  <a:ext cx="106200" cy="144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2">
              <p14:nvContentPartPr>
                <p14:cNvPr id="21" name="Ink 20">
                  <a:extLst>
                    <a:ext uri="{FF2B5EF4-FFF2-40B4-BE49-F238E27FC236}">
                      <a16:creationId xmlns:a16="http://schemas.microsoft.com/office/drawing/2014/main" id="{6AA27F3A-4372-E1B3-8FD7-936FCE90A68F}"/>
                    </a:ext>
                  </a:extLst>
                </p14:cNvPr>
                <p14:cNvContentPartPr/>
                <p14:nvPr/>
              </p14:nvContentPartPr>
              <p14:xfrm>
                <a:off x="8392061" y="1955372"/>
                <a:ext cx="20160" cy="125640"/>
              </p14:xfrm>
            </p:contentPart>
          </mc:Choice>
          <mc:Fallback>
            <p:pic>
              <p:nvPicPr>
                <p:cNvPr id="21" name="Ink 20">
                  <a:extLst>
                    <a:ext uri="{FF2B5EF4-FFF2-40B4-BE49-F238E27FC236}">
                      <a16:creationId xmlns:a16="http://schemas.microsoft.com/office/drawing/2014/main" id="{6AA27F3A-4372-E1B3-8FD7-936FCE90A68F}"/>
                    </a:ext>
                  </a:extLst>
                </p:cNvPr>
                <p:cNvPicPr/>
                <p:nvPr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8376581" y="1940252"/>
                  <a:ext cx="50760" cy="155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4">
              <p14:nvContentPartPr>
                <p14:cNvPr id="22" name="Ink 21">
                  <a:extLst>
                    <a:ext uri="{FF2B5EF4-FFF2-40B4-BE49-F238E27FC236}">
                      <a16:creationId xmlns:a16="http://schemas.microsoft.com/office/drawing/2014/main" id="{441CEE5E-A6B1-10B1-970E-9C9D482ECA35}"/>
                    </a:ext>
                  </a:extLst>
                </p14:cNvPr>
                <p14:cNvContentPartPr/>
                <p14:nvPr/>
              </p14:nvContentPartPr>
              <p14:xfrm>
                <a:off x="8261741" y="2334812"/>
                <a:ext cx="162720" cy="49680"/>
              </p14:xfrm>
            </p:contentPart>
          </mc:Choice>
          <mc:Fallback>
            <p:pic>
              <p:nvPicPr>
                <p:cNvPr id="22" name="Ink 21">
                  <a:extLst>
                    <a:ext uri="{FF2B5EF4-FFF2-40B4-BE49-F238E27FC236}">
                      <a16:creationId xmlns:a16="http://schemas.microsoft.com/office/drawing/2014/main" id="{441CEE5E-A6B1-10B1-970E-9C9D482ECA35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8246261" y="2319692"/>
                  <a:ext cx="192960" cy="79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6">
              <p14:nvContentPartPr>
                <p14:cNvPr id="23" name="Ink 22">
                  <a:extLst>
                    <a:ext uri="{FF2B5EF4-FFF2-40B4-BE49-F238E27FC236}">
                      <a16:creationId xmlns:a16="http://schemas.microsoft.com/office/drawing/2014/main" id="{73108260-FB44-E951-B70D-1BBD0B7A84AF}"/>
                    </a:ext>
                  </a:extLst>
                </p14:cNvPr>
                <p14:cNvContentPartPr/>
                <p14:nvPr/>
              </p14:nvContentPartPr>
              <p14:xfrm>
                <a:off x="8743781" y="2013692"/>
                <a:ext cx="73800" cy="14040"/>
              </p14:xfrm>
            </p:contentPart>
          </mc:Choice>
          <mc:Fallback>
            <p:pic>
              <p:nvPicPr>
                <p:cNvPr id="23" name="Ink 22">
                  <a:extLst>
                    <a:ext uri="{FF2B5EF4-FFF2-40B4-BE49-F238E27FC236}">
                      <a16:creationId xmlns:a16="http://schemas.microsoft.com/office/drawing/2014/main" id="{73108260-FB44-E951-B70D-1BBD0B7A84AF}"/>
                    </a:ext>
                  </a:extLst>
                </p:cNvPr>
                <p:cNvPicPr/>
                <p:nvPr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8728301" y="1998212"/>
                  <a:ext cx="104400" cy="44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8">
              <p14:nvContentPartPr>
                <p14:cNvPr id="24" name="Ink 23">
                  <a:extLst>
                    <a:ext uri="{FF2B5EF4-FFF2-40B4-BE49-F238E27FC236}">
                      <a16:creationId xmlns:a16="http://schemas.microsoft.com/office/drawing/2014/main" id="{7535DD81-608E-BA5F-4011-FEBAE1A80C28}"/>
                    </a:ext>
                  </a:extLst>
                </p14:cNvPr>
                <p14:cNvContentPartPr/>
                <p14:nvPr/>
              </p14:nvContentPartPr>
              <p14:xfrm>
                <a:off x="8760341" y="2030612"/>
                <a:ext cx="172800" cy="77400"/>
              </p14:xfrm>
            </p:contentPart>
          </mc:Choice>
          <mc:Fallback>
            <p:pic>
              <p:nvPicPr>
                <p:cNvPr id="24" name="Ink 23">
                  <a:extLst>
                    <a:ext uri="{FF2B5EF4-FFF2-40B4-BE49-F238E27FC236}">
                      <a16:creationId xmlns:a16="http://schemas.microsoft.com/office/drawing/2014/main" id="{7535DD81-608E-BA5F-4011-FEBAE1A80C28}"/>
                    </a:ext>
                  </a:extLst>
                </p:cNvPr>
                <p:cNvPicPr/>
                <p:nvPr/>
              </p:nvPicPr>
              <p:blipFill>
                <a:blip r:embed="rId49"/>
                <a:stretch>
                  <a:fillRect/>
                </a:stretch>
              </p:blipFill>
              <p:spPr>
                <a:xfrm>
                  <a:off x="8745221" y="2015132"/>
                  <a:ext cx="203400" cy="10800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50">
            <p14:nvContentPartPr>
              <p14:cNvPr id="26" name="Ink 25">
                <a:extLst>
                  <a:ext uri="{FF2B5EF4-FFF2-40B4-BE49-F238E27FC236}">
                    <a16:creationId xmlns:a16="http://schemas.microsoft.com/office/drawing/2014/main" id="{C145CD7C-6011-84C8-ABEE-BEC13E6BBF78}"/>
                  </a:ext>
                </a:extLst>
              </p14:cNvPr>
              <p14:cNvContentPartPr/>
              <p14:nvPr/>
            </p14:nvContentPartPr>
            <p14:xfrm>
              <a:off x="7912541" y="993092"/>
              <a:ext cx="180000" cy="374760"/>
            </p14:xfrm>
          </p:contentPart>
        </mc:Choice>
        <mc:Fallback>
          <p:pic>
            <p:nvPicPr>
              <p:cNvPr id="26" name="Ink 25">
                <a:extLst>
                  <a:ext uri="{FF2B5EF4-FFF2-40B4-BE49-F238E27FC236}">
                    <a16:creationId xmlns:a16="http://schemas.microsoft.com/office/drawing/2014/main" id="{C145CD7C-6011-84C8-ABEE-BEC13E6BBF78}"/>
                  </a:ext>
                </a:extLst>
              </p:cNvPr>
              <p:cNvPicPr/>
              <p:nvPr/>
            </p:nvPicPr>
            <p:blipFill>
              <a:blip r:embed="rId51"/>
              <a:stretch>
                <a:fillRect/>
              </a:stretch>
            </p:blipFill>
            <p:spPr>
              <a:xfrm>
                <a:off x="7897421" y="977612"/>
                <a:ext cx="210600" cy="405360"/>
              </a:xfrm>
              <a:prstGeom prst="rect">
                <a:avLst/>
              </a:prstGeom>
            </p:spPr>
          </p:pic>
        </mc:Fallback>
      </mc:AlternateContent>
      <p:grpSp>
        <p:nvGrpSpPr>
          <p:cNvPr id="29" name="Group 28">
            <a:extLst>
              <a:ext uri="{FF2B5EF4-FFF2-40B4-BE49-F238E27FC236}">
                <a16:creationId xmlns:a16="http://schemas.microsoft.com/office/drawing/2014/main" id="{FE47765E-6864-735B-B540-83A6756DA445}"/>
              </a:ext>
            </a:extLst>
          </p:cNvPr>
          <p:cNvGrpSpPr/>
          <p:nvPr/>
        </p:nvGrpSpPr>
        <p:grpSpPr>
          <a:xfrm>
            <a:off x="9057701" y="1292612"/>
            <a:ext cx="1537920" cy="727200"/>
            <a:chOff x="9057701" y="1292612"/>
            <a:chExt cx="1537920" cy="7272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52">
              <p14:nvContentPartPr>
                <p14:cNvPr id="27" name="Ink 26">
                  <a:extLst>
                    <a:ext uri="{FF2B5EF4-FFF2-40B4-BE49-F238E27FC236}">
                      <a16:creationId xmlns:a16="http://schemas.microsoft.com/office/drawing/2014/main" id="{0870B91A-AF29-C9BD-C2C5-46FC49E31268}"/>
                    </a:ext>
                  </a:extLst>
                </p14:cNvPr>
                <p14:cNvContentPartPr/>
                <p14:nvPr/>
              </p14:nvContentPartPr>
              <p14:xfrm>
                <a:off x="9057701" y="1292612"/>
                <a:ext cx="631800" cy="691920"/>
              </p14:xfrm>
            </p:contentPart>
          </mc:Choice>
          <mc:Fallback>
            <p:pic>
              <p:nvPicPr>
                <p:cNvPr id="27" name="Ink 26">
                  <a:extLst>
                    <a:ext uri="{FF2B5EF4-FFF2-40B4-BE49-F238E27FC236}">
                      <a16:creationId xmlns:a16="http://schemas.microsoft.com/office/drawing/2014/main" id="{0870B91A-AF29-C9BD-C2C5-46FC49E31268}"/>
                    </a:ext>
                  </a:extLst>
                </p:cNvPr>
                <p:cNvPicPr/>
                <p:nvPr/>
              </p:nvPicPr>
              <p:blipFill>
                <a:blip r:embed="rId53"/>
                <a:stretch>
                  <a:fillRect/>
                </a:stretch>
              </p:blipFill>
              <p:spPr>
                <a:xfrm>
                  <a:off x="9042581" y="1277492"/>
                  <a:ext cx="662040" cy="722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4">
              <p14:nvContentPartPr>
                <p14:cNvPr id="28" name="Ink 27">
                  <a:extLst>
                    <a:ext uri="{FF2B5EF4-FFF2-40B4-BE49-F238E27FC236}">
                      <a16:creationId xmlns:a16="http://schemas.microsoft.com/office/drawing/2014/main" id="{AB673C82-9147-8A48-3FD8-7271881CBDCE}"/>
                    </a:ext>
                  </a:extLst>
                </p14:cNvPr>
                <p14:cNvContentPartPr/>
                <p14:nvPr/>
              </p14:nvContentPartPr>
              <p14:xfrm>
                <a:off x="9931781" y="1320332"/>
                <a:ext cx="663840" cy="699480"/>
              </p14:xfrm>
            </p:contentPart>
          </mc:Choice>
          <mc:Fallback>
            <p:pic>
              <p:nvPicPr>
                <p:cNvPr id="28" name="Ink 27">
                  <a:extLst>
                    <a:ext uri="{FF2B5EF4-FFF2-40B4-BE49-F238E27FC236}">
                      <a16:creationId xmlns:a16="http://schemas.microsoft.com/office/drawing/2014/main" id="{AB673C82-9147-8A48-3FD8-7271881CBDCE}"/>
                    </a:ext>
                  </a:extLst>
                </p:cNvPr>
                <p:cNvPicPr/>
                <p:nvPr/>
              </p:nvPicPr>
              <p:blipFill>
                <a:blip r:embed="rId55"/>
                <a:stretch>
                  <a:fillRect/>
                </a:stretch>
              </p:blipFill>
              <p:spPr>
                <a:xfrm>
                  <a:off x="9916301" y="1305212"/>
                  <a:ext cx="694440" cy="730080"/>
                </a:xfrm>
                <a:prstGeom prst="rect">
                  <a:avLst/>
                </a:prstGeom>
              </p:spPr>
            </p:pic>
          </mc:Fallback>
        </mc:AlternateContent>
      </p:grp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Google Shape;150;p12"/>
          <p:cNvSpPr txBox="1">
            <a:spLocks noGrp="1"/>
          </p:cNvSpPr>
          <p:nvPr>
            <p:ph type="title"/>
          </p:nvPr>
        </p:nvSpPr>
        <p:spPr>
          <a:xfrm>
            <a:off x="838200" y="0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r>
              <a:rPr lang="en-US"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ultiplication Rule</a:t>
            </a:r>
            <a:endParaRPr/>
          </a:p>
        </p:txBody>
      </p:sp>
      <p:pic>
        <p:nvPicPr>
          <p:cNvPr id="151" name="Google Shape;151;p1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41623" y="1687316"/>
            <a:ext cx="11708753" cy="461501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FCF0DF1A-A636-9019-3DBA-497B34D94E89}"/>
              </a:ext>
            </a:extLst>
          </p:cNvPr>
          <p:cNvGrpSpPr/>
          <p:nvPr/>
        </p:nvGrpSpPr>
        <p:grpSpPr>
          <a:xfrm>
            <a:off x="5921021" y="1062212"/>
            <a:ext cx="1247760" cy="369720"/>
            <a:chOff x="5921021" y="1062212"/>
            <a:chExt cx="1247760" cy="3697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4">
              <p14:nvContentPartPr>
                <p14:cNvPr id="2" name="Ink 1">
                  <a:extLst>
                    <a:ext uri="{FF2B5EF4-FFF2-40B4-BE49-F238E27FC236}">
                      <a16:creationId xmlns:a16="http://schemas.microsoft.com/office/drawing/2014/main" id="{CAF8FE01-BDF5-53B4-F66C-0F5E01996929}"/>
                    </a:ext>
                  </a:extLst>
                </p14:cNvPr>
                <p14:cNvContentPartPr/>
                <p14:nvPr/>
              </p14:nvContentPartPr>
              <p14:xfrm>
                <a:off x="5921021" y="1062212"/>
                <a:ext cx="194760" cy="369720"/>
              </p14:xfrm>
            </p:contentPart>
          </mc:Choice>
          <mc:Fallback>
            <p:pic>
              <p:nvPicPr>
                <p:cNvPr id="2" name="Ink 1">
                  <a:extLst>
                    <a:ext uri="{FF2B5EF4-FFF2-40B4-BE49-F238E27FC236}">
                      <a16:creationId xmlns:a16="http://schemas.microsoft.com/office/drawing/2014/main" id="{CAF8FE01-BDF5-53B4-F66C-0F5E01996929}"/>
                    </a:ext>
                  </a:extLst>
                </p:cNvPr>
                <p:cNvPicPr/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5905901" y="1046732"/>
                  <a:ext cx="225360" cy="400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">
              <p14:nvContentPartPr>
                <p14:cNvPr id="3" name="Ink 2">
                  <a:extLst>
                    <a:ext uri="{FF2B5EF4-FFF2-40B4-BE49-F238E27FC236}">
                      <a16:creationId xmlns:a16="http://schemas.microsoft.com/office/drawing/2014/main" id="{E4451384-45AB-CF0A-4EA6-E2A0FB84CAC8}"/>
                    </a:ext>
                  </a:extLst>
                </p14:cNvPr>
                <p14:cNvContentPartPr/>
                <p14:nvPr/>
              </p14:nvContentPartPr>
              <p14:xfrm>
                <a:off x="6160781" y="1111892"/>
                <a:ext cx="70560" cy="254160"/>
              </p14:xfrm>
            </p:contentPart>
          </mc:Choice>
          <mc:Fallback>
            <p:pic>
              <p:nvPicPr>
                <p:cNvPr id="3" name="Ink 2">
                  <a:extLst>
                    <a:ext uri="{FF2B5EF4-FFF2-40B4-BE49-F238E27FC236}">
                      <a16:creationId xmlns:a16="http://schemas.microsoft.com/office/drawing/2014/main" id="{E4451384-45AB-CF0A-4EA6-E2A0FB84CAC8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6145661" y="1096772"/>
                  <a:ext cx="101160" cy="284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">
              <p14:nvContentPartPr>
                <p14:cNvPr id="4" name="Ink 3">
                  <a:extLst>
                    <a:ext uri="{FF2B5EF4-FFF2-40B4-BE49-F238E27FC236}">
                      <a16:creationId xmlns:a16="http://schemas.microsoft.com/office/drawing/2014/main" id="{FA437175-8D73-0A3B-8277-E35C421260F1}"/>
                    </a:ext>
                  </a:extLst>
                </p14:cNvPr>
                <p14:cNvContentPartPr/>
                <p14:nvPr/>
              </p14:nvContentPartPr>
              <p14:xfrm>
                <a:off x="6292541" y="1123772"/>
                <a:ext cx="182880" cy="261360"/>
              </p14:xfrm>
            </p:contentPart>
          </mc:Choice>
          <mc:Fallback>
            <p:pic>
              <p:nvPicPr>
                <p:cNvPr id="4" name="Ink 3">
                  <a:extLst>
                    <a:ext uri="{FF2B5EF4-FFF2-40B4-BE49-F238E27FC236}">
                      <a16:creationId xmlns:a16="http://schemas.microsoft.com/office/drawing/2014/main" id="{FA437175-8D73-0A3B-8277-E35C421260F1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6277421" y="1108652"/>
                  <a:ext cx="213120" cy="291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">
              <p14:nvContentPartPr>
                <p14:cNvPr id="5" name="Ink 4">
                  <a:extLst>
                    <a:ext uri="{FF2B5EF4-FFF2-40B4-BE49-F238E27FC236}">
                      <a16:creationId xmlns:a16="http://schemas.microsoft.com/office/drawing/2014/main" id="{FA7C9FAC-0842-0ABA-D051-A401C25B0CDF}"/>
                    </a:ext>
                  </a:extLst>
                </p14:cNvPr>
                <p14:cNvContentPartPr/>
                <p14:nvPr/>
              </p14:nvContentPartPr>
              <p14:xfrm>
                <a:off x="6350141" y="1134572"/>
                <a:ext cx="375840" cy="186840"/>
              </p14:xfrm>
            </p:contentPart>
          </mc:Choice>
          <mc:Fallback>
            <p:pic>
              <p:nvPicPr>
                <p:cNvPr id="5" name="Ink 4">
                  <a:extLst>
                    <a:ext uri="{FF2B5EF4-FFF2-40B4-BE49-F238E27FC236}">
                      <a16:creationId xmlns:a16="http://schemas.microsoft.com/office/drawing/2014/main" id="{FA7C9FAC-0842-0ABA-D051-A401C25B0CDF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6335021" y="1119092"/>
                  <a:ext cx="406080" cy="217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">
              <p14:nvContentPartPr>
                <p14:cNvPr id="6" name="Ink 5">
                  <a:extLst>
                    <a:ext uri="{FF2B5EF4-FFF2-40B4-BE49-F238E27FC236}">
                      <a16:creationId xmlns:a16="http://schemas.microsoft.com/office/drawing/2014/main" id="{704D4511-AE10-6ECE-4D26-D76C2E277AA6}"/>
                    </a:ext>
                  </a:extLst>
                </p14:cNvPr>
                <p14:cNvContentPartPr/>
                <p14:nvPr/>
              </p14:nvContentPartPr>
              <p14:xfrm>
                <a:off x="6773861" y="1133132"/>
                <a:ext cx="111600" cy="167400"/>
              </p14:xfrm>
            </p:contentPart>
          </mc:Choice>
          <mc:Fallback>
            <p:pic>
              <p:nvPicPr>
                <p:cNvPr id="6" name="Ink 5">
                  <a:extLst>
                    <a:ext uri="{FF2B5EF4-FFF2-40B4-BE49-F238E27FC236}">
                      <a16:creationId xmlns:a16="http://schemas.microsoft.com/office/drawing/2014/main" id="{704D4511-AE10-6ECE-4D26-D76C2E277AA6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6758741" y="1118012"/>
                  <a:ext cx="141840" cy="19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">
              <p14:nvContentPartPr>
                <p14:cNvPr id="7" name="Ink 6">
                  <a:extLst>
                    <a:ext uri="{FF2B5EF4-FFF2-40B4-BE49-F238E27FC236}">
                      <a16:creationId xmlns:a16="http://schemas.microsoft.com/office/drawing/2014/main" id="{C477C021-58CE-9F3A-B1C8-9DFAB539908D}"/>
                    </a:ext>
                  </a:extLst>
                </p14:cNvPr>
                <p14:cNvContentPartPr/>
                <p14:nvPr/>
              </p14:nvContentPartPr>
              <p14:xfrm>
                <a:off x="6905621" y="1138532"/>
                <a:ext cx="66240" cy="204120"/>
              </p14:xfrm>
            </p:contentPart>
          </mc:Choice>
          <mc:Fallback>
            <p:pic>
              <p:nvPicPr>
                <p:cNvPr id="7" name="Ink 6">
                  <a:extLst>
                    <a:ext uri="{FF2B5EF4-FFF2-40B4-BE49-F238E27FC236}">
                      <a16:creationId xmlns:a16="http://schemas.microsoft.com/office/drawing/2014/main" id="{C477C021-58CE-9F3A-B1C8-9DFAB539908D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6890501" y="1123412"/>
                  <a:ext cx="96840" cy="234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">
              <p14:nvContentPartPr>
                <p14:cNvPr id="8" name="Ink 7">
                  <a:extLst>
                    <a:ext uri="{FF2B5EF4-FFF2-40B4-BE49-F238E27FC236}">
                      <a16:creationId xmlns:a16="http://schemas.microsoft.com/office/drawing/2014/main" id="{604656D7-4B07-EFBE-6683-1E37C4C63D36}"/>
                    </a:ext>
                  </a:extLst>
                </p14:cNvPr>
                <p14:cNvContentPartPr/>
                <p14:nvPr/>
              </p14:nvContentPartPr>
              <p14:xfrm>
                <a:off x="7011821" y="1212692"/>
                <a:ext cx="147240" cy="31680"/>
              </p14:xfrm>
            </p:contentPart>
          </mc:Choice>
          <mc:Fallback>
            <p:pic>
              <p:nvPicPr>
                <p:cNvPr id="8" name="Ink 7">
                  <a:extLst>
                    <a:ext uri="{FF2B5EF4-FFF2-40B4-BE49-F238E27FC236}">
                      <a16:creationId xmlns:a16="http://schemas.microsoft.com/office/drawing/2014/main" id="{604656D7-4B07-EFBE-6683-1E37C4C63D36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6996701" y="1197212"/>
                  <a:ext cx="177480" cy="62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8">
              <p14:nvContentPartPr>
                <p14:cNvPr id="9" name="Ink 8">
                  <a:extLst>
                    <a:ext uri="{FF2B5EF4-FFF2-40B4-BE49-F238E27FC236}">
                      <a16:creationId xmlns:a16="http://schemas.microsoft.com/office/drawing/2014/main" id="{057935BA-177A-4CF2-48E1-BB4F8F4F02AA}"/>
                    </a:ext>
                  </a:extLst>
                </p14:cNvPr>
                <p14:cNvContentPartPr/>
                <p14:nvPr/>
              </p14:nvContentPartPr>
              <p14:xfrm>
                <a:off x="7052861" y="1316372"/>
                <a:ext cx="115920" cy="15840"/>
              </p14:xfrm>
            </p:contentPart>
          </mc:Choice>
          <mc:Fallback>
            <p:pic>
              <p:nvPicPr>
                <p:cNvPr id="9" name="Ink 8">
                  <a:extLst>
                    <a:ext uri="{FF2B5EF4-FFF2-40B4-BE49-F238E27FC236}">
                      <a16:creationId xmlns:a16="http://schemas.microsoft.com/office/drawing/2014/main" id="{057935BA-177A-4CF2-48E1-BB4F8F4F02AA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7037741" y="1300892"/>
                  <a:ext cx="146160" cy="464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4102B9E-E274-618B-191B-FBCBF3182E89}"/>
              </a:ext>
            </a:extLst>
          </p:cNvPr>
          <p:cNvGrpSpPr/>
          <p:nvPr/>
        </p:nvGrpSpPr>
        <p:grpSpPr>
          <a:xfrm>
            <a:off x="7589621" y="1115492"/>
            <a:ext cx="1529640" cy="402480"/>
            <a:chOff x="7589621" y="1115492"/>
            <a:chExt cx="1529640" cy="40248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0">
              <p14:nvContentPartPr>
                <p14:cNvPr id="10" name="Ink 9">
                  <a:extLst>
                    <a:ext uri="{FF2B5EF4-FFF2-40B4-BE49-F238E27FC236}">
                      <a16:creationId xmlns:a16="http://schemas.microsoft.com/office/drawing/2014/main" id="{60AFD871-D32B-3220-63A9-E85E919DD61F}"/>
                    </a:ext>
                  </a:extLst>
                </p14:cNvPr>
                <p14:cNvContentPartPr/>
                <p14:nvPr/>
              </p14:nvContentPartPr>
              <p14:xfrm>
                <a:off x="7589621" y="1115492"/>
                <a:ext cx="127440" cy="236880"/>
              </p14:xfrm>
            </p:contentPart>
          </mc:Choice>
          <mc:Fallback>
            <p:pic>
              <p:nvPicPr>
                <p:cNvPr id="10" name="Ink 9">
                  <a:extLst>
                    <a:ext uri="{FF2B5EF4-FFF2-40B4-BE49-F238E27FC236}">
                      <a16:creationId xmlns:a16="http://schemas.microsoft.com/office/drawing/2014/main" id="{60AFD871-D32B-3220-63A9-E85E919DD61F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7574501" y="1100372"/>
                  <a:ext cx="157680" cy="267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2">
              <p14:nvContentPartPr>
                <p14:cNvPr id="11" name="Ink 10">
                  <a:extLst>
                    <a:ext uri="{FF2B5EF4-FFF2-40B4-BE49-F238E27FC236}">
                      <a16:creationId xmlns:a16="http://schemas.microsoft.com/office/drawing/2014/main" id="{19DD0D7E-05AA-AC57-BD48-D06433BBA313}"/>
                    </a:ext>
                  </a:extLst>
                </p14:cNvPr>
                <p14:cNvContentPartPr/>
                <p14:nvPr/>
              </p14:nvContentPartPr>
              <p14:xfrm>
                <a:off x="7781861" y="1147532"/>
                <a:ext cx="343440" cy="237600"/>
              </p14:xfrm>
            </p:contentPart>
          </mc:Choice>
          <mc:Fallback>
            <p:pic>
              <p:nvPicPr>
                <p:cNvPr id="11" name="Ink 10">
                  <a:extLst>
                    <a:ext uri="{FF2B5EF4-FFF2-40B4-BE49-F238E27FC236}">
                      <a16:creationId xmlns:a16="http://schemas.microsoft.com/office/drawing/2014/main" id="{19DD0D7E-05AA-AC57-BD48-D06433BBA313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7766381" y="1132052"/>
                  <a:ext cx="374040" cy="268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4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06A82D7D-7BF5-BA34-48FD-4ADBB6225B81}"/>
                    </a:ext>
                  </a:extLst>
                </p14:cNvPr>
                <p14:cNvContentPartPr/>
                <p14:nvPr/>
              </p14:nvContentPartPr>
              <p14:xfrm>
                <a:off x="8004341" y="1247252"/>
                <a:ext cx="125280" cy="64080"/>
              </p14:xfrm>
            </p:contentPart>
          </mc:Choice>
          <mc:Fallback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06A82D7D-7BF5-BA34-48FD-4ADBB6225B81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7988861" y="1232132"/>
                  <a:ext cx="155880" cy="94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6">
              <p14:nvContentPartPr>
                <p14:cNvPr id="13" name="Ink 12">
                  <a:extLst>
                    <a:ext uri="{FF2B5EF4-FFF2-40B4-BE49-F238E27FC236}">
                      <a16:creationId xmlns:a16="http://schemas.microsoft.com/office/drawing/2014/main" id="{35D4826C-0301-A136-2093-46B0D2604A5B}"/>
                    </a:ext>
                  </a:extLst>
                </p14:cNvPr>
                <p14:cNvContentPartPr/>
                <p14:nvPr/>
              </p14:nvContentPartPr>
              <p14:xfrm>
                <a:off x="8216381" y="1183172"/>
                <a:ext cx="81000" cy="248400"/>
              </p14:xfrm>
            </p:contentPart>
          </mc:Choice>
          <mc:Fallback>
            <p:pic>
              <p:nvPicPr>
                <p:cNvPr id="13" name="Ink 12">
                  <a:extLst>
                    <a:ext uri="{FF2B5EF4-FFF2-40B4-BE49-F238E27FC236}">
                      <a16:creationId xmlns:a16="http://schemas.microsoft.com/office/drawing/2014/main" id="{35D4826C-0301-A136-2093-46B0D2604A5B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8200901" y="1167692"/>
                  <a:ext cx="111600" cy="279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8">
              <p14:nvContentPartPr>
                <p14:cNvPr id="14" name="Ink 13">
                  <a:extLst>
                    <a:ext uri="{FF2B5EF4-FFF2-40B4-BE49-F238E27FC236}">
                      <a16:creationId xmlns:a16="http://schemas.microsoft.com/office/drawing/2014/main" id="{8BB253EF-6E62-BDCE-373F-896AFB6B1040}"/>
                    </a:ext>
                  </a:extLst>
                </p14:cNvPr>
                <p14:cNvContentPartPr/>
                <p14:nvPr/>
              </p14:nvContentPartPr>
              <p14:xfrm>
                <a:off x="8360381" y="1333292"/>
                <a:ext cx="32400" cy="11160"/>
              </p14:xfrm>
            </p:contentPart>
          </mc:Choice>
          <mc:Fallback>
            <p:pic>
              <p:nvPicPr>
                <p:cNvPr id="14" name="Ink 13">
                  <a:extLst>
                    <a:ext uri="{FF2B5EF4-FFF2-40B4-BE49-F238E27FC236}">
                      <a16:creationId xmlns:a16="http://schemas.microsoft.com/office/drawing/2014/main" id="{8BB253EF-6E62-BDCE-373F-896AFB6B1040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8344901" y="1317812"/>
                  <a:ext cx="63000" cy="41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0">
              <p14:nvContentPartPr>
                <p14:cNvPr id="15" name="Ink 14">
                  <a:extLst>
                    <a:ext uri="{FF2B5EF4-FFF2-40B4-BE49-F238E27FC236}">
                      <a16:creationId xmlns:a16="http://schemas.microsoft.com/office/drawing/2014/main" id="{4DA37784-D421-B422-D6CA-D4F9566E8B09}"/>
                    </a:ext>
                  </a:extLst>
                </p14:cNvPr>
                <p14:cNvContentPartPr/>
                <p14:nvPr/>
              </p14:nvContentPartPr>
              <p14:xfrm>
                <a:off x="8461541" y="1134212"/>
                <a:ext cx="195840" cy="294120"/>
              </p14:xfrm>
            </p:contentPart>
          </mc:Choice>
          <mc:Fallback>
            <p:pic>
              <p:nvPicPr>
                <p:cNvPr id="15" name="Ink 14">
                  <a:extLst>
                    <a:ext uri="{FF2B5EF4-FFF2-40B4-BE49-F238E27FC236}">
                      <a16:creationId xmlns:a16="http://schemas.microsoft.com/office/drawing/2014/main" id="{4DA37784-D421-B422-D6CA-D4F9566E8B09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8446421" y="1118732"/>
                  <a:ext cx="226440" cy="324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2">
              <p14:nvContentPartPr>
                <p14:cNvPr id="16" name="Ink 15">
                  <a:extLst>
                    <a:ext uri="{FF2B5EF4-FFF2-40B4-BE49-F238E27FC236}">
                      <a16:creationId xmlns:a16="http://schemas.microsoft.com/office/drawing/2014/main" id="{5DED092D-BE37-0DED-5BFD-8AF93FAE7B1C}"/>
                    </a:ext>
                  </a:extLst>
                </p14:cNvPr>
                <p14:cNvContentPartPr/>
                <p14:nvPr/>
              </p14:nvContentPartPr>
              <p14:xfrm>
                <a:off x="8712101" y="1163012"/>
                <a:ext cx="89640" cy="225000"/>
              </p14:xfrm>
            </p:contentPart>
          </mc:Choice>
          <mc:Fallback>
            <p:pic>
              <p:nvPicPr>
                <p:cNvPr id="16" name="Ink 15">
                  <a:extLst>
                    <a:ext uri="{FF2B5EF4-FFF2-40B4-BE49-F238E27FC236}">
                      <a16:creationId xmlns:a16="http://schemas.microsoft.com/office/drawing/2014/main" id="{5DED092D-BE37-0DED-5BFD-8AF93FAE7B1C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8696621" y="1147892"/>
                  <a:ext cx="119880" cy="255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4">
              <p14:nvContentPartPr>
                <p14:cNvPr id="17" name="Ink 16">
                  <a:extLst>
                    <a:ext uri="{FF2B5EF4-FFF2-40B4-BE49-F238E27FC236}">
                      <a16:creationId xmlns:a16="http://schemas.microsoft.com/office/drawing/2014/main" id="{22CC8139-538B-549B-F211-C8651FA7DAFE}"/>
                    </a:ext>
                  </a:extLst>
                </p14:cNvPr>
                <p14:cNvContentPartPr/>
                <p14:nvPr/>
              </p14:nvContentPartPr>
              <p14:xfrm>
                <a:off x="8889581" y="1219892"/>
                <a:ext cx="106560" cy="195840"/>
              </p14:xfrm>
            </p:contentPart>
          </mc:Choice>
          <mc:Fallback>
            <p:pic>
              <p:nvPicPr>
                <p:cNvPr id="17" name="Ink 16">
                  <a:extLst>
                    <a:ext uri="{FF2B5EF4-FFF2-40B4-BE49-F238E27FC236}">
                      <a16:creationId xmlns:a16="http://schemas.microsoft.com/office/drawing/2014/main" id="{22CC8139-538B-549B-F211-C8651FA7DAFE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8874461" y="1204412"/>
                  <a:ext cx="137160" cy="226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6">
              <p14:nvContentPartPr>
                <p14:cNvPr id="18" name="Ink 17">
                  <a:extLst>
                    <a:ext uri="{FF2B5EF4-FFF2-40B4-BE49-F238E27FC236}">
                      <a16:creationId xmlns:a16="http://schemas.microsoft.com/office/drawing/2014/main" id="{CB74262F-4FD9-1F93-D6C9-20AF6F65A450}"/>
                    </a:ext>
                  </a:extLst>
                </p14:cNvPr>
                <p14:cNvContentPartPr/>
                <p14:nvPr/>
              </p14:nvContentPartPr>
              <p14:xfrm>
                <a:off x="8953301" y="1203332"/>
                <a:ext cx="165960" cy="314640"/>
              </p14:xfrm>
            </p:contentPart>
          </mc:Choice>
          <mc:Fallback>
            <p:pic>
              <p:nvPicPr>
                <p:cNvPr id="18" name="Ink 17">
                  <a:extLst>
                    <a:ext uri="{FF2B5EF4-FFF2-40B4-BE49-F238E27FC236}">
                      <a16:creationId xmlns:a16="http://schemas.microsoft.com/office/drawing/2014/main" id="{CB74262F-4FD9-1F93-D6C9-20AF6F65A450}"/>
                    </a:ext>
                  </a:extLst>
                </p:cNvPr>
                <p:cNvPicPr/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8937821" y="1188212"/>
                  <a:ext cx="196200" cy="34524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38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9A6DE1FD-0DEC-AB2E-2250-B628D3EDFB64}"/>
                  </a:ext>
                </a:extLst>
              </p14:cNvPr>
              <p14:cNvContentPartPr/>
              <p14:nvPr/>
            </p14:nvContentPartPr>
            <p14:xfrm>
              <a:off x="7706621" y="1647572"/>
              <a:ext cx="1179720" cy="54000"/>
            </p14:xfrm>
          </p:contentPart>
        </mc:Choice>
        <mc:Fallback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9A6DE1FD-0DEC-AB2E-2250-B628D3EDFB64}"/>
                  </a:ext>
                </a:extLst>
              </p:cNvPr>
              <p:cNvPicPr/>
              <p:nvPr/>
            </p:nvPicPr>
            <p:blipFill>
              <a:blip r:embed="rId39"/>
              <a:stretch>
                <a:fillRect/>
              </a:stretch>
            </p:blipFill>
            <p:spPr>
              <a:xfrm>
                <a:off x="7691501" y="1632092"/>
                <a:ext cx="1210320" cy="84600"/>
              </a:xfrm>
              <a:prstGeom prst="rect">
                <a:avLst/>
              </a:prstGeom>
            </p:spPr>
          </p:pic>
        </mc:Fallback>
      </mc:AlternateContent>
      <p:grpSp>
        <p:nvGrpSpPr>
          <p:cNvPr id="44" name="Group 43">
            <a:extLst>
              <a:ext uri="{FF2B5EF4-FFF2-40B4-BE49-F238E27FC236}">
                <a16:creationId xmlns:a16="http://schemas.microsoft.com/office/drawing/2014/main" id="{42C159E6-ADB6-4835-C37D-9ED491FF0AAD}"/>
              </a:ext>
            </a:extLst>
          </p:cNvPr>
          <p:cNvGrpSpPr/>
          <p:nvPr/>
        </p:nvGrpSpPr>
        <p:grpSpPr>
          <a:xfrm>
            <a:off x="5461301" y="2484572"/>
            <a:ext cx="254880" cy="102240"/>
            <a:chOff x="5461301" y="2484572"/>
            <a:chExt cx="254880" cy="1022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40">
              <p14:nvContentPartPr>
                <p14:cNvPr id="22" name="Ink 21">
                  <a:extLst>
                    <a:ext uri="{FF2B5EF4-FFF2-40B4-BE49-F238E27FC236}">
                      <a16:creationId xmlns:a16="http://schemas.microsoft.com/office/drawing/2014/main" id="{C45CC823-11F1-E04E-F1C3-89E7856961ED}"/>
                    </a:ext>
                  </a:extLst>
                </p14:cNvPr>
                <p14:cNvContentPartPr/>
                <p14:nvPr/>
              </p14:nvContentPartPr>
              <p14:xfrm>
                <a:off x="5461301" y="2484572"/>
                <a:ext cx="217080" cy="14400"/>
              </p14:xfrm>
            </p:contentPart>
          </mc:Choice>
          <mc:Fallback>
            <p:pic>
              <p:nvPicPr>
                <p:cNvPr id="22" name="Ink 21">
                  <a:extLst>
                    <a:ext uri="{FF2B5EF4-FFF2-40B4-BE49-F238E27FC236}">
                      <a16:creationId xmlns:a16="http://schemas.microsoft.com/office/drawing/2014/main" id="{C45CC823-11F1-E04E-F1C3-89E7856961ED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5446181" y="2469452"/>
                  <a:ext cx="247320" cy="45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2">
              <p14:nvContentPartPr>
                <p14:cNvPr id="23" name="Ink 22">
                  <a:extLst>
                    <a:ext uri="{FF2B5EF4-FFF2-40B4-BE49-F238E27FC236}">
                      <a16:creationId xmlns:a16="http://schemas.microsoft.com/office/drawing/2014/main" id="{2D5A4D5A-D4F0-CD68-2F08-AA608EBA49D6}"/>
                    </a:ext>
                  </a:extLst>
                </p14:cNvPr>
                <p14:cNvContentPartPr/>
                <p14:nvPr/>
              </p14:nvContentPartPr>
              <p14:xfrm>
                <a:off x="5498021" y="2557652"/>
                <a:ext cx="218160" cy="29160"/>
              </p14:xfrm>
            </p:contentPart>
          </mc:Choice>
          <mc:Fallback>
            <p:pic>
              <p:nvPicPr>
                <p:cNvPr id="23" name="Ink 22">
                  <a:extLst>
                    <a:ext uri="{FF2B5EF4-FFF2-40B4-BE49-F238E27FC236}">
                      <a16:creationId xmlns:a16="http://schemas.microsoft.com/office/drawing/2014/main" id="{2D5A4D5A-D4F0-CD68-2F08-AA608EBA49D6}"/>
                    </a:ext>
                  </a:extLst>
                </p:cNvPr>
                <p:cNvPicPr/>
                <p:nvPr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5482541" y="2542532"/>
                  <a:ext cx="248760" cy="597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C263FEE7-BD90-8F79-1060-B076196EBD53}"/>
              </a:ext>
            </a:extLst>
          </p:cNvPr>
          <p:cNvGrpSpPr/>
          <p:nvPr/>
        </p:nvGrpSpPr>
        <p:grpSpPr>
          <a:xfrm>
            <a:off x="6122261" y="2240132"/>
            <a:ext cx="1250280" cy="313560"/>
            <a:chOff x="6122261" y="2240132"/>
            <a:chExt cx="1250280" cy="3135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44">
              <p14:nvContentPartPr>
                <p14:cNvPr id="24" name="Ink 23">
                  <a:extLst>
                    <a:ext uri="{FF2B5EF4-FFF2-40B4-BE49-F238E27FC236}">
                      <a16:creationId xmlns:a16="http://schemas.microsoft.com/office/drawing/2014/main" id="{8F134E4E-C5A8-907D-1FC3-EE1500E9966F}"/>
                    </a:ext>
                  </a:extLst>
                </p14:cNvPr>
                <p14:cNvContentPartPr/>
                <p14:nvPr/>
              </p14:nvContentPartPr>
              <p14:xfrm>
                <a:off x="6122261" y="2240132"/>
                <a:ext cx="131760" cy="267840"/>
              </p14:xfrm>
            </p:contentPart>
          </mc:Choice>
          <mc:Fallback>
            <p:pic>
              <p:nvPicPr>
                <p:cNvPr id="24" name="Ink 23">
                  <a:extLst>
                    <a:ext uri="{FF2B5EF4-FFF2-40B4-BE49-F238E27FC236}">
                      <a16:creationId xmlns:a16="http://schemas.microsoft.com/office/drawing/2014/main" id="{8F134E4E-C5A8-907D-1FC3-EE1500E9966F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6107141" y="2224652"/>
                  <a:ext cx="162360" cy="298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6">
              <p14:nvContentPartPr>
                <p14:cNvPr id="25" name="Ink 24">
                  <a:extLst>
                    <a:ext uri="{FF2B5EF4-FFF2-40B4-BE49-F238E27FC236}">
                      <a16:creationId xmlns:a16="http://schemas.microsoft.com/office/drawing/2014/main" id="{38FEBC7A-C559-D411-BEB0-18BBBEE58DD6}"/>
                    </a:ext>
                  </a:extLst>
                </p14:cNvPr>
                <p14:cNvContentPartPr/>
                <p14:nvPr/>
              </p14:nvContentPartPr>
              <p14:xfrm>
                <a:off x="6337181" y="2316812"/>
                <a:ext cx="7560" cy="164520"/>
              </p14:xfrm>
            </p:contentPart>
          </mc:Choice>
          <mc:Fallback>
            <p:pic>
              <p:nvPicPr>
                <p:cNvPr id="25" name="Ink 24">
                  <a:extLst>
                    <a:ext uri="{FF2B5EF4-FFF2-40B4-BE49-F238E27FC236}">
                      <a16:creationId xmlns:a16="http://schemas.microsoft.com/office/drawing/2014/main" id="{38FEBC7A-C559-D411-BEB0-18BBBEE58DD6}"/>
                    </a:ext>
                  </a:extLst>
                </p:cNvPr>
                <p:cNvPicPr/>
                <p:nvPr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6322061" y="2301332"/>
                  <a:ext cx="38160" cy="195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8">
              <p14:nvContentPartPr>
                <p14:cNvPr id="26" name="Ink 25">
                  <a:extLst>
                    <a:ext uri="{FF2B5EF4-FFF2-40B4-BE49-F238E27FC236}">
                      <a16:creationId xmlns:a16="http://schemas.microsoft.com/office/drawing/2014/main" id="{D07207B4-7273-6666-62D0-9F36DFBD94A5}"/>
                    </a:ext>
                  </a:extLst>
                </p14:cNvPr>
                <p14:cNvContentPartPr/>
                <p14:nvPr/>
              </p14:nvContentPartPr>
              <p14:xfrm>
                <a:off x="6326381" y="2263532"/>
                <a:ext cx="384480" cy="290160"/>
              </p14:xfrm>
            </p:contentPart>
          </mc:Choice>
          <mc:Fallback>
            <p:pic>
              <p:nvPicPr>
                <p:cNvPr id="26" name="Ink 25">
                  <a:extLst>
                    <a:ext uri="{FF2B5EF4-FFF2-40B4-BE49-F238E27FC236}">
                      <a16:creationId xmlns:a16="http://schemas.microsoft.com/office/drawing/2014/main" id="{D07207B4-7273-6666-62D0-9F36DFBD94A5}"/>
                    </a:ext>
                  </a:extLst>
                </p:cNvPr>
                <p:cNvPicPr/>
                <p:nvPr/>
              </p:nvPicPr>
              <p:blipFill>
                <a:blip r:embed="rId49"/>
                <a:stretch>
                  <a:fillRect/>
                </a:stretch>
              </p:blipFill>
              <p:spPr>
                <a:xfrm>
                  <a:off x="6311261" y="2248052"/>
                  <a:ext cx="415080" cy="320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0">
              <p14:nvContentPartPr>
                <p14:cNvPr id="27" name="Ink 26">
                  <a:extLst>
                    <a:ext uri="{FF2B5EF4-FFF2-40B4-BE49-F238E27FC236}">
                      <a16:creationId xmlns:a16="http://schemas.microsoft.com/office/drawing/2014/main" id="{AE4D23CF-10EC-8B69-AF81-FBDAC1E75EB4}"/>
                    </a:ext>
                  </a:extLst>
                </p14:cNvPr>
                <p14:cNvContentPartPr/>
                <p14:nvPr/>
              </p14:nvContentPartPr>
              <p14:xfrm>
                <a:off x="6607541" y="2388452"/>
                <a:ext cx="55440" cy="34920"/>
              </p14:xfrm>
            </p:contentPart>
          </mc:Choice>
          <mc:Fallback>
            <p:pic>
              <p:nvPicPr>
                <p:cNvPr id="27" name="Ink 26">
                  <a:extLst>
                    <a:ext uri="{FF2B5EF4-FFF2-40B4-BE49-F238E27FC236}">
                      <a16:creationId xmlns:a16="http://schemas.microsoft.com/office/drawing/2014/main" id="{AE4D23CF-10EC-8B69-AF81-FBDAC1E75EB4}"/>
                    </a:ext>
                  </a:extLst>
                </p:cNvPr>
                <p:cNvPicPr/>
                <p:nvPr/>
              </p:nvPicPr>
              <p:blipFill>
                <a:blip r:embed="rId51"/>
                <a:stretch>
                  <a:fillRect/>
                </a:stretch>
              </p:blipFill>
              <p:spPr>
                <a:xfrm>
                  <a:off x="6592061" y="2373332"/>
                  <a:ext cx="86040" cy="65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2">
              <p14:nvContentPartPr>
                <p14:cNvPr id="28" name="Ink 27">
                  <a:extLst>
                    <a:ext uri="{FF2B5EF4-FFF2-40B4-BE49-F238E27FC236}">
                      <a16:creationId xmlns:a16="http://schemas.microsoft.com/office/drawing/2014/main" id="{EB67B0CC-9E8C-545F-BE78-F07975EDE2CA}"/>
                    </a:ext>
                  </a:extLst>
                </p14:cNvPr>
                <p14:cNvContentPartPr/>
                <p14:nvPr/>
              </p14:nvContentPartPr>
              <p14:xfrm>
                <a:off x="6817061" y="2355692"/>
                <a:ext cx="48960" cy="167040"/>
              </p14:xfrm>
            </p:contentPart>
          </mc:Choice>
          <mc:Fallback>
            <p:pic>
              <p:nvPicPr>
                <p:cNvPr id="28" name="Ink 27">
                  <a:extLst>
                    <a:ext uri="{FF2B5EF4-FFF2-40B4-BE49-F238E27FC236}">
                      <a16:creationId xmlns:a16="http://schemas.microsoft.com/office/drawing/2014/main" id="{EB67B0CC-9E8C-545F-BE78-F07975EDE2CA}"/>
                    </a:ext>
                  </a:extLst>
                </p:cNvPr>
                <p:cNvPicPr/>
                <p:nvPr/>
              </p:nvPicPr>
              <p:blipFill>
                <a:blip r:embed="rId53"/>
                <a:stretch>
                  <a:fillRect/>
                </a:stretch>
              </p:blipFill>
              <p:spPr>
                <a:xfrm>
                  <a:off x="6801581" y="2340212"/>
                  <a:ext cx="79560" cy="197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4">
              <p14:nvContentPartPr>
                <p14:cNvPr id="29" name="Ink 28">
                  <a:extLst>
                    <a:ext uri="{FF2B5EF4-FFF2-40B4-BE49-F238E27FC236}">
                      <a16:creationId xmlns:a16="http://schemas.microsoft.com/office/drawing/2014/main" id="{2C43988F-955B-726E-2765-55B3E726FCDB}"/>
                    </a:ext>
                  </a:extLst>
                </p14:cNvPr>
                <p14:cNvContentPartPr/>
                <p14:nvPr/>
              </p14:nvContentPartPr>
              <p14:xfrm>
                <a:off x="6897701" y="2306012"/>
                <a:ext cx="114120" cy="182880"/>
              </p14:xfrm>
            </p:contentPart>
          </mc:Choice>
          <mc:Fallback>
            <p:pic>
              <p:nvPicPr>
                <p:cNvPr id="29" name="Ink 28">
                  <a:extLst>
                    <a:ext uri="{FF2B5EF4-FFF2-40B4-BE49-F238E27FC236}">
                      <a16:creationId xmlns:a16="http://schemas.microsoft.com/office/drawing/2014/main" id="{2C43988F-955B-726E-2765-55B3E726FCDB}"/>
                    </a:ext>
                  </a:extLst>
                </p:cNvPr>
                <p:cNvPicPr/>
                <p:nvPr/>
              </p:nvPicPr>
              <p:blipFill>
                <a:blip r:embed="rId55"/>
                <a:stretch>
                  <a:fillRect/>
                </a:stretch>
              </p:blipFill>
              <p:spPr>
                <a:xfrm>
                  <a:off x="6882581" y="2290892"/>
                  <a:ext cx="144720" cy="213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6">
              <p14:nvContentPartPr>
                <p14:cNvPr id="30" name="Ink 29">
                  <a:extLst>
                    <a:ext uri="{FF2B5EF4-FFF2-40B4-BE49-F238E27FC236}">
                      <a16:creationId xmlns:a16="http://schemas.microsoft.com/office/drawing/2014/main" id="{DCE68E2B-103B-75CA-DF52-0D29B9336CF2}"/>
                    </a:ext>
                  </a:extLst>
                </p14:cNvPr>
                <p14:cNvContentPartPr/>
                <p14:nvPr/>
              </p14:nvContentPartPr>
              <p14:xfrm>
                <a:off x="7060421" y="2301332"/>
                <a:ext cx="102240" cy="223560"/>
              </p14:xfrm>
            </p:contentPart>
          </mc:Choice>
          <mc:Fallback>
            <p:pic>
              <p:nvPicPr>
                <p:cNvPr id="30" name="Ink 29">
                  <a:extLst>
                    <a:ext uri="{FF2B5EF4-FFF2-40B4-BE49-F238E27FC236}">
                      <a16:creationId xmlns:a16="http://schemas.microsoft.com/office/drawing/2014/main" id="{DCE68E2B-103B-75CA-DF52-0D29B9336CF2}"/>
                    </a:ext>
                  </a:extLst>
                </p:cNvPr>
                <p:cNvPicPr/>
                <p:nvPr/>
              </p:nvPicPr>
              <p:blipFill>
                <a:blip r:embed="rId57"/>
                <a:stretch>
                  <a:fillRect/>
                </a:stretch>
              </p:blipFill>
              <p:spPr>
                <a:xfrm>
                  <a:off x="7045301" y="2286212"/>
                  <a:ext cx="132480" cy="253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8">
              <p14:nvContentPartPr>
                <p14:cNvPr id="31" name="Ink 30">
                  <a:extLst>
                    <a:ext uri="{FF2B5EF4-FFF2-40B4-BE49-F238E27FC236}">
                      <a16:creationId xmlns:a16="http://schemas.microsoft.com/office/drawing/2014/main" id="{DE840FA7-B5CC-AB3A-281B-C5E4494C721A}"/>
                    </a:ext>
                  </a:extLst>
                </p14:cNvPr>
                <p14:cNvContentPartPr/>
                <p14:nvPr/>
              </p14:nvContentPartPr>
              <p14:xfrm>
                <a:off x="7221341" y="2395652"/>
                <a:ext cx="137880" cy="7920"/>
              </p14:xfrm>
            </p:contentPart>
          </mc:Choice>
          <mc:Fallback>
            <p:pic>
              <p:nvPicPr>
                <p:cNvPr id="31" name="Ink 30">
                  <a:extLst>
                    <a:ext uri="{FF2B5EF4-FFF2-40B4-BE49-F238E27FC236}">
                      <a16:creationId xmlns:a16="http://schemas.microsoft.com/office/drawing/2014/main" id="{DE840FA7-B5CC-AB3A-281B-C5E4494C721A}"/>
                    </a:ext>
                  </a:extLst>
                </p:cNvPr>
                <p:cNvPicPr/>
                <p:nvPr/>
              </p:nvPicPr>
              <p:blipFill>
                <a:blip r:embed="rId59"/>
                <a:stretch>
                  <a:fillRect/>
                </a:stretch>
              </p:blipFill>
              <p:spPr>
                <a:xfrm>
                  <a:off x="7205861" y="2380172"/>
                  <a:ext cx="168480" cy="38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0">
              <p14:nvContentPartPr>
                <p14:cNvPr id="32" name="Ink 31">
                  <a:extLst>
                    <a:ext uri="{FF2B5EF4-FFF2-40B4-BE49-F238E27FC236}">
                      <a16:creationId xmlns:a16="http://schemas.microsoft.com/office/drawing/2014/main" id="{C7B3FDDC-1D0D-832C-93A5-F9A83485D96F}"/>
                    </a:ext>
                  </a:extLst>
                </p14:cNvPr>
                <p14:cNvContentPartPr/>
                <p14:nvPr/>
              </p14:nvContentPartPr>
              <p14:xfrm>
                <a:off x="7274621" y="2492852"/>
                <a:ext cx="97920" cy="20880"/>
              </p14:xfrm>
            </p:contentPart>
          </mc:Choice>
          <mc:Fallback>
            <p:pic>
              <p:nvPicPr>
                <p:cNvPr id="32" name="Ink 31">
                  <a:extLst>
                    <a:ext uri="{FF2B5EF4-FFF2-40B4-BE49-F238E27FC236}">
                      <a16:creationId xmlns:a16="http://schemas.microsoft.com/office/drawing/2014/main" id="{C7B3FDDC-1D0D-832C-93A5-F9A83485D96F}"/>
                    </a:ext>
                  </a:extLst>
                </p:cNvPr>
                <p:cNvPicPr/>
                <p:nvPr/>
              </p:nvPicPr>
              <p:blipFill>
                <a:blip r:embed="rId61"/>
                <a:stretch>
                  <a:fillRect/>
                </a:stretch>
              </p:blipFill>
              <p:spPr>
                <a:xfrm>
                  <a:off x="7259501" y="2477732"/>
                  <a:ext cx="128520" cy="514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BE9BFD39-DE8A-825E-7B89-3CC87D050FD5}"/>
              </a:ext>
            </a:extLst>
          </p:cNvPr>
          <p:cNvGrpSpPr/>
          <p:nvPr/>
        </p:nvGrpSpPr>
        <p:grpSpPr>
          <a:xfrm>
            <a:off x="6367781" y="138812"/>
            <a:ext cx="822240" cy="250560"/>
            <a:chOff x="6367781" y="138812"/>
            <a:chExt cx="822240" cy="2505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62">
              <p14:nvContentPartPr>
                <p14:cNvPr id="53" name="Ink 52">
                  <a:extLst>
                    <a:ext uri="{FF2B5EF4-FFF2-40B4-BE49-F238E27FC236}">
                      <a16:creationId xmlns:a16="http://schemas.microsoft.com/office/drawing/2014/main" id="{D3643B9F-9BDE-9CC4-9A80-248B8AFE0C94}"/>
                    </a:ext>
                  </a:extLst>
                </p14:cNvPr>
                <p14:cNvContentPartPr/>
                <p14:nvPr/>
              </p14:nvContentPartPr>
              <p14:xfrm>
                <a:off x="6367781" y="138812"/>
                <a:ext cx="406080" cy="195840"/>
              </p14:xfrm>
            </p:contentPart>
          </mc:Choice>
          <mc:Fallback>
            <p:pic>
              <p:nvPicPr>
                <p:cNvPr id="53" name="Ink 52">
                  <a:extLst>
                    <a:ext uri="{FF2B5EF4-FFF2-40B4-BE49-F238E27FC236}">
                      <a16:creationId xmlns:a16="http://schemas.microsoft.com/office/drawing/2014/main" id="{D3643B9F-9BDE-9CC4-9A80-248B8AFE0C94}"/>
                    </a:ext>
                  </a:extLst>
                </p:cNvPr>
                <p:cNvPicPr/>
                <p:nvPr/>
              </p:nvPicPr>
              <p:blipFill>
                <a:blip r:embed="rId63"/>
                <a:stretch>
                  <a:fillRect/>
                </a:stretch>
              </p:blipFill>
              <p:spPr>
                <a:xfrm>
                  <a:off x="6352661" y="123692"/>
                  <a:ext cx="436680" cy="226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4">
              <p14:nvContentPartPr>
                <p14:cNvPr id="54" name="Ink 53">
                  <a:extLst>
                    <a:ext uri="{FF2B5EF4-FFF2-40B4-BE49-F238E27FC236}">
                      <a16:creationId xmlns:a16="http://schemas.microsoft.com/office/drawing/2014/main" id="{D5D46BBD-31B7-AE9B-0A1A-3D62B381DA21}"/>
                    </a:ext>
                  </a:extLst>
                </p14:cNvPr>
                <p14:cNvContentPartPr/>
                <p14:nvPr/>
              </p14:nvContentPartPr>
              <p14:xfrm>
                <a:off x="6665501" y="257972"/>
                <a:ext cx="112680" cy="56520"/>
              </p14:xfrm>
            </p:contentPart>
          </mc:Choice>
          <mc:Fallback>
            <p:pic>
              <p:nvPicPr>
                <p:cNvPr id="54" name="Ink 53">
                  <a:extLst>
                    <a:ext uri="{FF2B5EF4-FFF2-40B4-BE49-F238E27FC236}">
                      <a16:creationId xmlns:a16="http://schemas.microsoft.com/office/drawing/2014/main" id="{D5D46BBD-31B7-AE9B-0A1A-3D62B381DA21}"/>
                    </a:ext>
                  </a:extLst>
                </p:cNvPr>
                <p:cNvPicPr/>
                <p:nvPr/>
              </p:nvPicPr>
              <p:blipFill>
                <a:blip r:embed="rId65"/>
                <a:stretch>
                  <a:fillRect/>
                </a:stretch>
              </p:blipFill>
              <p:spPr>
                <a:xfrm>
                  <a:off x="6650381" y="242852"/>
                  <a:ext cx="143280" cy="87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6">
              <p14:nvContentPartPr>
                <p14:cNvPr id="55" name="Ink 54">
                  <a:extLst>
                    <a:ext uri="{FF2B5EF4-FFF2-40B4-BE49-F238E27FC236}">
                      <a16:creationId xmlns:a16="http://schemas.microsoft.com/office/drawing/2014/main" id="{D0935D11-47A2-EABD-A4F9-42457F0E3369}"/>
                    </a:ext>
                  </a:extLst>
                </p14:cNvPr>
                <p14:cNvContentPartPr/>
                <p14:nvPr/>
              </p14:nvContentPartPr>
              <p14:xfrm>
                <a:off x="6864941" y="200372"/>
                <a:ext cx="106920" cy="189000"/>
              </p14:xfrm>
            </p:contentPart>
          </mc:Choice>
          <mc:Fallback>
            <p:pic>
              <p:nvPicPr>
                <p:cNvPr id="55" name="Ink 54">
                  <a:extLst>
                    <a:ext uri="{FF2B5EF4-FFF2-40B4-BE49-F238E27FC236}">
                      <a16:creationId xmlns:a16="http://schemas.microsoft.com/office/drawing/2014/main" id="{D0935D11-47A2-EABD-A4F9-42457F0E3369}"/>
                    </a:ext>
                  </a:extLst>
                </p:cNvPr>
                <p:cNvPicPr/>
                <p:nvPr/>
              </p:nvPicPr>
              <p:blipFill>
                <a:blip r:embed="rId67"/>
                <a:stretch>
                  <a:fillRect/>
                </a:stretch>
              </p:blipFill>
              <p:spPr>
                <a:xfrm>
                  <a:off x="6849461" y="184892"/>
                  <a:ext cx="137520" cy="219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8">
              <p14:nvContentPartPr>
                <p14:cNvPr id="56" name="Ink 55">
                  <a:extLst>
                    <a:ext uri="{FF2B5EF4-FFF2-40B4-BE49-F238E27FC236}">
                      <a16:creationId xmlns:a16="http://schemas.microsoft.com/office/drawing/2014/main" id="{EFFDDC84-4394-4456-ED7A-33D4E5560679}"/>
                    </a:ext>
                  </a:extLst>
                </p14:cNvPr>
                <p14:cNvContentPartPr/>
                <p14:nvPr/>
              </p14:nvContentPartPr>
              <p14:xfrm>
                <a:off x="6896981" y="182372"/>
                <a:ext cx="99360" cy="25200"/>
              </p14:xfrm>
            </p:contentPart>
          </mc:Choice>
          <mc:Fallback>
            <p:pic>
              <p:nvPicPr>
                <p:cNvPr id="56" name="Ink 55">
                  <a:extLst>
                    <a:ext uri="{FF2B5EF4-FFF2-40B4-BE49-F238E27FC236}">
                      <a16:creationId xmlns:a16="http://schemas.microsoft.com/office/drawing/2014/main" id="{EFFDDC84-4394-4456-ED7A-33D4E5560679}"/>
                    </a:ext>
                  </a:extLst>
                </p:cNvPr>
                <p:cNvPicPr/>
                <p:nvPr/>
              </p:nvPicPr>
              <p:blipFill>
                <a:blip r:embed="rId69"/>
                <a:stretch>
                  <a:fillRect/>
                </a:stretch>
              </p:blipFill>
              <p:spPr>
                <a:xfrm>
                  <a:off x="6881501" y="167252"/>
                  <a:ext cx="129600" cy="55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0">
              <p14:nvContentPartPr>
                <p14:cNvPr id="57" name="Ink 56">
                  <a:extLst>
                    <a:ext uri="{FF2B5EF4-FFF2-40B4-BE49-F238E27FC236}">
                      <a16:creationId xmlns:a16="http://schemas.microsoft.com/office/drawing/2014/main" id="{0B33BF7B-66B2-B899-72CD-2F9922B285CC}"/>
                    </a:ext>
                  </a:extLst>
                </p14:cNvPr>
                <p14:cNvContentPartPr/>
                <p14:nvPr/>
              </p14:nvContentPartPr>
              <p14:xfrm>
                <a:off x="7058981" y="203972"/>
                <a:ext cx="131040" cy="182160"/>
              </p14:xfrm>
            </p:contentPart>
          </mc:Choice>
          <mc:Fallback>
            <p:pic>
              <p:nvPicPr>
                <p:cNvPr id="57" name="Ink 56">
                  <a:extLst>
                    <a:ext uri="{FF2B5EF4-FFF2-40B4-BE49-F238E27FC236}">
                      <a16:creationId xmlns:a16="http://schemas.microsoft.com/office/drawing/2014/main" id="{0B33BF7B-66B2-B899-72CD-2F9922B285CC}"/>
                    </a:ext>
                  </a:extLst>
                </p:cNvPr>
                <p:cNvPicPr/>
                <p:nvPr/>
              </p:nvPicPr>
              <p:blipFill>
                <a:blip r:embed="rId71"/>
                <a:stretch>
                  <a:fillRect/>
                </a:stretch>
              </p:blipFill>
              <p:spPr>
                <a:xfrm>
                  <a:off x="7043861" y="188492"/>
                  <a:ext cx="161640" cy="2127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EFD29583-3CDB-E644-7854-6A44197E776E}"/>
              </a:ext>
            </a:extLst>
          </p:cNvPr>
          <p:cNvGrpSpPr/>
          <p:nvPr/>
        </p:nvGrpSpPr>
        <p:grpSpPr>
          <a:xfrm>
            <a:off x="7494581" y="143492"/>
            <a:ext cx="786600" cy="296640"/>
            <a:chOff x="7494581" y="143492"/>
            <a:chExt cx="786600" cy="2966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72">
              <p14:nvContentPartPr>
                <p14:cNvPr id="59" name="Ink 58">
                  <a:extLst>
                    <a:ext uri="{FF2B5EF4-FFF2-40B4-BE49-F238E27FC236}">
                      <a16:creationId xmlns:a16="http://schemas.microsoft.com/office/drawing/2014/main" id="{B4EEF696-F5C9-E6EF-2E9A-7BBCCAFD3974}"/>
                    </a:ext>
                  </a:extLst>
                </p14:cNvPr>
                <p14:cNvContentPartPr/>
                <p14:nvPr/>
              </p14:nvContentPartPr>
              <p14:xfrm>
                <a:off x="7494581" y="143492"/>
                <a:ext cx="180360" cy="296640"/>
              </p14:xfrm>
            </p:contentPart>
          </mc:Choice>
          <mc:Fallback>
            <p:pic>
              <p:nvPicPr>
                <p:cNvPr id="59" name="Ink 58">
                  <a:extLst>
                    <a:ext uri="{FF2B5EF4-FFF2-40B4-BE49-F238E27FC236}">
                      <a16:creationId xmlns:a16="http://schemas.microsoft.com/office/drawing/2014/main" id="{B4EEF696-F5C9-E6EF-2E9A-7BBCCAFD3974}"/>
                    </a:ext>
                  </a:extLst>
                </p:cNvPr>
                <p:cNvPicPr/>
                <p:nvPr/>
              </p:nvPicPr>
              <p:blipFill>
                <a:blip r:embed="rId73"/>
                <a:stretch>
                  <a:fillRect/>
                </a:stretch>
              </p:blipFill>
              <p:spPr>
                <a:xfrm>
                  <a:off x="7479461" y="128012"/>
                  <a:ext cx="210960" cy="327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4">
              <p14:nvContentPartPr>
                <p14:cNvPr id="60" name="Ink 59">
                  <a:extLst>
                    <a:ext uri="{FF2B5EF4-FFF2-40B4-BE49-F238E27FC236}">
                      <a16:creationId xmlns:a16="http://schemas.microsoft.com/office/drawing/2014/main" id="{FBA2603C-F6DA-D0BF-9D0F-772726BB9654}"/>
                    </a:ext>
                  </a:extLst>
                </p14:cNvPr>
                <p14:cNvContentPartPr/>
                <p14:nvPr/>
              </p14:nvContentPartPr>
              <p14:xfrm>
                <a:off x="7780421" y="259412"/>
                <a:ext cx="126360" cy="41400"/>
              </p14:xfrm>
            </p:contentPart>
          </mc:Choice>
          <mc:Fallback>
            <p:pic>
              <p:nvPicPr>
                <p:cNvPr id="60" name="Ink 59">
                  <a:extLst>
                    <a:ext uri="{FF2B5EF4-FFF2-40B4-BE49-F238E27FC236}">
                      <a16:creationId xmlns:a16="http://schemas.microsoft.com/office/drawing/2014/main" id="{FBA2603C-F6DA-D0BF-9D0F-772726BB9654}"/>
                    </a:ext>
                  </a:extLst>
                </p:cNvPr>
                <p:cNvPicPr/>
                <p:nvPr/>
              </p:nvPicPr>
              <p:blipFill>
                <a:blip r:embed="rId75"/>
                <a:stretch>
                  <a:fillRect/>
                </a:stretch>
              </p:blipFill>
              <p:spPr>
                <a:xfrm>
                  <a:off x="7764941" y="244292"/>
                  <a:ext cx="156600" cy="72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6">
              <p14:nvContentPartPr>
                <p14:cNvPr id="61" name="Ink 60">
                  <a:extLst>
                    <a:ext uri="{FF2B5EF4-FFF2-40B4-BE49-F238E27FC236}">
                      <a16:creationId xmlns:a16="http://schemas.microsoft.com/office/drawing/2014/main" id="{8F112E8F-3E6F-19FA-5B7B-A697F1DA69C7}"/>
                    </a:ext>
                  </a:extLst>
                </p14:cNvPr>
                <p14:cNvContentPartPr/>
                <p14:nvPr/>
              </p14:nvContentPartPr>
              <p14:xfrm>
                <a:off x="7823261" y="331412"/>
                <a:ext cx="63360" cy="24480"/>
              </p14:xfrm>
            </p:contentPart>
          </mc:Choice>
          <mc:Fallback>
            <p:pic>
              <p:nvPicPr>
                <p:cNvPr id="61" name="Ink 60">
                  <a:extLst>
                    <a:ext uri="{FF2B5EF4-FFF2-40B4-BE49-F238E27FC236}">
                      <a16:creationId xmlns:a16="http://schemas.microsoft.com/office/drawing/2014/main" id="{8F112E8F-3E6F-19FA-5B7B-A697F1DA69C7}"/>
                    </a:ext>
                  </a:extLst>
                </p:cNvPr>
                <p:cNvPicPr/>
                <p:nvPr/>
              </p:nvPicPr>
              <p:blipFill>
                <a:blip r:embed="rId77"/>
                <a:stretch>
                  <a:fillRect/>
                </a:stretch>
              </p:blipFill>
              <p:spPr>
                <a:xfrm>
                  <a:off x="7808141" y="315932"/>
                  <a:ext cx="93960" cy="55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8">
              <p14:nvContentPartPr>
                <p14:cNvPr id="62" name="Ink 61">
                  <a:extLst>
                    <a:ext uri="{FF2B5EF4-FFF2-40B4-BE49-F238E27FC236}">
                      <a16:creationId xmlns:a16="http://schemas.microsoft.com/office/drawing/2014/main" id="{A71DAB18-AD95-9964-FEFE-17567FDEB5F2}"/>
                    </a:ext>
                  </a:extLst>
                </p14:cNvPr>
                <p14:cNvContentPartPr/>
                <p14:nvPr/>
              </p14:nvContentPartPr>
              <p14:xfrm>
                <a:off x="7979861" y="194252"/>
                <a:ext cx="122760" cy="159840"/>
              </p14:xfrm>
            </p:contentPart>
          </mc:Choice>
          <mc:Fallback>
            <p:pic>
              <p:nvPicPr>
                <p:cNvPr id="62" name="Ink 61">
                  <a:extLst>
                    <a:ext uri="{FF2B5EF4-FFF2-40B4-BE49-F238E27FC236}">
                      <a16:creationId xmlns:a16="http://schemas.microsoft.com/office/drawing/2014/main" id="{A71DAB18-AD95-9964-FEFE-17567FDEB5F2}"/>
                    </a:ext>
                  </a:extLst>
                </p:cNvPr>
                <p:cNvPicPr/>
                <p:nvPr/>
              </p:nvPicPr>
              <p:blipFill>
                <a:blip r:embed="rId79"/>
                <a:stretch>
                  <a:fillRect/>
                </a:stretch>
              </p:blipFill>
              <p:spPr>
                <a:xfrm>
                  <a:off x="7964741" y="178772"/>
                  <a:ext cx="153360" cy="190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0">
              <p14:nvContentPartPr>
                <p14:cNvPr id="63" name="Ink 62">
                  <a:extLst>
                    <a:ext uri="{FF2B5EF4-FFF2-40B4-BE49-F238E27FC236}">
                      <a16:creationId xmlns:a16="http://schemas.microsoft.com/office/drawing/2014/main" id="{07442E13-09E0-6BED-AA85-4FC87ECD9A3E}"/>
                    </a:ext>
                  </a:extLst>
                </p14:cNvPr>
                <p14:cNvContentPartPr/>
                <p14:nvPr/>
              </p14:nvContentPartPr>
              <p14:xfrm>
                <a:off x="8208821" y="218372"/>
                <a:ext cx="72360" cy="168840"/>
              </p14:xfrm>
            </p:contentPart>
          </mc:Choice>
          <mc:Fallback>
            <p:pic>
              <p:nvPicPr>
                <p:cNvPr id="63" name="Ink 62">
                  <a:extLst>
                    <a:ext uri="{FF2B5EF4-FFF2-40B4-BE49-F238E27FC236}">
                      <a16:creationId xmlns:a16="http://schemas.microsoft.com/office/drawing/2014/main" id="{07442E13-09E0-6BED-AA85-4FC87ECD9A3E}"/>
                    </a:ext>
                  </a:extLst>
                </p:cNvPr>
                <p:cNvPicPr/>
                <p:nvPr/>
              </p:nvPicPr>
              <p:blipFill>
                <a:blip r:embed="rId81"/>
                <a:stretch>
                  <a:fillRect/>
                </a:stretch>
              </p:blipFill>
              <p:spPr>
                <a:xfrm>
                  <a:off x="8193341" y="202892"/>
                  <a:ext cx="102960" cy="1994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748785B9-26C1-4C9D-0379-740B2AABB1DF}"/>
              </a:ext>
            </a:extLst>
          </p:cNvPr>
          <p:cNvGrpSpPr/>
          <p:nvPr/>
        </p:nvGrpSpPr>
        <p:grpSpPr>
          <a:xfrm>
            <a:off x="10807301" y="981212"/>
            <a:ext cx="330840" cy="533160"/>
            <a:chOff x="10807301" y="981212"/>
            <a:chExt cx="330840" cy="5331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82">
              <p14:nvContentPartPr>
                <p14:cNvPr id="136" name="Ink 135">
                  <a:extLst>
                    <a:ext uri="{FF2B5EF4-FFF2-40B4-BE49-F238E27FC236}">
                      <a16:creationId xmlns:a16="http://schemas.microsoft.com/office/drawing/2014/main" id="{3BE1DEC2-BE93-BB6E-AA16-14B42216DAF3}"/>
                    </a:ext>
                  </a:extLst>
                </p14:cNvPr>
                <p14:cNvContentPartPr/>
                <p14:nvPr/>
              </p14:nvContentPartPr>
              <p14:xfrm>
                <a:off x="10807301" y="981212"/>
                <a:ext cx="137880" cy="147600"/>
              </p14:xfrm>
            </p:contentPart>
          </mc:Choice>
          <mc:Fallback>
            <p:pic>
              <p:nvPicPr>
                <p:cNvPr id="136" name="Ink 135">
                  <a:extLst>
                    <a:ext uri="{FF2B5EF4-FFF2-40B4-BE49-F238E27FC236}">
                      <a16:creationId xmlns:a16="http://schemas.microsoft.com/office/drawing/2014/main" id="{3BE1DEC2-BE93-BB6E-AA16-14B42216DAF3}"/>
                    </a:ext>
                  </a:extLst>
                </p:cNvPr>
                <p:cNvPicPr/>
                <p:nvPr/>
              </p:nvPicPr>
              <p:blipFill>
                <a:blip r:embed="rId83"/>
                <a:stretch>
                  <a:fillRect/>
                </a:stretch>
              </p:blipFill>
              <p:spPr>
                <a:xfrm>
                  <a:off x="10792181" y="965732"/>
                  <a:ext cx="168480" cy="178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4">
              <p14:nvContentPartPr>
                <p14:cNvPr id="137" name="Ink 136">
                  <a:extLst>
                    <a:ext uri="{FF2B5EF4-FFF2-40B4-BE49-F238E27FC236}">
                      <a16:creationId xmlns:a16="http://schemas.microsoft.com/office/drawing/2014/main" id="{819DBC52-8D29-2B98-8D7A-32F22B445B16}"/>
                    </a:ext>
                  </a:extLst>
                </p14:cNvPr>
                <p14:cNvContentPartPr/>
                <p14:nvPr/>
              </p14:nvContentPartPr>
              <p14:xfrm>
                <a:off x="11001701" y="982652"/>
                <a:ext cx="50400" cy="164880"/>
              </p14:xfrm>
            </p:contentPart>
          </mc:Choice>
          <mc:Fallback>
            <p:pic>
              <p:nvPicPr>
                <p:cNvPr id="137" name="Ink 136">
                  <a:extLst>
                    <a:ext uri="{FF2B5EF4-FFF2-40B4-BE49-F238E27FC236}">
                      <a16:creationId xmlns:a16="http://schemas.microsoft.com/office/drawing/2014/main" id="{819DBC52-8D29-2B98-8D7A-32F22B445B16}"/>
                    </a:ext>
                  </a:extLst>
                </p:cNvPr>
                <p:cNvPicPr/>
                <p:nvPr/>
              </p:nvPicPr>
              <p:blipFill>
                <a:blip r:embed="rId85"/>
                <a:stretch>
                  <a:fillRect/>
                </a:stretch>
              </p:blipFill>
              <p:spPr>
                <a:xfrm>
                  <a:off x="10986581" y="967172"/>
                  <a:ext cx="81000" cy="195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6">
              <p14:nvContentPartPr>
                <p14:cNvPr id="138" name="Ink 137">
                  <a:extLst>
                    <a:ext uri="{FF2B5EF4-FFF2-40B4-BE49-F238E27FC236}">
                      <a16:creationId xmlns:a16="http://schemas.microsoft.com/office/drawing/2014/main" id="{1E496702-9426-568A-55F1-A485AE16CFED}"/>
                    </a:ext>
                  </a:extLst>
                </p14:cNvPr>
                <p14:cNvContentPartPr/>
                <p14:nvPr/>
              </p14:nvContentPartPr>
              <p14:xfrm>
                <a:off x="10821701" y="1114052"/>
                <a:ext cx="312120" cy="254160"/>
              </p14:xfrm>
            </p:contentPart>
          </mc:Choice>
          <mc:Fallback>
            <p:pic>
              <p:nvPicPr>
                <p:cNvPr id="138" name="Ink 137">
                  <a:extLst>
                    <a:ext uri="{FF2B5EF4-FFF2-40B4-BE49-F238E27FC236}">
                      <a16:creationId xmlns:a16="http://schemas.microsoft.com/office/drawing/2014/main" id="{1E496702-9426-568A-55F1-A485AE16CFED}"/>
                    </a:ext>
                  </a:extLst>
                </p:cNvPr>
                <p:cNvPicPr/>
                <p:nvPr/>
              </p:nvPicPr>
              <p:blipFill>
                <a:blip r:embed="rId87"/>
                <a:stretch>
                  <a:fillRect/>
                </a:stretch>
              </p:blipFill>
              <p:spPr>
                <a:xfrm>
                  <a:off x="10806581" y="1098572"/>
                  <a:ext cx="342360" cy="284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8">
              <p14:nvContentPartPr>
                <p14:cNvPr id="139" name="Ink 138">
                  <a:extLst>
                    <a:ext uri="{FF2B5EF4-FFF2-40B4-BE49-F238E27FC236}">
                      <a16:creationId xmlns:a16="http://schemas.microsoft.com/office/drawing/2014/main" id="{3F9ADA00-B2FE-DCEE-86CA-41C4E89B02B7}"/>
                    </a:ext>
                  </a:extLst>
                </p14:cNvPr>
                <p14:cNvContentPartPr/>
                <p14:nvPr/>
              </p14:nvContentPartPr>
              <p14:xfrm>
                <a:off x="10901621" y="1317092"/>
                <a:ext cx="72360" cy="197280"/>
              </p14:xfrm>
            </p:contentPart>
          </mc:Choice>
          <mc:Fallback>
            <p:pic>
              <p:nvPicPr>
                <p:cNvPr id="139" name="Ink 138">
                  <a:extLst>
                    <a:ext uri="{FF2B5EF4-FFF2-40B4-BE49-F238E27FC236}">
                      <a16:creationId xmlns:a16="http://schemas.microsoft.com/office/drawing/2014/main" id="{3F9ADA00-B2FE-DCEE-86CA-41C4E89B02B7}"/>
                    </a:ext>
                  </a:extLst>
                </p:cNvPr>
                <p:cNvPicPr/>
                <p:nvPr/>
              </p:nvPicPr>
              <p:blipFill>
                <a:blip r:embed="rId89"/>
                <a:stretch>
                  <a:fillRect/>
                </a:stretch>
              </p:blipFill>
              <p:spPr>
                <a:xfrm>
                  <a:off x="10886501" y="1301972"/>
                  <a:ext cx="102960" cy="227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0">
              <p14:nvContentPartPr>
                <p14:cNvPr id="140" name="Ink 139">
                  <a:extLst>
                    <a:ext uri="{FF2B5EF4-FFF2-40B4-BE49-F238E27FC236}">
                      <a16:creationId xmlns:a16="http://schemas.microsoft.com/office/drawing/2014/main" id="{26D07DC2-2BBF-2229-18B8-67B215255162}"/>
                    </a:ext>
                  </a:extLst>
                </p14:cNvPr>
                <p14:cNvContentPartPr/>
                <p14:nvPr/>
              </p14:nvContentPartPr>
              <p14:xfrm>
                <a:off x="10912781" y="1303052"/>
                <a:ext cx="225360" cy="172440"/>
              </p14:xfrm>
            </p:contentPart>
          </mc:Choice>
          <mc:Fallback>
            <p:pic>
              <p:nvPicPr>
                <p:cNvPr id="140" name="Ink 139">
                  <a:extLst>
                    <a:ext uri="{FF2B5EF4-FFF2-40B4-BE49-F238E27FC236}">
                      <a16:creationId xmlns:a16="http://schemas.microsoft.com/office/drawing/2014/main" id="{26D07DC2-2BBF-2229-18B8-67B215255162}"/>
                    </a:ext>
                  </a:extLst>
                </p:cNvPr>
                <p:cNvPicPr/>
                <p:nvPr/>
              </p:nvPicPr>
              <p:blipFill>
                <a:blip r:embed="rId91"/>
                <a:stretch>
                  <a:fillRect/>
                </a:stretch>
              </p:blipFill>
              <p:spPr>
                <a:xfrm>
                  <a:off x="10897661" y="1287572"/>
                  <a:ext cx="255960" cy="2030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96E0FF77-6E6F-4532-9F95-0932BD3CC922}"/>
              </a:ext>
            </a:extLst>
          </p:cNvPr>
          <p:cNvGrpSpPr/>
          <p:nvPr/>
        </p:nvGrpSpPr>
        <p:grpSpPr>
          <a:xfrm>
            <a:off x="11356301" y="1028012"/>
            <a:ext cx="439560" cy="382680"/>
            <a:chOff x="11356301" y="1028012"/>
            <a:chExt cx="439560" cy="38268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92">
              <p14:nvContentPartPr>
                <p14:cNvPr id="142" name="Ink 141">
                  <a:extLst>
                    <a:ext uri="{FF2B5EF4-FFF2-40B4-BE49-F238E27FC236}">
                      <a16:creationId xmlns:a16="http://schemas.microsoft.com/office/drawing/2014/main" id="{ED54C92E-3F81-949C-A9DC-9478D93AC495}"/>
                    </a:ext>
                  </a:extLst>
                </p14:cNvPr>
                <p14:cNvContentPartPr/>
                <p14:nvPr/>
              </p14:nvContentPartPr>
              <p14:xfrm>
                <a:off x="11356301" y="1173812"/>
                <a:ext cx="57240" cy="7560"/>
              </p14:xfrm>
            </p:contentPart>
          </mc:Choice>
          <mc:Fallback>
            <p:pic>
              <p:nvPicPr>
                <p:cNvPr id="142" name="Ink 141">
                  <a:extLst>
                    <a:ext uri="{FF2B5EF4-FFF2-40B4-BE49-F238E27FC236}">
                      <a16:creationId xmlns:a16="http://schemas.microsoft.com/office/drawing/2014/main" id="{ED54C92E-3F81-949C-A9DC-9478D93AC495}"/>
                    </a:ext>
                  </a:extLst>
                </p:cNvPr>
                <p:cNvPicPr/>
                <p:nvPr/>
              </p:nvPicPr>
              <p:blipFill>
                <a:blip r:embed="rId93"/>
                <a:stretch>
                  <a:fillRect/>
                </a:stretch>
              </p:blipFill>
              <p:spPr>
                <a:xfrm>
                  <a:off x="11341181" y="1158692"/>
                  <a:ext cx="87840" cy="38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4">
              <p14:nvContentPartPr>
                <p14:cNvPr id="143" name="Ink 142">
                  <a:extLst>
                    <a:ext uri="{FF2B5EF4-FFF2-40B4-BE49-F238E27FC236}">
                      <a16:creationId xmlns:a16="http://schemas.microsoft.com/office/drawing/2014/main" id="{75E9C7F0-C0F0-E6DA-1E10-682408D60491}"/>
                    </a:ext>
                  </a:extLst>
                </p14:cNvPr>
                <p14:cNvContentPartPr/>
                <p14:nvPr/>
              </p14:nvContentPartPr>
              <p14:xfrm>
                <a:off x="11357381" y="1220252"/>
                <a:ext cx="114120" cy="12960"/>
              </p14:xfrm>
            </p:contentPart>
          </mc:Choice>
          <mc:Fallback>
            <p:pic>
              <p:nvPicPr>
                <p:cNvPr id="143" name="Ink 142">
                  <a:extLst>
                    <a:ext uri="{FF2B5EF4-FFF2-40B4-BE49-F238E27FC236}">
                      <a16:creationId xmlns:a16="http://schemas.microsoft.com/office/drawing/2014/main" id="{75E9C7F0-C0F0-E6DA-1E10-682408D60491}"/>
                    </a:ext>
                  </a:extLst>
                </p:cNvPr>
                <p:cNvPicPr/>
                <p:nvPr/>
              </p:nvPicPr>
              <p:blipFill>
                <a:blip r:embed="rId95"/>
                <a:stretch>
                  <a:fillRect/>
                </a:stretch>
              </p:blipFill>
              <p:spPr>
                <a:xfrm>
                  <a:off x="11342261" y="1205132"/>
                  <a:ext cx="144720" cy="43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6">
              <p14:nvContentPartPr>
                <p14:cNvPr id="144" name="Ink 143">
                  <a:extLst>
                    <a:ext uri="{FF2B5EF4-FFF2-40B4-BE49-F238E27FC236}">
                      <a16:creationId xmlns:a16="http://schemas.microsoft.com/office/drawing/2014/main" id="{A09C67B7-0B93-09D4-12C3-E42B6D8E97E6}"/>
                    </a:ext>
                  </a:extLst>
                </p14:cNvPr>
                <p14:cNvContentPartPr/>
                <p14:nvPr/>
              </p14:nvContentPartPr>
              <p14:xfrm>
                <a:off x="11605061" y="1028012"/>
                <a:ext cx="4320" cy="195840"/>
              </p14:xfrm>
            </p:contentPart>
          </mc:Choice>
          <mc:Fallback>
            <p:pic>
              <p:nvPicPr>
                <p:cNvPr id="144" name="Ink 143">
                  <a:extLst>
                    <a:ext uri="{FF2B5EF4-FFF2-40B4-BE49-F238E27FC236}">
                      <a16:creationId xmlns:a16="http://schemas.microsoft.com/office/drawing/2014/main" id="{A09C67B7-0B93-09D4-12C3-E42B6D8E97E6}"/>
                    </a:ext>
                  </a:extLst>
                </p:cNvPr>
                <p:cNvPicPr/>
                <p:nvPr/>
              </p:nvPicPr>
              <p:blipFill>
                <a:blip r:embed="rId97"/>
                <a:stretch>
                  <a:fillRect/>
                </a:stretch>
              </p:blipFill>
              <p:spPr>
                <a:xfrm>
                  <a:off x="11589581" y="1012892"/>
                  <a:ext cx="34920" cy="226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8">
              <p14:nvContentPartPr>
                <p14:cNvPr id="145" name="Ink 144">
                  <a:extLst>
                    <a:ext uri="{FF2B5EF4-FFF2-40B4-BE49-F238E27FC236}">
                      <a16:creationId xmlns:a16="http://schemas.microsoft.com/office/drawing/2014/main" id="{84D5807B-37E6-C41E-323F-137B12E6FF6B}"/>
                    </a:ext>
                  </a:extLst>
                </p14:cNvPr>
                <p14:cNvContentPartPr/>
                <p14:nvPr/>
              </p14:nvContentPartPr>
              <p14:xfrm>
                <a:off x="11618741" y="1155092"/>
                <a:ext cx="82800" cy="142200"/>
              </p14:xfrm>
            </p:contentPart>
          </mc:Choice>
          <mc:Fallback>
            <p:pic>
              <p:nvPicPr>
                <p:cNvPr id="145" name="Ink 144">
                  <a:extLst>
                    <a:ext uri="{FF2B5EF4-FFF2-40B4-BE49-F238E27FC236}">
                      <a16:creationId xmlns:a16="http://schemas.microsoft.com/office/drawing/2014/main" id="{84D5807B-37E6-C41E-323F-137B12E6FF6B}"/>
                    </a:ext>
                  </a:extLst>
                </p:cNvPr>
                <p:cNvPicPr/>
                <p:nvPr/>
              </p:nvPicPr>
              <p:blipFill>
                <a:blip r:embed="rId99"/>
                <a:stretch>
                  <a:fillRect/>
                </a:stretch>
              </p:blipFill>
              <p:spPr>
                <a:xfrm>
                  <a:off x="11603621" y="1139972"/>
                  <a:ext cx="113400" cy="172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0">
              <p14:nvContentPartPr>
                <p14:cNvPr id="146" name="Ink 145">
                  <a:extLst>
                    <a:ext uri="{FF2B5EF4-FFF2-40B4-BE49-F238E27FC236}">
                      <a16:creationId xmlns:a16="http://schemas.microsoft.com/office/drawing/2014/main" id="{0A0D0D7D-B9AC-AD35-23D5-AA0E8AC5BD0B}"/>
                    </a:ext>
                  </a:extLst>
                </p14:cNvPr>
                <p14:cNvContentPartPr/>
                <p14:nvPr/>
              </p14:nvContentPartPr>
              <p14:xfrm>
                <a:off x="11666261" y="1296932"/>
                <a:ext cx="129600" cy="113760"/>
              </p14:xfrm>
            </p:contentPart>
          </mc:Choice>
          <mc:Fallback>
            <p:pic>
              <p:nvPicPr>
                <p:cNvPr id="146" name="Ink 145">
                  <a:extLst>
                    <a:ext uri="{FF2B5EF4-FFF2-40B4-BE49-F238E27FC236}">
                      <a16:creationId xmlns:a16="http://schemas.microsoft.com/office/drawing/2014/main" id="{0A0D0D7D-B9AC-AD35-23D5-AA0E8AC5BD0B}"/>
                    </a:ext>
                  </a:extLst>
                </p:cNvPr>
                <p:cNvPicPr/>
                <p:nvPr/>
              </p:nvPicPr>
              <p:blipFill>
                <a:blip r:embed="rId101"/>
                <a:stretch>
                  <a:fillRect/>
                </a:stretch>
              </p:blipFill>
              <p:spPr>
                <a:xfrm>
                  <a:off x="11651141" y="1281812"/>
                  <a:ext cx="159840" cy="1443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52" name="Group 151">
            <a:extLst>
              <a:ext uri="{FF2B5EF4-FFF2-40B4-BE49-F238E27FC236}">
                <a16:creationId xmlns:a16="http://schemas.microsoft.com/office/drawing/2014/main" id="{8380FEDF-BB0B-9EA8-6E2C-3B7B522BE33E}"/>
              </a:ext>
            </a:extLst>
          </p:cNvPr>
          <p:cNvGrpSpPr/>
          <p:nvPr/>
        </p:nvGrpSpPr>
        <p:grpSpPr>
          <a:xfrm>
            <a:off x="9662501" y="1007852"/>
            <a:ext cx="896040" cy="313200"/>
            <a:chOff x="9662501" y="1007852"/>
            <a:chExt cx="896040" cy="3132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02">
              <p14:nvContentPartPr>
                <p14:cNvPr id="129" name="Ink 128">
                  <a:extLst>
                    <a:ext uri="{FF2B5EF4-FFF2-40B4-BE49-F238E27FC236}">
                      <a16:creationId xmlns:a16="http://schemas.microsoft.com/office/drawing/2014/main" id="{0B144F44-764C-A8D8-EB47-C8F1A78FA074}"/>
                    </a:ext>
                  </a:extLst>
                </p14:cNvPr>
                <p14:cNvContentPartPr/>
                <p14:nvPr/>
              </p14:nvContentPartPr>
              <p14:xfrm>
                <a:off x="9662501" y="1075172"/>
                <a:ext cx="163440" cy="245880"/>
              </p14:xfrm>
            </p:contentPart>
          </mc:Choice>
          <mc:Fallback>
            <p:pic>
              <p:nvPicPr>
                <p:cNvPr id="129" name="Ink 128">
                  <a:extLst>
                    <a:ext uri="{FF2B5EF4-FFF2-40B4-BE49-F238E27FC236}">
                      <a16:creationId xmlns:a16="http://schemas.microsoft.com/office/drawing/2014/main" id="{0B144F44-764C-A8D8-EB47-C8F1A78FA074}"/>
                    </a:ext>
                  </a:extLst>
                </p:cNvPr>
                <p:cNvPicPr/>
                <p:nvPr/>
              </p:nvPicPr>
              <p:blipFill>
                <a:blip r:embed="rId103"/>
                <a:stretch>
                  <a:fillRect/>
                </a:stretch>
              </p:blipFill>
              <p:spPr>
                <a:xfrm>
                  <a:off x="9647021" y="1060052"/>
                  <a:ext cx="194040" cy="276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4">
              <p14:nvContentPartPr>
                <p14:cNvPr id="130" name="Ink 129">
                  <a:extLst>
                    <a:ext uri="{FF2B5EF4-FFF2-40B4-BE49-F238E27FC236}">
                      <a16:creationId xmlns:a16="http://schemas.microsoft.com/office/drawing/2014/main" id="{0B783E7A-BC6E-2D4A-52D5-F951F33A3CE9}"/>
                    </a:ext>
                  </a:extLst>
                </p14:cNvPr>
                <p14:cNvContentPartPr/>
                <p14:nvPr/>
              </p14:nvContentPartPr>
              <p14:xfrm>
                <a:off x="9872741" y="1079492"/>
                <a:ext cx="64080" cy="176040"/>
              </p14:xfrm>
            </p:contentPart>
          </mc:Choice>
          <mc:Fallback>
            <p:pic>
              <p:nvPicPr>
                <p:cNvPr id="130" name="Ink 129">
                  <a:extLst>
                    <a:ext uri="{FF2B5EF4-FFF2-40B4-BE49-F238E27FC236}">
                      <a16:creationId xmlns:a16="http://schemas.microsoft.com/office/drawing/2014/main" id="{0B783E7A-BC6E-2D4A-52D5-F951F33A3CE9}"/>
                    </a:ext>
                  </a:extLst>
                </p:cNvPr>
                <p:cNvPicPr/>
                <p:nvPr/>
              </p:nvPicPr>
              <p:blipFill>
                <a:blip r:embed="rId105"/>
                <a:stretch>
                  <a:fillRect/>
                </a:stretch>
              </p:blipFill>
              <p:spPr>
                <a:xfrm>
                  <a:off x="9857621" y="1064372"/>
                  <a:ext cx="94680" cy="206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6">
              <p14:nvContentPartPr>
                <p14:cNvPr id="131" name="Ink 130">
                  <a:extLst>
                    <a:ext uri="{FF2B5EF4-FFF2-40B4-BE49-F238E27FC236}">
                      <a16:creationId xmlns:a16="http://schemas.microsoft.com/office/drawing/2014/main" id="{8B6017E6-0C1A-93E6-FB8F-7E8E47C918A8}"/>
                    </a:ext>
                  </a:extLst>
                </p14:cNvPr>
                <p14:cNvContentPartPr/>
                <p14:nvPr/>
              </p14:nvContentPartPr>
              <p14:xfrm>
                <a:off x="10030781" y="1007852"/>
                <a:ext cx="151560" cy="231840"/>
              </p14:xfrm>
            </p:contentPart>
          </mc:Choice>
          <mc:Fallback>
            <p:pic>
              <p:nvPicPr>
                <p:cNvPr id="131" name="Ink 130">
                  <a:extLst>
                    <a:ext uri="{FF2B5EF4-FFF2-40B4-BE49-F238E27FC236}">
                      <a16:creationId xmlns:a16="http://schemas.microsoft.com/office/drawing/2014/main" id="{8B6017E6-0C1A-93E6-FB8F-7E8E47C918A8}"/>
                    </a:ext>
                  </a:extLst>
                </p:cNvPr>
                <p:cNvPicPr/>
                <p:nvPr/>
              </p:nvPicPr>
              <p:blipFill>
                <a:blip r:embed="rId107"/>
                <a:stretch>
                  <a:fillRect/>
                </a:stretch>
              </p:blipFill>
              <p:spPr>
                <a:xfrm>
                  <a:off x="10015661" y="992732"/>
                  <a:ext cx="182160" cy="262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8">
              <p14:nvContentPartPr>
                <p14:cNvPr id="132" name="Ink 131">
                  <a:extLst>
                    <a:ext uri="{FF2B5EF4-FFF2-40B4-BE49-F238E27FC236}">
                      <a16:creationId xmlns:a16="http://schemas.microsoft.com/office/drawing/2014/main" id="{FD780029-FF3E-97B4-81C2-782766A6BC93}"/>
                    </a:ext>
                  </a:extLst>
                </p14:cNvPr>
                <p14:cNvContentPartPr/>
                <p14:nvPr/>
              </p14:nvContentPartPr>
              <p14:xfrm>
                <a:off x="10239581" y="1033052"/>
                <a:ext cx="75960" cy="198360"/>
              </p14:xfrm>
            </p:contentPart>
          </mc:Choice>
          <mc:Fallback>
            <p:pic>
              <p:nvPicPr>
                <p:cNvPr id="132" name="Ink 131">
                  <a:extLst>
                    <a:ext uri="{FF2B5EF4-FFF2-40B4-BE49-F238E27FC236}">
                      <a16:creationId xmlns:a16="http://schemas.microsoft.com/office/drawing/2014/main" id="{FD780029-FF3E-97B4-81C2-782766A6BC93}"/>
                    </a:ext>
                  </a:extLst>
                </p:cNvPr>
                <p:cNvPicPr/>
                <p:nvPr/>
              </p:nvPicPr>
              <p:blipFill>
                <a:blip r:embed="rId109"/>
                <a:stretch>
                  <a:fillRect/>
                </a:stretch>
              </p:blipFill>
              <p:spPr>
                <a:xfrm>
                  <a:off x="10224101" y="1017572"/>
                  <a:ext cx="106560" cy="228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0">
              <p14:nvContentPartPr>
                <p14:cNvPr id="133" name="Ink 132">
                  <a:extLst>
                    <a:ext uri="{FF2B5EF4-FFF2-40B4-BE49-F238E27FC236}">
                      <a16:creationId xmlns:a16="http://schemas.microsoft.com/office/drawing/2014/main" id="{EBE90E8B-5B8F-0051-B4D6-0131579E6301}"/>
                    </a:ext>
                  </a:extLst>
                </p14:cNvPr>
                <p14:cNvContentPartPr/>
                <p14:nvPr/>
              </p14:nvContentPartPr>
              <p14:xfrm>
                <a:off x="10440101" y="1090652"/>
                <a:ext cx="89280" cy="11160"/>
              </p14:xfrm>
            </p:contentPart>
          </mc:Choice>
          <mc:Fallback>
            <p:pic>
              <p:nvPicPr>
                <p:cNvPr id="133" name="Ink 132">
                  <a:extLst>
                    <a:ext uri="{FF2B5EF4-FFF2-40B4-BE49-F238E27FC236}">
                      <a16:creationId xmlns:a16="http://schemas.microsoft.com/office/drawing/2014/main" id="{EBE90E8B-5B8F-0051-B4D6-0131579E6301}"/>
                    </a:ext>
                  </a:extLst>
                </p:cNvPr>
                <p:cNvPicPr/>
                <p:nvPr/>
              </p:nvPicPr>
              <p:blipFill>
                <a:blip r:embed="rId111"/>
                <a:stretch>
                  <a:fillRect/>
                </a:stretch>
              </p:blipFill>
              <p:spPr>
                <a:xfrm>
                  <a:off x="10424981" y="1075532"/>
                  <a:ext cx="119880" cy="41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2">
              <p14:nvContentPartPr>
                <p14:cNvPr id="134" name="Ink 133">
                  <a:extLst>
                    <a:ext uri="{FF2B5EF4-FFF2-40B4-BE49-F238E27FC236}">
                      <a16:creationId xmlns:a16="http://schemas.microsoft.com/office/drawing/2014/main" id="{CC75EBA3-E380-C386-288A-4A358BFA3CD5}"/>
                    </a:ext>
                  </a:extLst>
                </p14:cNvPr>
                <p14:cNvContentPartPr/>
                <p14:nvPr/>
              </p14:nvContentPartPr>
              <p14:xfrm>
                <a:off x="10449101" y="1188572"/>
                <a:ext cx="109440" cy="30960"/>
              </p14:xfrm>
            </p:contentPart>
          </mc:Choice>
          <mc:Fallback>
            <p:pic>
              <p:nvPicPr>
                <p:cNvPr id="134" name="Ink 133">
                  <a:extLst>
                    <a:ext uri="{FF2B5EF4-FFF2-40B4-BE49-F238E27FC236}">
                      <a16:creationId xmlns:a16="http://schemas.microsoft.com/office/drawing/2014/main" id="{CC75EBA3-E380-C386-288A-4A358BFA3CD5}"/>
                    </a:ext>
                  </a:extLst>
                </p:cNvPr>
                <p:cNvPicPr/>
                <p:nvPr/>
              </p:nvPicPr>
              <p:blipFill>
                <a:blip r:embed="rId113"/>
                <a:stretch>
                  <a:fillRect/>
                </a:stretch>
              </p:blipFill>
              <p:spPr>
                <a:xfrm>
                  <a:off x="10433981" y="1173452"/>
                  <a:ext cx="139680" cy="61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4">
              <p14:nvContentPartPr>
                <p14:cNvPr id="149" name="Ink 148">
                  <a:extLst>
                    <a:ext uri="{FF2B5EF4-FFF2-40B4-BE49-F238E27FC236}">
                      <a16:creationId xmlns:a16="http://schemas.microsoft.com/office/drawing/2014/main" id="{51E6C654-BDA8-77E4-1D40-92C1CC4F8FDC}"/>
                    </a:ext>
                  </a:extLst>
                </p14:cNvPr>
                <p14:cNvContentPartPr/>
                <p14:nvPr/>
              </p14:nvContentPartPr>
              <p14:xfrm>
                <a:off x="10219061" y="1192172"/>
                <a:ext cx="2520" cy="122040"/>
              </p14:xfrm>
            </p:contentPart>
          </mc:Choice>
          <mc:Fallback>
            <p:pic>
              <p:nvPicPr>
                <p:cNvPr id="149" name="Ink 148">
                  <a:extLst>
                    <a:ext uri="{FF2B5EF4-FFF2-40B4-BE49-F238E27FC236}">
                      <a16:creationId xmlns:a16="http://schemas.microsoft.com/office/drawing/2014/main" id="{51E6C654-BDA8-77E4-1D40-92C1CC4F8FDC}"/>
                    </a:ext>
                  </a:extLst>
                </p:cNvPr>
                <p:cNvPicPr/>
                <p:nvPr/>
              </p:nvPicPr>
              <p:blipFill>
                <a:blip r:embed="rId115"/>
                <a:stretch>
                  <a:fillRect/>
                </a:stretch>
              </p:blipFill>
              <p:spPr>
                <a:xfrm>
                  <a:off x="10203941" y="1176692"/>
                  <a:ext cx="33120" cy="1522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ADE5FE4A-731C-FCC4-0C1C-63CACC54DD07}"/>
              </a:ext>
            </a:extLst>
          </p:cNvPr>
          <p:cNvGrpSpPr/>
          <p:nvPr/>
        </p:nvGrpSpPr>
        <p:grpSpPr>
          <a:xfrm>
            <a:off x="7750541" y="1654412"/>
            <a:ext cx="3474360" cy="906120"/>
            <a:chOff x="7750541" y="1654412"/>
            <a:chExt cx="3474360" cy="9061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16">
              <p14:nvContentPartPr>
                <p14:cNvPr id="33" name="Ink 32">
                  <a:extLst>
                    <a:ext uri="{FF2B5EF4-FFF2-40B4-BE49-F238E27FC236}">
                      <a16:creationId xmlns:a16="http://schemas.microsoft.com/office/drawing/2014/main" id="{75F66ED5-37E6-ACE2-B387-58C3C65EAEBC}"/>
                    </a:ext>
                  </a:extLst>
                </p14:cNvPr>
                <p14:cNvContentPartPr/>
                <p14:nvPr/>
              </p14:nvContentPartPr>
              <p14:xfrm>
                <a:off x="7750541" y="2227172"/>
                <a:ext cx="119520" cy="289080"/>
              </p14:xfrm>
            </p:contentPart>
          </mc:Choice>
          <mc:Fallback>
            <p:pic>
              <p:nvPicPr>
                <p:cNvPr id="33" name="Ink 32">
                  <a:extLst>
                    <a:ext uri="{FF2B5EF4-FFF2-40B4-BE49-F238E27FC236}">
                      <a16:creationId xmlns:a16="http://schemas.microsoft.com/office/drawing/2014/main" id="{75F66ED5-37E6-ACE2-B387-58C3C65EAEBC}"/>
                    </a:ext>
                  </a:extLst>
                </p:cNvPr>
                <p:cNvPicPr/>
                <p:nvPr/>
              </p:nvPicPr>
              <p:blipFill>
                <a:blip r:embed="rId117"/>
                <a:stretch>
                  <a:fillRect/>
                </a:stretch>
              </p:blipFill>
              <p:spPr>
                <a:xfrm>
                  <a:off x="7735421" y="2211692"/>
                  <a:ext cx="150120" cy="319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8">
              <p14:nvContentPartPr>
                <p14:cNvPr id="34" name="Ink 33">
                  <a:extLst>
                    <a:ext uri="{FF2B5EF4-FFF2-40B4-BE49-F238E27FC236}">
                      <a16:creationId xmlns:a16="http://schemas.microsoft.com/office/drawing/2014/main" id="{CE659BE6-A54A-D102-172F-4E73AF739251}"/>
                    </a:ext>
                  </a:extLst>
                </p14:cNvPr>
                <p14:cNvContentPartPr/>
                <p14:nvPr/>
              </p14:nvContentPartPr>
              <p14:xfrm>
                <a:off x="7931981" y="2303132"/>
                <a:ext cx="50040" cy="179280"/>
              </p14:xfrm>
            </p:contentPart>
          </mc:Choice>
          <mc:Fallback>
            <p:pic>
              <p:nvPicPr>
                <p:cNvPr id="34" name="Ink 33">
                  <a:extLst>
                    <a:ext uri="{FF2B5EF4-FFF2-40B4-BE49-F238E27FC236}">
                      <a16:creationId xmlns:a16="http://schemas.microsoft.com/office/drawing/2014/main" id="{CE659BE6-A54A-D102-172F-4E73AF739251}"/>
                    </a:ext>
                  </a:extLst>
                </p:cNvPr>
                <p:cNvPicPr/>
                <p:nvPr/>
              </p:nvPicPr>
              <p:blipFill>
                <a:blip r:embed="rId119"/>
                <a:stretch>
                  <a:fillRect/>
                </a:stretch>
              </p:blipFill>
              <p:spPr>
                <a:xfrm>
                  <a:off x="7916501" y="2288012"/>
                  <a:ext cx="80640" cy="209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0">
              <p14:nvContentPartPr>
                <p14:cNvPr id="35" name="Ink 34">
                  <a:extLst>
                    <a:ext uri="{FF2B5EF4-FFF2-40B4-BE49-F238E27FC236}">
                      <a16:creationId xmlns:a16="http://schemas.microsoft.com/office/drawing/2014/main" id="{5082FAD5-FE61-4C4B-F48A-A2683ACDD1C7}"/>
                    </a:ext>
                  </a:extLst>
                </p14:cNvPr>
                <p14:cNvContentPartPr/>
                <p14:nvPr/>
              </p14:nvContentPartPr>
              <p14:xfrm>
                <a:off x="8123141" y="2278652"/>
                <a:ext cx="153360" cy="229680"/>
              </p14:xfrm>
            </p:contentPart>
          </mc:Choice>
          <mc:Fallback>
            <p:pic>
              <p:nvPicPr>
                <p:cNvPr id="35" name="Ink 34">
                  <a:extLst>
                    <a:ext uri="{FF2B5EF4-FFF2-40B4-BE49-F238E27FC236}">
                      <a16:creationId xmlns:a16="http://schemas.microsoft.com/office/drawing/2014/main" id="{5082FAD5-FE61-4C4B-F48A-A2683ACDD1C7}"/>
                    </a:ext>
                  </a:extLst>
                </p:cNvPr>
                <p:cNvPicPr/>
                <p:nvPr/>
              </p:nvPicPr>
              <p:blipFill>
                <a:blip r:embed="rId121"/>
                <a:stretch>
                  <a:fillRect/>
                </a:stretch>
              </p:blipFill>
              <p:spPr>
                <a:xfrm>
                  <a:off x="8107661" y="2263532"/>
                  <a:ext cx="183960" cy="260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2">
              <p14:nvContentPartPr>
                <p14:cNvPr id="36" name="Ink 35">
                  <a:extLst>
                    <a:ext uri="{FF2B5EF4-FFF2-40B4-BE49-F238E27FC236}">
                      <a16:creationId xmlns:a16="http://schemas.microsoft.com/office/drawing/2014/main" id="{5D6EC483-8FF5-42AD-B908-907E764551E7}"/>
                    </a:ext>
                  </a:extLst>
                </p14:cNvPr>
                <p14:cNvContentPartPr/>
                <p14:nvPr/>
              </p14:nvContentPartPr>
              <p14:xfrm>
                <a:off x="8176421" y="2388452"/>
                <a:ext cx="98640" cy="57600"/>
              </p14:xfrm>
            </p:contentPart>
          </mc:Choice>
          <mc:Fallback>
            <p:pic>
              <p:nvPicPr>
                <p:cNvPr id="36" name="Ink 35">
                  <a:extLst>
                    <a:ext uri="{FF2B5EF4-FFF2-40B4-BE49-F238E27FC236}">
                      <a16:creationId xmlns:a16="http://schemas.microsoft.com/office/drawing/2014/main" id="{5D6EC483-8FF5-42AD-B908-907E764551E7}"/>
                    </a:ext>
                  </a:extLst>
                </p:cNvPr>
                <p:cNvPicPr/>
                <p:nvPr/>
              </p:nvPicPr>
              <p:blipFill>
                <a:blip r:embed="rId123"/>
                <a:stretch>
                  <a:fillRect/>
                </a:stretch>
              </p:blipFill>
              <p:spPr>
                <a:xfrm>
                  <a:off x="8160941" y="2373332"/>
                  <a:ext cx="129240" cy="88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4">
              <p14:nvContentPartPr>
                <p14:cNvPr id="37" name="Ink 36">
                  <a:extLst>
                    <a:ext uri="{FF2B5EF4-FFF2-40B4-BE49-F238E27FC236}">
                      <a16:creationId xmlns:a16="http://schemas.microsoft.com/office/drawing/2014/main" id="{1C5131BB-E713-0ECC-EFCE-79D76D94D34A}"/>
                    </a:ext>
                  </a:extLst>
                </p14:cNvPr>
                <p14:cNvContentPartPr/>
                <p14:nvPr/>
              </p14:nvContentPartPr>
              <p14:xfrm>
                <a:off x="8349221" y="2313572"/>
                <a:ext cx="71640" cy="246960"/>
              </p14:xfrm>
            </p:contentPart>
          </mc:Choice>
          <mc:Fallback>
            <p:pic>
              <p:nvPicPr>
                <p:cNvPr id="37" name="Ink 36">
                  <a:extLst>
                    <a:ext uri="{FF2B5EF4-FFF2-40B4-BE49-F238E27FC236}">
                      <a16:creationId xmlns:a16="http://schemas.microsoft.com/office/drawing/2014/main" id="{1C5131BB-E713-0ECC-EFCE-79D76D94D34A}"/>
                    </a:ext>
                  </a:extLst>
                </p:cNvPr>
                <p:cNvPicPr/>
                <p:nvPr/>
              </p:nvPicPr>
              <p:blipFill>
                <a:blip r:embed="rId125"/>
                <a:stretch>
                  <a:fillRect/>
                </a:stretch>
              </p:blipFill>
              <p:spPr>
                <a:xfrm>
                  <a:off x="8333741" y="2298092"/>
                  <a:ext cx="102240" cy="277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6">
              <p14:nvContentPartPr>
                <p14:cNvPr id="38" name="Ink 37">
                  <a:extLst>
                    <a:ext uri="{FF2B5EF4-FFF2-40B4-BE49-F238E27FC236}">
                      <a16:creationId xmlns:a16="http://schemas.microsoft.com/office/drawing/2014/main" id="{A95235C4-78FE-128A-30F1-42A93D25D2FC}"/>
                    </a:ext>
                  </a:extLst>
                </p14:cNvPr>
                <p14:cNvContentPartPr/>
                <p14:nvPr/>
              </p14:nvContentPartPr>
              <p14:xfrm>
                <a:off x="8558021" y="2512292"/>
                <a:ext cx="21600" cy="5040"/>
              </p14:xfrm>
            </p:contentPart>
          </mc:Choice>
          <mc:Fallback>
            <p:pic>
              <p:nvPicPr>
                <p:cNvPr id="38" name="Ink 37">
                  <a:extLst>
                    <a:ext uri="{FF2B5EF4-FFF2-40B4-BE49-F238E27FC236}">
                      <a16:creationId xmlns:a16="http://schemas.microsoft.com/office/drawing/2014/main" id="{A95235C4-78FE-128A-30F1-42A93D25D2FC}"/>
                    </a:ext>
                  </a:extLst>
                </p:cNvPr>
                <p:cNvPicPr/>
                <p:nvPr/>
              </p:nvPicPr>
              <p:blipFill>
                <a:blip r:embed="rId127"/>
                <a:stretch>
                  <a:fillRect/>
                </a:stretch>
              </p:blipFill>
              <p:spPr>
                <a:xfrm>
                  <a:off x="8542541" y="2497172"/>
                  <a:ext cx="52200" cy="35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8">
              <p14:nvContentPartPr>
                <p14:cNvPr id="39" name="Ink 38">
                  <a:extLst>
                    <a:ext uri="{FF2B5EF4-FFF2-40B4-BE49-F238E27FC236}">
                      <a16:creationId xmlns:a16="http://schemas.microsoft.com/office/drawing/2014/main" id="{E1AB1356-B3E4-A90E-78B9-954ECF249135}"/>
                    </a:ext>
                  </a:extLst>
                </p14:cNvPr>
                <p14:cNvContentPartPr/>
                <p14:nvPr/>
              </p14:nvContentPartPr>
              <p14:xfrm>
                <a:off x="8754941" y="2339852"/>
                <a:ext cx="70200" cy="192600"/>
              </p14:xfrm>
            </p:contentPart>
          </mc:Choice>
          <mc:Fallback>
            <p:pic>
              <p:nvPicPr>
                <p:cNvPr id="39" name="Ink 38">
                  <a:extLst>
                    <a:ext uri="{FF2B5EF4-FFF2-40B4-BE49-F238E27FC236}">
                      <a16:creationId xmlns:a16="http://schemas.microsoft.com/office/drawing/2014/main" id="{E1AB1356-B3E4-A90E-78B9-954ECF249135}"/>
                    </a:ext>
                  </a:extLst>
                </p:cNvPr>
                <p:cNvPicPr/>
                <p:nvPr/>
              </p:nvPicPr>
              <p:blipFill>
                <a:blip r:embed="rId129"/>
                <a:stretch>
                  <a:fillRect/>
                </a:stretch>
              </p:blipFill>
              <p:spPr>
                <a:xfrm>
                  <a:off x="8739461" y="2324732"/>
                  <a:ext cx="100800" cy="222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30">
              <p14:nvContentPartPr>
                <p14:cNvPr id="40" name="Ink 39">
                  <a:extLst>
                    <a:ext uri="{FF2B5EF4-FFF2-40B4-BE49-F238E27FC236}">
                      <a16:creationId xmlns:a16="http://schemas.microsoft.com/office/drawing/2014/main" id="{08085FB8-6893-A06C-80D8-AE148E5FF982}"/>
                    </a:ext>
                  </a:extLst>
                </p14:cNvPr>
                <p14:cNvContentPartPr/>
                <p14:nvPr/>
              </p14:nvContentPartPr>
              <p14:xfrm>
                <a:off x="8945741" y="2275772"/>
                <a:ext cx="115920" cy="217800"/>
              </p14:xfrm>
            </p:contentPart>
          </mc:Choice>
          <mc:Fallback>
            <p:pic>
              <p:nvPicPr>
                <p:cNvPr id="40" name="Ink 39">
                  <a:extLst>
                    <a:ext uri="{FF2B5EF4-FFF2-40B4-BE49-F238E27FC236}">
                      <a16:creationId xmlns:a16="http://schemas.microsoft.com/office/drawing/2014/main" id="{08085FB8-6893-A06C-80D8-AE148E5FF982}"/>
                    </a:ext>
                  </a:extLst>
                </p:cNvPr>
                <p:cNvPicPr/>
                <p:nvPr/>
              </p:nvPicPr>
              <p:blipFill>
                <a:blip r:embed="rId131"/>
                <a:stretch>
                  <a:fillRect/>
                </a:stretch>
              </p:blipFill>
              <p:spPr>
                <a:xfrm>
                  <a:off x="8930261" y="2260652"/>
                  <a:ext cx="146160" cy="248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32">
              <p14:nvContentPartPr>
                <p14:cNvPr id="41" name="Ink 40">
                  <a:extLst>
                    <a:ext uri="{FF2B5EF4-FFF2-40B4-BE49-F238E27FC236}">
                      <a16:creationId xmlns:a16="http://schemas.microsoft.com/office/drawing/2014/main" id="{1F69126C-061D-73D7-2C7F-611244D63CF5}"/>
                    </a:ext>
                  </a:extLst>
                </p14:cNvPr>
                <p14:cNvContentPartPr/>
                <p14:nvPr/>
              </p14:nvContentPartPr>
              <p14:xfrm>
                <a:off x="9151301" y="2302052"/>
                <a:ext cx="129240" cy="204480"/>
              </p14:xfrm>
            </p:contentPart>
          </mc:Choice>
          <mc:Fallback>
            <p:pic>
              <p:nvPicPr>
                <p:cNvPr id="41" name="Ink 40">
                  <a:extLst>
                    <a:ext uri="{FF2B5EF4-FFF2-40B4-BE49-F238E27FC236}">
                      <a16:creationId xmlns:a16="http://schemas.microsoft.com/office/drawing/2014/main" id="{1F69126C-061D-73D7-2C7F-611244D63CF5}"/>
                    </a:ext>
                  </a:extLst>
                </p:cNvPr>
                <p:cNvPicPr/>
                <p:nvPr/>
              </p:nvPicPr>
              <p:blipFill>
                <a:blip r:embed="rId133"/>
                <a:stretch>
                  <a:fillRect/>
                </a:stretch>
              </p:blipFill>
              <p:spPr>
                <a:xfrm>
                  <a:off x="9135821" y="2286932"/>
                  <a:ext cx="159840" cy="234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34">
              <p14:nvContentPartPr>
                <p14:cNvPr id="45" name="Ink 44">
                  <a:extLst>
                    <a:ext uri="{FF2B5EF4-FFF2-40B4-BE49-F238E27FC236}">
                      <a16:creationId xmlns:a16="http://schemas.microsoft.com/office/drawing/2014/main" id="{630E91D3-7FC7-B42F-C7F6-A7360FD31AD7}"/>
                    </a:ext>
                  </a:extLst>
                </p14:cNvPr>
                <p14:cNvContentPartPr/>
                <p14:nvPr/>
              </p14:nvContentPartPr>
              <p14:xfrm>
                <a:off x="9407981" y="2299172"/>
                <a:ext cx="37440" cy="257040"/>
              </p14:xfrm>
            </p:contentPart>
          </mc:Choice>
          <mc:Fallback>
            <p:pic>
              <p:nvPicPr>
                <p:cNvPr id="45" name="Ink 44">
                  <a:extLst>
                    <a:ext uri="{FF2B5EF4-FFF2-40B4-BE49-F238E27FC236}">
                      <a16:creationId xmlns:a16="http://schemas.microsoft.com/office/drawing/2014/main" id="{630E91D3-7FC7-B42F-C7F6-A7360FD31AD7}"/>
                    </a:ext>
                  </a:extLst>
                </p:cNvPr>
                <p:cNvPicPr/>
                <p:nvPr/>
              </p:nvPicPr>
              <p:blipFill>
                <a:blip r:embed="rId135"/>
                <a:stretch>
                  <a:fillRect/>
                </a:stretch>
              </p:blipFill>
              <p:spPr>
                <a:xfrm>
                  <a:off x="9392861" y="2284052"/>
                  <a:ext cx="68040" cy="287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36">
              <p14:nvContentPartPr>
                <p14:cNvPr id="46" name="Ink 45">
                  <a:extLst>
                    <a:ext uri="{FF2B5EF4-FFF2-40B4-BE49-F238E27FC236}">
                      <a16:creationId xmlns:a16="http://schemas.microsoft.com/office/drawing/2014/main" id="{F83B782A-FD00-792F-0B01-3C67AD8AA396}"/>
                    </a:ext>
                  </a:extLst>
                </p14:cNvPr>
                <p14:cNvContentPartPr/>
                <p14:nvPr/>
              </p14:nvContentPartPr>
              <p14:xfrm>
                <a:off x="9566381" y="2312492"/>
                <a:ext cx="193320" cy="194400"/>
              </p14:xfrm>
            </p:contentPart>
          </mc:Choice>
          <mc:Fallback>
            <p:pic>
              <p:nvPicPr>
                <p:cNvPr id="46" name="Ink 45">
                  <a:extLst>
                    <a:ext uri="{FF2B5EF4-FFF2-40B4-BE49-F238E27FC236}">
                      <a16:creationId xmlns:a16="http://schemas.microsoft.com/office/drawing/2014/main" id="{F83B782A-FD00-792F-0B01-3C67AD8AA396}"/>
                    </a:ext>
                  </a:extLst>
                </p:cNvPr>
                <p:cNvPicPr/>
                <p:nvPr/>
              </p:nvPicPr>
              <p:blipFill>
                <a:blip r:embed="rId137"/>
                <a:stretch>
                  <a:fillRect/>
                </a:stretch>
              </p:blipFill>
              <p:spPr>
                <a:xfrm>
                  <a:off x="9550901" y="2297012"/>
                  <a:ext cx="223920" cy="224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38">
              <p14:nvContentPartPr>
                <p14:cNvPr id="47" name="Ink 46">
                  <a:extLst>
                    <a:ext uri="{FF2B5EF4-FFF2-40B4-BE49-F238E27FC236}">
                      <a16:creationId xmlns:a16="http://schemas.microsoft.com/office/drawing/2014/main" id="{E3A02520-45AE-A544-DC30-FA017B10B676}"/>
                    </a:ext>
                  </a:extLst>
                </p14:cNvPr>
                <p14:cNvContentPartPr/>
                <p14:nvPr/>
              </p14:nvContentPartPr>
              <p14:xfrm>
                <a:off x="9662501" y="2382332"/>
                <a:ext cx="95760" cy="53280"/>
              </p14:xfrm>
            </p:contentPart>
          </mc:Choice>
          <mc:Fallback>
            <p:pic>
              <p:nvPicPr>
                <p:cNvPr id="47" name="Ink 46">
                  <a:extLst>
                    <a:ext uri="{FF2B5EF4-FFF2-40B4-BE49-F238E27FC236}">
                      <a16:creationId xmlns:a16="http://schemas.microsoft.com/office/drawing/2014/main" id="{E3A02520-45AE-A544-DC30-FA017B10B676}"/>
                    </a:ext>
                  </a:extLst>
                </p:cNvPr>
                <p:cNvPicPr/>
                <p:nvPr/>
              </p:nvPicPr>
              <p:blipFill>
                <a:blip r:embed="rId139"/>
                <a:stretch>
                  <a:fillRect/>
                </a:stretch>
              </p:blipFill>
              <p:spPr>
                <a:xfrm>
                  <a:off x="9647381" y="2366852"/>
                  <a:ext cx="126360" cy="83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0">
              <p14:nvContentPartPr>
                <p14:cNvPr id="48" name="Ink 47">
                  <a:extLst>
                    <a:ext uri="{FF2B5EF4-FFF2-40B4-BE49-F238E27FC236}">
                      <a16:creationId xmlns:a16="http://schemas.microsoft.com/office/drawing/2014/main" id="{6090D4CB-47B4-F4C9-01C0-DCEBF6AE4A48}"/>
                    </a:ext>
                  </a:extLst>
                </p14:cNvPr>
                <p14:cNvContentPartPr/>
                <p14:nvPr/>
              </p14:nvContentPartPr>
              <p14:xfrm>
                <a:off x="9833501" y="2331932"/>
                <a:ext cx="76680" cy="208080"/>
              </p14:xfrm>
            </p:contentPart>
          </mc:Choice>
          <mc:Fallback>
            <p:pic>
              <p:nvPicPr>
                <p:cNvPr id="48" name="Ink 47">
                  <a:extLst>
                    <a:ext uri="{FF2B5EF4-FFF2-40B4-BE49-F238E27FC236}">
                      <a16:creationId xmlns:a16="http://schemas.microsoft.com/office/drawing/2014/main" id="{6090D4CB-47B4-F4C9-01C0-DCEBF6AE4A48}"/>
                    </a:ext>
                  </a:extLst>
                </p:cNvPr>
                <p:cNvPicPr/>
                <p:nvPr/>
              </p:nvPicPr>
              <p:blipFill>
                <a:blip r:embed="rId141"/>
                <a:stretch>
                  <a:fillRect/>
                </a:stretch>
              </p:blipFill>
              <p:spPr>
                <a:xfrm>
                  <a:off x="9818021" y="2316812"/>
                  <a:ext cx="106920" cy="238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2">
              <p14:nvContentPartPr>
                <p14:cNvPr id="148" name="Ink 147">
                  <a:extLst>
                    <a:ext uri="{FF2B5EF4-FFF2-40B4-BE49-F238E27FC236}">
                      <a16:creationId xmlns:a16="http://schemas.microsoft.com/office/drawing/2014/main" id="{FF938368-A2A2-43B2-827A-29A9C720CD65}"/>
                    </a:ext>
                  </a:extLst>
                </p14:cNvPr>
                <p14:cNvContentPartPr/>
                <p14:nvPr/>
              </p14:nvContentPartPr>
              <p14:xfrm>
                <a:off x="9515261" y="1678172"/>
                <a:ext cx="182160" cy="250920"/>
              </p14:xfrm>
            </p:contentPart>
          </mc:Choice>
          <mc:Fallback>
            <p:pic>
              <p:nvPicPr>
                <p:cNvPr id="148" name="Ink 147">
                  <a:extLst>
                    <a:ext uri="{FF2B5EF4-FFF2-40B4-BE49-F238E27FC236}">
                      <a16:creationId xmlns:a16="http://schemas.microsoft.com/office/drawing/2014/main" id="{FF938368-A2A2-43B2-827A-29A9C720CD65}"/>
                    </a:ext>
                  </a:extLst>
                </p:cNvPr>
                <p:cNvPicPr/>
                <p:nvPr/>
              </p:nvPicPr>
              <p:blipFill>
                <a:blip r:embed="rId143"/>
                <a:stretch>
                  <a:fillRect/>
                </a:stretch>
              </p:blipFill>
              <p:spPr>
                <a:xfrm>
                  <a:off x="9500141" y="1663052"/>
                  <a:ext cx="212760" cy="281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4">
              <p14:nvContentPartPr>
                <p14:cNvPr id="153" name="Ink 152">
                  <a:extLst>
                    <a:ext uri="{FF2B5EF4-FFF2-40B4-BE49-F238E27FC236}">
                      <a16:creationId xmlns:a16="http://schemas.microsoft.com/office/drawing/2014/main" id="{EE5F8050-A16E-CF04-A68B-9BB66B4AD2EB}"/>
                    </a:ext>
                  </a:extLst>
                </p14:cNvPr>
                <p14:cNvContentPartPr/>
                <p14:nvPr/>
              </p14:nvContentPartPr>
              <p14:xfrm>
                <a:off x="9391781" y="1654412"/>
                <a:ext cx="51840" cy="301320"/>
              </p14:xfrm>
            </p:contentPart>
          </mc:Choice>
          <mc:Fallback>
            <p:pic>
              <p:nvPicPr>
                <p:cNvPr id="153" name="Ink 152">
                  <a:extLst>
                    <a:ext uri="{FF2B5EF4-FFF2-40B4-BE49-F238E27FC236}">
                      <a16:creationId xmlns:a16="http://schemas.microsoft.com/office/drawing/2014/main" id="{EE5F8050-A16E-CF04-A68B-9BB66B4AD2EB}"/>
                    </a:ext>
                  </a:extLst>
                </p:cNvPr>
                <p:cNvPicPr/>
                <p:nvPr/>
              </p:nvPicPr>
              <p:blipFill>
                <a:blip r:embed="rId145"/>
                <a:stretch>
                  <a:fillRect/>
                </a:stretch>
              </p:blipFill>
              <p:spPr>
                <a:xfrm>
                  <a:off x="9376661" y="1639292"/>
                  <a:ext cx="82440" cy="331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6">
              <p14:nvContentPartPr>
                <p14:cNvPr id="154" name="Ink 153">
                  <a:extLst>
                    <a:ext uri="{FF2B5EF4-FFF2-40B4-BE49-F238E27FC236}">
                      <a16:creationId xmlns:a16="http://schemas.microsoft.com/office/drawing/2014/main" id="{19FF7F8E-AEF8-D446-B34D-56D51ACB4B79}"/>
                    </a:ext>
                  </a:extLst>
                </p14:cNvPr>
                <p14:cNvContentPartPr/>
                <p14:nvPr/>
              </p14:nvContentPartPr>
              <p14:xfrm>
                <a:off x="9190901" y="1700132"/>
                <a:ext cx="108720" cy="244440"/>
              </p14:xfrm>
            </p:contentPart>
          </mc:Choice>
          <mc:Fallback>
            <p:pic>
              <p:nvPicPr>
                <p:cNvPr id="154" name="Ink 153">
                  <a:extLst>
                    <a:ext uri="{FF2B5EF4-FFF2-40B4-BE49-F238E27FC236}">
                      <a16:creationId xmlns:a16="http://schemas.microsoft.com/office/drawing/2014/main" id="{19FF7F8E-AEF8-D446-B34D-56D51ACB4B79}"/>
                    </a:ext>
                  </a:extLst>
                </p:cNvPr>
                <p:cNvPicPr/>
                <p:nvPr/>
              </p:nvPicPr>
              <p:blipFill>
                <a:blip r:embed="rId147"/>
                <a:stretch>
                  <a:fillRect/>
                </a:stretch>
              </p:blipFill>
              <p:spPr>
                <a:xfrm>
                  <a:off x="9175781" y="1685012"/>
                  <a:ext cx="139320" cy="275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8">
              <p14:nvContentPartPr>
                <p14:cNvPr id="155" name="Ink 154">
                  <a:extLst>
                    <a:ext uri="{FF2B5EF4-FFF2-40B4-BE49-F238E27FC236}">
                      <a16:creationId xmlns:a16="http://schemas.microsoft.com/office/drawing/2014/main" id="{6C0ED17B-FBCE-A898-07C1-4531C8D42CBC}"/>
                    </a:ext>
                  </a:extLst>
                </p14:cNvPr>
                <p14:cNvContentPartPr/>
                <p14:nvPr/>
              </p14:nvContentPartPr>
              <p14:xfrm>
                <a:off x="9748901" y="1847732"/>
                <a:ext cx="75240" cy="117360"/>
              </p14:xfrm>
            </p:contentPart>
          </mc:Choice>
          <mc:Fallback>
            <p:pic>
              <p:nvPicPr>
                <p:cNvPr id="155" name="Ink 154">
                  <a:extLst>
                    <a:ext uri="{FF2B5EF4-FFF2-40B4-BE49-F238E27FC236}">
                      <a16:creationId xmlns:a16="http://schemas.microsoft.com/office/drawing/2014/main" id="{6C0ED17B-FBCE-A898-07C1-4531C8D42CBC}"/>
                    </a:ext>
                  </a:extLst>
                </p:cNvPr>
                <p:cNvPicPr/>
                <p:nvPr/>
              </p:nvPicPr>
              <p:blipFill>
                <a:blip r:embed="rId149"/>
                <a:stretch>
                  <a:fillRect/>
                </a:stretch>
              </p:blipFill>
              <p:spPr>
                <a:xfrm>
                  <a:off x="9733781" y="1832612"/>
                  <a:ext cx="105840" cy="147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0">
              <p14:nvContentPartPr>
                <p14:cNvPr id="156" name="Ink 155">
                  <a:extLst>
                    <a:ext uri="{FF2B5EF4-FFF2-40B4-BE49-F238E27FC236}">
                      <a16:creationId xmlns:a16="http://schemas.microsoft.com/office/drawing/2014/main" id="{B4CF7E7A-7A59-90AB-572E-D363826BD880}"/>
                    </a:ext>
                  </a:extLst>
                </p14:cNvPr>
                <p14:cNvContentPartPr/>
                <p14:nvPr/>
              </p14:nvContentPartPr>
              <p14:xfrm>
                <a:off x="9886061" y="1757012"/>
                <a:ext cx="37440" cy="251640"/>
              </p14:xfrm>
            </p:contentPart>
          </mc:Choice>
          <mc:Fallback>
            <p:pic>
              <p:nvPicPr>
                <p:cNvPr id="156" name="Ink 155">
                  <a:extLst>
                    <a:ext uri="{FF2B5EF4-FFF2-40B4-BE49-F238E27FC236}">
                      <a16:creationId xmlns:a16="http://schemas.microsoft.com/office/drawing/2014/main" id="{B4CF7E7A-7A59-90AB-572E-D363826BD880}"/>
                    </a:ext>
                  </a:extLst>
                </p:cNvPr>
                <p:cNvPicPr/>
                <p:nvPr/>
              </p:nvPicPr>
              <p:blipFill>
                <a:blip r:embed="rId151"/>
                <a:stretch>
                  <a:fillRect/>
                </a:stretch>
              </p:blipFill>
              <p:spPr>
                <a:xfrm>
                  <a:off x="9870941" y="1741892"/>
                  <a:ext cx="68040" cy="282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2">
              <p14:nvContentPartPr>
                <p14:cNvPr id="157" name="Ink 156">
                  <a:extLst>
                    <a:ext uri="{FF2B5EF4-FFF2-40B4-BE49-F238E27FC236}">
                      <a16:creationId xmlns:a16="http://schemas.microsoft.com/office/drawing/2014/main" id="{7FD74F4D-C746-6C37-107B-A5017BED8FE4}"/>
                    </a:ext>
                  </a:extLst>
                </p14:cNvPr>
                <p14:cNvContentPartPr/>
                <p14:nvPr/>
              </p14:nvContentPartPr>
              <p14:xfrm>
                <a:off x="10030781" y="1690412"/>
                <a:ext cx="145440" cy="241200"/>
              </p14:xfrm>
            </p:contentPart>
          </mc:Choice>
          <mc:Fallback>
            <p:pic>
              <p:nvPicPr>
                <p:cNvPr id="157" name="Ink 156">
                  <a:extLst>
                    <a:ext uri="{FF2B5EF4-FFF2-40B4-BE49-F238E27FC236}">
                      <a16:creationId xmlns:a16="http://schemas.microsoft.com/office/drawing/2014/main" id="{7FD74F4D-C746-6C37-107B-A5017BED8FE4}"/>
                    </a:ext>
                  </a:extLst>
                </p:cNvPr>
                <p:cNvPicPr/>
                <p:nvPr/>
              </p:nvPicPr>
              <p:blipFill>
                <a:blip r:embed="rId153"/>
                <a:stretch>
                  <a:fillRect/>
                </a:stretch>
              </p:blipFill>
              <p:spPr>
                <a:xfrm>
                  <a:off x="10015661" y="1675292"/>
                  <a:ext cx="175680" cy="271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4">
              <p14:nvContentPartPr>
                <p14:cNvPr id="158" name="Ink 157">
                  <a:extLst>
                    <a:ext uri="{FF2B5EF4-FFF2-40B4-BE49-F238E27FC236}">
                      <a16:creationId xmlns:a16="http://schemas.microsoft.com/office/drawing/2014/main" id="{794A78B0-85F0-6F54-C3BB-78A567403F5C}"/>
                    </a:ext>
                  </a:extLst>
                </p14:cNvPr>
                <p14:cNvContentPartPr/>
                <p14:nvPr/>
              </p14:nvContentPartPr>
              <p14:xfrm>
                <a:off x="10251821" y="1825412"/>
                <a:ext cx="30600" cy="118440"/>
              </p14:xfrm>
            </p:contentPart>
          </mc:Choice>
          <mc:Fallback>
            <p:pic>
              <p:nvPicPr>
                <p:cNvPr id="158" name="Ink 157">
                  <a:extLst>
                    <a:ext uri="{FF2B5EF4-FFF2-40B4-BE49-F238E27FC236}">
                      <a16:creationId xmlns:a16="http://schemas.microsoft.com/office/drawing/2014/main" id="{794A78B0-85F0-6F54-C3BB-78A567403F5C}"/>
                    </a:ext>
                  </a:extLst>
                </p:cNvPr>
                <p:cNvPicPr/>
                <p:nvPr/>
              </p:nvPicPr>
              <p:blipFill>
                <a:blip r:embed="rId155"/>
                <a:stretch>
                  <a:fillRect/>
                </a:stretch>
              </p:blipFill>
              <p:spPr>
                <a:xfrm>
                  <a:off x="10236341" y="1810292"/>
                  <a:ext cx="61200" cy="149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6">
              <p14:nvContentPartPr>
                <p14:cNvPr id="159" name="Ink 158">
                  <a:extLst>
                    <a:ext uri="{FF2B5EF4-FFF2-40B4-BE49-F238E27FC236}">
                      <a16:creationId xmlns:a16="http://schemas.microsoft.com/office/drawing/2014/main" id="{8E3CB0A7-BE34-9CBC-0DFE-8F295FB1A0C6}"/>
                    </a:ext>
                  </a:extLst>
                </p14:cNvPr>
                <p14:cNvContentPartPr/>
                <p14:nvPr/>
              </p14:nvContentPartPr>
              <p14:xfrm>
                <a:off x="10341821" y="1683572"/>
                <a:ext cx="76320" cy="321120"/>
              </p14:xfrm>
            </p:contentPart>
          </mc:Choice>
          <mc:Fallback>
            <p:pic>
              <p:nvPicPr>
                <p:cNvPr id="159" name="Ink 158">
                  <a:extLst>
                    <a:ext uri="{FF2B5EF4-FFF2-40B4-BE49-F238E27FC236}">
                      <a16:creationId xmlns:a16="http://schemas.microsoft.com/office/drawing/2014/main" id="{8E3CB0A7-BE34-9CBC-0DFE-8F295FB1A0C6}"/>
                    </a:ext>
                  </a:extLst>
                </p:cNvPr>
                <p:cNvPicPr/>
                <p:nvPr/>
              </p:nvPicPr>
              <p:blipFill>
                <a:blip r:embed="rId157"/>
                <a:stretch>
                  <a:fillRect/>
                </a:stretch>
              </p:blipFill>
              <p:spPr>
                <a:xfrm>
                  <a:off x="10326701" y="1668092"/>
                  <a:ext cx="106920" cy="351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8">
              <p14:nvContentPartPr>
                <p14:cNvPr id="160" name="Ink 159">
                  <a:extLst>
                    <a:ext uri="{FF2B5EF4-FFF2-40B4-BE49-F238E27FC236}">
                      <a16:creationId xmlns:a16="http://schemas.microsoft.com/office/drawing/2014/main" id="{701AB75E-46A1-0BE1-C2E0-65CD9FBF02AB}"/>
                    </a:ext>
                  </a:extLst>
                </p14:cNvPr>
                <p14:cNvContentPartPr/>
                <p14:nvPr/>
              </p14:nvContentPartPr>
              <p14:xfrm>
                <a:off x="10619381" y="1822172"/>
                <a:ext cx="86760" cy="2520"/>
              </p14:xfrm>
            </p:contentPart>
          </mc:Choice>
          <mc:Fallback>
            <p:pic>
              <p:nvPicPr>
                <p:cNvPr id="160" name="Ink 159">
                  <a:extLst>
                    <a:ext uri="{FF2B5EF4-FFF2-40B4-BE49-F238E27FC236}">
                      <a16:creationId xmlns:a16="http://schemas.microsoft.com/office/drawing/2014/main" id="{701AB75E-46A1-0BE1-C2E0-65CD9FBF02AB}"/>
                    </a:ext>
                  </a:extLst>
                </p:cNvPr>
                <p:cNvPicPr/>
                <p:nvPr/>
              </p:nvPicPr>
              <p:blipFill>
                <a:blip r:embed="rId159"/>
                <a:stretch>
                  <a:fillRect/>
                </a:stretch>
              </p:blipFill>
              <p:spPr>
                <a:xfrm>
                  <a:off x="10604261" y="1806692"/>
                  <a:ext cx="117360" cy="33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0">
              <p14:nvContentPartPr>
                <p14:cNvPr id="161" name="Ink 160">
                  <a:extLst>
                    <a:ext uri="{FF2B5EF4-FFF2-40B4-BE49-F238E27FC236}">
                      <a16:creationId xmlns:a16="http://schemas.microsoft.com/office/drawing/2014/main" id="{FA6D3500-7EB9-0720-839F-262771E95A9D}"/>
                    </a:ext>
                  </a:extLst>
                </p14:cNvPr>
                <p14:cNvContentPartPr/>
                <p14:nvPr/>
              </p14:nvContentPartPr>
              <p14:xfrm>
                <a:off x="10604981" y="1898492"/>
                <a:ext cx="82440" cy="17280"/>
              </p14:xfrm>
            </p:contentPart>
          </mc:Choice>
          <mc:Fallback>
            <p:pic>
              <p:nvPicPr>
                <p:cNvPr id="161" name="Ink 160">
                  <a:extLst>
                    <a:ext uri="{FF2B5EF4-FFF2-40B4-BE49-F238E27FC236}">
                      <a16:creationId xmlns:a16="http://schemas.microsoft.com/office/drawing/2014/main" id="{FA6D3500-7EB9-0720-839F-262771E95A9D}"/>
                    </a:ext>
                  </a:extLst>
                </p:cNvPr>
                <p:cNvPicPr/>
                <p:nvPr/>
              </p:nvPicPr>
              <p:blipFill>
                <a:blip r:embed="rId161"/>
                <a:stretch>
                  <a:fillRect/>
                </a:stretch>
              </p:blipFill>
              <p:spPr>
                <a:xfrm>
                  <a:off x="10589861" y="1883012"/>
                  <a:ext cx="113040" cy="47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2">
              <p14:nvContentPartPr>
                <p14:cNvPr id="164" name="Ink 163">
                  <a:extLst>
                    <a:ext uri="{FF2B5EF4-FFF2-40B4-BE49-F238E27FC236}">
                      <a16:creationId xmlns:a16="http://schemas.microsoft.com/office/drawing/2014/main" id="{B9DCDD05-B828-A61B-E39F-0F1ECE7F56D0}"/>
                    </a:ext>
                  </a:extLst>
                </p14:cNvPr>
                <p14:cNvContentPartPr/>
                <p14:nvPr/>
              </p14:nvContentPartPr>
              <p14:xfrm>
                <a:off x="10918181" y="1722092"/>
                <a:ext cx="78840" cy="158040"/>
              </p14:xfrm>
            </p:contentPart>
          </mc:Choice>
          <mc:Fallback>
            <p:pic>
              <p:nvPicPr>
                <p:cNvPr id="164" name="Ink 163">
                  <a:extLst>
                    <a:ext uri="{FF2B5EF4-FFF2-40B4-BE49-F238E27FC236}">
                      <a16:creationId xmlns:a16="http://schemas.microsoft.com/office/drawing/2014/main" id="{B9DCDD05-B828-A61B-E39F-0F1ECE7F56D0}"/>
                    </a:ext>
                  </a:extLst>
                </p:cNvPr>
                <p:cNvPicPr/>
                <p:nvPr/>
              </p:nvPicPr>
              <p:blipFill>
                <a:blip r:embed="rId163"/>
                <a:stretch>
                  <a:fillRect/>
                </a:stretch>
              </p:blipFill>
              <p:spPr>
                <a:xfrm>
                  <a:off x="10903061" y="1706972"/>
                  <a:ext cx="109440" cy="188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4">
              <p14:nvContentPartPr>
                <p14:cNvPr id="165" name="Ink 164">
                  <a:extLst>
                    <a:ext uri="{FF2B5EF4-FFF2-40B4-BE49-F238E27FC236}">
                      <a16:creationId xmlns:a16="http://schemas.microsoft.com/office/drawing/2014/main" id="{32427D83-1F00-CE7B-A5C3-1D9BD43D83DD}"/>
                    </a:ext>
                  </a:extLst>
                </p14:cNvPr>
                <p14:cNvContentPartPr/>
                <p14:nvPr/>
              </p14:nvContentPartPr>
              <p14:xfrm>
                <a:off x="11056061" y="1764932"/>
                <a:ext cx="100080" cy="160920"/>
              </p14:xfrm>
            </p:contentPart>
          </mc:Choice>
          <mc:Fallback>
            <p:pic>
              <p:nvPicPr>
                <p:cNvPr id="165" name="Ink 164">
                  <a:extLst>
                    <a:ext uri="{FF2B5EF4-FFF2-40B4-BE49-F238E27FC236}">
                      <a16:creationId xmlns:a16="http://schemas.microsoft.com/office/drawing/2014/main" id="{32427D83-1F00-CE7B-A5C3-1D9BD43D83DD}"/>
                    </a:ext>
                  </a:extLst>
                </p:cNvPr>
                <p:cNvPicPr/>
                <p:nvPr/>
              </p:nvPicPr>
              <p:blipFill>
                <a:blip r:embed="rId165"/>
                <a:stretch>
                  <a:fillRect/>
                </a:stretch>
              </p:blipFill>
              <p:spPr>
                <a:xfrm>
                  <a:off x="11040941" y="1749812"/>
                  <a:ext cx="130320" cy="191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6">
              <p14:nvContentPartPr>
                <p14:cNvPr id="166" name="Ink 165">
                  <a:extLst>
                    <a:ext uri="{FF2B5EF4-FFF2-40B4-BE49-F238E27FC236}">
                      <a16:creationId xmlns:a16="http://schemas.microsoft.com/office/drawing/2014/main" id="{A2199ECB-A1B2-FFE8-7E09-B4B2949C30FD}"/>
                    </a:ext>
                  </a:extLst>
                </p14:cNvPr>
                <p14:cNvContentPartPr/>
                <p14:nvPr/>
              </p14:nvContentPartPr>
              <p14:xfrm>
                <a:off x="11056781" y="1728572"/>
                <a:ext cx="141120" cy="51480"/>
              </p14:xfrm>
            </p:contentPart>
          </mc:Choice>
          <mc:Fallback>
            <p:pic>
              <p:nvPicPr>
                <p:cNvPr id="166" name="Ink 165">
                  <a:extLst>
                    <a:ext uri="{FF2B5EF4-FFF2-40B4-BE49-F238E27FC236}">
                      <a16:creationId xmlns:a16="http://schemas.microsoft.com/office/drawing/2014/main" id="{A2199ECB-A1B2-FFE8-7E09-B4B2949C30FD}"/>
                    </a:ext>
                  </a:extLst>
                </p:cNvPr>
                <p:cNvPicPr/>
                <p:nvPr/>
              </p:nvPicPr>
              <p:blipFill>
                <a:blip r:embed="rId167"/>
                <a:stretch>
                  <a:fillRect/>
                </a:stretch>
              </p:blipFill>
              <p:spPr>
                <a:xfrm>
                  <a:off x="11041301" y="1713452"/>
                  <a:ext cx="171720" cy="82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8">
              <p14:nvContentPartPr>
                <p14:cNvPr id="167" name="Ink 166">
                  <a:extLst>
                    <a:ext uri="{FF2B5EF4-FFF2-40B4-BE49-F238E27FC236}">
                      <a16:creationId xmlns:a16="http://schemas.microsoft.com/office/drawing/2014/main" id="{85F82C41-090A-7318-91BE-6D5C875F0174}"/>
                    </a:ext>
                  </a:extLst>
                </p14:cNvPr>
                <p14:cNvContentPartPr/>
                <p14:nvPr/>
              </p14:nvContentPartPr>
              <p14:xfrm>
                <a:off x="10815581" y="2006492"/>
                <a:ext cx="409320" cy="32400"/>
              </p14:xfrm>
            </p:contentPart>
          </mc:Choice>
          <mc:Fallback>
            <p:pic>
              <p:nvPicPr>
                <p:cNvPr id="167" name="Ink 166">
                  <a:extLst>
                    <a:ext uri="{FF2B5EF4-FFF2-40B4-BE49-F238E27FC236}">
                      <a16:creationId xmlns:a16="http://schemas.microsoft.com/office/drawing/2014/main" id="{85F82C41-090A-7318-91BE-6D5C875F0174}"/>
                    </a:ext>
                  </a:extLst>
                </p:cNvPr>
                <p:cNvPicPr/>
                <p:nvPr/>
              </p:nvPicPr>
              <p:blipFill>
                <a:blip r:embed="rId169"/>
                <a:stretch>
                  <a:fillRect/>
                </a:stretch>
              </p:blipFill>
              <p:spPr>
                <a:xfrm>
                  <a:off x="10800461" y="1991012"/>
                  <a:ext cx="439560" cy="63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70">
              <p14:nvContentPartPr>
                <p14:cNvPr id="168" name="Ink 167">
                  <a:extLst>
                    <a:ext uri="{FF2B5EF4-FFF2-40B4-BE49-F238E27FC236}">
                      <a16:creationId xmlns:a16="http://schemas.microsoft.com/office/drawing/2014/main" id="{FE5DF9C2-7C55-C2C4-6BCC-EE53AC8A4C59}"/>
                    </a:ext>
                  </a:extLst>
                </p14:cNvPr>
                <p14:cNvContentPartPr/>
                <p14:nvPr/>
              </p14:nvContentPartPr>
              <p14:xfrm>
                <a:off x="10880381" y="2166332"/>
                <a:ext cx="94680" cy="204480"/>
              </p14:xfrm>
            </p:contentPart>
          </mc:Choice>
          <mc:Fallback>
            <p:pic>
              <p:nvPicPr>
                <p:cNvPr id="168" name="Ink 167">
                  <a:extLst>
                    <a:ext uri="{FF2B5EF4-FFF2-40B4-BE49-F238E27FC236}">
                      <a16:creationId xmlns:a16="http://schemas.microsoft.com/office/drawing/2014/main" id="{FE5DF9C2-7C55-C2C4-6BCC-EE53AC8A4C59}"/>
                    </a:ext>
                  </a:extLst>
                </p:cNvPr>
                <p:cNvPicPr/>
                <p:nvPr/>
              </p:nvPicPr>
              <p:blipFill>
                <a:blip r:embed="rId171"/>
                <a:stretch>
                  <a:fillRect/>
                </a:stretch>
              </p:blipFill>
              <p:spPr>
                <a:xfrm>
                  <a:off x="10864901" y="2150852"/>
                  <a:ext cx="124920" cy="234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72">
              <p14:nvContentPartPr>
                <p14:cNvPr id="169" name="Ink 168">
                  <a:extLst>
                    <a:ext uri="{FF2B5EF4-FFF2-40B4-BE49-F238E27FC236}">
                      <a16:creationId xmlns:a16="http://schemas.microsoft.com/office/drawing/2014/main" id="{149E7D20-4F95-B6FB-35E8-7643B174C6D4}"/>
                    </a:ext>
                  </a:extLst>
                </p14:cNvPr>
                <p14:cNvContentPartPr/>
                <p14:nvPr/>
              </p14:nvContentPartPr>
              <p14:xfrm>
                <a:off x="10835021" y="2153732"/>
                <a:ext cx="174600" cy="50760"/>
              </p14:xfrm>
            </p:contentPart>
          </mc:Choice>
          <mc:Fallback>
            <p:pic>
              <p:nvPicPr>
                <p:cNvPr id="169" name="Ink 168">
                  <a:extLst>
                    <a:ext uri="{FF2B5EF4-FFF2-40B4-BE49-F238E27FC236}">
                      <a16:creationId xmlns:a16="http://schemas.microsoft.com/office/drawing/2014/main" id="{149E7D20-4F95-B6FB-35E8-7643B174C6D4}"/>
                    </a:ext>
                  </a:extLst>
                </p:cNvPr>
                <p:cNvPicPr/>
                <p:nvPr/>
              </p:nvPicPr>
              <p:blipFill>
                <a:blip r:embed="rId173"/>
                <a:stretch>
                  <a:fillRect/>
                </a:stretch>
              </p:blipFill>
              <p:spPr>
                <a:xfrm>
                  <a:off x="10819541" y="2138252"/>
                  <a:ext cx="204840" cy="81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74">
              <p14:nvContentPartPr>
                <p14:cNvPr id="170" name="Ink 169">
                  <a:extLst>
                    <a:ext uri="{FF2B5EF4-FFF2-40B4-BE49-F238E27FC236}">
                      <a16:creationId xmlns:a16="http://schemas.microsoft.com/office/drawing/2014/main" id="{FC17BF2A-2E4E-8C00-F75F-BA1B107C4C12}"/>
                    </a:ext>
                  </a:extLst>
                </p14:cNvPr>
                <p14:cNvContentPartPr/>
                <p14:nvPr/>
              </p14:nvContentPartPr>
              <p14:xfrm>
                <a:off x="11068661" y="2135012"/>
                <a:ext cx="44640" cy="186840"/>
              </p14:xfrm>
            </p:contentPart>
          </mc:Choice>
          <mc:Fallback>
            <p:pic>
              <p:nvPicPr>
                <p:cNvPr id="170" name="Ink 169">
                  <a:extLst>
                    <a:ext uri="{FF2B5EF4-FFF2-40B4-BE49-F238E27FC236}">
                      <a16:creationId xmlns:a16="http://schemas.microsoft.com/office/drawing/2014/main" id="{FC17BF2A-2E4E-8C00-F75F-BA1B107C4C12}"/>
                    </a:ext>
                  </a:extLst>
                </p:cNvPr>
                <p:cNvPicPr/>
                <p:nvPr/>
              </p:nvPicPr>
              <p:blipFill>
                <a:blip r:embed="rId175"/>
                <a:stretch>
                  <a:fillRect/>
                </a:stretch>
              </p:blipFill>
              <p:spPr>
                <a:xfrm>
                  <a:off x="11053181" y="2119532"/>
                  <a:ext cx="75240" cy="217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76">
              <p14:nvContentPartPr>
                <p14:cNvPr id="172" name="Ink 171">
                  <a:extLst>
                    <a:ext uri="{FF2B5EF4-FFF2-40B4-BE49-F238E27FC236}">
                      <a16:creationId xmlns:a16="http://schemas.microsoft.com/office/drawing/2014/main" id="{7E1D2D49-EF6F-AC00-104B-8BE53DF17CCD}"/>
                    </a:ext>
                  </a:extLst>
                </p14:cNvPr>
                <p14:cNvContentPartPr/>
                <p14:nvPr/>
              </p14:nvContentPartPr>
              <p14:xfrm>
                <a:off x="9643061" y="2036012"/>
                <a:ext cx="395640" cy="29160"/>
              </p14:xfrm>
            </p:contentPart>
          </mc:Choice>
          <mc:Fallback>
            <p:pic>
              <p:nvPicPr>
                <p:cNvPr id="172" name="Ink 171">
                  <a:extLst>
                    <a:ext uri="{FF2B5EF4-FFF2-40B4-BE49-F238E27FC236}">
                      <a16:creationId xmlns:a16="http://schemas.microsoft.com/office/drawing/2014/main" id="{7E1D2D49-EF6F-AC00-104B-8BE53DF17CCD}"/>
                    </a:ext>
                  </a:extLst>
                </p:cNvPr>
                <p:cNvPicPr/>
                <p:nvPr/>
              </p:nvPicPr>
              <p:blipFill>
                <a:blip r:embed="rId177"/>
                <a:stretch>
                  <a:fillRect/>
                </a:stretch>
              </p:blipFill>
              <p:spPr>
                <a:xfrm>
                  <a:off x="9627941" y="2020532"/>
                  <a:ext cx="426240" cy="59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78">
              <p14:nvContentPartPr>
                <p14:cNvPr id="173" name="Ink 172">
                  <a:extLst>
                    <a:ext uri="{FF2B5EF4-FFF2-40B4-BE49-F238E27FC236}">
                      <a16:creationId xmlns:a16="http://schemas.microsoft.com/office/drawing/2014/main" id="{1514733B-93AC-7BE4-D858-F006DBEDC5AF}"/>
                    </a:ext>
                  </a:extLst>
                </p14:cNvPr>
                <p14:cNvContentPartPr/>
                <p14:nvPr/>
              </p14:nvContentPartPr>
              <p14:xfrm>
                <a:off x="9665381" y="2057252"/>
                <a:ext cx="437760" cy="66600"/>
              </p14:xfrm>
            </p:contentPart>
          </mc:Choice>
          <mc:Fallback>
            <p:pic>
              <p:nvPicPr>
                <p:cNvPr id="173" name="Ink 172">
                  <a:extLst>
                    <a:ext uri="{FF2B5EF4-FFF2-40B4-BE49-F238E27FC236}">
                      <a16:creationId xmlns:a16="http://schemas.microsoft.com/office/drawing/2014/main" id="{1514733B-93AC-7BE4-D858-F006DBEDC5AF}"/>
                    </a:ext>
                  </a:extLst>
                </p:cNvPr>
                <p:cNvPicPr/>
                <p:nvPr/>
              </p:nvPicPr>
              <p:blipFill>
                <a:blip r:embed="rId179"/>
                <a:stretch>
                  <a:fillRect/>
                </a:stretch>
              </p:blipFill>
              <p:spPr>
                <a:xfrm>
                  <a:off x="9650261" y="2041772"/>
                  <a:ext cx="468360" cy="97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80">
              <p14:nvContentPartPr>
                <p14:cNvPr id="175" name="Ink 174">
                  <a:extLst>
                    <a:ext uri="{FF2B5EF4-FFF2-40B4-BE49-F238E27FC236}">
                      <a16:creationId xmlns:a16="http://schemas.microsoft.com/office/drawing/2014/main" id="{A993475A-F8A5-6CF5-03EA-258EA2A4CC74}"/>
                    </a:ext>
                  </a:extLst>
                </p14:cNvPr>
                <p14:cNvContentPartPr/>
                <p14:nvPr/>
              </p14:nvContentPartPr>
              <p14:xfrm>
                <a:off x="9713621" y="1825412"/>
                <a:ext cx="59760" cy="96840"/>
              </p14:xfrm>
            </p:contentPart>
          </mc:Choice>
          <mc:Fallback>
            <p:pic>
              <p:nvPicPr>
                <p:cNvPr id="175" name="Ink 174">
                  <a:extLst>
                    <a:ext uri="{FF2B5EF4-FFF2-40B4-BE49-F238E27FC236}">
                      <a16:creationId xmlns:a16="http://schemas.microsoft.com/office/drawing/2014/main" id="{A993475A-F8A5-6CF5-03EA-258EA2A4CC74}"/>
                    </a:ext>
                  </a:extLst>
                </p:cNvPr>
                <p:cNvPicPr/>
                <p:nvPr/>
              </p:nvPicPr>
              <p:blipFill>
                <a:blip r:embed="rId181"/>
                <a:stretch>
                  <a:fillRect/>
                </a:stretch>
              </p:blipFill>
              <p:spPr>
                <a:xfrm>
                  <a:off x="9698501" y="1810292"/>
                  <a:ext cx="90360" cy="1274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98" name="Group 197">
            <a:extLst>
              <a:ext uri="{FF2B5EF4-FFF2-40B4-BE49-F238E27FC236}">
                <a16:creationId xmlns:a16="http://schemas.microsoft.com/office/drawing/2014/main" id="{B3C300C0-A4F4-4EA5-D1DD-3EE4F68D5B07}"/>
              </a:ext>
            </a:extLst>
          </p:cNvPr>
          <p:cNvGrpSpPr/>
          <p:nvPr/>
        </p:nvGrpSpPr>
        <p:grpSpPr>
          <a:xfrm>
            <a:off x="10022501" y="2168132"/>
            <a:ext cx="222840" cy="279000"/>
            <a:chOff x="10022501" y="2168132"/>
            <a:chExt cx="222840" cy="2790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82">
              <p14:nvContentPartPr>
                <p14:cNvPr id="177" name="Ink 176">
                  <a:extLst>
                    <a:ext uri="{FF2B5EF4-FFF2-40B4-BE49-F238E27FC236}">
                      <a16:creationId xmlns:a16="http://schemas.microsoft.com/office/drawing/2014/main" id="{05F6DBFE-299A-74A0-9DB9-837B01D494EE}"/>
                    </a:ext>
                  </a:extLst>
                </p14:cNvPr>
                <p14:cNvContentPartPr/>
                <p14:nvPr/>
              </p14:nvContentPartPr>
              <p14:xfrm>
                <a:off x="10022501" y="2168132"/>
                <a:ext cx="124920" cy="257400"/>
              </p14:xfrm>
            </p:contentPart>
          </mc:Choice>
          <mc:Fallback>
            <p:pic>
              <p:nvPicPr>
                <p:cNvPr id="177" name="Ink 176">
                  <a:extLst>
                    <a:ext uri="{FF2B5EF4-FFF2-40B4-BE49-F238E27FC236}">
                      <a16:creationId xmlns:a16="http://schemas.microsoft.com/office/drawing/2014/main" id="{05F6DBFE-299A-74A0-9DB9-837B01D494EE}"/>
                    </a:ext>
                  </a:extLst>
                </p:cNvPr>
                <p:cNvPicPr/>
                <p:nvPr/>
              </p:nvPicPr>
              <p:blipFill>
                <a:blip r:embed="rId183"/>
                <a:stretch>
                  <a:fillRect/>
                </a:stretch>
              </p:blipFill>
              <p:spPr>
                <a:xfrm>
                  <a:off x="10007021" y="2152652"/>
                  <a:ext cx="155520" cy="28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84">
              <p14:nvContentPartPr>
                <p14:cNvPr id="178" name="Ink 177">
                  <a:extLst>
                    <a:ext uri="{FF2B5EF4-FFF2-40B4-BE49-F238E27FC236}">
                      <a16:creationId xmlns:a16="http://schemas.microsoft.com/office/drawing/2014/main" id="{082DCF99-A8BE-0B26-473E-8E433C1A152F}"/>
                    </a:ext>
                  </a:extLst>
                </p14:cNvPr>
                <p14:cNvContentPartPr/>
                <p14:nvPr/>
              </p14:nvContentPartPr>
              <p14:xfrm>
                <a:off x="10047341" y="2394572"/>
                <a:ext cx="198000" cy="52560"/>
              </p14:xfrm>
            </p:contentPart>
          </mc:Choice>
          <mc:Fallback>
            <p:pic>
              <p:nvPicPr>
                <p:cNvPr id="178" name="Ink 177">
                  <a:extLst>
                    <a:ext uri="{FF2B5EF4-FFF2-40B4-BE49-F238E27FC236}">
                      <a16:creationId xmlns:a16="http://schemas.microsoft.com/office/drawing/2014/main" id="{082DCF99-A8BE-0B26-473E-8E433C1A152F}"/>
                    </a:ext>
                  </a:extLst>
                </p:cNvPr>
                <p:cNvPicPr/>
                <p:nvPr/>
              </p:nvPicPr>
              <p:blipFill>
                <a:blip r:embed="rId185"/>
                <a:stretch>
                  <a:fillRect/>
                </a:stretch>
              </p:blipFill>
              <p:spPr>
                <a:xfrm>
                  <a:off x="10032221" y="2379452"/>
                  <a:ext cx="228600" cy="828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ADBC1752-809D-F63A-A8D5-A6C3BE1C831B}"/>
              </a:ext>
            </a:extLst>
          </p:cNvPr>
          <p:cNvGrpSpPr/>
          <p:nvPr/>
        </p:nvGrpSpPr>
        <p:grpSpPr>
          <a:xfrm>
            <a:off x="10177661" y="2569532"/>
            <a:ext cx="1688040" cy="564840"/>
            <a:chOff x="10177661" y="2569532"/>
            <a:chExt cx="1688040" cy="5648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86">
              <p14:nvContentPartPr>
                <p14:cNvPr id="179" name="Ink 178">
                  <a:extLst>
                    <a:ext uri="{FF2B5EF4-FFF2-40B4-BE49-F238E27FC236}">
                      <a16:creationId xmlns:a16="http://schemas.microsoft.com/office/drawing/2014/main" id="{837088BF-65BD-0660-8F3A-29BE8A28BF21}"/>
                    </a:ext>
                  </a:extLst>
                </p14:cNvPr>
                <p14:cNvContentPartPr/>
                <p14:nvPr/>
              </p14:nvContentPartPr>
              <p14:xfrm>
                <a:off x="10177661" y="2605532"/>
                <a:ext cx="122760" cy="259920"/>
              </p14:xfrm>
            </p:contentPart>
          </mc:Choice>
          <mc:Fallback>
            <p:pic>
              <p:nvPicPr>
                <p:cNvPr id="179" name="Ink 178">
                  <a:extLst>
                    <a:ext uri="{FF2B5EF4-FFF2-40B4-BE49-F238E27FC236}">
                      <a16:creationId xmlns:a16="http://schemas.microsoft.com/office/drawing/2014/main" id="{837088BF-65BD-0660-8F3A-29BE8A28BF21}"/>
                    </a:ext>
                  </a:extLst>
                </p:cNvPr>
                <p:cNvPicPr/>
                <p:nvPr/>
              </p:nvPicPr>
              <p:blipFill>
                <a:blip r:embed="rId187"/>
                <a:stretch>
                  <a:fillRect/>
                </a:stretch>
              </p:blipFill>
              <p:spPr>
                <a:xfrm>
                  <a:off x="10162541" y="2590412"/>
                  <a:ext cx="153360" cy="290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88">
              <p14:nvContentPartPr>
                <p14:cNvPr id="180" name="Ink 179">
                  <a:extLst>
                    <a:ext uri="{FF2B5EF4-FFF2-40B4-BE49-F238E27FC236}">
                      <a16:creationId xmlns:a16="http://schemas.microsoft.com/office/drawing/2014/main" id="{EFEBAE25-1CED-3930-3C9C-B8BF4C00ADEC}"/>
                    </a:ext>
                  </a:extLst>
                </p14:cNvPr>
                <p14:cNvContentPartPr/>
                <p14:nvPr/>
              </p14:nvContentPartPr>
              <p14:xfrm>
                <a:off x="10376741" y="2613092"/>
                <a:ext cx="72000" cy="321840"/>
              </p14:xfrm>
            </p:contentPart>
          </mc:Choice>
          <mc:Fallback>
            <p:pic>
              <p:nvPicPr>
                <p:cNvPr id="180" name="Ink 179">
                  <a:extLst>
                    <a:ext uri="{FF2B5EF4-FFF2-40B4-BE49-F238E27FC236}">
                      <a16:creationId xmlns:a16="http://schemas.microsoft.com/office/drawing/2014/main" id="{EFEBAE25-1CED-3930-3C9C-B8BF4C00ADEC}"/>
                    </a:ext>
                  </a:extLst>
                </p:cNvPr>
                <p:cNvPicPr/>
                <p:nvPr/>
              </p:nvPicPr>
              <p:blipFill>
                <a:blip r:embed="rId189"/>
                <a:stretch>
                  <a:fillRect/>
                </a:stretch>
              </p:blipFill>
              <p:spPr>
                <a:xfrm>
                  <a:off x="10361621" y="2597972"/>
                  <a:ext cx="102240" cy="352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90">
              <p14:nvContentPartPr>
                <p14:cNvPr id="181" name="Ink 180">
                  <a:extLst>
                    <a:ext uri="{FF2B5EF4-FFF2-40B4-BE49-F238E27FC236}">
                      <a16:creationId xmlns:a16="http://schemas.microsoft.com/office/drawing/2014/main" id="{5E4521C2-7A14-655D-EBE4-24651BFE22EE}"/>
                    </a:ext>
                  </a:extLst>
                </p14:cNvPr>
                <p14:cNvContentPartPr/>
                <p14:nvPr/>
              </p14:nvContentPartPr>
              <p14:xfrm>
                <a:off x="10553861" y="2655932"/>
                <a:ext cx="95760" cy="192600"/>
              </p14:xfrm>
            </p:contentPart>
          </mc:Choice>
          <mc:Fallback>
            <p:pic>
              <p:nvPicPr>
                <p:cNvPr id="181" name="Ink 180">
                  <a:extLst>
                    <a:ext uri="{FF2B5EF4-FFF2-40B4-BE49-F238E27FC236}">
                      <a16:creationId xmlns:a16="http://schemas.microsoft.com/office/drawing/2014/main" id="{5E4521C2-7A14-655D-EBE4-24651BFE22EE}"/>
                    </a:ext>
                  </a:extLst>
                </p:cNvPr>
                <p:cNvPicPr/>
                <p:nvPr/>
              </p:nvPicPr>
              <p:blipFill>
                <a:blip r:embed="rId191"/>
                <a:stretch>
                  <a:fillRect/>
                </a:stretch>
              </p:blipFill>
              <p:spPr>
                <a:xfrm>
                  <a:off x="10538741" y="2640812"/>
                  <a:ext cx="126360" cy="222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92">
              <p14:nvContentPartPr>
                <p14:cNvPr id="182" name="Ink 181">
                  <a:extLst>
                    <a:ext uri="{FF2B5EF4-FFF2-40B4-BE49-F238E27FC236}">
                      <a16:creationId xmlns:a16="http://schemas.microsoft.com/office/drawing/2014/main" id="{0DCC2450-EC2F-E3F5-B31F-483877A55279}"/>
                    </a:ext>
                  </a:extLst>
                </p14:cNvPr>
                <p14:cNvContentPartPr/>
                <p14:nvPr/>
              </p14:nvContentPartPr>
              <p14:xfrm>
                <a:off x="10675901" y="2628572"/>
                <a:ext cx="72360" cy="289440"/>
              </p14:xfrm>
            </p:contentPart>
          </mc:Choice>
          <mc:Fallback>
            <p:pic>
              <p:nvPicPr>
                <p:cNvPr id="182" name="Ink 181">
                  <a:extLst>
                    <a:ext uri="{FF2B5EF4-FFF2-40B4-BE49-F238E27FC236}">
                      <a16:creationId xmlns:a16="http://schemas.microsoft.com/office/drawing/2014/main" id="{0DCC2450-EC2F-E3F5-B31F-483877A55279}"/>
                    </a:ext>
                  </a:extLst>
                </p:cNvPr>
                <p:cNvPicPr/>
                <p:nvPr/>
              </p:nvPicPr>
              <p:blipFill>
                <a:blip r:embed="rId193"/>
                <a:stretch>
                  <a:fillRect/>
                </a:stretch>
              </p:blipFill>
              <p:spPr>
                <a:xfrm>
                  <a:off x="10660781" y="2613452"/>
                  <a:ext cx="102960" cy="320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94">
              <p14:nvContentPartPr>
                <p14:cNvPr id="183" name="Ink 182">
                  <a:extLst>
                    <a:ext uri="{FF2B5EF4-FFF2-40B4-BE49-F238E27FC236}">
                      <a16:creationId xmlns:a16="http://schemas.microsoft.com/office/drawing/2014/main" id="{A385F83E-D556-AC13-C6AD-F64562ADC73A}"/>
                    </a:ext>
                  </a:extLst>
                </p14:cNvPr>
                <p14:cNvContentPartPr/>
                <p14:nvPr/>
              </p14:nvContentPartPr>
              <p14:xfrm>
                <a:off x="10866341" y="2645132"/>
                <a:ext cx="163080" cy="223200"/>
              </p14:xfrm>
            </p:contentPart>
          </mc:Choice>
          <mc:Fallback>
            <p:pic>
              <p:nvPicPr>
                <p:cNvPr id="183" name="Ink 182">
                  <a:extLst>
                    <a:ext uri="{FF2B5EF4-FFF2-40B4-BE49-F238E27FC236}">
                      <a16:creationId xmlns:a16="http://schemas.microsoft.com/office/drawing/2014/main" id="{A385F83E-D556-AC13-C6AD-F64562ADC73A}"/>
                    </a:ext>
                  </a:extLst>
                </p:cNvPr>
                <p:cNvPicPr/>
                <p:nvPr/>
              </p:nvPicPr>
              <p:blipFill>
                <a:blip r:embed="rId195"/>
                <a:stretch>
                  <a:fillRect/>
                </a:stretch>
              </p:blipFill>
              <p:spPr>
                <a:xfrm>
                  <a:off x="10850861" y="2630012"/>
                  <a:ext cx="193320" cy="253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96">
              <p14:nvContentPartPr>
                <p14:cNvPr id="184" name="Ink 183">
                  <a:extLst>
                    <a:ext uri="{FF2B5EF4-FFF2-40B4-BE49-F238E27FC236}">
                      <a16:creationId xmlns:a16="http://schemas.microsoft.com/office/drawing/2014/main" id="{EAFD88FC-D6BB-2783-19F5-DF739FE1D646}"/>
                    </a:ext>
                  </a:extLst>
                </p14:cNvPr>
                <p14:cNvContentPartPr/>
                <p14:nvPr/>
              </p14:nvContentPartPr>
              <p14:xfrm>
                <a:off x="11081621" y="2789492"/>
                <a:ext cx="32040" cy="117360"/>
              </p14:xfrm>
            </p:contentPart>
          </mc:Choice>
          <mc:Fallback>
            <p:pic>
              <p:nvPicPr>
                <p:cNvPr id="184" name="Ink 183">
                  <a:extLst>
                    <a:ext uri="{FF2B5EF4-FFF2-40B4-BE49-F238E27FC236}">
                      <a16:creationId xmlns:a16="http://schemas.microsoft.com/office/drawing/2014/main" id="{EAFD88FC-D6BB-2783-19F5-DF739FE1D646}"/>
                    </a:ext>
                  </a:extLst>
                </p:cNvPr>
                <p:cNvPicPr/>
                <p:nvPr/>
              </p:nvPicPr>
              <p:blipFill>
                <a:blip r:embed="rId197"/>
                <a:stretch>
                  <a:fillRect/>
                </a:stretch>
              </p:blipFill>
              <p:spPr>
                <a:xfrm>
                  <a:off x="11066501" y="2774012"/>
                  <a:ext cx="62640" cy="147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98">
              <p14:nvContentPartPr>
                <p14:cNvPr id="185" name="Ink 184">
                  <a:extLst>
                    <a:ext uri="{FF2B5EF4-FFF2-40B4-BE49-F238E27FC236}">
                      <a16:creationId xmlns:a16="http://schemas.microsoft.com/office/drawing/2014/main" id="{73466173-6A00-1D55-6E2A-722C405F36FE}"/>
                    </a:ext>
                  </a:extLst>
                </p14:cNvPr>
                <p14:cNvContentPartPr/>
                <p14:nvPr/>
              </p14:nvContentPartPr>
              <p14:xfrm>
                <a:off x="11260541" y="2740532"/>
                <a:ext cx="46440" cy="7920"/>
              </p14:xfrm>
            </p:contentPart>
          </mc:Choice>
          <mc:Fallback>
            <p:pic>
              <p:nvPicPr>
                <p:cNvPr id="185" name="Ink 184">
                  <a:extLst>
                    <a:ext uri="{FF2B5EF4-FFF2-40B4-BE49-F238E27FC236}">
                      <a16:creationId xmlns:a16="http://schemas.microsoft.com/office/drawing/2014/main" id="{73466173-6A00-1D55-6E2A-722C405F36FE}"/>
                    </a:ext>
                  </a:extLst>
                </p:cNvPr>
                <p:cNvPicPr/>
                <p:nvPr/>
              </p:nvPicPr>
              <p:blipFill>
                <a:blip r:embed="rId199"/>
                <a:stretch>
                  <a:fillRect/>
                </a:stretch>
              </p:blipFill>
              <p:spPr>
                <a:xfrm>
                  <a:off x="11245061" y="2725052"/>
                  <a:ext cx="77040" cy="38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00">
              <p14:nvContentPartPr>
                <p14:cNvPr id="186" name="Ink 185">
                  <a:extLst>
                    <a:ext uri="{FF2B5EF4-FFF2-40B4-BE49-F238E27FC236}">
                      <a16:creationId xmlns:a16="http://schemas.microsoft.com/office/drawing/2014/main" id="{544BA841-46B3-275B-3B8B-5CBAB462D9B1}"/>
                    </a:ext>
                  </a:extLst>
                </p14:cNvPr>
                <p14:cNvContentPartPr/>
                <p14:nvPr/>
              </p14:nvContentPartPr>
              <p14:xfrm>
                <a:off x="11264861" y="2813972"/>
                <a:ext cx="89640" cy="8640"/>
              </p14:xfrm>
            </p:contentPart>
          </mc:Choice>
          <mc:Fallback>
            <p:pic>
              <p:nvPicPr>
                <p:cNvPr id="186" name="Ink 185">
                  <a:extLst>
                    <a:ext uri="{FF2B5EF4-FFF2-40B4-BE49-F238E27FC236}">
                      <a16:creationId xmlns:a16="http://schemas.microsoft.com/office/drawing/2014/main" id="{544BA841-46B3-275B-3B8B-5CBAB462D9B1}"/>
                    </a:ext>
                  </a:extLst>
                </p:cNvPr>
                <p:cNvPicPr/>
                <p:nvPr/>
              </p:nvPicPr>
              <p:blipFill>
                <a:blip r:embed="rId201"/>
                <a:stretch>
                  <a:fillRect/>
                </a:stretch>
              </p:blipFill>
              <p:spPr>
                <a:xfrm>
                  <a:off x="11249381" y="2798852"/>
                  <a:ext cx="120240" cy="38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02">
              <p14:nvContentPartPr>
                <p14:cNvPr id="187" name="Ink 186">
                  <a:extLst>
                    <a:ext uri="{FF2B5EF4-FFF2-40B4-BE49-F238E27FC236}">
                      <a16:creationId xmlns:a16="http://schemas.microsoft.com/office/drawing/2014/main" id="{95D64680-F29D-DC9E-5AF8-971B97EF5795}"/>
                    </a:ext>
                  </a:extLst>
                </p14:cNvPr>
                <p14:cNvContentPartPr/>
                <p14:nvPr/>
              </p14:nvContentPartPr>
              <p14:xfrm>
                <a:off x="11331461" y="2660972"/>
                <a:ext cx="100800" cy="261720"/>
              </p14:xfrm>
            </p:contentPart>
          </mc:Choice>
          <mc:Fallback>
            <p:pic>
              <p:nvPicPr>
                <p:cNvPr id="187" name="Ink 186">
                  <a:extLst>
                    <a:ext uri="{FF2B5EF4-FFF2-40B4-BE49-F238E27FC236}">
                      <a16:creationId xmlns:a16="http://schemas.microsoft.com/office/drawing/2014/main" id="{95D64680-F29D-DC9E-5AF8-971B97EF5795}"/>
                    </a:ext>
                  </a:extLst>
                </p:cNvPr>
                <p:cNvPicPr/>
                <p:nvPr/>
              </p:nvPicPr>
              <p:blipFill>
                <a:blip r:embed="rId203"/>
                <a:stretch>
                  <a:fillRect/>
                </a:stretch>
              </p:blipFill>
              <p:spPr>
                <a:xfrm>
                  <a:off x="11315981" y="2645852"/>
                  <a:ext cx="131400" cy="292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04">
              <p14:nvContentPartPr>
                <p14:cNvPr id="188" name="Ink 187">
                  <a:extLst>
                    <a:ext uri="{FF2B5EF4-FFF2-40B4-BE49-F238E27FC236}">
                      <a16:creationId xmlns:a16="http://schemas.microsoft.com/office/drawing/2014/main" id="{02D614B7-F41B-D47A-8655-D5E94D82657D}"/>
                    </a:ext>
                  </a:extLst>
                </p14:cNvPr>
                <p14:cNvContentPartPr/>
                <p14:nvPr/>
              </p14:nvContentPartPr>
              <p14:xfrm>
                <a:off x="11171261" y="2672492"/>
                <a:ext cx="63720" cy="344880"/>
              </p14:xfrm>
            </p:contentPart>
          </mc:Choice>
          <mc:Fallback>
            <p:pic>
              <p:nvPicPr>
                <p:cNvPr id="188" name="Ink 187">
                  <a:extLst>
                    <a:ext uri="{FF2B5EF4-FFF2-40B4-BE49-F238E27FC236}">
                      <a16:creationId xmlns:a16="http://schemas.microsoft.com/office/drawing/2014/main" id="{02D614B7-F41B-D47A-8655-D5E94D82657D}"/>
                    </a:ext>
                  </a:extLst>
                </p:cNvPr>
                <p:cNvPicPr/>
                <p:nvPr/>
              </p:nvPicPr>
              <p:blipFill>
                <a:blip r:embed="rId205"/>
                <a:stretch>
                  <a:fillRect/>
                </a:stretch>
              </p:blipFill>
              <p:spPr>
                <a:xfrm>
                  <a:off x="11155781" y="2657012"/>
                  <a:ext cx="93960" cy="375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06">
              <p14:nvContentPartPr>
                <p14:cNvPr id="189" name="Ink 188">
                  <a:extLst>
                    <a:ext uri="{FF2B5EF4-FFF2-40B4-BE49-F238E27FC236}">
                      <a16:creationId xmlns:a16="http://schemas.microsoft.com/office/drawing/2014/main" id="{8A49783B-28D5-EDA2-6348-83D0734DEAC5}"/>
                    </a:ext>
                  </a:extLst>
                </p14:cNvPr>
                <p14:cNvContentPartPr/>
                <p14:nvPr/>
              </p14:nvContentPartPr>
              <p14:xfrm>
                <a:off x="11377541" y="2704532"/>
                <a:ext cx="46800" cy="6840"/>
              </p14:xfrm>
            </p:contentPart>
          </mc:Choice>
          <mc:Fallback>
            <p:pic>
              <p:nvPicPr>
                <p:cNvPr id="189" name="Ink 188">
                  <a:extLst>
                    <a:ext uri="{FF2B5EF4-FFF2-40B4-BE49-F238E27FC236}">
                      <a16:creationId xmlns:a16="http://schemas.microsoft.com/office/drawing/2014/main" id="{8A49783B-28D5-EDA2-6348-83D0734DEAC5}"/>
                    </a:ext>
                  </a:extLst>
                </p:cNvPr>
                <p:cNvPicPr/>
                <p:nvPr/>
              </p:nvPicPr>
              <p:blipFill>
                <a:blip r:embed="rId207"/>
                <a:stretch>
                  <a:fillRect/>
                </a:stretch>
              </p:blipFill>
              <p:spPr>
                <a:xfrm>
                  <a:off x="11362421" y="2689412"/>
                  <a:ext cx="77400" cy="37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08">
              <p14:nvContentPartPr>
                <p14:cNvPr id="190" name="Ink 189">
                  <a:extLst>
                    <a:ext uri="{FF2B5EF4-FFF2-40B4-BE49-F238E27FC236}">
                      <a16:creationId xmlns:a16="http://schemas.microsoft.com/office/drawing/2014/main" id="{BFEB89A3-241D-06A6-989B-26C01E81BD34}"/>
                    </a:ext>
                  </a:extLst>
                </p14:cNvPr>
                <p14:cNvContentPartPr/>
                <p14:nvPr/>
              </p14:nvContentPartPr>
              <p14:xfrm>
                <a:off x="11368901" y="2742332"/>
                <a:ext cx="92880" cy="164520"/>
              </p14:xfrm>
            </p:contentPart>
          </mc:Choice>
          <mc:Fallback>
            <p:pic>
              <p:nvPicPr>
                <p:cNvPr id="190" name="Ink 189">
                  <a:extLst>
                    <a:ext uri="{FF2B5EF4-FFF2-40B4-BE49-F238E27FC236}">
                      <a16:creationId xmlns:a16="http://schemas.microsoft.com/office/drawing/2014/main" id="{BFEB89A3-241D-06A6-989B-26C01E81BD34}"/>
                    </a:ext>
                  </a:extLst>
                </p:cNvPr>
                <p:cNvPicPr/>
                <p:nvPr/>
              </p:nvPicPr>
              <p:blipFill>
                <a:blip r:embed="rId209"/>
                <a:stretch>
                  <a:fillRect/>
                </a:stretch>
              </p:blipFill>
              <p:spPr>
                <a:xfrm>
                  <a:off x="11353421" y="2726852"/>
                  <a:ext cx="123480" cy="195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10">
              <p14:nvContentPartPr>
                <p14:cNvPr id="191" name="Ink 190">
                  <a:extLst>
                    <a:ext uri="{FF2B5EF4-FFF2-40B4-BE49-F238E27FC236}">
                      <a16:creationId xmlns:a16="http://schemas.microsoft.com/office/drawing/2014/main" id="{04C248BD-74B1-D8DD-51ED-F1A7AC95D75E}"/>
                    </a:ext>
                  </a:extLst>
                </p14:cNvPr>
                <p14:cNvContentPartPr/>
                <p14:nvPr/>
              </p14:nvContentPartPr>
              <p14:xfrm>
                <a:off x="11527661" y="2584292"/>
                <a:ext cx="133560" cy="162360"/>
              </p14:xfrm>
            </p:contentPart>
          </mc:Choice>
          <mc:Fallback>
            <p:pic>
              <p:nvPicPr>
                <p:cNvPr id="191" name="Ink 190">
                  <a:extLst>
                    <a:ext uri="{FF2B5EF4-FFF2-40B4-BE49-F238E27FC236}">
                      <a16:creationId xmlns:a16="http://schemas.microsoft.com/office/drawing/2014/main" id="{04C248BD-74B1-D8DD-51ED-F1A7AC95D75E}"/>
                    </a:ext>
                  </a:extLst>
                </p:cNvPr>
                <p:cNvPicPr/>
                <p:nvPr/>
              </p:nvPicPr>
              <p:blipFill>
                <a:blip r:embed="rId211"/>
                <a:stretch>
                  <a:fillRect/>
                </a:stretch>
              </p:blipFill>
              <p:spPr>
                <a:xfrm>
                  <a:off x="11512181" y="2568812"/>
                  <a:ext cx="164160" cy="192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12">
              <p14:nvContentPartPr>
                <p14:cNvPr id="192" name="Ink 191">
                  <a:extLst>
                    <a:ext uri="{FF2B5EF4-FFF2-40B4-BE49-F238E27FC236}">
                      <a16:creationId xmlns:a16="http://schemas.microsoft.com/office/drawing/2014/main" id="{1BF1A31F-0025-808A-60CB-20132A627AB9}"/>
                    </a:ext>
                  </a:extLst>
                </p14:cNvPr>
                <p14:cNvContentPartPr/>
                <p14:nvPr/>
              </p14:nvContentPartPr>
              <p14:xfrm>
                <a:off x="11749781" y="2569532"/>
                <a:ext cx="62280" cy="185040"/>
              </p14:xfrm>
            </p:contentPart>
          </mc:Choice>
          <mc:Fallback>
            <p:pic>
              <p:nvPicPr>
                <p:cNvPr id="192" name="Ink 191">
                  <a:extLst>
                    <a:ext uri="{FF2B5EF4-FFF2-40B4-BE49-F238E27FC236}">
                      <a16:creationId xmlns:a16="http://schemas.microsoft.com/office/drawing/2014/main" id="{1BF1A31F-0025-808A-60CB-20132A627AB9}"/>
                    </a:ext>
                  </a:extLst>
                </p:cNvPr>
                <p:cNvPicPr/>
                <p:nvPr/>
              </p:nvPicPr>
              <p:blipFill>
                <a:blip r:embed="rId213"/>
                <a:stretch>
                  <a:fillRect/>
                </a:stretch>
              </p:blipFill>
              <p:spPr>
                <a:xfrm>
                  <a:off x="11734301" y="2554412"/>
                  <a:ext cx="92520" cy="215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14">
              <p14:nvContentPartPr>
                <p14:cNvPr id="193" name="Ink 192">
                  <a:extLst>
                    <a:ext uri="{FF2B5EF4-FFF2-40B4-BE49-F238E27FC236}">
                      <a16:creationId xmlns:a16="http://schemas.microsoft.com/office/drawing/2014/main" id="{AB0F0EA3-4CCE-B8AE-312C-574A5A3075CB}"/>
                    </a:ext>
                  </a:extLst>
                </p14:cNvPr>
                <p14:cNvContentPartPr/>
                <p14:nvPr/>
              </p14:nvContentPartPr>
              <p14:xfrm>
                <a:off x="11546021" y="2829452"/>
                <a:ext cx="319680" cy="23760"/>
              </p14:xfrm>
            </p:contentPart>
          </mc:Choice>
          <mc:Fallback>
            <p:pic>
              <p:nvPicPr>
                <p:cNvPr id="193" name="Ink 192">
                  <a:extLst>
                    <a:ext uri="{FF2B5EF4-FFF2-40B4-BE49-F238E27FC236}">
                      <a16:creationId xmlns:a16="http://schemas.microsoft.com/office/drawing/2014/main" id="{AB0F0EA3-4CCE-B8AE-312C-574A5A3075CB}"/>
                    </a:ext>
                  </a:extLst>
                </p:cNvPr>
                <p:cNvPicPr/>
                <p:nvPr/>
              </p:nvPicPr>
              <p:blipFill>
                <a:blip r:embed="rId215"/>
                <a:stretch>
                  <a:fillRect/>
                </a:stretch>
              </p:blipFill>
              <p:spPr>
                <a:xfrm>
                  <a:off x="11530901" y="2813972"/>
                  <a:ext cx="349920" cy="54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16">
              <p14:nvContentPartPr>
                <p14:cNvPr id="194" name="Ink 193">
                  <a:extLst>
                    <a:ext uri="{FF2B5EF4-FFF2-40B4-BE49-F238E27FC236}">
                      <a16:creationId xmlns:a16="http://schemas.microsoft.com/office/drawing/2014/main" id="{74E46C74-0873-74CE-1B3C-7A33DD6E7EA2}"/>
                    </a:ext>
                  </a:extLst>
                </p14:cNvPr>
                <p14:cNvContentPartPr/>
                <p14:nvPr/>
              </p14:nvContentPartPr>
              <p14:xfrm>
                <a:off x="11560421" y="2923412"/>
                <a:ext cx="85680" cy="210960"/>
              </p14:xfrm>
            </p:contentPart>
          </mc:Choice>
          <mc:Fallback>
            <p:pic>
              <p:nvPicPr>
                <p:cNvPr id="194" name="Ink 193">
                  <a:extLst>
                    <a:ext uri="{FF2B5EF4-FFF2-40B4-BE49-F238E27FC236}">
                      <a16:creationId xmlns:a16="http://schemas.microsoft.com/office/drawing/2014/main" id="{74E46C74-0873-74CE-1B3C-7A33DD6E7EA2}"/>
                    </a:ext>
                  </a:extLst>
                </p:cNvPr>
                <p:cNvPicPr/>
                <p:nvPr/>
              </p:nvPicPr>
              <p:blipFill>
                <a:blip r:embed="rId217"/>
                <a:stretch>
                  <a:fillRect/>
                </a:stretch>
              </p:blipFill>
              <p:spPr>
                <a:xfrm>
                  <a:off x="11545301" y="2908292"/>
                  <a:ext cx="116280" cy="241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18">
              <p14:nvContentPartPr>
                <p14:cNvPr id="195" name="Ink 194">
                  <a:extLst>
                    <a:ext uri="{FF2B5EF4-FFF2-40B4-BE49-F238E27FC236}">
                      <a16:creationId xmlns:a16="http://schemas.microsoft.com/office/drawing/2014/main" id="{CDCBF652-D767-43B0-2E8F-90984D1C0662}"/>
                    </a:ext>
                  </a:extLst>
                </p14:cNvPr>
                <p14:cNvContentPartPr/>
                <p14:nvPr/>
              </p14:nvContentPartPr>
              <p14:xfrm>
                <a:off x="11556821" y="2935292"/>
                <a:ext cx="155160" cy="48240"/>
              </p14:xfrm>
            </p:contentPart>
          </mc:Choice>
          <mc:Fallback>
            <p:pic>
              <p:nvPicPr>
                <p:cNvPr id="195" name="Ink 194">
                  <a:extLst>
                    <a:ext uri="{FF2B5EF4-FFF2-40B4-BE49-F238E27FC236}">
                      <a16:creationId xmlns:a16="http://schemas.microsoft.com/office/drawing/2014/main" id="{CDCBF652-D767-43B0-2E8F-90984D1C0662}"/>
                    </a:ext>
                  </a:extLst>
                </p:cNvPr>
                <p:cNvPicPr/>
                <p:nvPr/>
              </p:nvPicPr>
              <p:blipFill>
                <a:blip r:embed="rId219"/>
                <a:stretch>
                  <a:fillRect/>
                </a:stretch>
              </p:blipFill>
              <p:spPr>
                <a:xfrm>
                  <a:off x="11541701" y="2920172"/>
                  <a:ext cx="185760" cy="78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20">
              <p14:nvContentPartPr>
                <p14:cNvPr id="196" name="Ink 195">
                  <a:extLst>
                    <a:ext uri="{FF2B5EF4-FFF2-40B4-BE49-F238E27FC236}">
                      <a16:creationId xmlns:a16="http://schemas.microsoft.com/office/drawing/2014/main" id="{1B47980A-4555-1B8A-BF6B-68BACC460723}"/>
                    </a:ext>
                  </a:extLst>
                </p14:cNvPr>
                <p14:cNvContentPartPr/>
                <p14:nvPr/>
              </p14:nvContentPartPr>
              <p14:xfrm>
                <a:off x="11774261" y="2936372"/>
                <a:ext cx="23400" cy="183600"/>
              </p14:xfrm>
            </p:contentPart>
          </mc:Choice>
          <mc:Fallback>
            <p:pic>
              <p:nvPicPr>
                <p:cNvPr id="196" name="Ink 195">
                  <a:extLst>
                    <a:ext uri="{FF2B5EF4-FFF2-40B4-BE49-F238E27FC236}">
                      <a16:creationId xmlns:a16="http://schemas.microsoft.com/office/drawing/2014/main" id="{1B47980A-4555-1B8A-BF6B-68BACC460723}"/>
                    </a:ext>
                  </a:extLst>
                </p:cNvPr>
                <p:cNvPicPr/>
                <p:nvPr/>
              </p:nvPicPr>
              <p:blipFill>
                <a:blip r:embed="rId221"/>
                <a:stretch>
                  <a:fillRect/>
                </a:stretch>
              </p:blipFill>
              <p:spPr>
                <a:xfrm>
                  <a:off x="11758781" y="2920892"/>
                  <a:ext cx="54000" cy="2138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DD97CF37-35D7-E6EF-D5EA-BC633968C6D8}"/>
              </a:ext>
            </a:extLst>
          </p:cNvPr>
          <p:cNvGrpSpPr/>
          <p:nvPr/>
        </p:nvGrpSpPr>
        <p:grpSpPr>
          <a:xfrm>
            <a:off x="7769981" y="2669972"/>
            <a:ext cx="690840" cy="60840"/>
            <a:chOff x="7769981" y="2669972"/>
            <a:chExt cx="690840" cy="608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22">
              <p14:nvContentPartPr>
                <p14:cNvPr id="199" name="Ink 198">
                  <a:extLst>
                    <a:ext uri="{FF2B5EF4-FFF2-40B4-BE49-F238E27FC236}">
                      <a16:creationId xmlns:a16="http://schemas.microsoft.com/office/drawing/2014/main" id="{86FEFA45-3F3D-8E20-7E47-60D502CD58CA}"/>
                    </a:ext>
                  </a:extLst>
                </p14:cNvPr>
                <p14:cNvContentPartPr/>
                <p14:nvPr/>
              </p14:nvContentPartPr>
              <p14:xfrm>
                <a:off x="8044661" y="2695532"/>
                <a:ext cx="42120" cy="35280"/>
              </p14:xfrm>
            </p:contentPart>
          </mc:Choice>
          <mc:Fallback>
            <p:pic>
              <p:nvPicPr>
                <p:cNvPr id="199" name="Ink 198">
                  <a:extLst>
                    <a:ext uri="{FF2B5EF4-FFF2-40B4-BE49-F238E27FC236}">
                      <a16:creationId xmlns:a16="http://schemas.microsoft.com/office/drawing/2014/main" id="{86FEFA45-3F3D-8E20-7E47-60D502CD58CA}"/>
                    </a:ext>
                  </a:extLst>
                </p:cNvPr>
                <p:cNvPicPr/>
                <p:nvPr/>
              </p:nvPicPr>
              <p:blipFill>
                <a:blip r:embed="rId223"/>
                <a:stretch>
                  <a:fillRect/>
                </a:stretch>
              </p:blipFill>
              <p:spPr>
                <a:xfrm>
                  <a:off x="8029541" y="2680412"/>
                  <a:ext cx="72720" cy="65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24">
              <p14:nvContentPartPr>
                <p14:cNvPr id="200" name="Ink 199">
                  <a:extLst>
                    <a:ext uri="{FF2B5EF4-FFF2-40B4-BE49-F238E27FC236}">
                      <a16:creationId xmlns:a16="http://schemas.microsoft.com/office/drawing/2014/main" id="{95C0FD38-57A1-B750-7B7D-0874776765F3}"/>
                    </a:ext>
                  </a:extLst>
                </p14:cNvPr>
                <p14:cNvContentPartPr/>
                <p14:nvPr/>
              </p14:nvContentPartPr>
              <p14:xfrm>
                <a:off x="7769981" y="2669972"/>
                <a:ext cx="690840" cy="59400"/>
              </p14:xfrm>
            </p:contentPart>
          </mc:Choice>
          <mc:Fallback>
            <p:pic>
              <p:nvPicPr>
                <p:cNvPr id="200" name="Ink 199">
                  <a:extLst>
                    <a:ext uri="{FF2B5EF4-FFF2-40B4-BE49-F238E27FC236}">
                      <a16:creationId xmlns:a16="http://schemas.microsoft.com/office/drawing/2014/main" id="{95C0FD38-57A1-B750-7B7D-0874776765F3}"/>
                    </a:ext>
                  </a:extLst>
                </p:cNvPr>
                <p:cNvPicPr/>
                <p:nvPr/>
              </p:nvPicPr>
              <p:blipFill>
                <a:blip r:embed="rId225"/>
                <a:stretch>
                  <a:fillRect/>
                </a:stretch>
              </p:blipFill>
              <p:spPr>
                <a:xfrm>
                  <a:off x="7754501" y="2654492"/>
                  <a:ext cx="721080" cy="900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02" name="Group 201">
            <a:extLst>
              <a:ext uri="{FF2B5EF4-FFF2-40B4-BE49-F238E27FC236}">
                <a16:creationId xmlns:a16="http://schemas.microsoft.com/office/drawing/2014/main" id="{68C4CEDA-05AB-A2C3-5DB3-01845B60A96B}"/>
              </a:ext>
            </a:extLst>
          </p:cNvPr>
          <p:cNvGrpSpPr/>
          <p:nvPr/>
        </p:nvGrpSpPr>
        <p:grpSpPr>
          <a:xfrm>
            <a:off x="8867621" y="2709932"/>
            <a:ext cx="816840" cy="149040"/>
            <a:chOff x="8867621" y="2709932"/>
            <a:chExt cx="816840" cy="1490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26">
              <p14:nvContentPartPr>
                <p14:cNvPr id="49" name="Ink 48">
                  <a:extLst>
                    <a:ext uri="{FF2B5EF4-FFF2-40B4-BE49-F238E27FC236}">
                      <a16:creationId xmlns:a16="http://schemas.microsoft.com/office/drawing/2014/main" id="{B5AF5C02-EF4C-5DCC-AF3C-68FF6B8E83DE}"/>
                    </a:ext>
                  </a:extLst>
                </p14:cNvPr>
                <p14:cNvContentPartPr/>
                <p14:nvPr/>
              </p14:nvContentPartPr>
              <p14:xfrm>
                <a:off x="9083621" y="2712092"/>
                <a:ext cx="549360" cy="20520"/>
              </p14:xfrm>
            </p:contentPart>
          </mc:Choice>
          <mc:Fallback>
            <p:pic>
              <p:nvPicPr>
                <p:cNvPr id="49" name="Ink 48">
                  <a:extLst>
                    <a:ext uri="{FF2B5EF4-FFF2-40B4-BE49-F238E27FC236}">
                      <a16:creationId xmlns:a16="http://schemas.microsoft.com/office/drawing/2014/main" id="{B5AF5C02-EF4C-5DCC-AF3C-68FF6B8E83DE}"/>
                    </a:ext>
                  </a:extLst>
                </p:cNvPr>
                <p:cNvPicPr/>
                <p:nvPr/>
              </p:nvPicPr>
              <p:blipFill>
                <a:blip r:embed="rId227"/>
                <a:stretch>
                  <a:fillRect/>
                </a:stretch>
              </p:blipFill>
              <p:spPr>
                <a:xfrm>
                  <a:off x="9068141" y="2696972"/>
                  <a:ext cx="579600" cy="51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28">
              <p14:nvContentPartPr>
                <p14:cNvPr id="50" name="Ink 49">
                  <a:extLst>
                    <a:ext uri="{FF2B5EF4-FFF2-40B4-BE49-F238E27FC236}">
                      <a16:creationId xmlns:a16="http://schemas.microsoft.com/office/drawing/2014/main" id="{DB602054-8BB4-1A75-5236-CA4A583824BF}"/>
                    </a:ext>
                  </a:extLst>
                </p14:cNvPr>
                <p14:cNvContentPartPr/>
                <p14:nvPr/>
              </p14:nvContentPartPr>
              <p14:xfrm>
                <a:off x="9137621" y="2794532"/>
                <a:ext cx="546840" cy="64440"/>
              </p14:xfrm>
            </p:contentPart>
          </mc:Choice>
          <mc:Fallback>
            <p:pic>
              <p:nvPicPr>
                <p:cNvPr id="50" name="Ink 49">
                  <a:extLst>
                    <a:ext uri="{FF2B5EF4-FFF2-40B4-BE49-F238E27FC236}">
                      <a16:creationId xmlns:a16="http://schemas.microsoft.com/office/drawing/2014/main" id="{DB602054-8BB4-1A75-5236-CA4A583824BF}"/>
                    </a:ext>
                  </a:extLst>
                </p:cNvPr>
                <p:cNvPicPr/>
                <p:nvPr/>
              </p:nvPicPr>
              <p:blipFill>
                <a:blip r:embed="rId229"/>
                <a:stretch>
                  <a:fillRect/>
                </a:stretch>
              </p:blipFill>
              <p:spPr>
                <a:xfrm>
                  <a:off x="9122141" y="2779052"/>
                  <a:ext cx="577080" cy="94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30">
              <p14:nvContentPartPr>
                <p14:cNvPr id="201" name="Ink 200">
                  <a:extLst>
                    <a:ext uri="{FF2B5EF4-FFF2-40B4-BE49-F238E27FC236}">
                      <a16:creationId xmlns:a16="http://schemas.microsoft.com/office/drawing/2014/main" id="{9E12F647-8425-4BD1-7867-12279C25D993}"/>
                    </a:ext>
                  </a:extLst>
                </p14:cNvPr>
                <p14:cNvContentPartPr/>
                <p14:nvPr/>
              </p14:nvContentPartPr>
              <p14:xfrm>
                <a:off x="8867621" y="2709932"/>
                <a:ext cx="474120" cy="57240"/>
              </p14:xfrm>
            </p:contentPart>
          </mc:Choice>
          <mc:Fallback>
            <p:pic>
              <p:nvPicPr>
                <p:cNvPr id="201" name="Ink 200">
                  <a:extLst>
                    <a:ext uri="{FF2B5EF4-FFF2-40B4-BE49-F238E27FC236}">
                      <a16:creationId xmlns:a16="http://schemas.microsoft.com/office/drawing/2014/main" id="{9E12F647-8425-4BD1-7867-12279C25D993}"/>
                    </a:ext>
                  </a:extLst>
                </p:cNvPr>
                <p:cNvPicPr/>
                <p:nvPr/>
              </p:nvPicPr>
              <p:blipFill>
                <a:blip r:embed="rId231"/>
                <a:stretch>
                  <a:fillRect/>
                </a:stretch>
              </p:blipFill>
              <p:spPr>
                <a:xfrm>
                  <a:off x="8852141" y="2694452"/>
                  <a:ext cx="504360" cy="874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ACD5D4B1-5596-5E04-278C-7C943DE85A3B}"/>
              </a:ext>
            </a:extLst>
          </p:cNvPr>
          <p:cNvGrpSpPr/>
          <p:nvPr/>
        </p:nvGrpSpPr>
        <p:grpSpPr>
          <a:xfrm>
            <a:off x="3389501" y="6286892"/>
            <a:ext cx="1311120" cy="292320"/>
            <a:chOff x="3389501" y="6286892"/>
            <a:chExt cx="1311120" cy="2923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32">
              <p14:nvContentPartPr>
                <p14:cNvPr id="207" name="Ink 206">
                  <a:extLst>
                    <a:ext uri="{FF2B5EF4-FFF2-40B4-BE49-F238E27FC236}">
                      <a16:creationId xmlns:a16="http://schemas.microsoft.com/office/drawing/2014/main" id="{EAB8789C-A490-6EFF-2B38-D8AA44F38717}"/>
                    </a:ext>
                  </a:extLst>
                </p14:cNvPr>
                <p14:cNvContentPartPr/>
                <p14:nvPr/>
              </p14:nvContentPartPr>
              <p14:xfrm>
                <a:off x="3389501" y="6296612"/>
                <a:ext cx="109800" cy="282600"/>
              </p14:xfrm>
            </p:contentPart>
          </mc:Choice>
          <mc:Fallback>
            <p:pic>
              <p:nvPicPr>
                <p:cNvPr id="207" name="Ink 206">
                  <a:extLst>
                    <a:ext uri="{FF2B5EF4-FFF2-40B4-BE49-F238E27FC236}">
                      <a16:creationId xmlns:a16="http://schemas.microsoft.com/office/drawing/2014/main" id="{EAB8789C-A490-6EFF-2B38-D8AA44F38717}"/>
                    </a:ext>
                  </a:extLst>
                </p:cNvPr>
                <p:cNvPicPr/>
                <p:nvPr/>
              </p:nvPicPr>
              <p:blipFill>
                <a:blip r:embed="rId233"/>
                <a:stretch>
                  <a:fillRect/>
                </a:stretch>
              </p:blipFill>
              <p:spPr>
                <a:xfrm>
                  <a:off x="3374381" y="6281492"/>
                  <a:ext cx="140400" cy="312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34">
              <p14:nvContentPartPr>
                <p14:cNvPr id="208" name="Ink 207">
                  <a:extLst>
                    <a:ext uri="{FF2B5EF4-FFF2-40B4-BE49-F238E27FC236}">
                      <a16:creationId xmlns:a16="http://schemas.microsoft.com/office/drawing/2014/main" id="{7546E464-B552-46F6-CD2A-6C7435B447FE}"/>
                    </a:ext>
                  </a:extLst>
                </p14:cNvPr>
                <p14:cNvContentPartPr/>
                <p14:nvPr/>
              </p14:nvContentPartPr>
              <p14:xfrm>
                <a:off x="3535661" y="6314972"/>
                <a:ext cx="96480" cy="252360"/>
              </p14:xfrm>
            </p:contentPart>
          </mc:Choice>
          <mc:Fallback>
            <p:pic>
              <p:nvPicPr>
                <p:cNvPr id="208" name="Ink 207">
                  <a:extLst>
                    <a:ext uri="{FF2B5EF4-FFF2-40B4-BE49-F238E27FC236}">
                      <a16:creationId xmlns:a16="http://schemas.microsoft.com/office/drawing/2014/main" id="{7546E464-B552-46F6-CD2A-6C7435B447FE}"/>
                    </a:ext>
                  </a:extLst>
                </p:cNvPr>
                <p:cNvPicPr/>
                <p:nvPr/>
              </p:nvPicPr>
              <p:blipFill>
                <a:blip r:embed="rId235"/>
                <a:stretch>
                  <a:fillRect/>
                </a:stretch>
              </p:blipFill>
              <p:spPr>
                <a:xfrm>
                  <a:off x="3520541" y="6299852"/>
                  <a:ext cx="127080" cy="282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36">
              <p14:nvContentPartPr>
                <p14:cNvPr id="209" name="Ink 208">
                  <a:extLst>
                    <a:ext uri="{FF2B5EF4-FFF2-40B4-BE49-F238E27FC236}">
                      <a16:creationId xmlns:a16="http://schemas.microsoft.com/office/drawing/2014/main" id="{6ACDCA80-5E13-54AA-CDCB-F72A6D484129}"/>
                    </a:ext>
                  </a:extLst>
                </p14:cNvPr>
                <p14:cNvContentPartPr/>
                <p14:nvPr/>
              </p14:nvContentPartPr>
              <p14:xfrm>
                <a:off x="3732221" y="6362852"/>
                <a:ext cx="106920" cy="215280"/>
              </p14:xfrm>
            </p:contentPart>
          </mc:Choice>
          <mc:Fallback>
            <p:pic>
              <p:nvPicPr>
                <p:cNvPr id="209" name="Ink 208">
                  <a:extLst>
                    <a:ext uri="{FF2B5EF4-FFF2-40B4-BE49-F238E27FC236}">
                      <a16:creationId xmlns:a16="http://schemas.microsoft.com/office/drawing/2014/main" id="{6ACDCA80-5E13-54AA-CDCB-F72A6D484129}"/>
                    </a:ext>
                  </a:extLst>
                </p:cNvPr>
                <p:cNvPicPr/>
                <p:nvPr/>
              </p:nvPicPr>
              <p:blipFill>
                <a:blip r:embed="rId237"/>
                <a:stretch>
                  <a:fillRect/>
                </a:stretch>
              </p:blipFill>
              <p:spPr>
                <a:xfrm>
                  <a:off x="3717101" y="6347372"/>
                  <a:ext cx="137520" cy="245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38">
              <p14:nvContentPartPr>
                <p14:cNvPr id="210" name="Ink 209">
                  <a:extLst>
                    <a:ext uri="{FF2B5EF4-FFF2-40B4-BE49-F238E27FC236}">
                      <a16:creationId xmlns:a16="http://schemas.microsoft.com/office/drawing/2014/main" id="{7151E474-F153-39FF-E53D-0CD2891FC2A2}"/>
                    </a:ext>
                  </a:extLst>
                </p14:cNvPr>
                <p14:cNvContentPartPr/>
                <p14:nvPr/>
              </p14:nvContentPartPr>
              <p14:xfrm>
                <a:off x="3913661" y="6483452"/>
                <a:ext cx="11880" cy="76680"/>
              </p14:xfrm>
            </p:contentPart>
          </mc:Choice>
          <mc:Fallback>
            <p:pic>
              <p:nvPicPr>
                <p:cNvPr id="210" name="Ink 209">
                  <a:extLst>
                    <a:ext uri="{FF2B5EF4-FFF2-40B4-BE49-F238E27FC236}">
                      <a16:creationId xmlns:a16="http://schemas.microsoft.com/office/drawing/2014/main" id="{7151E474-F153-39FF-E53D-0CD2891FC2A2}"/>
                    </a:ext>
                  </a:extLst>
                </p:cNvPr>
                <p:cNvPicPr/>
                <p:nvPr/>
              </p:nvPicPr>
              <p:blipFill>
                <a:blip r:embed="rId239"/>
                <a:stretch>
                  <a:fillRect/>
                </a:stretch>
              </p:blipFill>
              <p:spPr>
                <a:xfrm>
                  <a:off x="3898541" y="6468332"/>
                  <a:ext cx="42480" cy="107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40">
              <p14:nvContentPartPr>
                <p14:cNvPr id="211" name="Ink 210">
                  <a:extLst>
                    <a:ext uri="{FF2B5EF4-FFF2-40B4-BE49-F238E27FC236}">
                      <a16:creationId xmlns:a16="http://schemas.microsoft.com/office/drawing/2014/main" id="{669C1D51-D313-EED7-5F62-51285F99C97B}"/>
                    </a:ext>
                  </a:extLst>
                </p14:cNvPr>
                <p14:cNvContentPartPr/>
                <p14:nvPr/>
              </p14:nvContentPartPr>
              <p14:xfrm>
                <a:off x="3992861" y="6330452"/>
                <a:ext cx="192960" cy="222120"/>
              </p14:xfrm>
            </p:contentPart>
          </mc:Choice>
          <mc:Fallback>
            <p:pic>
              <p:nvPicPr>
                <p:cNvPr id="211" name="Ink 210">
                  <a:extLst>
                    <a:ext uri="{FF2B5EF4-FFF2-40B4-BE49-F238E27FC236}">
                      <a16:creationId xmlns:a16="http://schemas.microsoft.com/office/drawing/2014/main" id="{669C1D51-D313-EED7-5F62-51285F99C97B}"/>
                    </a:ext>
                  </a:extLst>
                </p:cNvPr>
                <p:cNvPicPr/>
                <p:nvPr/>
              </p:nvPicPr>
              <p:blipFill>
                <a:blip r:embed="rId241"/>
                <a:stretch>
                  <a:fillRect/>
                </a:stretch>
              </p:blipFill>
              <p:spPr>
                <a:xfrm>
                  <a:off x="3977741" y="6314972"/>
                  <a:ext cx="223560" cy="252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42">
              <p14:nvContentPartPr>
                <p14:cNvPr id="212" name="Ink 211">
                  <a:extLst>
                    <a:ext uri="{FF2B5EF4-FFF2-40B4-BE49-F238E27FC236}">
                      <a16:creationId xmlns:a16="http://schemas.microsoft.com/office/drawing/2014/main" id="{6D191858-8C11-4CE6-5DB9-C2ADF4F50132}"/>
                    </a:ext>
                  </a:extLst>
                </p14:cNvPr>
                <p14:cNvContentPartPr/>
                <p14:nvPr/>
              </p14:nvContentPartPr>
              <p14:xfrm>
                <a:off x="4319381" y="6286892"/>
                <a:ext cx="128160" cy="255960"/>
              </p14:xfrm>
            </p:contentPart>
          </mc:Choice>
          <mc:Fallback>
            <p:pic>
              <p:nvPicPr>
                <p:cNvPr id="212" name="Ink 211">
                  <a:extLst>
                    <a:ext uri="{FF2B5EF4-FFF2-40B4-BE49-F238E27FC236}">
                      <a16:creationId xmlns:a16="http://schemas.microsoft.com/office/drawing/2014/main" id="{6D191858-8C11-4CE6-5DB9-C2ADF4F50132}"/>
                    </a:ext>
                  </a:extLst>
                </p:cNvPr>
                <p:cNvPicPr/>
                <p:nvPr/>
              </p:nvPicPr>
              <p:blipFill>
                <a:blip r:embed="rId243"/>
                <a:stretch>
                  <a:fillRect/>
                </a:stretch>
              </p:blipFill>
              <p:spPr>
                <a:xfrm>
                  <a:off x="4303901" y="6271772"/>
                  <a:ext cx="158400" cy="286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44">
              <p14:nvContentPartPr>
                <p14:cNvPr id="213" name="Ink 212">
                  <a:extLst>
                    <a:ext uri="{FF2B5EF4-FFF2-40B4-BE49-F238E27FC236}">
                      <a16:creationId xmlns:a16="http://schemas.microsoft.com/office/drawing/2014/main" id="{E238EFC3-8429-5F5E-2198-34BFB491F337}"/>
                    </a:ext>
                  </a:extLst>
                </p14:cNvPr>
                <p14:cNvContentPartPr/>
                <p14:nvPr/>
              </p14:nvContentPartPr>
              <p14:xfrm>
                <a:off x="4516301" y="6417932"/>
                <a:ext cx="63000" cy="91800"/>
              </p14:xfrm>
            </p:contentPart>
          </mc:Choice>
          <mc:Fallback>
            <p:pic>
              <p:nvPicPr>
                <p:cNvPr id="213" name="Ink 212">
                  <a:extLst>
                    <a:ext uri="{FF2B5EF4-FFF2-40B4-BE49-F238E27FC236}">
                      <a16:creationId xmlns:a16="http://schemas.microsoft.com/office/drawing/2014/main" id="{E238EFC3-8429-5F5E-2198-34BFB491F337}"/>
                    </a:ext>
                  </a:extLst>
                </p:cNvPr>
                <p:cNvPicPr/>
                <p:nvPr/>
              </p:nvPicPr>
              <p:blipFill>
                <a:blip r:embed="rId245"/>
                <a:stretch>
                  <a:fillRect/>
                </a:stretch>
              </p:blipFill>
              <p:spPr>
                <a:xfrm>
                  <a:off x="4501181" y="6402812"/>
                  <a:ext cx="93240" cy="122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46">
              <p14:nvContentPartPr>
                <p14:cNvPr id="214" name="Ink 213">
                  <a:extLst>
                    <a:ext uri="{FF2B5EF4-FFF2-40B4-BE49-F238E27FC236}">
                      <a16:creationId xmlns:a16="http://schemas.microsoft.com/office/drawing/2014/main" id="{A76F4283-4532-7FB7-729B-09246A4F05EC}"/>
                    </a:ext>
                  </a:extLst>
                </p14:cNvPr>
                <p14:cNvContentPartPr/>
                <p14:nvPr/>
              </p14:nvContentPartPr>
              <p14:xfrm>
                <a:off x="4620341" y="6366452"/>
                <a:ext cx="80280" cy="211320"/>
              </p14:xfrm>
            </p:contentPart>
          </mc:Choice>
          <mc:Fallback>
            <p:pic>
              <p:nvPicPr>
                <p:cNvPr id="214" name="Ink 213">
                  <a:extLst>
                    <a:ext uri="{FF2B5EF4-FFF2-40B4-BE49-F238E27FC236}">
                      <a16:creationId xmlns:a16="http://schemas.microsoft.com/office/drawing/2014/main" id="{A76F4283-4532-7FB7-729B-09246A4F05EC}"/>
                    </a:ext>
                  </a:extLst>
                </p:cNvPr>
                <p:cNvPicPr/>
                <p:nvPr/>
              </p:nvPicPr>
              <p:blipFill>
                <a:blip r:embed="rId247"/>
                <a:stretch>
                  <a:fillRect/>
                </a:stretch>
              </p:blipFill>
              <p:spPr>
                <a:xfrm>
                  <a:off x="4604861" y="6350972"/>
                  <a:ext cx="110880" cy="2419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17" name="Group 216">
            <a:extLst>
              <a:ext uri="{FF2B5EF4-FFF2-40B4-BE49-F238E27FC236}">
                <a16:creationId xmlns:a16="http://schemas.microsoft.com/office/drawing/2014/main" id="{FB016B9B-3950-E5A0-8B11-0773BB025224}"/>
              </a:ext>
            </a:extLst>
          </p:cNvPr>
          <p:cNvGrpSpPr/>
          <p:nvPr/>
        </p:nvGrpSpPr>
        <p:grpSpPr>
          <a:xfrm>
            <a:off x="4928501" y="6419732"/>
            <a:ext cx="179640" cy="102240"/>
            <a:chOff x="4928501" y="6419732"/>
            <a:chExt cx="179640" cy="1022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48">
              <p14:nvContentPartPr>
                <p14:cNvPr id="215" name="Ink 214">
                  <a:extLst>
                    <a:ext uri="{FF2B5EF4-FFF2-40B4-BE49-F238E27FC236}">
                      <a16:creationId xmlns:a16="http://schemas.microsoft.com/office/drawing/2014/main" id="{033A9B04-58FE-87EF-D86C-4EB7177326D0}"/>
                    </a:ext>
                  </a:extLst>
                </p14:cNvPr>
                <p14:cNvContentPartPr/>
                <p14:nvPr/>
              </p14:nvContentPartPr>
              <p14:xfrm>
                <a:off x="4928501" y="6419732"/>
                <a:ext cx="161280" cy="24120"/>
              </p14:xfrm>
            </p:contentPart>
          </mc:Choice>
          <mc:Fallback>
            <p:pic>
              <p:nvPicPr>
                <p:cNvPr id="215" name="Ink 214">
                  <a:extLst>
                    <a:ext uri="{FF2B5EF4-FFF2-40B4-BE49-F238E27FC236}">
                      <a16:creationId xmlns:a16="http://schemas.microsoft.com/office/drawing/2014/main" id="{033A9B04-58FE-87EF-D86C-4EB7177326D0}"/>
                    </a:ext>
                  </a:extLst>
                </p:cNvPr>
                <p:cNvPicPr/>
                <p:nvPr/>
              </p:nvPicPr>
              <p:blipFill>
                <a:blip r:embed="rId249"/>
                <a:stretch>
                  <a:fillRect/>
                </a:stretch>
              </p:blipFill>
              <p:spPr>
                <a:xfrm>
                  <a:off x="4913021" y="6404612"/>
                  <a:ext cx="191880" cy="54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50">
              <p14:nvContentPartPr>
                <p14:cNvPr id="216" name="Ink 215">
                  <a:extLst>
                    <a:ext uri="{FF2B5EF4-FFF2-40B4-BE49-F238E27FC236}">
                      <a16:creationId xmlns:a16="http://schemas.microsoft.com/office/drawing/2014/main" id="{C7EE846D-010E-7AA6-06E3-4D5B4CF620DD}"/>
                    </a:ext>
                  </a:extLst>
                </p14:cNvPr>
                <p14:cNvContentPartPr/>
                <p14:nvPr/>
              </p14:nvContentPartPr>
              <p14:xfrm>
                <a:off x="4973141" y="6492812"/>
                <a:ext cx="135000" cy="29160"/>
              </p14:xfrm>
            </p:contentPart>
          </mc:Choice>
          <mc:Fallback>
            <p:pic>
              <p:nvPicPr>
                <p:cNvPr id="216" name="Ink 215">
                  <a:extLst>
                    <a:ext uri="{FF2B5EF4-FFF2-40B4-BE49-F238E27FC236}">
                      <a16:creationId xmlns:a16="http://schemas.microsoft.com/office/drawing/2014/main" id="{C7EE846D-010E-7AA6-06E3-4D5B4CF620DD}"/>
                    </a:ext>
                  </a:extLst>
                </p:cNvPr>
                <p:cNvPicPr/>
                <p:nvPr/>
              </p:nvPicPr>
              <p:blipFill>
                <a:blip r:embed="rId251"/>
                <a:stretch>
                  <a:fillRect/>
                </a:stretch>
              </p:blipFill>
              <p:spPr>
                <a:xfrm>
                  <a:off x="4958021" y="6477332"/>
                  <a:ext cx="165600" cy="597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26" name="Group 225">
            <a:extLst>
              <a:ext uri="{FF2B5EF4-FFF2-40B4-BE49-F238E27FC236}">
                <a16:creationId xmlns:a16="http://schemas.microsoft.com/office/drawing/2014/main" id="{B35E47F6-3AB7-6D99-1C2F-EA7B39EEADDC}"/>
              </a:ext>
            </a:extLst>
          </p:cNvPr>
          <p:cNvGrpSpPr/>
          <p:nvPr/>
        </p:nvGrpSpPr>
        <p:grpSpPr>
          <a:xfrm>
            <a:off x="5255741" y="6332972"/>
            <a:ext cx="723960" cy="293760"/>
            <a:chOff x="5255741" y="6332972"/>
            <a:chExt cx="723960" cy="2937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52">
              <p14:nvContentPartPr>
                <p14:cNvPr id="219" name="Ink 218">
                  <a:extLst>
                    <a:ext uri="{FF2B5EF4-FFF2-40B4-BE49-F238E27FC236}">
                      <a16:creationId xmlns:a16="http://schemas.microsoft.com/office/drawing/2014/main" id="{8EDC40EF-712D-A373-8584-049F70F5C9AE}"/>
                    </a:ext>
                  </a:extLst>
                </p14:cNvPr>
                <p14:cNvContentPartPr/>
                <p14:nvPr/>
              </p14:nvContentPartPr>
              <p14:xfrm>
                <a:off x="5255741" y="6332972"/>
                <a:ext cx="111960" cy="280440"/>
              </p14:xfrm>
            </p:contentPart>
          </mc:Choice>
          <mc:Fallback>
            <p:pic>
              <p:nvPicPr>
                <p:cNvPr id="219" name="Ink 218">
                  <a:extLst>
                    <a:ext uri="{FF2B5EF4-FFF2-40B4-BE49-F238E27FC236}">
                      <a16:creationId xmlns:a16="http://schemas.microsoft.com/office/drawing/2014/main" id="{8EDC40EF-712D-A373-8584-049F70F5C9AE}"/>
                    </a:ext>
                  </a:extLst>
                </p:cNvPr>
                <p:cNvPicPr/>
                <p:nvPr/>
              </p:nvPicPr>
              <p:blipFill>
                <a:blip r:embed="rId253"/>
                <a:stretch>
                  <a:fillRect/>
                </a:stretch>
              </p:blipFill>
              <p:spPr>
                <a:xfrm>
                  <a:off x="5240621" y="6317852"/>
                  <a:ext cx="142560" cy="310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54">
              <p14:nvContentPartPr>
                <p14:cNvPr id="220" name="Ink 219">
                  <a:extLst>
                    <a:ext uri="{FF2B5EF4-FFF2-40B4-BE49-F238E27FC236}">
                      <a16:creationId xmlns:a16="http://schemas.microsoft.com/office/drawing/2014/main" id="{0A3853FF-E940-53F9-FE21-1712494CAD70}"/>
                    </a:ext>
                  </a:extLst>
                </p14:cNvPr>
                <p14:cNvContentPartPr/>
                <p14:nvPr/>
              </p14:nvContentPartPr>
              <p14:xfrm>
                <a:off x="5453381" y="6349892"/>
                <a:ext cx="126720" cy="276840"/>
              </p14:xfrm>
            </p:contentPart>
          </mc:Choice>
          <mc:Fallback>
            <p:pic>
              <p:nvPicPr>
                <p:cNvPr id="220" name="Ink 219">
                  <a:extLst>
                    <a:ext uri="{FF2B5EF4-FFF2-40B4-BE49-F238E27FC236}">
                      <a16:creationId xmlns:a16="http://schemas.microsoft.com/office/drawing/2014/main" id="{0A3853FF-E940-53F9-FE21-1712494CAD70}"/>
                    </a:ext>
                  </a:extLst>
                </p:cNvPr>
                <p:cNvPicPr/>
                <p:nvPr/>
              </p:nvPicPr>
              <p:blipFill>
                <a:blip r:embed="rId255"/>
                <a:stretch>
                  <a:fillRect/>
                </a:stretch>
              </p:blipFill>
              <p:spPr>
                <a:xfrm>
                  <a:off x="5438261" y="6334412"/>
                  <a:ext cx="157320" cy="307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56">
              <p14:nvContentPartPr>
                <p14:cNvPr id="222" name="Ink 221">
                  <a:extLst>
                    <a:ext uri="{FF2B5EF4-FFF2-40B4-BE49-F238E27FC236}">
                      <a16:creationId xmlns:a16="http://schemas.microsoft.com/office/drawing/2014/main" id="{527C89AE-2410-210A-128A-B78F3A75E104}"/>
                    </a:ext>
                  </a:extLst>
                </p14:cNvPr>
                <p14:cNvContentPartPr/>
                <p14:nvPr/>
              </p14:nvContentPartPr>
              <p14:xfrm>
                <a:off x="5622581" y="6340172"/>
                <a:ext cx="138600" cy="246600"/>
              </p14:xfrm>
            </p:contentPart>
          </mc:Choice>
          <mc:Fallback>
            <p:pic>
              <p:nvPicPr>
                <p:cNvPr id="222" name="Ink 221">
                  <a:extLst>
                    <a:ext uri="{FF2B5EF4-FFF2-40B4-BE49-F238E27FC236}">
                      <a16:creationId xmlns:a16="http://schemas.microsoft.com/office/drawing/2014/main" id="{527C89AE-2410-210A-128A-B78F3A75E104}"/>
                    </a:ext>
                  </a:extLst>
                </p:cNvPr>
                <p:cNvPicPr/>
                <p:nvPr/>
              </p:nvPicPr>
              <p:blipFill>
                <a:blip r:embed="rId257"/>
                <a:stretch>
                  <a:fillRect/>
                </a:stretch>
              </p:blipFill>
              <p:spPr>
                <a:xfrm>
                  <a:off x="5607461" y="6325052"/>
                  <a:ext cx="169200" cy="277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58">
              <p14:nvContentPartPr>
                <p14:cNvPr id="223" name="Ink 222">
                  <a:extLst>
                    <a:ext uri="{FF2B5EF4-FFF2-40B4-BE49-F238E27FC236}">
                      <a16:creationId xmlns:a16="http://schemas.microsoft.com/office/drawing/2014/main" id="{6D3C4816-3E96-498B-A2E7-7A028B41CF8A}"/>
                    </a:ext>
                  </a:extLst>
                </p14:cNvPr>
                <p14:cNvContentPartPr/>
                <p14:nvPr/>
              </p14:nvContentPartPr>
              <p14:xfrm>
                <a:off x="5806541" y="6485612"/>
                <a:ext cx="14760" cy="127800"/>
              </p14:xfrm>
            </p:contentPart>
          </mc:Choice>
          <mc:Fallback>
            <p:pic>
              <p:nvPicPr>
                <p:cNvPr id="223" name="Ink 222">
                  <a:extLst>
                    <a:ext uri="{FF2B5EF4-FFF2-40B4-BE49-F238E27FC236}">
                      <a16:creationId xmlns:a16="http://schemas.microsoft.com/office/drawing/2014/main" id="{6D3C4816-3E96-498B-A2E7-7A028B41CF8A}"/>
                    </a:ext>
                  </a:extLst>
                </p:cNvPr>
                <p:cNvPicPr/>
                <p:nvPr/>
              </p:nvPicPr>
              <p:blipFill>
                <a:blip r:embed="rId259"/>
                <a:stretch>
                  <a:fillRect/>
                </a:stretch>
              </p:blipFill>
              <p:spPr>
                <a:xfrm>
                  <a:off x="5791061" y="6470132"/>
                  <a:ext cx="45360" cy="158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60">
              <p14:nvContentPartPr>
                <p14:cNvPr id="224" name="Ink 223">
                  <a:extLst>
                    <a:ext uri="{FF2B5EF4-FFF2-40B4-BE49-F238E27FC236}">
                      <a16:creationId xmlns:a16="http://schemas.microsoft.com/office/drawing/2014/main" id="{F12F5512-9174-6763-235E-605FBCA529BA}"/>
                    </a:ext>
                  </a:extLst>
                </p14:cNvPr>
                <p14:cNvContentPartPr/>
                <p14:nvPr/>
              </p14:nvContentPartPr>
              <p14:xfrm>
                <a:off x="5914181" y="6340892"/>
                <a:ext cx="65520" cy="282600"/>
              </p14:xfrm>
            </p:contentPart>
          </mc:Choice>
          <mc:Fallback>
            <p:pic>
              <p:nvPicPr>
                <p:cNvPr id="224" name="Ink 223">
                  <a:extLst>
                    <a:ext uri="{FF2B5EF4-FFF2-40B4-BE49-F238E27FC236}">
                      <a16:creationId xmlns:a16="http://schemas.microsoft.com/office/drawing/2014/main" id="{F12F5512-9174-6763-235E-605FBCA529BA}"/>
                    </a:ext>
                  </a:extLst>
                </p:cNvPr>
                <p:cNvPicPr/>
                <p:nvPr/>
              </p:nvPicPr>
              <p:blipFill>
                <a:blip r:embed="rId261"/>
                <a:stretch>
                  <a:fillRect/>
                </a:stretch>
              </p:blipFill>
              <p:spPr>
                <a:xfrm>
                  <a:off x="5898701" y="6325772"/>
                  <a:ext cx="95760" cy="31320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262">
            <p14:nvContentPartPr>
              <p14:cNvPr id="225" name="Ink 224">
                <a:extLst>
                  <a:ext uri="{FF2B5EF4-FFF2-40B4-BE49-F238E27FC236}">
                    <a16:creationId xmlns:a16="http://schemas.microsoft.com/office/drawing/2014/main" id="{D4A035EF-1B53-3007-FBA9-390ECC576034}"/>
                  </a:ext>
                </a:extLst>
              </p14:cNvPr>
              <p14:cNvContentPartPr/>
              <p14:nvPr/>
            </p14:nvContentPartPr>
            <p14:xfrm>
              <a:off x="6234581" y="6486332"/>
              <a:ext cx="17280" cy="7560"/>
            </p14:xfrm>
          </p:contentPart>
        </mc:Choice>
        <mc:Fallback>
          <p:pic>
            <p:nvPicPr>
              <p:cNvPr id="225" name="Ink 224">
                <a:extLst>
                  <a:ext uri="{FF2B5EF4-FFF2-40B4-BE49-F238E27FC236}">
                    <a16:creationId xmlns:a16="http://schemas.microsoft.com/office/drawing/2014/main" id="{D4A035EF-1B53-3007-FBA9-390ECC576034}"/>
                  </a:ext>
                </a:extLst>
              </p:cNvPr>
              <p:cNvPicPr/>
              <p:nvPr/>
            </p:nvPicPr>
            <p:blipFill>
              <a:blip r:embed="rId263"/>
              <a:stretch>
                <a:fillRect/>
              </a:stretch>
            </p:blipFill>
            <p:spPr>
              <a:xfrm>
                <a:off x="6219461" y="6471212"/>
                <a:ext cx="47880" cy="38160"/>
              </a:xfrm>
              <a:prstGeom prst="rect">
                <a:avLst/>
              </a:prstGeom>
            </p:spPr>
          </p:pic>
        </mc:Fallback>
      </mc:AlternateContent>
      <p:grpSp>
        <p:nvGrpSpPr>
          <p:cNvPr id="235" name="Group 234">
            <a:extLst>
              <a:ext uri="{FF2B5EF4-FFF2-40B4-BE49-F238E27FC236}">
                <a16:creationId xmlns:a16="http://schemas.microsoft.com/office/drawing/2014/main" id="{F9871B9E-397B-5DED-43D3-26A48B7F3BFE}"/>
              </a:ext>
            </a:extLst>
          </p:cNvPr>
          <p:cNvGrpSpPr/>
          <p:nvPr/>
        </p:nvGrpSpPr>
        <p:grpSpPr>
          <a:xfrm>
            <a:off x="6466421" y="6326492"/>
            <a:ext cx="1166400" cy="341640"/>
            <a:chOff x="6466421" y="6326492"/>
            <a:chExt cx="1166400" cy="3416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64">
              <p14:nvContentPartPr>
                <p14:cNvPr id="227" name="Ink 226">
                  <a:extLst>
                    <a:ext uri="{FF2B5EF4-FFF2-40B4-BE49-F238E27FC236}">
                      <a16:creationId xmlns:a16="http://schemas.microsoft.com/office/drawing/2014/main" id="{77D3F46F-03EA-A0FA-3EAC-F90082368B78}"/>
                    </a:ext>
                  </a:extLst>
                </p14:cNvPr>
                <p14:cNvContentPartPr/>
                <p14:nvPr/>
              </p14:nvContentPartPr>
              <p14:xfrm>
                <a:off x="6466421" y="6346292"/>
                <a:ext cx="113400" cy="260280"/>
              </p14:xfrm>
            </p:contentPart>
          </mc:Choice>
          <mc:Fallback>
            <p:pic>
              <p:nvPicPr>
                <p:cNvPr id="227" name="Ink 226">
                  <a:extLst>
                    <a:ext uri="{FF2B5EF4-FFF2-40B4-BE49-F238E27FC236}">
                      <a16:creationId xmlns:a16="http://schemas.microsoft.com/office/drawing/2014/main" id="{77D3F46F-03EA-A0FA-3EAC-F90082368B78}"/>
                    </a:ext>
                  </a:extLst>
                </p:cNvPr>
                <p:cNvPicPr/>
                <p:nvPr/>
              </p:nvPicPr>
              <p:blipFill>
                <a:blip r:embed="rId265"/>
                <a:stretch>
                  <a:fillRect/>
                </a:stretch>
              </p:blipFill>
              <p:spPr>
                <a:xfrm>
                  <a:off x="6451301" y="6331172"/>
                  <a:ext cx="143640" cy="290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66">
              <p14:nvContentPartPr>
                <p14:cNvPr id="228" name="Ink 227">
                  <a:extLst>
                    <a:ext uri="{FF2B5EF4-FFF2-40B4-BE49-F238E27FC236}">
                      <a16:creationId xmlns:a16="http://schemas.microsoft.com/office/drawing/2014/main" id="{E9AD9169-2589-879A-B98A-34B78E0B71A4}"/>
                    </a:ext>
                  </a:extLst>
                </p14:cNvPr>
                <p14:cNvContentPartPr/>
                <p14:nvPr/>
              </p14:nvContentPartPr>
              <p14:xfrm>
                <a:off x="6628781" y="6352052"/>
                <a:ext cx="87120" cy="250560"/>
              </p14:xfrm>
            </p:contentPart>
          </mc:Choice>
          <mc:Fallback>
            <p:pic>
              <p:nvPicPr>
                <p:cNvPr id="228" name="Ink 227">
                  <a:extLst>
                    <a:ext uri="{FF2B5EF4-FFF2-40B4-BE49-F238E27FC236}">
                      <a16:creationId xmlns:a16="http://schemas.microsoft.com/office/drawing/2014/main" id="{E9AD9169-2589-879A-B98A-34B78E0B71A4}"/>
                    </a:ext>
                  </a:extLst>
                </p:cNvPr>
                <p:cNvPicPr/>
                <p:nvPr/>
              </p:nvPicPr>
              <p:blipFill>
                <a:blip r:embed="rId267"/>
                <a:stretch>
                  <a:fillRect/>
                </a:stretch>
              </p:blipFill>
              <p:spPr>
                <a:xfrm>
                  <a:off x="6613661" y="6336932"/>
                  <a:ext cx="117360" cy="280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68">
              <p14:nvContentPartPr>
                <p14:cNvPr id="229" name="Ink 228">
                  <a:extLst>
                    <a:ext uri="{FF2B5EF4-FFF2-40B4-BE49-F238E27FC236}">
                      <a16:creationId xmlns:a16="http://schemas.microsoft.com/office/drawing/2014/main" id="{5A43F82F-3124-DC77-3C13-B4FAF2ABAC74}"/>
                    </a:ext>
                  </a:extLst>
                </p14:cNvPr>
                <p14:cNvContentPartPr/>
                <p14:nvPr/>
              </p14:nvContentPartPr>
              <p14:xfrm>
                <a:off x="6797981" y="6326492"/>
                <a:ext cx="135000" cy="255600"/>
              </p14:xfrm>
            </p:contentPart>
          </mc:Choice>
          <mc:Fallback>
            <p:pic>
              <p:nvPicPr>
                <p:cNvPr id="229" name="Ink 228">
                  <a:extLst>
                    <a:ext uri="{FF2B5EF4-FFF2-40B4-BE49-F238E27FC236}">
                      <a16:creationId xmlns:a16="http://schemas.microsoft.com/office/drawing/2014/main" id="{5A43F82F-3124-DC77-3C13-B4FAF2ABAC74}"/>
                    </a:ext>
                  </a:extLst>
                </p:cNvPr>
                <p:cNvPicPr/>
                <p:nvPr/>
              </p:nvPicPr>
              <p:blipFill>
                <a:blip r:embed="rId269"/>
                <a:stretch>
                  <a:fillRect/>
                </a:stretch>
              </p:blipFill>
              <p:spPr>
                <a:xfrm>
                  <a:off x="6782861" y="6311012"/>
                  <a:ext cx="165600" cy="286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70">
              <p14:nvContentPartPr>
                <p14:cNvPr id="230" name="Ink 229">
                  <a:extLst>
                    <a:ext uri="{FF2B5EF4-FFF2-40B4-BE49-F238E27FC236}">
                      <a16:creationId xmlns:a16="http://schemas.microsoft.com/office/drawing/2014/main" id="{02D2E022-C140-C572-507B-332AE31AF3BA}"/>
                    </a:ext>
                  </a:extLst>
                </p14:cNvPr>
                <p14:cNvContentPartPr/>
                <p14:nvPr/>
              </p14:nvContentPartPr>
              <p14:xfrm>
                <a:off x="6989861" y="6475892"/>
                <a:ext cx="96120" cy="118440"/>
              </p14:xfrm>
            </p:contentPart>
          </mc:Choice>
          <mc:Fallback>
            <p:pic>
              <p:nvPicPr>
                <p:cNvPr id="230" name="Ink 229">
                  <a:extLst>
                    <a:ext uri="{FF2B5EF4-FFF2-40B4-BE49-F238E27FC236}">
                      <a16:creationId xmlns:a16="http://schemas.microsoft.com/office/drawing/2014/main" id="{02D2E022-C140-C572-507B-332AE31AF3BA}"/>
                    </a:ext>
                  </a:extLst>
                </p:cNvPr>
                <p:cNvPicPr/>
                <p:nvPr/>
              </p:nvPicPr>
              <p:blipFill>
                <a:blip r:embed="rId271"/>
                <a:stretch>
                  <a:fillRect/>
                </a:stretch>
              </p:blipFill>
              <p:spPr>
                <a:xfrm>
                  <a:off x="6974741" y="6460772"/>
                  <a:ext cx="126720" cy="149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72">
              <p14:nvContentPartPr>
                <p14:cNvPr id="231" name="Ink 230">
                  <a:extLst>
                    <a:ext uri="{FF2B5EF4-FFF2-40B4-BE49-F238E27FC236}">
                      <a16:creationId xmlns:a16="http://schemas.microsoft.com/office/drawing/2014/main" id="{7FC7A702-D39E-0FD2-7E78-726CE572F30F}"/>
                    </a:ext>
                  </a:extLst>
                </p14:cNvPr>
                <p14:cNvContentPartPr/>
                <p14:nvPr/>
              </p14:nvContentPartPr>
              <p14:xfrm>
                <a:off x="7179581" y="6367532"/>
                <a:ext cx="19080" cy="300600"/>
              </p14:xfrm>
            </p:contentPart>
          </mc:Choice>
          <mc:Fallback>
            <p:pic>
              <p:nvPicPr>
                <p:cNvPr id="231" name="Ink 230">
                  <a:extLst>
                    <a:ext uri="{FF2B5EF4-FFF2-40B4-BE49-F238E27FC236}">
                      <a16:creationId xmlns:a16="http://schemas.microsoft.com/office/drawing/2014/main" id="{7FC7A702-D39E-0FD2-7E78-726CE572F30F}"/>
                    </a:ext>
                  </a:extLst>
                </p:cNvPr>
                <p:cNvPicPr/>
                <p:nvPr/>
              </p:nvPicPr>
              <p:blipFill>
                <a:blip r:embed="rId273"/>
                <a:stretch>
                  <a:fillRect/>
                </a:stretch>
              </p:blipFill>
              <p:spPr>
                <a:xfrm>
                  <a:off x="7164101" y="6352412"/>
                  <a:ext cx="49680" cy="331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74">
              <p14:nvContentPartPr>
                <p14:cNvPr id="232" name="Ink 231">
                  <a:extLst>
                    <a:ext uri="{FF2B5EF4-FFF2-40B4-BE49-F238E27FC236}">
                      <a16:creationId xmlns:a16="http://schemas.microsoft.com/office/drawing/2014/main" id="{06AAE123-3CF5-1D8C-3368-C0D7B93601A3}"/>
                    </a:ext>
                  </a:extLst>
                </p14:cNvPr>
                <p14:cNvContentPartPr/>
                <p14:nvPr/>
              </p14:nvContentPartPr>
              <p14:xfrm>
                <a:off x="7296581" y="6358892"/>
                <a:ext cx="135000" cy="232560"/>
              </p14:xfrm>
            </p:contentPart>
          </mc:Choice>
          <mc:Fallback>
            <p:pic>
              <p:nvPicPr>
                <p:cNvPr id="232" name="Ink 231">
                  <a:extLst>
                    <a:ext uri="{FF2B5EF4-FFF2-40B4-BE49-F238E27FC236}">
                      <a16:creationId xmlns:a16="http://schemas.microsoft.com/office/drawing/2014/main" id="{06AAE123-3CF5-1D8C-3368-C0D7B93601A3}"/>
                    </a:ext>
                  </a:extLst>
                </p:cNvPr>
                <p:cNvPicPr/>
                <p:nvPr/>
              </p:nvPicPr>
              <p:blipFill>
                <a:blip r:embed="rId275"/>
                <a:stretch>
                  <a:fillRect/>
                </a:stretch>
              </p:blipFill>
              <p:spPr>
                <a:xfrm>
                  <a:off x="7281461" y="6343412"/>
                  <a:ext cx="165600" cy="263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76">
              <p14:nvContentPartPr>
                <p14:cNvPr id="233" name="Ink 232">
                  <a:extLst>
                    <a:ext uri="{FF2B5EF4-FFF2-40B4-BE49-F238E27FC236}">
                      <a16:creationId xmlns:a16="http://schemas.microsoft.com/office/drawing/2014/main" id="{1B49AF9B-80D8-BE4B-2ECD-3557489BFB88}"/>
                    </a:ext>
                  </a:extLst>
                </p14:cNvPr>
                <p14:cNvContentPartPr/>
                <p14:nvPr/>
              </p14:nvContentPartPr>
              <p14:xfrm>
                <a:off x="7488821" y="6491372"/>
                <a:ext cx="19800" cy="105120"/>
              </p14:xfrm>
            </p:contentPart>
          </mc:Choice>
          <mc:Fallback>
            <p:pic>
              <p:nvPicPr>
                <p:cNvPr id="233" name="Ink 232">
                  <a:extLst>
                    <a:ext uri="{FF2B5EF4-FFF2-40B4-BE49-F238E27FC236}">
                      <a16:creationId xmlns:a16="http://schemas.microsoft.com/office/drawing/2014/main" id="{1B49AF9B-80D8-BE4B-2ECD-3557489BFB88}"/>
                    </a:ext>
                  </a:extLst>
                </p:cNvPr>
                <p:cNvPicPr/>
                <p:nvPr/>
              </p:nvPicPr>
              <p:blipFill>
                <a:blip r:embed="rId277"/>
                <a:stretch>
                  <a:fillRect/>
                </a:stretch>
              </p:blipFill>
              <p:spPr>
                <a:xfrm>
                  <a:off x="7473341" y="6476252"/>
                  <a:ext cx="50400" cy="135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78">
              <p14:nvContentPartPr>
                <p14:cNvPr id="234" name="Ink 233">
                  <a:extLst>
                    <a:ext uri="{FF2B5EF4-FFF2-40B4-BE49-F238E27FC236}">
                      <a16:creationId xmlns:a16="http://schemas.microsoft.com/office/drawing/2014/main" id="{7501F85C-731B-A424-EE77-FDDBAF067DDE}"/>
                    </a:ext>
                  </a:extLst>
                </p14:cNvPr>
                <p14:cNvContentPartPr/>
                <p14:nvPr/>
              </p14:nvContentPartPr>
              <p14:xfrm>
                <a:off x="7562261" y="6355652"/>
                <a:ext cx="70560" cy="230760"/>
              </p14:xfrm>
            </p:contentPart>
          </mc:Choice>
          <mc:Fallback>
            <p:pic>
              <p:nvPicPr>
                <p:cNvPr id="234" name="Ink 233">
                  <a:extLst>
                    <a:ext uri="{FF2B5EF4-FFF2-40B4-BE49-F238E27FC236}">
                      <a16:creationId xmlns:a16="http://schemas.microsoft.com/office/drawing/2014/main" id="{7501F85C-731B-A424-EE77-FDDBAF067DDE}"/>
                    </a:ext>
                  </a:extLst>
                </p:cNvPr>
                <p:cNvPicPr/>
                <p:nvPr/>
              </p:nvPicPr>
              <p:blipFill>
                <a:blip r:embed="rId279"/>
                <a:stretch>
                  <a:fillRect/>
                </a:stretch>
              </p:blipFill>
              <p:spPr>
                <a:xfrm>
                  <a:off x="7547141" y="6340532"/>
                  <a:ext cx="100800" cy="2613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53" name="Group 252">
            <a:extLst>
              <a:ext uri="{FF2B5EF4-FFF2-40B4-BE49-F238E27FC236}">
                <a16:creationId xmlns:a16="http://schemas.microsoft.com/office/drawing/2014/main" id="{3EAD9291-E0AC-DC0D-6B6D-9CB0752721D0}"/>
              </a:ext>
            </a:extLst>
          </p:cNvPr>
          <p:cNvGrpSpPr/>
          <p:nvPr/>
        </p:nvGrpSpPr>
        <p:grpSpPr>
          <a:xfrm>
            <a:off x="7889861" y="6424772"/>
            <a:ext cx="218160" cy="103320"/>
            <a:chOff x="7889861" y="6424772"/>
            <a:chExt cx="218160" cy="1033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80">
              <p14:nvContentPartPr>
                <p14:cNvPr id="236" name="Ink 235">
                  <a:extLst>
                    <a:ext uri="{FF2B5EF4-FFF2-40B4-BE49-F238E27FC236}">
                      <a16:creationId xmlns:a16="http://schemas.microsoft.com/office/drawing/2014/main" id="{D5D424B8-69F6-7314-60D5-9D3530239494}"/>
                    </a:ext>
                  </a:extLst>
                </p14:cNvPr>
                <p14:cNvContentPartPr/>
                <p14:nvPr/>
              </p14:nvContentPartPr>
              <p14:xfrm>
                <a:off x="7920821" y="6424772"/>
                <a:ext cx="179280" cy="21600"/>
              </p14:xfrm>
            </p:contentPart>
          </mc:Choice>
          <mc:Fallback>
            <p:pic>
              <p:nvPicPr>
                <p:cNvPr id="236" name="Ink 235">
                  <a:extLst>
                    <a:ext uri="{FF2B5EF4-FFF2-40B4-BE49-F238E27FC236}">
                      <a16:creationId xmlns:a16="http://schemas.microsoft.com/office/drawing/2014/main" id="{D5D424B8-69F6-7314-60D5-9D3530239494}"/>
                    </a:ext>
                  </a:extLst>
                </p:cNvPr>
                <p:cNvPicPr/>
                <p:nvPr/>
              </p:nvPicPr>
              <p:blipFill>
                <a:blip r:embed="rId281"/>
                <a:stretch>
                  <a:fillRect/>
                </a:stretch>
              </p:blipFill>
              <p:spPr>
                <a:xfrm>
                  <a:off x="7905341" y="6409652"/>
                  <a:ext cx="209520" cy="51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82">
              <p14:nvContentPartPr>
                <p14:cNvPr id="237" name="Ink 236">
                  <a:extLst>
                    <a:ext uri="{FF2B5EF4-FFF2-40B4-BE49-F238E27FC236}">
                      <a16:creationId xmlns:a16="http://schemas.microsoft.com/office/drawing/2014/main" id="{1872A369-A958-8EEE-EC2E-0BA40808C5F9}"/>
                    </a:ext>
                  </a:extLst>
                </p14:cNvPr>
                <p14:cNvContentPartPr/>
                <p14:nvPr/>
              </p14:nvContentPartPr>
              <p14:xfrm>
                <a:off x="7889861" y="6498932"/>
                <a:ext cx="218160" cy="29160"/>
              </p14:xfrm>
            </p:contentPart>
          </mc:Choice>
          <mc:Fallback>
            <p:pic>
              <p:nvPicPr>
                <p:cNvPr id="237" name="Ink 236">
                  <a:extLst>
                    <a:ext uri="{FF2B5EF4-FFF2-40B4-BE49-F238E27FC236}">
                      <a16:creationId xmlns:a16="http://schemas.microsoft.com/office/drawing/2014/main" id="{1872A369-A958-8EEE-EC2E-0BA40808C5F9}"/>
                    </a:ext>
                  </a:extLst>
                </p:cNvPr>
                <p:cNvPicPr/>
                <p:nvPr/>
              </p:nvPicPr>
              <p:blipFill>
                <a:blip r:embed="rId283"/>
                <a:stretch>
                  <a:fillRect/>
                </a:stretch>
              </p:blipFill>
              <p:spPr>
                <a:xfrm>
                  <a:off x="7874741" y="6483812"/>
                  <a:ext cx="248760" cy="594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0192A463-01D8-2E8C-2A29-9317C4684D88}"/>
              </a:ext>
            </a:extLst>
          </p:cNvPr>
          <p:cNvGrpSpPr/>
          <p:nvPr/>
        </p:nvGrpSpPr>
        <p:grpSpPr>
          <a:xfrm>
            <a:off x="8316821" y="6299132"/>
            <a:ext cx="417600" cy="469440"/>
            <a:chOff x="8316821" y="6299132"/>
            <a:chExt cx="417600" cy="4694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84">
              <p14:nvContentPartPr>
                <p14:cNvPr id="238" name="Ink 237">
                  <a:extLst>
                    <a:ext uri="{FF2B5EF4-FFF2-40B4-BE49-F238E27FC236}">
                      <a16:creationId xmlns:a16="http://schemas.microsoft.com/office/drawing/2014/main" id="{A0FB451D-F861-4678-8956-7BC0A648544C}"/>
                    </a:ext>
                  </a:extLst>
                </p14:cNvPr>
                <p14:cNvContentPartPr/>
                <p14:nvPr/>
              </p14:nvContentPartPr>
              <p14:xfrm>
                <a:off x="8316821" y="6299132"/>
                <a:ext cx="72720" cy="190440"/>
              </p14:xfrm>
            </p:contentPart>
          </mc:Choice>
          <mc:Fallback>
            <p:pic>
              <p:nvPicPr>
                <p:cNvPr id="238" name="Ink 237">
                  <a:extLst>
                    <a:ext uri="{FF2B5EF4-FFF2-40B4-BE49-F238E27FC236}">
                      <a16:creationId xmlns:a16="http://schemas.microsoft.com/office/drawing/2014/main" id="{A0FB451D-F861-4678-8956-7BC0A648544C}"/>
                    </a:ext>
                  </a:extLst>
                </p:cNvPr>
                <p:cNvPicPr/>
                <p:nvPr/>
              </p:nvPicPr>
              <p:blipFill>
                <a:blip r:embed="rId285"/>
                <a:stretch>
                  <a:fillRect/>
                </a:stretch>
              </p:blipFill>
              <p:spPr>
                <a:xfrm>
                  <a:off x="8301701" y="6283652"/>
                  <a:ext cx="103320" cy="221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86">
              <p14:nvContentPartPr>
                <p14:cNvPr id="239" name="Ink 238">
                  <a:extLst>
                    <a:ext uri="{FF2B5EF4-FFF2-40B4-BE49-F238E27FC236}">
                      <a16:creationId xmlns:a16="http://schemas.microsoft.com/office/drawing/2014/main" id="{1D539DFB-6696-72C0-EC23-8615F6D4F6C4}"/>
                    </a:ext>
                  </a:extLst>
                </p14:cNvPr>
                <p14:cNvContentPartPr/>
                <p14:nvPr/>
              </p14:nvContentPartPr>
              <p14:xfrm>
                <a:off x="8340581" y="6423332"/>
                <a:ext cx="98640" cy="179280"/>
              </p14:xfrm>
            </p:contentPart>
          </mc:Choice>
          <mc:Fallback>
            <p:pic>
              <p:nvPicPr>
                <p:cNvPr id="239" name="Ink 238">
                  <a:extLst>
                    <a:ext uri="{FF2B5EF4-FFF2-40B4-BE49-F238E27FC236}">
                      <a16:creationId xmlns:a16="http://schemas.microsoft.com/office/drawing/2014/main" id="{1D539DFB-6696-72C0-EC23-8615F6D4F6C4}"/>
                    </a:ext>
                  </a:extLst>
                </p:cNvPr>
                <p:cNvPicPr/>
                <p:nvPr/>
              </p:nvPicPr>
              <p:blipFill>
                <a:blip r:embed="rId287"/>
                <a:stretch>
                  <a:fillRect/>
                </a:stretch>
              </p:blipFill>
              <p:spPr>
                <a:xfrm>
                  <a:off x="8325101" y="6408212"/>
                  <a:ext cx="128880" cy="209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88">
              <p14:nvContentPartPr>
                <p14:cNvPr id="240" name="Ink 239">
                  <a:extLst>
                    <a:ext uri="{FF2B5EF4-FFF2-40B4-BE49-F238E27FC236}">
                      <a16:creationId xmlns:a16="http://schemas.microsoft.com/office/drawing/2014/main" id="{F70A898C-9379-3BC3-E0C7-0E8F9BBFFC95}"/>
                    </a:ext>
                  </a:extLst>
                </p14:cNvPr>
                <p14:cNvContentPartPr/>
                <p14:nvPr/>
              </p14:nvContentPartPr>
              <p14:xfrm>
                <a:off x="8378741" y="6641852"/>
                <a:ext cx="191520" cy="126720"/>
              </p14:xfrm>
            </p:contentPart>
          </mc:Choice>
          <mc:Fallback>
            <p:pic>
              <p:nvPicPr>
                <p:cNvPr id="240" name="Ink 239">
                  <a:extLst>
                    <a:ext uri="{FF2B5EF4-FFF2-40B4-BE49-F238E27FC236}">
                      <a16:creationId xmlns:a16="http://schemas.microsoft.com/office/drawing/2014/main" id="{F70A898C-9379-3BC3-E0C7-0E8F9BBFFC95}"/>
                    </a:ext>
                  </a:extLst>
                </p:cNvPr>
                <p:cNvPicPr/>
                <p:nvPr/>
              </p:nvPicPr>
              <p:blipFill>
                <a:blip r:embed="rId289"/>
                <a:stretch>
                  <a:fillRect/>
                </a:stretch>
              </p:blipFill>
              <p:spPr>
                <a:xfrm>
                  <a:off x="8363621" y="6626732"/>
                  <a:ext cx="221760" cy="157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90">
              <p14:nvContentPartPr>
                <p14:cNvPr id="241" name="Ink 240">
                  <a:extLst>
                    <a:ext uri="{FF2B5EF4-FFF2-40B4-BE49-F238E27FC236}">
                      <a16:creationId xmlns:a16="http://schemas.microsoft.com/office/drawing/2014/main" id="{83F93A03-9826-3F2B-4D12-5D233E76FF15}"/>
                    </a:ext>
                  </a:extLst>
                </p14:cNvPr>
                <p14:cNvContentPartPr/>
                <p14:nvPr/>
              </p14:nvContentPartPr>
              <p14:xfrm>
                <a:off x="8621021" y="6422612"/>
                <a:ext cx="98640" cy="118440"/>
              </p14:xfrm>
            </p:contentPart>
          </mc:Choice>
          <mc:Fallback>
            <p:pic>
              <p:nvPicPr>
                <p:cNvPr id="241" name="Ink 240">
                  <a:extLst>
                    <a:ext uri="{FF2B5EF4-FFF2-40B4-BE49-F238E27FC236}">
                      <a16:creationId xmlns:a16="http://schemas.microsoft.com/office/drawing/2014/main" id="{83F93A03-9826-3F2B-4D12-5D233E76FF15}"/>
                    </a:ext>
                  </a:extLst>
                </p:cNvPr>
                <p:cNvPicPr/>
                <p:nvPr/>
              </p:nvPicPr>
              <p:blipFill>
                <a:blip r:embed="rId291"/>
                <a:stretch>
                  <a:fillRect/>
                </a:stretch>
              </p:blipFill>
              <p:spPr>
                <a:xfrm>
                  <a:off x="8605541" y="6407132"/>
                  <a:ext cx="128880" cy="149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92">
              <p14:nvContentPartPr>
                <p14:cNvPr id="242" name="Ink 241">
                  <a:extLst>
                    <a:ext uri="{FF2B5EF4-FFF2-40B4-BE49-F238E27FC236}">
                      <a16:creationId xmlns:a16="http://schemas.microsoft.com/office/drawing/2014/main" id="{0765EE7C-A875-6E96-A97C-918DBEF02E17}"/>
                    </a:ext>
                  </a:extLst>
                </p14:cNvPr>
                <p14:cNvContentPartPr/>
                <p14:nvPr/>
              </p14:nvContentPartPr>
              <p14:xfrm>
                <a:off x="8585021" y="6433412"/>
                <a:ext cx="149400" cy="126000"/>
              </p14:xfrm>
            </p:contentPart>
          </mc:Choice>
          <mc:Fallback>
            <p:pic>
              <p:nvPicPr>
                <p:cNvPr id="242" name="Ink 241">
                  <a:extLst>
                    <a:ext uri="{FF2B5EF4-FFF2-40B4-BE49-F238E27FC236}">
                      <a16:creationId xmlns:a16="http://schemas.microsoft.com/office/drawing/2014/main" id="{0765EE7C-A875-6E96-A97C-918DBEF02E17}"/>
                    </a:ext>
                  </a:extLst>
                </p:cNvPr>
                <p:cNvPicPr/>
                <p:nvPr/>
              </p:nvPicPr>
              <p:blipFill>
                <a:blip r:embed="rId293"/>
                <a:stretch>
                  <a:fillRect/>
                </a:stretch>
              </p:blipFill>
              <p:spPr>
                <a:xfrm>
                  <a:off x="8569901" y="6417932"/>
                  <a:ext cx="180000" cy="1566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51" name="Group 250">
            <a:extLst>
              <a:ext uri="{FF2B5EF4-FFF2-40B4-BE49-F238E27FC236}">
                <a16:creationId xmlns:a16="http://schemas.microsoft.com/office/drawing/2014/main" id="{A9C627C2-55E7-3F30-0E3B-DB6DDDAF42D0}"/>
              </a:ext>
            </a:extLst>
          </p:cNvPr>
          <p:cNvGrpSpPr/>
          <p:nvPr/>
        </p:nvGrpSpPr>
        <p:grpSpPr>
          <a:xfrm>
            <a:off x="8893181" y="6246932"/>
            <a:ext cx="539280" cy="592560"/>
            <a:chOff x="8893181" y="6246932"/>
            <a:chExt cx="539280" cy="5925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94">
              <p14:nvContentPartPr>
                <p14:cNvPr id="243" name="Ink 242">
                  <a:extLst>
                    <a:ext uri="{FF2B5EF4-FFF2-40B4-BE49-F238E27FC236}">
                      <a16:creationId xmlns:a16="http://schemas.microsoft.com/office/drawing/2014/main" id="{141EE434-1F15-85D8-DC08-7B5525DF50B8}"/>
                    </a:ext>
                  </a:extLst>
                </p14:cNvPr>
                <p14:cNvContentPartPr/>
                <p14:nvPr/>
              </p14:nvContentPartPr>
              <p14:xfrm>
                <a:off x="8893181" y="6246932"/>
                <a:ext cx="106920" cy="164880"/>
              </p14:xfrm>
            </p:contentPart>
          </mc:Choice>
          <mc:Fallback>
            <p:pic>
              <p:nvPicPr>
                <p:cNvPr id="243" name="Ink 242">
                  <a:extLst>
                    <a:ext uri="{FF2B5EF4-FFF2-40B4-BE49-F238E27FC236}">
                      <a16:creationId xmlns:a16="http://schemas.microsoft.com/office/drawing/2014/main" id="{141EE434-1F15-85D8-DC08-7B5525DF50B8}"/>
                    </a:ext>
                  </a:extLst>
                </p:cNvPr>
                <p:cNvPicPr/>
                <p:nvPr/>
              </p:nvPicPr>
              <p:blipFill>
                <a:blip r:embed="rId295"/>
                <a:stretch>
                  <a:fillRect/>
                </a:stretch>
              </p:blipFill>
              <p:spPr>
                <a:xfrm>
                  <a:off x="8878061" y="6231812"/>
                  <a:ext cx="137160" cy="195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96">
              <p14:nvContentPartPr>
                <p14:cNvPr id="244" name="Ink 243">
                  <a:extLst>
                    <a:ext uri="{FF2B5EF4-FFF2-40B4-BE49-F238E27FC236}">
                      <a16:creationId xmlns:a16="http://schemas.microsoft.com/office/drawing/2014/main" id="{F50CF570-17C9-902C-A5BD-FE1D7CA2CFB4}"/>
                    </a:ext>
                  </a:extLst>
                </p14:cNvPr>
                <p14:cNvContentPartPr/>
                <p14:nvPr/>
              </p14:nvContentPartPr>
              <p14:xfrm>
                <a:off x="9109181" y="6300212"/>
                <a:ext cx="66960" cy="169920"/>
              </p14:xfrm>
            </p:contentPart>
          </mc:Choice>
          <mc:Fallback>
            <p:pic>
              <p:nvPicPr>
                <p:cNvPr id="244" name="Ink 243">
                  <a:extLst>
                    <a:ext uri="{FF2B5EF4-FFF2-40B4-BE49-F238E27FC236}">
                      <a16:creationId xmlns:a16="http://schemas.microsoft.com/office/drawing/2014/main" id="{F50CF570-17C9-902C-A5BD-FE1D7CA2CFB4}"/>
                    </a:ext>
                  </a:extLst>
                </p:cNvPr>
                <p:cNvPicPr/>
                <p:nvPr/>
              </p:nvPicPr>
              <p:blipFill>
                <a:blip r:embed="rId297"/>
                <a:stretch>
                  <a:fillRect/>
                </a:stretch>
              </p:blipFill>
              <p:spPr>
                <a:xfrm>
                  <a:off x="9094061" y="6284732"/>
                  <a:ext cx="97560" cy="200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98">
              <p14:nvContentPartPr>
                <p14:cNvPr id="245" name="Ink 244">
                  <a:extLst>
                    <a:ext uri="{FF2B5EF4-FFF2-40B4-BE49-F238E27FC236}">
                      <a16:creationId xmlns:a16="http://schemas.microsoft.com/office/drawing/2014/main" id="{E0A5AD9E-EC4B-1291-0D76-A418210C0F66}"/>
                    </a:ext>
                  </a:extLst>
                </p14:cNvPr>
                <p14:cNvContentPartPr/>
                <p14:nvPr/>
              </p14:nvContentPartPr>
              <p14:xfrm>
                <a:off x="9106661" y="6249452"/>
                <a:ext cx="114840" cy="44280"/>
              </p14:xfrm>
            </p:contentPart>
          </mc:Choice>
          <mc:Fallback>
            <p:pic>
              <p:nvPicPr>
                <p:cNvPr id="245" name="Ink 244">
                  <a:extLst>
                    <a:ext uri="{FF2B5EF4-FFF2-40B4-BE49-F238E27FC236}">
                      <a16:creationId xmlns:a16="http://schemas.microsoft.com/office/drawing/2014/main" id="{E0A5AD9E-EC4B-1291-0D76-A418210C0F66}"/>
                    </a:ext>
                  </a:extLst>
                </p:cNvPr>
                <p:cNvPicPr/>
                <p:nvPr/>
              </p:nvPicPr>
              <p:blipFill>
                <a:blip r:embed="rId299"/>
                <a:stretch>
                  <a:fillRect/>
                </a:stretch>
              </p:blipFill>
              <p:spPr>
                <a:xfrm>
                  <a:off x="9091541" y="6234332"/>
                  <a:ext cx="145440" cy="74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00">
              <p14:nvContentPartPr>
                <p14:cNvPr id="246" name="Ink 245">
                  <a:extLst>
                    <a:ext uri="{FF2B5EF4-FFF2-40B4-BE49-F238E27FC236}">
                      <a16:creationId xmlns:a16="http://schemas.microsoft.com/office/drawing/2014/main" id="{3C0CD8F3-DBE2-DDCA-8908-71F578CC43E5}"/>
                    </a:ext>
                  </a:extLst>
                </p14:cNvPr>
                <p14:cNvContentPartPr/>
                <p14:nvPr/>
              </p14:nvContentPartPr>
              <p14:xfrm>
                <a:off x="8932061" y="6553652"/>
                <a:ext cx="226080" cy="44640"/>
              </p14:xfrm>
            </p:contentPart>
          </mc:Choice>
          <mc:Fallback>
            <p:pic>
              <p:nvPicPr>
                <p:cNvPr id="246" name="Ink 245">
                  <a:extLst>
                    <a:ext uri="{FF2B5EF4-FFF2-40B4-BE49-F238E27FC236}">
                      <a16:creationId xmlns:a16="http://schemas.microsoft.com/office/drawing/2014/main" id="{3C0CD8F3-DBE2-DDCA-8908-71F578CC43E5}"/>
                    </a:ext>
                  </a:extLst>
                </p:cNvPr>
                <p:cNvPicPr/>
                <p:nvPr/>
              </p:nvPicPr>
              <p:blipFill>
                <a:blip r:embed="rId301"/>
                <a:stretch>
                  <a:fillRect/>
                </a:stretch>
              </p:blipFill>
              <p:spPr>
                <a:xfrm>
                  <a:off x="8916941" y="6538532"/>
                  <a:ext cx="256320" cy="75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02">
              <p14:nvContentPartPr>
                <p14:cNvPr id="247" name="Ink 246">
                  <a:extLst>
                    <a:ext uri="{FF2B5EF4-FFF2-40B4-BE49-F238E27FC236}">
                      <a16:creationId xmlns:a16="http://schemas.microsoft.com/office/drawing/2014/main" id="{5D05A7C7-0FBB-CD6E-0AF6-12EA513E1478}"/>
                    </a:ext>
                  </a:extLst>
                </p14:cNvPr>
                <p14:cNvContentPartPr/>
                <p14:nvPr/>
              </p14:nvContentPartPr>
              <p14:xfrm>
                <a:off x="8975261" y="6666692"/>
                <a:ext cx="105840" cy="172800"/>
              </p14:xfrm>
            </p:contentPart>
          </mc:Choice>
          <mc:Fallback>
            <p:pic>
              <p:nvPicPr>
                <p:cNvPr id="247" name="Ink 246">
                  <a:extLst>
                    <a:ext uri="{FF2B5EF4-FFF2-40B4-BE49-F238E27FC236}">
                      <a16:creationId xmlns:a16="http://schemas.microsoft.com/office/drawing/2014/main" id="{5D05A7C7-0FBB-CD6E-0AF6-12EA513E1478}"/>
                    </a:ext>
                  </a:extLst>
                </p:cNvPr>
                <p:cNvPicPr/>
                <p:nvPr/>
              </p:nvPicPr>
              <p:blipFill>
                <a:blip r:embed="rId303"/>
                <a:stretch>
                  <a:fillRect/>
                </a:stretch>
              </p:blipFill>
              <p:spPr>
                <a:xfrm>
                  <a:off x="8960141" y="6651572"/>
                  <a:ext cx="136440" cy="203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04">
              <p14:nvContentPartPr>
                <p14:cNvPr id="248" name="Ink 247">
                  <a:extLst>
                    <a:ext uri="{FF2B5EF4-FFF2-40B4-BE49-F238E27FC236}">
                      <a16:creationId xmlns:a16="http://schemas.microsoft.com/office/drawing/2014/main" id="{92E45100-13A1-2019-1FD3-72D873069EFD}"/>
                    </a:ext>
                  </a:extLst>
                </p14:cNvPr>
                <p14:cNvContentPartPr/>
                <p14:nvPr/>
              </p14:nvContentPartPr>
              <p14:xfrm>
                <a:off x="8966261" y="6680732"/>
                <a:ext cx="174960" cy="154800"/>
              </p14:xfrm>
            </p:contentPart>
          </mc:Choice>
          <mc:Fallback>
            <p:pic>
              <p:nvPicPr>
                <p:cNvPr id="248" name="Ink 247">
                  <a:extLst>
                    <a:ext uri="{FF2B5EF4-FFF2-40B4-BE49-F238E27FC236}">
                      <a16:creationId xmlns:a16="http://schemas.microsoft.com/office/drawing/2014/main" id="{92E45100-13A1-2019-1FD3-72D873069EFD}"/>
                    </a:ext>
                  </a:extLst>
                </p:cNvPr>
                <p:cNvPicPr/>
                <p:nvPr/>
              </p:nvPicPr>
              <p:blipFill>
                <a:blip r:embed="rId305"/>
                <a:stretch>
                  <a:fillRect/>
                </a:stretch>
              </p:blipFill>
              <p:spPr>
                <a:xfrm>
                  <a:off x="8951141" y="6665612"/>
                  <a:ext cx="205560" cy="185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06">
              <p14:nvContentPartPr>
                <p14:cNvPr id="249" name="Ink 248">
                  <a:extLst>
                    <a:ext uri="{FF2B5EF4-FFF2-40B4-BE49-F238E27FC236}">
                      <a16:creationId xmlns:a16="http://schemas.microsoft.com/office/drawing/2014/main" id="{A0667ADD-310A-26B8-A88E-267944C9226F}"/>
                    </a:ext>
                  </a:extLst>
                </p14:cNvPr>
                <p14:cNvContentPartPr/>
                <p14:nvPr/>
              </p14:nvContentPartPr>
              <p14:xfrm>
                <a:off x="9317981" y="6506852"/>
                <a:ext cx="111600" cy="11520"/>
              </p14:xfrm>
            </p:contentPart>
          </mc:Choice>
          <mc:Fallback>
            <p:pic>
              <p:nvPicPr>
                <p:cNvPr id="249" name="Ink 248">
                  <a:extLst>
                    <a:ext uri="{FF2B5EF4-FFF2-40B4-BE49-F238E27FC236}">
                      <a16:creationId xmlns:a16="http://schemas.microsoft.com/office/drawing/2014/main" id="{A0667ADD-310A-26B8-A88E-267944C9226F}"/>
                    </a:ext>
                  </a:extLst>
                </p:cNvPr>
                <p:cNvPicPr/>
                <p:nvPr/>
              </p:nvPicPr>
              <p:blipFill>
                <a:blip r:embed="rId307"/>
                <a:stretch>
                  <a:fillRect/>
                </a:stretch>
              </p:blipFill>
              <p:spPr>
                <a:xfrm>
                  <a:off x="9302861" y="6491372"/>
                  <a:ext cx="142200" cy="41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08">
              <p14:nvContentPartPr>
                <p14:cNvPr id="250" name="Ink 249">
                  <a:extLst>
                    <a:ext uri="{FF2B5EF4-FFF2-40B4-BE49-F238E27FC236}">
                      <a16:creationId xmlns:a16="http://schemas.microsoft.com/office/drawing/2014/main" id="{06BFBE79-71BF-A9B0-B444-13E545F19A5C}"/>
                    </a:ext>
                  </a:extLst>
                </p14:cNvPr>
                <p14:cNvContentPartPr/>
                <p14:nvPr/>
              </p14:nvContentPartPr>
              <p14:xfrm>
                <a:off x="9287021" y="6618452"/>
                <a:ext cx="145440" cy="13320"/>
              </p14:xfrm>
            </p:contentPart>
          </mc:Choice>
          <mc:Fallback>
            <p:pic>
              <p:nvPicPr>
                <p:cNvPr id="250" name="Ink 249">
                  <a:extLst>
                    <a:ext uri="{FF2B5EF4-FFF2-40B4-BE49-F238E27FC236}">
                      <a16:creationId xmlns:a16="http://schemas.microsoft.com/office/drawing/2014/main" id="{06BFBE79-71BF-A9B0-B444-13E545F19A5C}"/>
                    </a:ext>
                  </a:extLst>
                </p:cNvPr>
                <p:cNvPicPr/>
                <p:nvPr/>
              </p:nvPicPr>
              <p:blipFill>
                <a:blip r:embed="rId309"/>
                <a:stretch>
                  <a:fillRect/>
                </a:stretch>
              </p:blipFill>
              <p:spPr>
                <a:xfrm>
                  <a:off x="9271541" y="6603332"/>
                  <a:ext cx="176040" cy="43920"/>
                </a:xfrm>
                <a:prstGeom prst="rect">
                  <a:avLst/>
                </a:prstGeom>
              </p:spPr>
            </p:pic>
          </mc:Fallback>
        </mc:AlternateContent>
      </p:grp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A8A940-F4A4-60A0-80DF-973C3609D5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50CE33-86FF-7BC0-974E-33564A2420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2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454E8AE9-5EF5-649A-DFC0-84EB316709D6}"/>
                  </a:ext>
                </a:extLst>
              </p14:cNvPr>
              <p14:cNvContentPartPr/>
              <p14:nvPr/>
            </p14:nvContentPartPr>
            <p14:xfrm>
              <a:off x="2604341" y="2510852"/>
              <a:ext cx="1080" cy="4320"/>
            </p14:xfrm>
          </p:contentPart>
        </mc:Choice>
        <mc:Fallback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454E8AE9-5EF5-649A-DFC0-84EB316709D6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595701" y="2501852"/>
                <a:ext cx="18720" cy="21960"/>
              </a:xfrm>
              <a:prstGeom prst="rect">
                <a:avLst/>
              </a:prstGeom>
            </p:spPr>
          </p:pic>
        </mc:Fallback>
      </mc:AlternateContent>
      <p:grpSp>
        <p:nvGrpSpPr>
          <p:cNvPr id="12" name="Group 11">
            <a:extLst>
              <a:ext uri="{FF2B5EF4-FFF2-40B4-BE49-F238E27FC236}">
                <a16:creationId xmlns:a16="http://schemas.microsoft.com/office/drawing/2014/main" id="{FD48CF8E-DFCD-DB19-42F7-C6BDEE0E1CB6}"/>
              </a:ext>
            </a:extLst>
          </p:cNvPr>
          <p:cNvGrpSpPr/>
          <p:nvPr/>
        </p:nvGrpSpPr>
        <p:grpSpPr>
          <a:xfrm>
            <a:off x="4922741" y="2119532"/>
            <a:ext cx="832680" cy="292680"/>
            <a:chOff x="4922741" y="2119532"/>
            <a:chExt cx="832680" cy="29268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4">
              <p14:nvContentPartPr>
                <p14:cNvPr id="5" name="Ink 4">
                  <a:extLst>
                    <a:ext uri="{FF2B5EF4-FFF2-40B4-BE49-F238E27FC236}">
                      <a16:creationId xmlns:a16="http://schemas.microsoft.com/office/drawing/2014/main" id="{E39E315B-6488-EFBD-69D1-B62A78CF9BE3}"/>
                    </a:ext>
                  </a:extLst>
                </p14:cNvPr>
                <p14:cNvContentPartPr/>
                <p14:nvPr/>
              </p14:nvContentPartPr>
              <p14:xfrm>
                <a:off x="4926701" y="2131412"/>
                <a:ext cx="32760" cy="232560"/>
              </p14:xfrm>
            </p:contentPart>
          </mc:Choice>
          <mc:Fallback>
            <p:pic>
              <p:nvPicPr>
                <p:cNvPr id="5" name="Ink 4">
                  <a:extLst>
                    <a:ext uri="{FF2B5EF4-FFF2-40B4-BE49-F238E27FC236}">
                      <a16:creationId xmlns:a16="http://schemas.microsoft.com/office/drawing/2014/main" id="{E39E315B-6488-EFBD-69D1-B62A78CF9BE3}"/>
                    </a:ext>
                  </a:extLst>
                </p:cNvPr>
                <p:cNvPicPr/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4911581" y="2115932"/>
                  <a:ext cx="63360" cy="263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">
              <p14:nvContentPartPr>
                <p14:cNvPr id="6" name="Ink 5">
                  <a:extLst>
                    <a:ext uri="{FF2B5EF4-FFF2-40B4-BE49-F238E27FC236}">
                      <a16:creationId xmlns:a16="http://schemas.microsoft.com/office/drawing/2014/main" id="{1FC2BC25-A787-9026-9C78-D071626D32FB}"/>
                    </a:ext>
                  </a:extLst>
                </p14:cNvPr>
                <p14:cNvContentPartPr/>
                <p14:nvPr/>
              </p14:nvContentPartPr>
              <p14:xfrm>
                <a:off x="4922741" y="2119532"/>
                <a:ext cx="206640" cy="239760"/>
              </p14:xfrm>
            </p:contentPart>
          </mc:Choice>
          <mc:Fallback>
            <p:pic>
              <p:nvPicPr>
                <p:cNvPr id="6" name="Ink 5">
                  <a:extLst>
                    <a:ext uri="{FF2B5EF4-FFF2-40B4-BE49-F238E27FC236}">
                      <a16:creationId xmlns:a16="http://schemas.microsoft.com/office/drawing/2014/main" id="{1FC2BC25-A787-9026-9C78-D071626D32FB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4907621" y="2104412"/>
                  <a:ext cx="237240" cy="270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">
              <p14:nvContentPartPr>
                <p14:cNvPr id="7" name="Ink 6">
                  <a:extLst>
                    <a:ext uri="{FF2B5EF4-FFF2-40B4-BE49-F238E27FC236}">
                      <a16:creationId xmlns:a16="http://schemas.microsoft.com/office/drawing/2014/main" id="{5C11AA4D-2327-93A0-BF67-8B5DABE064BE}"/>
                    </a:ext>
                  </a:extLst>
                </p14:cNvPr>
                <p14:cNvContentPartPr/>
                <p14:nvPr/>
              </p14:nvContentPartPr>
              <p14:xfrm>
                <a:off x="5191301" y="2255972"/>
                <a:ext cx="68760" cy="29160"/>
              </p14:xfrm>
            </p:contentPart>
          </mc:Choice>
          <mc:Fallback>
            <p:pic>
              <p:nvPicPr>
                <p:cNvPr id="7" name="Ink 6">
                  <a:extLst>
                    <a:ext uri="{FF2B5EF4-FFF2-40B4-BE49-F238E27FC236}">
                      <a16:creationId xmlns:a16="http://schemas.microsoft.com/office/drawing/2014/main" id="{5C11AA4D-2327-93A0-BF67-8B5DABE064BE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5176181" y="2240492"/>
                  <a:ext cx="99000" cy="59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">
              <p14:nvContentPartPr>
                <p14:cNvPr id="8" name="Ink 7">
                  <a:extLst>
                    <a:ext uri="{FF2B5EF4-FFF2-40B4-BE49-F238E27FC236}">
                      <a16:creationId xmlns:a16="http://schemas.microsoft.com/office/drawing/2014/main" id="{0B1D8029-AE22-460D-71DC-E4CDABBA4C3D}"/>
                    </a:ext>
                  </a:extLst>
                </p14:cNvPr>
                <p14:cNvContentPartPr/>
                <p14:nvPr/>
              </p14:nvContentPartPr>
              <p14:xfrm>
                <a:off x="5187701" y="2342372"/>
                <a:ext cx="100440" cy="34200"/>
              </p14:xfrm>
            </p:contentPart>
          </mc:Choice>
          <mc:Fallback>
            <p:pic>
              <p:nvPicPr>
                <p:cNvPr id="8" name="Ink 7">
                  <a:extLst>
                    <a:ext uri="{FF2B5EF4-FFF2-40B4-BE49-F238E27FC236}">
                      <a16:creationId xmlns:a16="http://schemas.microsoft.com/office/drawing/2014/main" id="{0B1D8029-AE22-460D-71DC-E4CDABBA4C3D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5172581" y="2327252"/>
                  <a:ext cx="131040" cy="64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">
              <p14:nvContentPartPr>
                <p14:cNvPr id="9" name="Ink 8">
                  <a:extLst>
                    <a:ext uri="{FF2B5EF4-FFF2-40B4-BE49-F238E27FC236}">
                      <a16:creationId xmlns:a16="http://schemas.microsoft.com/office/drawing/2014/main" id="{2D57EAB5-C250-7DA7-DE7D-E9046AB0CC70}"/>
                    </a:ext>
                  </a:extLst>
                </p14:cNvPr>
                <p14:cNvContentPartPr/>
                <p14:nvPr/>
              </p14:nvContentPartPr>
              <p14:xfrm>
                <a:off x="5352221" y="2290892"/>
                <a:ext cx="16560" cy="117360"/>
              </p14:xfrm>
            </p:contentPart>
          </mc:Choice>
          <mc:Fallback>
            <p:pic>
              <p:nvPicPr>
                <p:cNvPr id="9" name="Ink 8">
                  <a:extLst>
                    <a:ext uri="{FF2B5EF4-FFF2-40B4-BE49-F238E27FC236}">
                      <a16:creationId xmlns:a16="http://schemas.microsoft.com/office/drawing/2014/main" id="{2D57EAB5-C250-7DA7-DE7D-E9046AB0CC70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5336741" y="2275772"/>
                  <a:ext cx="47160" cy="147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">
              <p14:nvContentPartPr>
                <p14:cNvPr id="10" name="Ink 9">
                  <a:extLst>
                    <a:ext uri="{FF2B5EF4-FFF2-40B4-BE49-F238E27FC236}">
                      <a16:creationId xmlns:a16="http://schemas.microsoft.com/office/drawing/2014/main" id="{7C29A168-C6C2-889D-BCB4-A91FEDA5D9A8}"/>
                    </a:ext>
                  </a:extLst>
                </p14:cNvPr>
                <p14:cNvContentPartPr/>
                <p14:nvPr/>
              </p14:nvContentPartPr>
              <p14:xfrm>
                <a:off x="5470661" y="2254532"/>
                <a:ext cx="113400" cy="155880"/>
              </p14:xfrm>
            </p:contentPart>
          </mc:Choice>
          <mc:Fallback>
            <p:pic>
              <p:nvPicPr>
                <p:cNvPr id="10" name="Ink 9">
                  <a:extLst>
                    <a:ext uri="{FF2B5EF4-FFF2-40B4-BE49-F238E27FC236}">
                      <a16:creationId xmlns:a16="http://schemas.microsoft.com/office/drawing/2014/main" id="{7C29A168-C6C2-889D-BCB4-A91FEDA5D9A8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5455541" y="2239412"/>
                  <a:ext cx="144000" cy="186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">
              <p14:nvContentPartPr>
                <p14:cNvPr id="11" name="Ink 10">
                  <a:extLst>
                    <a:ext uri="{FF2B5EF4-FFF2-40B4-BE49-F238E27FC236}">
                      <a16:creationId xmlns:a16="http://schemas.microsoft.com/office/drawing/2014/main" id="{CBB83A3D-45B3-C5B7-89EC-7D83379C2BA5}"/>
                    </a:ext>
                  </a:extLst>
                </p14:cNvPr>
                <p14:cNvContentPartPr/>
                <p14:nvPr/>
              </p14:nvContentPartPr>
              <p14:xfrm>
                <a:off x="5606021" y="2249492"/>
                <a:ext cx="149400" cy="162720"/>
              </p14:xfrm>
            </p:contentPart>
          </mc:Choice>
          <mc:Fallback>
            <p:pic>
              <p:nvPicPr>
                <p:cNvPr id="11" name="Ink 10">
                  <a:extLst>
                    <a:ext uri="{FF2B5EF4-FFF2-40B4-BE49-F238E27FC236}">
                      <a16:creationId xmlns:a16="http://schemas.microsoft.com/office/drawing/2014/main" id="{CBB83A3D-45B3-C5B7-89EC-7D83379C2BA5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5590541" y="2234372"/>
                  <a:ext cx="180000" cy="1929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D52B708-B1B3-9107-7CB1-40E35D208B0D}"/>
              </a:ext>
            </a:extLst>
          </p:cNvPr>
          <p:cNvGrpSpPr/>
          <p:nvPr/>
        </p:nvGrpSpPr>
        <p:grpSpPr>
          <a:xfrm>
            <a:off x="1384301" y="2915492"/>
            <a:ext cx="316080" cy="281880"/>
            <a:chOff x="1384301" y="2915492"/>
            <a:chExt cx="316080" cy="28188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8">
              <p14:nvContentPartPr>
                <p14:cNvPr id="13" name="Ink 12">
                  <a:extLst>
                    <a:ext uri="{FF2B5EF4-FFF2-40B4-BE49-F238E27FC236}">
                      <a16:creationId xmlns:a16="http://schemas.microsoft.com/office/drawing/2014/main" id="{DFB844D6-8AB5-01C0-23F7-6C9BDF6DAE88}"/>
                    </a:ext>
                  </a:extLst>
                </p14:cNvPr>
                <p14:cNvContentPartPr/>
                <p14:nvPr/>
              </p14:nvContentPartPr>
              <p14:xfrm>
                <a:off x="1384301" y="2915492"/>
                <a:ext cx="167040" cy="281880"/>
              </p14:xfrm>
            </p:contentPart>
          </mc:Choice>
          <mc:Fallback>
            <p:pic>
              <p:nvPicPr>
                <p:cNvPr id="13" name="Ink 12">
                  <a:extLst>
                    <a:ext uri="{FF2B5EF4-FFF2-40B4-BE49-F238E27FC236}">
                      <a16:creationId xmlns:a16="http://schemas.microsoft.com/office/drawing/2014/main" id="{DFB844D6-8AB5-01C0-23F7-6C9BDF6DAE88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1369181" y="2900012"/>
                  <a:ext cx="197640" cy="312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0">
              <p14:nvContentPartPr>
                <p14:cNvPr id="14" name="Ink 13">
                  <a:extLst>
                    <a:ext uri="{FF2B5EF4-FFF2-40B4-BE49-F238E27FC236}">
                      <a16:creationId xmlns:a16="http://schemas.microsoft.com/office/drawing/2014/main" id="{F31F7AB4-F1DE-F9B3-DC6F-45A5F79F3BD8}"/>
                    </a:ext>
                  </a:extLst>
                </p14:cNvPr>
                <p14:cNvContentPartPr/>
                <p14:nvPr/>
              </p14:nvContentPartPr>
              <p14:xfrm>
                <a:off x="1597061" y="2957972"/>
                <a:ext cx="103320" cy="237960"/>
              </p14:xfrm>
            </p:contentPart>
          </mc:Choice>
          <mc:Fallback>
            <p:pic>
              <p:nvPicPr>
                <p:cNvPr id="14" name="Ink 13">
                  <a:extLst>
                    <a:ext uri="{FF2B5EF4-FFF2-40B4-BE49-F238E27FC236}">
                      <a16:creationId xmlns:a16="http://schemas.microsoft.com/office/drawing/2014/main" id="{F31F7AB4-F1DE-F9B3-DC6F-45A5F79F3BD8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1581941" y="2942852"/>
                  <a:ext cx="133560" cy="26856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22">
            <p14:nvContentPartPr>
              <p14:cNvPr id="16" name="Ink 15">
                <a:extLst>
                  <a:ext uri="{FF2B5EF4-FFF2-40B4-BE49-F238E27FC236}">
                    <a16:creationId xmlns:a16="http://schemas.microsoft.com/office/drawing/2014/main" id="{2C9EECB3-2895-649C-BF0D-FDBC5994861C}"/>
                  </a:ext>
                </a:extLst>
              </p14:cNvPr>
              <p14:cNvContentPartPr/>
              <p14:nvPr/>
            </p14:nvContentPartPr>
            <p14:xfrm>
              <a:off x="1810901" y="2939612"/>
              <a:ext cx="194040" cy="228240"/>
            </p14:xfrm>
          </p:contentPart>
        </mc:Choice>
        <mc:Fallback>
          <p:pic>
            <p:nvPicPr>
              <p:cNvPr id="16" name="Ink 15">
                <a:extLst>
                  <a:ext uri="{FF2B5EF4-FFF2-40B4-BE49-F238E27FC236}">
                    <a16:creationId xmlns:a16="http://schemas.microsoft.com/office/drawing/2014/main" id="{2C9EECB3-2895-649C-BF0D-FDBC5994861C}"/>
                  </a:ext>
                </a:extLst>
              </p:cNvPr>
              <p:cNvPicPr/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1795421" y="2924492"/>
                <a:ext cx="224280" cy="2588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4">
            <p14:nvContentPartPr>
              <p14:cNvPr id="17" name="Ink 16">
                <a:extLst>
                  <a:ext uri="{FF2B5EF4-FFF2-40B4-BE49-F238E27FC236}">
                    <a16:creationId xmlns:a16="http://schemas.microsoft.com/office/drawing/2014/main" id="{63F7B58F-6054-16C3-192F-9BDBECD115DF}"/>
                  </a:ext>
                </a:extLst>
              </p14:cNvPr>
              <p14:cNvContentPartPr/>
              <p14:nvPr/>
            </p14:nvContentPartPr>
            <p14:xfrm>
              <a:off x="1835021" y="3050852"/>
              <a:ext cx="165240" cy="72000"/>
            </p14:xfrm>
          </p:contentPart>
        </mc:Choice>
        <mc:Fallback>
          <p:pic>
            <p:nvPicPr>
              <p:cNvPr id="17" name="Ink 16">
                <a:extLst>
                  <a:ext uri="{FF2B5EF4-FFF2-40B4-BE49-F238E27FC236}">
                    <a16:creationId xmlns:a16="http://schemas.microsoft.com/office/drawing/2014/main" id="{63F7B58F-6054-16C3-192F-9BDBECD115DF}"/>
                  </a:ext>
                </a:extLst>
              </p:cNvPr>
              <p:cNvPicPr/>
              <p:nvPr/>
            </p:nvPicPr>
            <p:blipFill>
              <a:blip r:embed="rId25"/>
              <a:stretch>
                <a:fillRect/>
              </a:stretch>
            </p:blipFill>
            <p:spPr>
              <a:xfrm>
                <a:off x="1819901" y="3035732"/>
                <a:ext cx="195840" cy="102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6">
            <p14:nvContentPartPr>
              <p14:cNvPr id="18" name="Ink 17">
                <a:extLst>
                  <a:ext uri="{FF2B5EF4-FFF2-40B4-BE49-F238E27FC236}">
                    <a16:creationId xmlns:a16="http://schemas.microsoft.com/office/drawing/2014/main" id="{E61146E6-B594-F783-60A8-527F3B8D401B}"/>
                  </a:ext>
                </a:extLst>
              </p14:cNvPr>
              <p14:cNvContentPartPr/>
              <p14:nvPr/>
            </p14:nvContentPartPr>
            <p14:xfrm>
              <a:off x="2112221" y="2987492"/>
              <a:ext cx="27000" cy="195840"/>
            </p14:xfrm>
          </p:contentPart>
        </mc:Choice>
        <mc:Fallback>
          <p:pic>
            <p:nvPicPr>
              <p:cNvPr id="18" name="Ink 17">
                <a:extLst>
                  <a:ext uri="{FF2B5EF4-FFF2-40B4-BE49-F238E27FC236}">
                    <a16:creationId xmlns:a16="http://schemas.microsoft.com/office/drawing/2014/main" id="{E61146E6-B594-F783-60A8-527F3B8D401B}"/>
                  </a:ext>
                </a:extLst>
              </p:cNvPr>
              <p:cNvPicPr/>
              <p:nvPr/>
            </p:nvPicPr>
            <p:blipFill>
              <a:blip r:embed="rId27"/>
              <a:stretch>
                <a:fillRect/>
              </a:stretch>
            </p:blipFill>
            <p:spPr>
              <a:xfrm>
                <a:off x="2097101" y="2972012"/>
                <a:ext cx="57240" cy="2260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8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A2CFD5BC-9F6F-D27E-0EB3-13B53FCE8BF8}"/>
                  </a:ext>
                </a:extLst>
              </p14:cNvPr>
              <p14:cNvContentPartPr/>
              <p14:nvPr/>
            </p14:nvContentPartPr>
            <p14:xfrm>
              <a:off x="2193221" y="3062012"/>
              <a:ext cx="472680" cy="98640"/>
            </p14:xfrm>
          </p:contentPart>
        </mc:Choice>
        <mc:Fallback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A2CFD5BC-9F6F-D27E-0EB3-13B53FCE8BF8}"/>
                  </a:ext>
                </a:extLst>
              </p:cNvPr>
              <p:cNvPicPr/>
              <p:nvPr/>
            </p:nvPicPr>
            <p:blipFill>
              <a:blip r:embed="rId29"/>
              <a:stretch>
                <a:fillRect/>
              </a:stretch>
            </p:blipFill>
            <p:spPr>
              <a:xfrm>
                <a:off x="2178101" y="3046892"/>
                <a:ext cx="503280" cy="1288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0">
            <p14:nvContentPartPr>
              <p14:cNvPr id="20" name="Ink 19">
                <a:extLst>
                  <a:ext uri="{FF2B5EF4-FFF2-40B4-BE49-F238E27FC236}">
                    <a16:creationId xmlns:a16="http://schemas.microsoft.com/office/drawing/2014/main" id="{B8770A02-872D-3D8B-168B-E084653153E3}"/>
                  </a:ext>
                </a:extLst>
              </p14:cNvPr>
              <p14:cNvContentPartPr/>
              <p14:nvPr/>
            </p14:nvContentPartPr>
            <p14:xfrm>
              <a:off x="2667701" y="3059492"/>
              <a:ext cx="108000" cy="160920"/>
            </p14:xfrm>
          </p:contentPart>
        </mc:Choice>
        <mc:Fallback>
          <p:pic>
            <p:nvPicPr>
              <p:cNvPr id="20" name="Ink 19">
                <a:extLst>
                  <a:ext uri="{FF2B5EF4-FFF2-40B4-BE49-F238E27FC236}">
                    <a16:creationId xmlns:a16="http://schemas.microsoft.com/office/drawing/2014/main" id="{B8770A02-872D-3D8B-168B-E084653153E3}"/>
                  </a:ext>
                </a:extLst>
              </p:cNvPr>
              <p:cNvPicPr/>
              <p:nvPr/>
            </p:nvPicPr>
            <p:blipFill>
              <a:blip r:embed="rId31"/>
              <a:stretch>
                <a:fillRect/>
              </a:stretch>
            </p:blipFill>
            <p:spPr>
              <a:xfrm>
                <a:off x="2652221" y="3044012"/>
                <a:ext cx="138600" cy="1915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2">
            <p14:nvContentPartPr>
              <p14:cNvPr id="21" name="Ink 20">
                <a:extLst>
                  <a:ext uri="{FF2B5EF4-FFF2-40B4-BE49-F238E27FC236}">
                    <a16:creationId xmlns:a16="http://schemas.microsoft.com/office/drawing/2014/main" id="{5A7C9096-9ED2-60B2-6CD6-B50FBB191C87}"/>
                  </a:ext>
                </a:extLst>
              </p14:cNvPr>
              <p14:cNvContentPartPr/>
              <p14:nvPr/>
            </p14:nvContentPartPr>
            <p14:xfrm>
              <a:off x="3039581" y="3137252"/>
              <a:ext cx="107280" cy="25920"/>
            </p14:xfrm>
          </p:contentPart>
        </mc:Choice>
        <mc:Fallback>
          <p:pic>
            <p:nvPicPr>
              <p:cNvPr id="21" name="Ink 20">
                <a:extLst>
                  <a:ext uri="{FF2B5EF4-FFF2-40B4-BE49-F238E27FC236}">
                    <a16:creationId xmlns:a16="http://schemas.microsoft.com/office/drawing/2014/main" id="{5A7C9096-9ED2-60B2-6CD6-B50FBB191C87}"/>
                  </a:ext>
                </a:extLst>
              </p:cNvPr>
              <p:cNvPicPr/>
              <p:nvPr/>
            </p:nvPicPr>
            <p:blipFill>
              <a:blip r:embed="rId33"/>
              <a:stretch>
                <a:fillRect/>
              </a:stretch>
            </p:blipFill>
            <p:spPr>
              <a:xfrm>
                <a:off x="3024461" y="3122132"/>
                <a:ext cx="137880" cy="565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4">
            <p14:nvContentPartPr>
              <p14:cNvPr id="22" name="Ink 21">
                <a:extLst>
                  <a:ext uri="{FF2B5EF4-FFF2-40B4-BE49-F238E27FC236}">
                    <a16:creationId xmlns:a16="http://schemas.microsoft.com/office/drawing/2014/main" id="{E3003147-4297-AA1F-C1F7-7DFA25086C7D}"/>
                  </a:ext>
                </a:extLst>
              </p14:cNvPr>
              <p14:cNvContentPartPr/>
              <p14:nvPr/>
            </p14:nvContentPartPr>
            <p14:xfrm>
              <a:off x="3035261" y="3217172"/>
              <a:ext cx="148680" cy="12240"/>
            </p14:xfrm>
          </p:contentPart>
        </mc:Choice>
        <mc:Fallback>
          <p:pic>
            <p:nvPicPr>
              <p:cNvPr id="22" name="Ink 21">
                <a:extLst>
                  <a:ext uri="{FF2B5EF4-FFF2-40B4-BE49-F238E27FC236}">
                    <a16:creationId xmlns:a16="http://schemas.microsoft.com/office/drawing/2014/main" id="{E3003147-4297-AA1F-C1F7-7DFA25086C7D}"/>
                  </a:ext>
                </a:extLst>
              </p:cNvPr>
              <p:cNvPicPr/>
              <p:nvPr/>
            </p:nvPicPr>
            <p:blipFill>
              <a:blip r:embed="rId35"/>
              <a:stretch>
                <a:fillRect/>
              </a:stretch>
            </p:blipFill>
            <p:spPr>
              <a:xfrm>
                <a:off x="3020141" y="3202052"/>
                <a:ext cx="179280" cy="424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6">
            <p14:nvContentPartPr>
              <p14:cNvPr id="23" name="Ink 22">
                <a:extLst>
                  <a:ext uri="{FF2B5EF4-FFF2-40B4-BE49-F238E27FC236}">
                    <a16:creationId xmlns:a16="http://schemas.microsoft.com/office/drawing/2014/main" id="{EC086B8C-193E-B1CE-7431-1C3FE7AD2E80}"/>
                  </a:ext>
                </a:extLst>
              </p14:cNvPr>
              <p14:cNvContentPartPr/>
              <p14:nvPr/>
            </p14:nvContentPartPr>
            <p14:xfrm>
              <a:off x="3229661" y="2973092"/>
              <a:ext cx="171000" cy="233280"/>
            </p14:xfrm>
          </p:contentPart>
        </mc:Choice>
        <mc:Fallback>
          <p:pic>
            <p:nvPicPr>
              <p:cNvPr id="23" name="Ink 22">
                <a:extLst>
                  <a:ext uri="{FF2B5EF4-FFF2-40B4-BE49-F238E27FC236}">
                    <a16:creationId xmlns:a16="http://schemas.microsoft.com/office/drawing/2014/main" id="{EC086B8C-193E-B1CE-7431-1C3FE7AD2E80}"/>
                  </a:ext>
                </a:extLst>
              </p:cNvPr>
              <p:cNvPicPr/>
              <p:nvPr/>
            </p:nvPicPr>
            <p:blipFill>
              <a:blip r:embed="rId37"/>
              <a:stretch>
                <a:fillRect/>
              </a:stretch>
            </p:blipFill>
            <p:spPr>
              <a:xfrm>
                <a:off x="3214181" y="2957612"/>
                <a:ext cx="201240" cy="2635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8">
            <p14:nvContentPartPr>
              <p14:cNvPr id="24" name="Ink 23">
                <a:extLst>
                  <a:ext uri="{FF2B5EF4-FFF2-40B4-BE49-F238E27FC236}">
                    <a16:creationId xmlns:a16="http://schemas.microsoft.com/office/drawing/2014/main" id="{B1905748-DBEB-711A-840A-DEF720349E06}"/>
                  </a:ext>
                </a:extLst>
              </p14:cNvPr>
              <p14:cNvContentPartPr/>
              <p14:nvPr/>
            </p14:nvContentPartPr>
            <p14:xfrm>
              <a:off x="3489221" y="3100172"/>
              <a:ext cx="100800" cy="79200"/>
            </p14:xfrm>
          </p:contentPart>
        </mc:Choice>
        <mc:Fallback>
          <p:pic>
            <p:nvPicPr>
              <p:cNvPr id="24" name="Ink 23">
                <a:extLst>
                  <a:ext uri="{FF2B5EF4-FFF2-40B4-BE49-F238E27FC236}">
                    <a16:creationId xmlns:a16="http://schemas.microsoft.com/office/drawing/2014/main" id="{B1905748-DBEB-711A-840A-DEF720349E06}"/>
                  </a:ext>
                </a:extLst>
              </p:cNvPr>
              <p:cNvPicPr/>
              <p:nvPr/>
            </p:nvPicPr>
            <p:blipFill>
              <a:blip r:embed="rId39"/>
              <a:stretch>
                <a:fillRect/>
              </a:stretch>
            </p:blipFill>
            <p:spPr>
              <a:xfrm>
                <a:off x="3473741" y="3084692"/>
                <a:ext cx="131040" cy="1098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40">
            <p14:nvContentPartPr>
              <p14:cNvPr id="25" name="Ink 24">
                <a:extLst>
                  <a:ext uri="{FF2B5EF4-FFF2-40B4-BE49-F238E27FC236}">
                    <a16:creationId xmlns:a16="http://schemas.microsoft.com/office/drawing/2014/main" id="{9AF4D9E3-0044-25CE-D2BF-2E48DE65D4A3}"/>
                  </a:ext>
                </a:extLst>
              </p14:cNvPr>
              <p14:cNvContentPartPr/>
              <p14:nvPr/>
            </p14:nvContentPartPr>
            <p14:xfrm>
              <a:off x="3440621" y="3207812"/>
              <a:ext cx="240840" cy="261720"/>
            </p14:xfrm>
          </p:contentPart>
        </mc:Choice>
        <mc:Fallback>
          <p:pic>
            <p:nvPicPr>
              <p:cNvPr id="25" name="Ink 24">
                <a:extLst>
                  <a:ext uri="{FF2B5EF4-FFF2-40B4-BE49-F238E27FC236}">
                    <a16:creationId xmlns:a16="http://schemas.microsoft.com/office/drawing/2014/main" id="{9AF4D9E3-0044-25CE-D2BF-2E48DE65D4A3}"/>
                  </a:ext>
                </a:extLst>
              </p:cNvPr>
              <p:cNvPicPr/>
              <p:nvPr/>
            </p:nvPicPr>
            <p:blipFill>
              <a:blip r:embed="rId41"/>
              <a:stretch>
                <a:fillRect/>
              </a:stretch>
            </p:blipFill>
            <p:spPr>
              <a:xfrm>
                <a:off x="3425141" y="3192332"/>
                <a:ext cx="271080" cy="292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42">
            <p14:nvContentPartPr>
              <p14:cNvPr id="26" name="Ink 25">
                <a:extLst>
                  <a:ext uri="{FF2B5EF4-FFF2-40B4-BE49-F238E27FC236}">
                    <a16:creationId xmlns:a16="http://schemas.microsoft.com/office/drawing/2014/main" id="{DD5E9089-F663-5BFC-566E-06709B02DC53}"/>
                  </a:ext>
                </a:extLst>
              </p14:cNvPr>
              <p14:cNvContentPartPr/>
              <p14:nvPr/>
            </p14:nvContentPartPr>
            <p14:xfrm>
              <a:off x="3564101" y="3369812"/>
              <a:ext cx="19080" cy="137520"/>
            </p14:xfrm>
          </p:contentPart>
        </mc:Choice>
        <mc:Fallback>
          <p:pic>
            <p:nvPicPr>
              <p:cNvPr id="26" name="Ink 25">
                <a:extLst>
                  <a:ext uri="{FF2B5EF4-FFF2-40B4-BE49-F238E27FC236}">
                    <a16:creationId xmlns:a16="http://schemas.microsoft.com/office/drawing/2014/main" id="{DD5E9089-F663-5BFC-566E-06709B02DC53}"/>
                  </a:ext>
                </a:extLst>
              </p:cNvPr>
              <p:cNvPicPr/>
              <p:nvPr/>
            </p:nvPicPr>
            <p:blipFill>
              <a:blip r:embed="rId43"/>
              <a:stretch>
                <a:fillRect/>
              </a:stretch>
            </p:blipFill>
            <p:spPr>
              <a:xfrm>
                <a:off x="3548981" y="3354692"/>
                <a:ext cx="49680" cy="168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44">
            <p14:nvContentPartPr>
              <p14:cNvPr id="27" name="Ink 26">
                <a:extLst>
                  <a:ext uri="{FF2B5EF4-FFF2-40B4-BE49-F238E27FC236}">
                    <a16:creationId xmlns:a16="http://schemas.microsoft.com/office/drawing/2014/main" id="{8D08E8A8-CA9D-2016-E6F4-5C4BF742ABA1}"/>
                  </a:ext>
                </a:extLst>
              </p14:cNvPr>
              <p14:cNvContentPartPr/>
              <p14:nvPr/>
            </p14:nvContentPartPr>
            <p14:xfrm>
              <a:off x="3681101" y="3405092"/>
              <a:ext cx="107640" cy="99720"/>
            </p14:xfrm>
          </p:contentPart>
        </mc:Choice>
        <mc:Fallback>
          <p:pic>
            <p:nvPicPr>
              <p:cNvPr id="27" name="Ink 26">
                <a:extLst>
                  <a:ext uri="{FF2B5EF4-FFF2-40B4-BE49-F238E27FC236}">
                    <a16:creationId xmlns:a16="http://schemas.microsoft.com/office/drawing/2014/main" id="{8D08E8A8-CA9D-2016-E6F4-5C4BF742ABA1}"/>
                  </a:ext>
                </a:extLst>
              </p:cNvPr>
              <p:cNvPicPr/>
              <p:nvPr/>
            </p:nvPicPr>
            <p:blipFill>
              <a:blip r:embed="rId45"/>
              <a:stretch>
                <a:fillRect/>
              </a:stretch>
            </p:blipFill>
            <p:spPr>
              <a:xfrm>
                <a:off x="3665621" y="3389972"/>
                <a:ext cx="138240" cy="130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46">
            <p14:nvContentPartPr>
              <p14:cNvPr id="28" name="Ink 27">
                <a:extLst>
                  <a:ext uri="{FF2B5EF4-FFF2-40B4-BE49-F238E27FC236}">
                    <a16:creationId xmlns:a16="http://schemas.microsoft.com/office/drawing/2014/main" id="{BDC23854-9307-4725-561D-7CB59FCC08CE}"/>
                  </a:ext>
                </a:extLst>
              </p14:cNvPr>
              <p14:cNvContentPartPr/>
              <p14:nvPr/>
            </p14:nvContentPartPr>
            <p14:xfrm>
              <a:off x="3818261" y="3382772"/>
              <a:ext cx="117000" cy="124200"/>
            </p14:xfrm>
          </p:contentPart>
        </mc:Choice>
        <mc:Fallback>
          <p:pic>
            <p:nvPicPr>
              <p:cNvPr id="28" name="Ink 27">
                <a:extLst>
                  <a:ext uri="{FF2B5EF4-FFF2-40B4-BE49-F238E27FC236}">
                    <a16:creationId xmlns:a16="http://schemas.microsoft.com/office/drawing/2014/main" id="{BDC23854-9307-4725-561D-7CB59FCC08CE}"/>
                  </a:ext>
                </a:extLst>
              </p:cNvPr>
              <p:cNvPicPr/>
              <p:nvPr/>
            </p:nvPicPr>
            <p:blipFill>
              <a:blip r:embed="rId47"/>
              <a:stretch>
                <a:fillRect/>
              </a:stretch>
            </p:blipFill>
            <p:spPr>
              <a:xfrm>
                <a:off x="3802781" y="3367652"/>
                <a:ext cx="147600" cy="1548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48">
            <p14:nvContentPartPr>
              <p14:cNvPr id="29" name="Ink 28">
                <a:extLst>
                  <a:ext uri="{FF2B5EF4-FFF2-40B4-BE49-F238E27FC236}">
                    <a16:creationId xmlns:a16="http://schemas.microsoft.com/office/drawing/2014/main" id="{565DE5C2-7081-F5D3-3A94-C86A68201C82}"/>
                  </a:ext>
                </a:extLst>
              </p14:cNvPr>
              <p14:cNvContentPartPr/>
              <p14:nvPr/>
            </p14:nvContentPartPr>
            <p14:xfrm>
              <a:off x="4612781" y="2952932"/>
              <a:ext cx="180720" cy="257040"/>
            </p14:xfrm>
          </p:contentPart>
        </mc:Choice>
        <mc:Fallback>
          <p:pic>
            <p:nvPicPr>
              <p:cNvPr id="29" name="Ink 28">
                <a:extLst>
                  <a:ext uri="{FF2B5EF4-FFF2-40B4-BE49-F238E27FC236}">
                    <a16:creationId xmlns:a16="http://schemas.microsoft.com/office/drawing/2014/main" id="{565DE5C2-7081-F5D3-3A94-C86A68201C82}"/>
                  </a:ext>
                </a:extLst>
              </p:cNvPr>
              <p:cNvPicPr/>
              <p:nvPr/>
            </p:nvPicPr>
            <p:blipFill>
              <a:blip r:embed="rId49"/>
              <a:stretch>
                <a:fillRect/>
              </a:stretch>
            </p:blipFill>
            <p:spPr>
              <a:xfrm>
                <a:off x="4597661" y="2937812"/>
                <a:ext cx="211320" cy="2872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50">
            <p14:nvContentPartPr>
              <p14:cNvPr id="30" name="Ink 29">
                <a:extLst>
                  <a:ext uri="{FF2B5EF4-FFF2-40B4-BE49-F238E27FC236}">
                    <a16:creationId xmlns:a16="http://schemas.microsoft.com/office/drawing/2014/main" id="{65EDFA56-7BA1-AEF0-F94E-056B83DA8C4F}"/>
                  </a:ext>
                </a:extLst>
              </p14:cNvPr>
              <p14:cNvContentPartPr/>
              <p14:nvPr/>
            </p14:nvContentPartPr>
            <p14:xfrm>
              <a:off x="4885661" y="2951132"/>
              <a:ext cx="113040" cy="280080"/>
            </p14:xfrm>
          </p:contentPart>
        </mc:Choice>
        <mc:Fallback>
          <p:pic>
            <p:nvPicPr>
              <p:cNvPr id="30" name="Ink 29">
                <a:extLst>
                  <a:ext uri="{FF2B5EF4-FFF2-40B4-BE49-F238E27FC236}">
                    <a16:creationId xmlns:a16="http://schemas.microsoft.com/office/drawing/2014/main" id="{65EDFA56-7BA1-AEF0-F94E-056B83DA8C4F}"/>
                  </a:ext>
                </a:extLst>
              </p:cNvPr>
              <p:cNvPicPr/>
              <p:nvPr/>
            </p:nvPicPr>
            <p:blipFill>
              <a:blip r:embed="rId51"/>
              <a:stretch>
                <a:fillRect/>
              </a:stretch>
            </p:blipFill>
            <p:spPr>
              <a:xfrm>
                <a:off x="4870541" y="2936012"/>
                <a:ext cx="143640" cy="3106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52">
            <p14:nvContentPartPr>
              <p14:cNvPr id="31" name="Ink 30">
                <a:extLst>
                  <a:ext uri="{FF2B5EF4-FFF2-40B4-BE49-F238E27FC236}">
                    <a16:creationId xmlns:a16="http://schemas.microsoft.com/office/drawing/2014/main" id="{A76EE899-202C-A7A5-322E-5F2806C98E8D}"/>
                  </a:ext>
                </a:extLst>
              </p14:cNvPr>
              <p14:cNvContentPartPr/>
              <p14:nvPr/>
            </p14:nvContentPartPr>
            <p14:xfrm>
              <a:off x="5108501" y="3008732"/>
              <a:ext cx="123840" cy="206640"/>
            </p14:xfrm>
          </p:contentPart>
        </mc:Choice>
        <mc:Fallback>
          <p:pic>
            <p:nvPicPr>
              <p:cNvPr id="31" name="Ink 30">
                <a:extLst>
                  <a:ext uri="{FF2B5EF4-FFF2-40B4-BE49-F238E27FC236}">
                    <a16:creationId xmlns:a16="http://schemas.microsoft.com/office/drawing/2014/main" id="{A76EE899-202C-A7A5-322E-5F2806C98E8D}"/>
                  </a:ext>
                </a:extLst>
              </p:cNvPr>
              <p:cNvPicPr/>
              <p:nvPr/>
            </p:nvPicPr>
            <p:blipFill>
              <a:blip r:embed="rId53"/>
              <a:stretch>
                <a:fillRect/>
              </a:stretch>
            </p:blipFill>
            <p:spPr>
              <a:xfrm>
                <a:off x="5093021" y="2993612"/>
                <a:ext cx="154440" cy="2368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54">
            <p14:nvContentPartPr>
              <p14:cNvPr id="32" name="Ink 31">
                <a:extLst>
                  <a:ext uri="{FF2B5EF4-FFF2-40B4-BE49-F238E27FC236}">
                    <a16:creationId xmlns:a16="http://schemas.microsoft.com/office/drawing/2014/main" id="{4BF63290-EEDE-29C6-9CD2-1DB1ABFCE2D4}"/>
                  </a:ext>
                </a:extLst>
              </p14:cNvPr>
              <p14:cNvContentPartPr/>
              <p14:nvPr/>
            </p14:nvContentPartPr>
            <p14:xfrm>
              <a:off x="5251781" y="3132212"/>
              <a:ext cx="153360" cy="126000"/>
            </p14:xfrm>
          </p:contentPart>
        </mc:Choice>
        <mc:Fallback>
          <p:pic>
            <p:nvPicPr>
              <p:cNvPr id="32" name="Ink 31">
                <a:extLst>
                  <a:ext uri="{FF2B5EF4-FFF2-40B4-BE49-F238E27FC236}">
                    <a16:creationId xmlns:a16="http://schemas.microsoft.com/office/drawing/2014/main" id="{4BF63290-EEDE-29C6-9CD2-1DB1ABFCE2D4}"/>
                  </a:ext>
                </a:extLst>
              </p:cNvPr>
              <p:cNvPicPr/>
              <p:nvPr/>
            </p:nvPicPr>
            <p:blipFill>
              <a:blip r:embed="rId55"/>
              <a:stretch>
                <a:fillRect/>
              </a:stretch>
            </p:blipFill>
            <p:spPr>
              <a:xfrm>
                <a:off x="5236661" y="3117092"/>
                <a:ext cx="183600" cy="156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56">
            <p14:nvContentPartPr>
              <p14:cNvPr id="33" name="Ink 32">
                <a:extLst>
                  <a:ext uri="{FF2B5EF4-FFF2-40B4-BE49-F238E27FC236}">
                    <a16:creationId xmlns:a16="http://schemas.microsoft.com/office/drawing/2014/main" id="{8207F779-E49D-80BB-61F6-BA73E82D3263}"/>
                  </a:ext>
                </a:extLst>
              </p14:cNvPr>
              <p14:cNvContentPartPr/>
              <p14:nvPr/>
            </p14:nvContentPartPr>
            <p14:xfrm>
              <a:off x="5435381" y="3130052"/>
              <a:ext cx="134640" cy="121320"/>
            </p14:xfrm>
          </p:contentPart>
        </mc:Choice>
        <mc:Fallback>
          <p:pic>
            <p:nvPicPr>
              <p:cNvPr id="33" name="Ink 32">
                <a:extLst>
                  <a:ext uri="{FF2B5EF4-FFF2-40B4-BE49-F238E27FC236}">
                    <a16:creationId xmlns:a16="http://schemas.microsoft.com/office/drawing/2014/main" id="{8207F779-E49D-80BB-61F6-BA73E82D3263}"/>
                  </a:ext>
                </a:extLst>
              </p:cNvPr>
              <p:cNvPicPr/>
              <p:nvPr/>
            </p:nvPicPr>
            <p:blipFill>
              <a:blip r:embed="rId57"/>
              <a:stretch>
                <a:fillRect/>
              </a:stretch>
            </p:blipFill>
            <p:spPr>
              <a:xfrm>
                <a:off x="5420261" y="3114932"/>
                <a:ext cx="165240" cy="1519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58">
            <p14:nvContentPartPr>
              <p14:cNvPr id="34" name="Ink 33">
                <a:extLst>
                  <a:ext uri="{FF2B5EF4-FFF2-40B4-BE49-F238E27FC236}">
                    <a16:creationId xmlns:a16="http://schemas.microsoft.com/office/drawing/2014/main" id="{C534929B-86E5-E89C-A490-CF0677014595}"/>
                  </a:ext>
                </a:extLst>
              </p14:cNvPr>
              <p14:cNvContentPartPr/>
              <p14:nvPr/>
            </p14:nvContentPartPr>
            <p14:xfrm>
              <a:off x="5593421" y="3090092"/>
              <a:ext cx="205920" cy="168840"/>
            </p14:xfrm>
          </p:contentPart>
        </mc:Choice>
        <mc:Fallback>
          <p:pic>
            <p:nvPicPr>
              <p:cNvPr id="34" name="Ink 33">
                <a:extLst>
                  <a:ext uri="{FF2B5EF4-FFF2-40B4-BE49-F238E27FC236}">
                    <a16:creationId xmlns:a16="http://schemas.microsoft.com/office/drawing/2014/main" id="{C534929B-86E5-E89C-A490-CF0677014595}"/>
                  </a:ext>
                </a:extLst>
              </p:cNvPr>
              <p:cNvPicPr/>
              <p:nvPr/>
            </p:nvPicPr>
            <p:blipFill>
              <a:blip r:embed="rId59"/>
              <a:stretch>
                <a:fillRect/>
              </a:stretch>
            </p:blipFill>
            <p:spPr>
              <a:xfrm>
                <a:off x="5577941" y="3074972"/>
                <a:ext cx="236520" cy="1994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60">
            <p14:nvContentPartPr>
              <p14:cNvPr id="35" name="Ink 34">
                <a:extLst>
                  <a:ext uri="{FF2B5EF4-FFF2-40B4-BE49-F238E27FC236}">
                    <a16:creationId xmlns:a16="http://schemas.microsoft.com/office/drawing/2014/main" id="{291A89A6-2AF9-A6F5-FABF-8B706BB8CC90}"/>
                  </a:ext>
                </a:extLst>
              </p14:cNvPr>
              <p14:cNvContentPartPr/>
              <p14:nvPr/>
            </p14:nvContentPartPr>
            <p14:xfrm>
              <a:off x="5753261" y="3137252"/>
              <a:ext cx="92880" cy="9000"/>
            </p14:xfrm>
          </p:contentPart>
        </mc:Choice>
        <mc:Fallback>
          <p:pic>
            <p:nvPicPr>
              <p:cNvPr id="35" name="Ink 34">
                <a:extLst>
                  <a:ext uri="{FF2B5EF4-FFF2-40B4-BE49-F238E27FC236}">
                    <a16:creationId xmlns:a16="http://schemas.microsoft.com/office/drawing/2014/main" id="{291A89A6-2AF9-A6F5-FABF-8B706BB8CC90}"/>
                  </a:ext>
                </a:extLst>
              </p:cNvPr>
              <p:cNvPicPr/>
              <p:nvPr/>
            </p:nvPicPr>
            <p:blipFill>
              <a:blip r:embed="rId61"/>
              <a:stretch>
                <a:fillRect/>
              </a:stretch>
            </p:blipFill>
            <p:spPr>
              <a:xfrm>
                <a:off x="5738141" y="3122132"/>
                <a:ext cx="123120" cy="39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62">
            <p14:nvContentPartPr>
              <p14:cNvPr id="36" name="Ink 35">
                <a:extLst>
                  <a:ext uri="{FF2B5EF4-FFF2-40B4-BE49-F238E27FC236}">
                    <a16:creationId xmlns:a16="http://schemas.microsoft.com/office/drawing/2014/main" id="{091D678D-CCC5-C1D4-E018-125049AB78C1}"/>
                  </a:ext>
                </a:extLst>
              </p14:cNvPr>
              <p14:cNvContentPartPr/>
              <p14:nvPr/>
            </p14:nvContentPartPr>
            <p14:xfrm>
              <a:off x="5959901" y="3095492"/>
              <a:ext cx="12240" cy="4680"/>
            </p14:xfrm>
          </p:contentPart>
        </mc:Choice>
        <mc:Fallback>
          <p:pic>
            <p:nvPicPr>
              <p:cNvPr id="36" name="Ink 35">
                <a:extLst>
                  <a:ext uri="{FF2B5EF4-FFF2-40B4-BE49-F238E27FC236}">
                    <a16:creationId xmlns:a16="http://schemas.microsoft.com/office/drawing/2014/main" id="{091D678D-CCC5-C1D4-E018-125049AB78C1}"/>
                  </a:ext>
                </a:extLst>
              </p:cNvPr>
              <p:cNvPicPr/>
              <p:nvPr/>
            </p:nvPicPr>
            <p:blipFill>
              <a:blip r:embed="rId63"/>
              <a:stretch>
                <a:fillRect/>
              </a:stretch>
            </p:blipFill>
            <p:spPr>
              <a:xfrm>
                <a:off x="5944421" y="3080372"/>
                <a:ext cx="42840" cy="349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64">
            <p14:nvContentPartPr>
              <p14:cNvPr id="37" name="Ink 36">
                <a:extLst>
                  <a:ext uri="{FF2B5EF4-FFF2-40B4-BE49-F238E27FC236}">
                    <a16:creationId xmlns:a16="http://schemas.microsoft.com/office/drawing/2014/main" id="{FB280095-EBA1-42D8-7725-EA8474A05ADB}"/>
                  </a:ext>
                </a:extLst>
              </p14:cNvPr>
              <p14:cNvContentPartPr/>
              <p14:nvPr/>
            </p14:nvContentPartPr>
            <p14:xfrm>
              <a:off x="5840741" y="2986412"/>
              <a:ext cx="132480" cy="299880"/>
            </p14:xfrm>
          </p:contentPart>
        </mc:Choice>
        <mc:Fallback>
          <p:pic>
            <p:nvPicPr>
              <p:cNvPr id="37" name="Ink 36">
                <a:extLst>
                  <a:ext uri="{FF2B5EF4-FFF2-40B4-BE49-F238E27FC236}">
                    <a16:creationId xmlns:a16="http://schemas.microsoft.com/office/drawing/2014/main" id="{FB280095-EBA1-42D8-7725-EA8474A05ADB}"/>
                  </a:ext>
                </a:extLst>
              </p:cNvPr>
              <p:cNvPicPr/>
              <p:nvPr/>
            </p:nvPicPr>
            <p:blipFill>
              <a:blip r:embed="rId65"/>
              <a:stretch>
                <a:fillRect/>
              </a:stretch>
            </p:blipFill>
            <p:spPr>
              <a:xfrm>
                <a:off x="5825621" y="2971292"/>
                <a:ext cx="162720" cy="330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66">
            <p14:nvContentPartPr>
              <p14:cNvPr id="38" name="Ink 37">
                <a:extLst>
                  <a:ext uri="{FF2B5EF4-FFF2-40B4-BE49-F238E27FC236}">
                    <a16:creationId xmlns:a16="http://schemas.microsoft.com/office/drawing/2014/main" id="{D98E6CD0-87AB-7CE0-9F4A-9AE7C5E7E64F}"/>
                  </a:ext>
                </a:extLst>
              </p14:cNvPr>
              <p14:cNvContentPartPr/>
              <p14:nvPr/>
            </p14:nvContentPartPr>
            <p14:xfrm>
              <a:off x="6178421" y="3126452"/>
              <a:ext cx="99360" cy="9720"/>
            </p14:xfrm>
          </p:contentPart>
        </mc:Choice>
        <mc:Fallback>
          <p:pic>
            <p:nvPicPr>
              <p:cNvPr id="38" name="Ink 37">
                <a:extLst>
                  <a:ext uri="{FF2B5EF4-FFF2-40B4-BE49-F238E27FC236}">
                    <a16:creationId xmlns:a16="http://schemas.microsoft.com/office/drawing/2014/main" id="{D98E6CD0-87AB-7CE0-9F4A-9AE7C5E7E64F}"/>
                  </a:ext>
                </a:extLst>
              </p:cNvPr>
              <p:cNvPicPr/>
              <p:nvPr/>
            </p:nvPicPr>
            <p:blipFill>
              <a:blip r:embed="rId67"/>
              <a:stretch>
                <a:fillRect/>
              </a:stretch>
            </p:blipFill>
            <p:spPr>
              <a:xfrm>
                <a:off x="6163301" y="3110972"/>
                <a:ext cx="129600" cy="399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68">
            <p14:nvContentPartPr>
              <p14:cNvPr id="39" name="Ink 38">
                <a:extLst>
                  <a:ext uri="{FF2B5EF4-FFF2-40B4-BE49-F238E27FC236}">
                    <a16:creationId xmlns:a16="http://schemas.microsoft.com/office/drawing/2014/main" id="{2C7E9625-BFFB-9429-F7F0-E1452BBE2F0F}"/>
                  </a:ext>
                </a:extLst>
              </p14:cNvPr>
              <p14:cNvContentPartPr/>
              <p14:nvPr/>
            </p14:nvContentPartPr>
            <p14:xfrm>
              <a:off x="6185981" y="3200612"/>
              <a:ext cx="166680" cy="29880"/>
            </p14:xfrm>
          </p:contentPart>
        </mc:Choice>
        <mc:Fallback>
          <p:pic>
            <p:nvPicPr>
              <p:cNvPr id="39" name="Ink 38">
                <a:extLst>
                  <a:ext uri="{FF2B5EF4-FFF2-40B4-BE49-F238E27FC236}">
                    <a16:creationId xmlns:a16="http://schemas.microsoft.com/office/drawing/2014/main" id="{2C7E9625-BFFB-9429-F7F0-E1452BBE2F0F}"/>
                  </a:ext>
                </a:extLst>
              </p:cNvPr>
              <p:cNvPicPr/>
              <p:nvPr/>
            </p:nvPicPr>
            <p:blipFill>
              <a:blip r:embed="rId69"/>
              <a:stretch>
                <a:fillRect/>
              </a:stretch>
            </p:blipFill>
            <p:spPr>
              <a:xfrm>
                <a:off x="6170861" y="3185492"/>
                <a:ext cx="197280" cy="60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70">
            <p14:nvContentPartPr>
              <p14:cNvPr id="40" name="Ink 39">
                <a:extLst>
                  <a:ext uri="{FF2B5EF4-FFF2-40B4-BE49-F238E27FC236}">
                    <a16:creationId xmlns:a16="http://schemas.microsoft.com/office/drawing/2014/main" id="{82705013-E558-D51E-C9DB-2855ED890229}"/>
                  </a:ext>
                </a:extLst>
              </p14:cNvPr>
              <p14:cNvContentPartPr/>
              <p14:nvPr/>
            </p14:nvContentPartPr>
            <p14:xfrm>
              <a:off x="6479741" y="3048692"/>
              <a:ext cx="106560" cy="176400"/>
            </p14:xfrm>
          </p:contentPart>
        </mc:Choice>
        <mc:Fallback>
          <p:pic>
            <p:nvPicPr>
              <p:cNvPr id="40" name="Ink 39">
                <a:extLst>
                  <a:ext uri="{FF2B5EF4-FFF2-40B4-BE49-F238E27FC236}">
                    <a16:creationId xmlns:a16="http://schemas.microsoft.com/office/drawing/2014/main" id="{82705013-E558-D51E-C9DB-2855ED890229}"/>
                  </a:ext>
                </a:extLst>
              </p:cNvPr>
              <p:cNvPicPr/>
              <p:nvPr/>
            </p:nvPicPr>
            <p:blipFill>
              <a:blip r:embed="rId71"/>
              <a:stretch>
                <a:fillRect/>
              </a:stretch>
            </p:blipFill>
            <p:spPr>
              <a:xfrm>
                <a:off x="6464621" y="3033572"/>
                <a:ext cx="136800" cy="207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72">
            <p14:nvContentPartPr>
              <p14:cNvPr id="41" name="Ink 40">
                <a:extLst>
                  <a:ext uri="{FF2B5EF4-FFF2-40B4-BE49-F238E27FC236}">
                    <a16:creationId xmlns:a16="http://schemas.microsoft.com/office/drawing/2014/main" id="{A09758EC-2E14-FDBB-3E1B-F2A5FE4737E3}"/>
                  </a:ext>
                </a:extLst>
              </p14:cNvPr>
              <p14:cNvContentPartPr/>
              <p14:nvPr/>
            </p14:nvContentPartPr>
            <p14:xfrm>
              <a:off x="6674501" y="3133292"/>
              <a:ext cx="101880" cy="84600"/>
            </p14:xfrm>
          </p:contentPart>
        </mc:Choice>
        <mc:Fallback>
          <p:pic>
            <p:nvPicPr>
              <p:cNvPr id="41" name="Ink 40">
                <a:extLst>
                  <a:ext uri="{FF2B5EF4-FFF2-40B4-BE49-F238E27FC236}">
                    <a16:creationId xmlns:a16="http://schemas.microsoft.com/office/drawing/2014/main" id="{A09758EC-2E14-FDBB-3E1B-F2A5FE4737E3}"/>
                  </a:ext>
                </a:extLst>
              </p:cNvPr>
              <p:cNvPicPr/>
              <p:nvPr/>
            </p:nvPicPr>
            <p:blipFill>
              <a:blip r:embed="rId73"/>
              <a:stretch>
                <a:fillRect/>
              </a:stretch>
            </p:blipFill>
            <p:spPr>
              <a:xfrm>
                <a:off x="6659381" y="3118172"/>
                <a:ext cx="132120" cy="1148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74">
            <p14:nvContentPartPr>
              <p14:cNvPr id="42" name="Ink 41">
                <a:extLst>
                  <a:ext uri="{FF2B5EF4-FFF2-40B4-BE49-F238E27FC236}">
                    <a16:creationId xmlns:a16="http://schemas.microsoft.com/office/drawing/2014/main" id="{7AC16328-6AC6-A2B8-634F-422593C0017E}"/>
                  </a:ext>
                </a:extLst>
              </p14:cNvPr>
              <p14:cNvContentPartPr/>
              <p14:nvPr/>
            </p14:nvContentPartPr>
            <p14:xfrm>
              <a:off x="6634901" y="3129692"/>
              <a:ext cx="334440" cy="324720"/>
            </p14:xfrm>
          </p:contentPart>
        </mc:Choice>
        <mc:Fallback>
          <p:pic>
            <p:nvPicPr>
              <p:cNvPr id="42" name="Ink 41">
                <a:extLst>
                  <a:ext uri="{FF2B5EF4-FFF2-40B4-BE49-F238E27FC236}">
                    <a16:creationId xmlns:a16="http://schemas.microsoft.com/office/drawing/2014/main" id="{7AC16328-6AC6-A2B8-634F-422593C0017E}"/>
                  </a:ext>
                </a:extLst>
              </p:cNvPr>
              <p:cNvPicPr/>
              <p:nvPr/>
            </p:nvPicPr>
            <p:blipFill>
              <a:blip r:embed="rId75"/>
              <a:stretch>
                <a:fillRect/>
              </a:stretch>
            </p:blipFill>
            <p:spPr>
              <a:xfrm>
                <a:off x="6619781" y="3114572"/>
                <a:ext cx="365040" cy="3549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76">
            <p14:nvContentPartPr>
              <p14:cNvPr id="43" name="Ink 42">
                <a:extLst>
                  <a:ext uri="{FF2B5EF4-FFF2-40B4-BE49-F238E27FC236}">
                    <a16:creationId xmlns:a16="http://schemas.microsoft.com/office/drawing/2014/main" id="{8F61AD72-F6AE-08EC-1CBC-6B469E8F3763}"/>
                  </a:ext>
                </a:extLst>
              </p14:cNvPr>
              <p14:cNvContentPartPr/>
              <p14:nvPr/>
            </p14:nvContentPartPr>
            <p14:xfrm>
              <a:off x="6835061" y="3393212"/>
              <a:ext cx="29160" cy="146160"/>
            </p14:xfrm>
          </p:contentPart>
        </mc:Choice>
        <mc:Fallback>
          <p:pic>
            <p:nvPicPr>
              <p:cNvPr id="43" name="Ink 42">
                <a:extLst>
                  <a:ext uri="{FF2B5EF4-FFF2-40B4-BE49-F238E27FC236}">
                    <a16:creationId xmlns:a16="http://schemas.microsoft.com/office/drawing/2014/main" id="{8F61AD72-F6AE-08EC-1CBC-6B469E8F3763}"/>
                  </a:ext>
                </a:extLst>
              </p:cNvPr>
              <p:cNvPicPr/>
              <p:nvPr/>
            </p:nvPicPr>
            <p:blipFill>
              <a:blip r:embed="rId77"/>
              <a:stretch>
                <a:fillRect/>
              </a:stretch>
            </p:blipFill>
            <p:spPr>
              <a:xfrm>
                <a:off x="6819941" y="3377732"/>
                <a:ext cx="59760" cy="1764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78">
            <p14:nvContentPartPr>
              <p14:cNvPr id="44" name="Ink 43">
                <a:extLst>
                  <a:ext uri="{FF2B5EF4-FFF2-40B4-BE49-F238E27FC236}">
                    <a16:creationId xmlns:a16="http://schemas.microsoft.com/office/drawing/2014/main" id="{7E8D71EC-2B7F-53DF-0796-AB7483B79CC5}"/>
                  </a:ext>
                </a:extLst>
              </p14:cNvPr>
              <p14:cNvContentPartPr/>
              <p14:nvPr/>
            </p14:nvContentPartPr>
            <p14:xfrm>
              <a:off x="6939101" y="3413372"/>
              <a:ext cx="93600" cy="121680"/>
            </p14:xfrm>
          </p:contentPart>
        </mc:Choice>
        <mc:Fallback>
          <p:pic>
            <p:nvPicPr>
              <p:cNvPr id="44" name="Ink 43">
                <a:extLst>
                  <a:ext uri="{FF2B5EF4-FFF2-40B4-BE49-F238E27FC236}">
                    <a16:creationId xmlns:a16="http://schemas.microsoft.com/office/drawing/2014/main" id="{7E8D71EC-2B7F-53DF-0796-AB7483B79CC5}"/>
                  </a:ext>
                </a:extLst>
              </p:cNvPr>
              <p:cNvPicPr/>
              <p:nvPr/>
            </p:nvPicPr>
            <p:blipFill>
              <a:blip r:embed="rId79"/>
              <a:stretch>
                <a:fillRect/>
              </a:stretch>
            </p:blipFill>
            <p:spPr>
              <a:xfrm>
                <a:off x="6923621" y="3398252"/>
                <a:ext cx="123840" cy="1519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80">
            <p14:nvContentPartPr>
              <p14:cNvPr id="45" name="Ink 44">
                <a:extLst>
                  <a:ext uri="{FF2B5EF4-FFF2-40B4-BE49-F238E27FC236}">
                    <a16:creationId xmlns:a16="http://schemas.microsoft.com/office/drawing/2014/main" id="{96F1BABB-4706-EAB0-4918-D8A06B8284EE}"/>
                  </a:ext>
                </a:extLst>
              </p14:cNvPr>
              <p14:cNvContentPartPr/>
              <p14:nvPr/>
            </p14:nvContentPartPr>
            <p14:xfrm>
              <a:off x="7076621" y="3420932"/>
              <a:ext cx="110880" cy="109080"/>
            </p14:xfrm>
          </p:contentPart>
        </mc:Choice>
        <mc:Fallback>
          <p:pic>
            <p:nvPicPr>
              <p:cNvPr id="45" name="Ink 44">
                <a:extLst>
                  <a:ext uri="{FF2B5EF4-FFF2-40B4-BE49-F238E27FC236}">
                    <a16:creationId xmlns:a16="http://schemas.microsoft.com/office/drawing/2014/main" id="{96F1BABB-4706-EAB0-4918-D8A06B8284EE}"/>
                  </a:ext>
                </a:extLst>
              </p:cNvPr>
              <p:cNvPicPr/>
              <p:nvPr/>
            </p:nvPicPr>
            <p:blipFill>
              <a:blip r:embed="rId81"/>
              <a:stretch>
                <a:fillRect/>
              </a:stretch>
            </p:blipFill>
            <p:spPr>
              <a:xfrm>
                <a:off x="7061501" y="3405812"/>
                <a:ext cx="141120" cy="1396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82">
            <p14:nvContentPartPr>
              <p14:cNvPr id="46" name="Ink 45">
                <a:extLst>
                  <a:ext uri="{FF2B5EF4-FFF2-40B4-BE49-F238E27FC236}">
                    <a16:creationId xmlns:a16="http://schemas.microsoft.com/office/drawing/2014/main" id="{385C112E-949C-E0FA-6E7A-5C0835C19902}"/>
                  </a:ext>
                </a:extLst>
              </p14:cNvPr>
              <p14:cNvContentPartPr/>
              <p14:nvPr/>
            </p14:nvContentPartPr>
            <p14:xfrm>
              <a:off x="7683221" y="2906852"/>
              <a:ext cx="206640" cy="262080"/>
            </p14:xfrm>
          </p:contentPart>
        </mc:Choice>
        <mc:Fallback>
          <p:pic>
            <p:nvPicPr>
              <p:cNvPr id="46" name="Ink 45">
                <a:extLst>
                  <a:ext uri="{FF2B5EF4-FFF2-40B4-BE49-F238E27FC236}">
                    <a16:creationId xmlns:a16="http://schemas.microsoft.com/office/drawing/2014/main" id="{385C112E-949C-E0FA-6E7A-5C0835C19902}"/>
                  </a:ext>
                </a:extLst>
              </p:cNvPr>
              <p:cNvPicPr/>
              <p:nvPr/>
            </p:nvPicPr>
            <p:blipFill>
              <a:blip r:embed="rId83"/>
              <a:stretch>
                <a:fillRect/>
              </a:stretch>
            </p:blipFill>
            <p:spPr>
              <a:xfrm>
                <a:off x="7668101" y="2891732"/>
                <a:ext cx="237240" cy="2926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84">
            <p14:nvContentPartPr>
              <p14:cNvPr id="47" name="Ink 46">
                <a:extLst>
                  <a:ext uri="{FF2B5EF4-FFF2-40B4-BE49-F238E27FC236}">
                    <a16:creationId xmlns:a16="http://schemas.microsoft.com/office/drawing/2014/main" id="{901838C3-8E0D-E4BB-CE08-D8D5DD641358}"/>
                  </a:ext>
                </a:extLst>
              </p14:cNvPr>
              <p14:cNvContentPartPr/>
              <p14:nvPr/>
            </p14:nvContentPartPr>
            <p14:xfrm>
              <a:off x="7941341" y="2982812"/>
              <a:ext cx="100080" cy="259560"/>
            </p14:xfrm>
          </p:contentPart>
        </mc:Choice>
        <mc:Fallback>
          <p:pic>
            <p:nvPicPr>
              <p:cNvPr id="47" name="Ink 46">
                <a:extLst>
                  <a:ext uri="{FF2B5EF4-FFF2-40B4-BE49-F238E27FC236}">
                    <a16:creationId xmlns:a16="http://schemas.microsoft.com/office/drawing/2014/main" id="{901838C3-8E0D-E4BB-CE08-D8D5DD641358}"/>
                  </a:ext>
                </a:extLst>
              </p:cNvPr>
              <p:cNvPicPr/>
              <p:nvPr/>
            </p:nvPicPr>
            <p:blipFill>
              <a:blip r:embed="rId85"/>
              <a:stretch>
                <a:fillRect/>
              </a:stretch>
            </p:blipFill>
            <p:spPr>
              <a:xfrm>
                <a:off x="7925861" y="2967332"/>
                <a:ext cx="130680" cy="2898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86">
            <p14:nvContentPartPr>
              <p14:cNvPr id="48" name="Ink 47">
                <a:extLst>
                  <a:ext uri="{FF2B5EF4-FFF2-40B4-BE49-F238E27FC236}">
                    <a16:creationId xmlns:a16="http://schemas.microsoft.com/office/drawing/2014/main" id="{7F31796E-C1C9-D484-F52D-BC7E4EC39047}"/>
                  </a:ext>
                </a:extLst>
              </p14:cNvPr>
              <p14:cNvContentPartPr/>
              <p14:nvPr/>
            </p14:nvContentPartPr>
            <p14:xfrm>
              <a:off x="8206661" y="2967692"/>
              <a:ext cx="172800" cy="225720"/>
            </p14:xfrm>
          </p:contentPart>
        </mc:Choice>
        <mc:Fallback>
          <p:pic>
            <p:nvPicPr>
              <p:cNvPr id="48" name="Ink 47">
                <a:extLst>
                  <a:ext uri="{FF2B5EF4-FFF2-40B4-BE49-F238E27FC236}">
                    <a16:creationId xmlns:a16="http://schemas.microsoft.com/office/drawing/2014/main" id="{7F31796E-C1C9-D484-F52D-BC7E4EC39047}"/>
                  </a:ext>
                </a:extLst>
              </p:cNvPr>
              <p:cNvPicPr/>
              <p:nvPr/>
            </p:nvPicPr>
            <p:blipFill>
              <a:blip r:embed="rId87"/>
              <a:stretch>
                <a:fillRect/>
              </a:stretch>
            </p:blipFill>
            <p:spPr>
              <a:xfrm>
                <a:off x="8191181" y="2952572"/>
                <a:ext cx="203400" cy="256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88">
            <p14:nvContentPartPr>
              <p14:cNvPr id="49" name="Ink 48">
                <a:extLst>
                  <a:ext uri="{FF2B5EF4-FFF2-40B4-BE49-F238E27FC236}">
                    <a16:creationId xmlns:a16="http://schemas.microsoft.com/office/drawing/2014/main" id="{9B864216-48B8-FC1A-4241-7F3399E3FF33}"/>
                  </a:ext>
                </a:extLst>
              </p14:cNvPr>
              <p14:cNvContentPartPr/>
              <p14:nvPr/>
            </p14:nvContentPartPr>
            <p14:xfrm>
              <a:off x="8255981" y="3098012"/>
              <a:ext cx="92520" cy="40680"/>
            </p14:xfrm>
          </p:contentPart>
        </mc:Choice>
        <mc:Fallback>
          <p:pic>
            <p:nvPicPr>
              <p:cNvPr id="49" name="Ink 48">
                <a:extLst>
                  <a:ext uri="{FF2B5EF4-FFF2-40B4-BE49-F238E27FC236}">
                    <a16:creationId xmlns:a16="http://schemas.microsoft.com/office/drawing/2014/main" id="{9B864216-48B8-FC1A-4241-7F3399E3FF33}"/>
                  </a:ext>
                </a:extLst>
              </p:cNvPr>
              <p:cNvPicPr/>
              <p:nvPr/>
            </p:nvPicPr>
            <p:blipFill>
              <a:blip r:embed="rId89"/>
              <a:stretch>
                <a:fillRect/>
              </a:stretch>
            </p:blipFill>
            <p:spPr>
              <a:xfrm>
                <a:off x="8240861" y="3082892"/>
                <a:ext cx="123120" cy="712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90">
            <p14:nvContentPartPr>
              <p14:cNvPr id="50" name="Ink 49">
                <a:extLst>
                  <a:ext uri="{FF2B5EF4-FFF2-40B4-BE49-F238E27FC236}">
                    <a16:creationId xmlns:a16="http://schemas.microsoft.com/office/drawing/2014/main" id="{B9CD395E-2DF7-6F26-3A00-DEC2D2E1902F}"/>
                  </a:ext>
                </a:extLst>
              </p14:cNvPr>
              <p14:cNvContentPartPr/>
              <p14:nvPr/>
            </p14:nvContentPartPr>
            <p14:xfrm>
              <a:off x="8491421" y="3023852"/>
              <a:ext cx="135360" cy="200880"/>
            </p14:xfrm>
          </p:contentPart>
        </mc:Choice>
        <mc:Fallback>
          <p:pic>
            <p:nvPicPr>
              <p:cNvPr id="50" name="Ink 49">
                <a:extLst>
                  <a:ext uri="{FF2B5EF4-FFF2-40B4-BE49-F238E27FC236}">
                    <a16:creationId xmlns:a16="http://schemas.microsoft.com/office/drawing/2014/main" id="{B9CD395E-2DF7-6F26-3A00-DEC2D2E1902F}"/>
                  </a:ext>
                </a:extLst>
              </p:cNvPr>
              <p:cNvPicPr/>
              <p:nvPr/>
            </p:nvPicPr>
            <p:blipFill>
              <a:blip r:embed="rId91"/>
              <a:stretch>
                <a:fillRect/>
              </a:stretch>
            </p:blipFill>
            <p:spPr>
              <a:xfrm>
                <a:off x="8476301" y="3008732"/>
                <a:ext cx="165600" cy="2314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92">
            <p14:nvContentPartPr>
              <p14:cNvPr id="51" name="Ink 50">
                <a:extLst>
                  <a:ext uri="{FF2B5EF4-FFF2-40B4-BE49-F238E27FC236}">
                    <a16:creationId xmlns:a16="http://schemas.microsoft.com/office/drawing/2014/main" id="{66969F89-2F13-D52D-56F3-4E8930DF994D}"/>
                  </a:ext>
                </a:extLst>
              </p14:cNvPr>
              <p14:cNvContentPartPr/>
              <p14:nvPr/>
            </p14:nvContentPartPr>
            <p14:xfrm>
              <a:off x="8754941" y="3032132"/>
              <a:ext cx="144360" cy="183960"/>
            </p14:xfrm>
          </p:contentPart>
        </mc:Choice>
        <mc:Fallback>
          <p:pic>
            <p:nvPicPr>
              <p:cNvPr id="51" name="Ink 50">
                <a:extLst>
                  <a:ext uri="{FF2B5EF4-FFF2-40B4-BE49-F238E27FC236}">
                    <a16:creationId xmlns:a16="http://schemas.microsoft.com/office/drawing/2014/main" id="{66969F89-2F13-D52D-56F3-4E8930DF994D}"/>
                  </a:ext>
                </a:extLst>
              </p:cNvPr>
              <p:cNvPicPr/>
              <p:nvPr/>
            </p:nvPicPr>
            <p:blipFill>
              <a:blip r:embed="rId93"/>
              <a:stretch>
                <a:fillRect/>
              </a:stretch>
            </p:blipFill>
            <p:spPr>
              <a:xfrm>
                <a:off x="8739821" y="3016652"/>
                <a:ext cx="174600" cy="2142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94">
            <p14:nvContentPartPr>
              <p14:cNvPr id="52" name="Ink 51">
                <a:extLst>
                  <a:ext uri="{FF2B5EF4-FFF2-40B4-BE49-F238E27FC236}">
                    <a16:creationId xmlns:a16="http://schemas.microsoft.com/office/drawing/2014/main" id="{C0FCAFE0-8DF9-C555-1FAB-50AEDAD0E9FA}"/>
                  </a:ext>
                </a:extLst>
              </p14:cNvPr>
              <p14:cNvContentPartPr/>
              <p14:nvPr/>
            </p14:nvContentPartPr>
            <p14:xfrm>
              <a:off x="8977781" y="3023492"/>
              <a:ext cx="70560" cy="221400"/>
            </p14:xfrm>
          </p:contentPart>
        </mc:Choice>
        <mc:Fallback>
          <p:pic>
            <p:nvPicPr>
              <p:cNvPr id="52" name="Ink 51">
                <a:extLst>
                  <a:ext uri="{FF2B5EF4-FFF2-40B4-BE49-F238E27FC236}">
                    <a16:creationId xmlns:a16="http://schemas.microsoft.com/office/drawing/2014/main" id="{C0FCAFE0-8DF9-C555-1FAB-50AEDAD0E9FA}"/>
                  </a:ext>
                </a:extLst>
              </p:cNvPr>
              <p:cNvPicPr/>
              <p:nvPr/>
            </p:nvPicPr>
            <p:blipFill>
              <a:blip r:embed="rId95"/>
              <a:stretch>
                <a:fillRect/>
              </a:stretch>
            </p:blipFill>
            <p:spPr>
              <a:xfrm>
                <a:off x="8962661" y="3008012"/>
                <a:ext cx="101160" cy="252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96">
            <p14:nvContentPartPr>
              <p14:cNvPr id="53" name="Ink 52">
                <a:extLst>
                  <a:ext uri="{FF2B5EF4-FFF2-40B4-BE49-F238E27FC236}">
                    <a16:creationId xmlns:a16="http://schemas.microsoft.com/office/drawing/2014/main" id="{0EE40C64-3C4E-A6B5-FC49-380AAE9DFD79}"/>
                  </a:ext>
                </a:extLst>
              </p14:cNvPr>
              <p14:cNvContentPartPr/>
              <p14:nvPr/>
            </p14:nvContentPartPr>
            <p14:xfrm>
              <a:off x="9118181" y="3076412"/>
              <a:ext cx="122040" cy="17280"/>
            </p14:xfrm>
          </p:contentPart>
        </mc:Choice>
        <mc:Fallback>
          <p:pic>
            <p:nvPicPr>
              <p:cNvPr id="53" name="Ink 52">
                <a:extLst>
                  <a:ext uri="{FF2B5EF4-FFF2-40B4-BE49-F238E27FC236}">
                    <a16:creationId xmlns:a16="http://schemas.microsoft.com/office/drawing/2014/main" id="{0EE40C64-3C4E-A6B5-FC49-380AAE9DFD79}"/>
                  </a:ext>
                </a:extLst>
              </p:cNvPr>
              <p:cNvPicPr/>
              <p:nvPr/>
            </p:nvPicPr>
            <p:blipFill>
              <a:blip r:embed="rId97"/>
              <a:stretch>
                <a:fillRect/>
              </a:stretch>
            </p:blipFill>
            <p:spPr>
              <a:xfrm>
                <a:off x="9103061" y="3060932"/>
                <a:ext cx="152640" cy="478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98">
            <p14:nvContentPartPr>
              <p14:cNvPr id="54" name="Ink 53">
                <a:extLst>
                  <a:ext uri="{FF2B5EF4-FFF2-40B4-BE49-F238E27FC236}">
                    <a16:creationId xmlns:a16="http://schemas.microsoft.com/office/drawing/2014/main" id="{3C52C55A-B7FF-BC0C-C367-D29A513BD48D}"/>
                  </a:ext>
                </a:extLst>
              </p14:cNvPr>
              <p14:cNvContentPartPr/>
              <p14:nvPr/>
            </p14:nvContentPartPr>
            <p14:xfrm>
              <a:off x="9121061" y="3166772"/>
              <a:ext cx="111600" cy="25920"/>
            </p14:xfrm>
          </p:contentPart>
        </mc:Choice>
        <mc:Fallback>
          <p:pic>
            <p:nvPicPr>
              <p:cNvPr id="54" name="Ink 53">
                <a:extLst>
                  <a:ext uri="{FF2B5EF4-FFF2-40B4-BE49-F238E27FC236}">
                    <a16:creationId xmlns:a16="http://schemas.microsoft.com/office/drawing/2014/main" id="{3C52C55A-B7FF-BC0C-C367-D29A513BD48D}"/>
                  </a:ext>
                </a:extLst>
              </p:cNvPr>
              <p:cNvPicPr/>
              <p:nvPr/>
            </p:nvPicPr>
            <p:blipFill>
              <a:blip r:embed="rId99"/>
              <a:stretch>
                <a:fillRect/>
              </a:stretch>
            </p:blipFill>
            <p:spPr>
              <a:xfrm>
                <a:off x="9105941" y="3151292"/>
                <a:ext cx="142200" cy="565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00">
            <p14:nvContentPartPr>
              <p14:cNvPr id="55" name="Ink 54">
                <a:extLst>
                  <a:ext uri="{FF2B5EF4-FFF2-40B4-BE49-F238E27FC236}">
                    <a16:creationId xmlns:a16="http://schemas.microsoft.com/office/drawing/2014/main" id="{C881C0A0-09EF-01F2-361F-C8FA1C05E989}"/>
                  </a:ext>
                </a:extLst>
              </p14:cNvPr>
              <p14:cNvContentPartPr/>
              <p14:nvPr/>
            </p14:nvContentPartPr>
            <p14:xfrm>
              <a:off x="9362981" y="2975612"/>
              <a:ext cx="260640" cy="149040"/>
            </p14:xfrm>
          </p:contentPart>
        </mc:Choice>
        <mc:Fallback>
          <p:pic>
            <p:nvPicPr>
              <p:cNvPr id="55" name="Ink 54">
                <a:extLst>
                  <a:ext uri="{FF2B5EF4-FFF2-40B4-BE49-F238E27FC236}">
                    <a16:creationId xmlns:a16="http://schemas.microsoft.com/office/drawing/2014/main" id="{C881C0A0-09EF-01F2-361F-C8FA1C05E989}"/>
                  </a:ext>
                </a:extLst>
              </p:cNvPr>
              <p:cNvPicPr/>
              <p:nvPr/>
            </p:nvPicPr>
            <p:blipFill>
              <a:blip r:embed="rId101"/>
              <a:stretch>
                <a:fillRect/>
              </a:stretch>
            </p:blipFill>
            <p:spPr>
              <a:xfrm>
                <a:off x="9347861" y="2960492"/>
                <a:ext cx="291240" cy="1796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02">
            <p14:nvContentPartPr>
              <p14:cNvPr id="56" name="Ink 55">
                <a:extLst>
                  <a:ext uri="{FF2B5EF4-FFF2-40B4-BE49-F238E27FC236}">
                    <a16:creationId xmlns:a16="http://schemas.microsoft.com/office/drawing/2014/main" id="{49D442F9-0F2E-9EF2-B108-DE097A84B5A1}"/>
                  </a:ext>
                </a:extLst>
              </p14:cNvPr>
              <p14:cNvContentPartPr/>
              <p14:nvPr/>
            </p14:nvContentPartPr>
            <p14:xfrm>
              <a:off x="9283421" y="3262532"/>
              <a:ext cx="477000" cy="29520"/>
            </p14:xfrm>
          </p:contentPart>
        </mc:Choice>
        <mc:Fallback>
          <p:pic>
            <p:nvPicPr>
              <p:cNvPr id="56" name="Ink 55">
                <a:extLst>
                  <a:ext uri="{FF2B5EF4-FFF2-40B4-BE49-F238E27FC236}">
                    <a16:creationId xmlns:a16="http://schemas.microsoft.com/office/drawing/2014/main" id="{49D442F9-0F2E-9EF2-B108-DE097A84B5A1}"/>
                  </a:ext>
                </a:extLst>
              </p:cNvPr>
              <p:cNvPicPr/>
              <p:nvPr/>
            </p:nvPicPr>
            <p:blipFill>
              <a:blip r:embed="rId103"/>
              <a:stretch>
                <a:fillRect/>
              </a:stretch>
            </p:blipFill>
            <p:spPr>
              <a:xfrm>
                <a:off x="9268301" y="3247052"/>
                <a:ext cx="507600" cy="60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04">
            <p14:nvContentPartPr>
              <p14:cNvPr id="57" name="Ink 56">
                <a:extLst>
                  <a:ext uri="{FF2B5EF4-FFF2-40B4-BE49-F238E27FC236}">
                    <a16:creationId xmlns:a16="http://schemas.microsoft.com/office/drawing/2014/main" id="{BFB56DE6-5D83-6D81-5C38-76E39695D685}"/>
                  </a:ext>
                </a:extLst>
              </p14:cNvPr>
              <p14:cNvContentPartPr/>
              <p14:nvPr/>
            </p14:nvContentPartPr>
            <p14:xfrm>
              <a:off x="9384221" y="3381332"/>
              <a:ext cx="40320" cy="193320"/>
            </p14:xfrm>
          </p:contentPart>
        </mc:Choice>
        <mc:Fallback>
          <p:pic>
            <p:nvPicPr>
              <p:cNvPr id="57" name="Ink 56">
                <a:extLst>
                  <a:ext uri="{FF2B5EF4-FFF2-40B4-BE49-F238E27FC236}">
                    <a16:creationId xmlns:a16="http://schemas.microsoft.com/office/drawing/2014/main" id="{BFB56DE6-5D83-6D81-5C38-76E39695D685}"/>
                  </a:ext>
                </a:extLst>
              </p:cNvPr>
              <p:cNvPicPr/>
              <p:nvPr/>
            </p:nvPicPr>
            <p:blipFill>
              <a:blip r:embed="rId105"/>
              <a:stretch>
                <a:fillRect/>
              </a:stretch>
            </p:blipFill>
            <p:spPr>
              <a:xfrm>
                <a:off x="9369101" y="3365852"/>
                <a:ext cx="70560" cy="2235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06">
            <p14:nvContentPartPr>
              <p14:cNvPr id="58" name="Ink 57">
                <a:extLst>
                  <a:ext uri="{FF2B5EF4-FFF2-40B4-BE49-F238E27FC236}">
                    <a16:creationId xmlns:a16="http://schemas.microsoft.com/office/drawing/2014/main" id="{FC3966A1-BBCC-1874-DAC6-0A27671661A1}"/>
                  </a:ext>
                </a:extLst>
              </p14:cNvPr>
              <p14:cNvContentPartPr/>
              <p14:nvPr/>
            </p14:nvContentPartPr>
            <p14:xfrm>
              <a:off x="9536141" y="3422732"/>
              <a:ext cx="91800" cy="133560"/>
            </p14:xfrm>
          </p:contentPart>
        </mc:Choice>
        <mc:Fallback>
          <p:pic>
            <p:nvPicPr>
              <p:cNvPr id="58" name="Ink 57">
                <a:extLst>
                  <a:ext uri="{FF2B5EF4-FFF2-40B4-BE49-F238E27FC236}">
                    <a16:creationId xmlns:a16="http://schemas.microsoft.com/office/drawing/2014/main" id="{FC3966A1-BBCC-1874-DAC6-0A27671661A1}"/>
                  </a:ext>
                </a:extLst>
              </p:cNvPr>
              <p:cNvPicPr/>
              <p:nvPr/>
            </p:nvPicPr>
            <p:blipFill>
              <a:blip r:embed="rId107"/>
              <a:stretch>
                <a:fillRect/>
              </a:stretch>
            </p:blipFill>
            <p:spPr>
              <a:xfrm>
                <a:off x="9521021" y="3407612"/>
                <a:ext cx="122400" cy="1638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08">
            <p14:nvContentPartPr>
              <p14:cNvPr id="59" name="Ink 58">
                <a:extLst>
                  <a:ext uri="{FF2B5EF4-FFF2-40B4-BE49-F238E27FC236}">
                    <a16:creationId xmlns:a16="http://schemas.microsoft.com/office/drawing/2014/main" id="{A44797C1-9E02-7B07-332A-BAB81737798E}"/>
                  </a:ext>
                </a:extLst>
              </p14:cNvPr>
              <p14:cNvContentPartPr/>
              <p14:nvPr/>
            </p14:nvContentPartPr>
            <p14:xfrm>
              <a:off x="9741701" y="3441452"/>
              <a:ext cx="104040" cy="126720"/>
            </p14:xfrm>
          </p:contentPart>
        </mc:Choice>
        <mc:Fallback>
          <p:pic>
            <p:nvPicPr>
              <p:cNvPr id="59" name="Ink 58">
                <a:extLst>
                  <a:ext uri="{FF2B5EF4-FFF2-40B4-BE49-F238E27FC236}">
                    <a16:creationId xmlns:a16="http://schemas.microsoft.com/office/drawing/2014/main" id="{A44797C1-9E02-7B07-332A-BAB81737798E}"/>
                  </a:ext>
                </a:extLst>
              </p:cNvPr>
              <p:cNvPicPr/>
              <p:nvPr/>
            </p:nvPicPr>
            <p:blipFill>
              <a:blip r:embed="rId109"/>
              <a:stretch>
                <a:fillRect/>
              </a:stretch>
            </p:blipFill>
            <p:spPr>
              <a:xfrm>
                <a:off x="9726581" y="3426332"/>
                <a:ext cx="134640" cy="157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10">
            <p14:nvContentPartPr>
              <p14:cNvPr id="60" name="Ink 59">
                <a:extLst>
                  <a:ext uri="{FF2B5EF4-FFF2-40B4-BE49-F238E27FC236}">
                    <a16:creationId xmlns:a16="http://schemas.microsoft.com/office/drawing/2014/main" id="{4AF96710-ACDE-9222-58BE-DE035BDB79F9}"/>
                  </a:ext>
                </a:extLst>
              </p14:cNvPr>
              <p14:cNvContentPartPr/>
              <p14:nvPr/>
            </p14:nvContentPartPr>
            <p14:xfrm>
              <a:off x="7993901" y="3369812"/>
              <a:ext cx="791640" cy="95760"/>
            </p14:xfrm>
          </p:contentPart>
        </mc:Choice>
        <mc:Fallback>
          <p:pic>
            <p:nvPicPr>
              <p:cNvPr id="60" name="Ink 59">
                <a:extLst>
                  <a:ext uri="{FF2B5EF4-FFF2-40B4-BE49-F238E27FC236}">
                    <a16:creationId xmlns:a16="http://schemas.microsoft.com/office/drawing/2014/main" id="{4AF96710-ACDE-9222-58BE-DE035BDB79F9}"/>
                  </a:ext>
                </a:extLst>
              </p:cNvPr>
              <p:cNvPicPr/>
              <p:nvPr/>
            </p:nvPicPr>
            <p:blipFill>
              <a:blip r:embed="rId111"/>
              <a:stretch>
                <a:fillRect/>
              </a:stretch>
            </p:blipFill>
            <p:spPr>
              <a:xfrm>
                <a:off x="7978781" y="3354332"/>
                <a:ext cx="821880" cy="12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12">
            <p14:nvContentPartPr>
              <p14:cNvPr id="61" name="Ink 60">
                <a:extLst>
                  <a:ext uri="{FF2B5EF4-FFF2-40B4-BE49-F238E27FC236}">
                    <a16:creationId xmlns:a16="http://schemas.microsoft.com/office/drawing/2014/main" id="{CB4428D7-8F55-3E45-F946-8CF03701EB82}"/>
                  </a:ext>
                </a:extLst>
              </p14:cNvPr>
              <p14:cNvContentPartPr/>
              <p14:nvPr/>
            </p14:nvContentPartPr>
            <p14:xfrm>
              <a:off x="8092181" y="3544412"/>
              <a:ext cx="704880" cy="54360"/>
            </p14:xfrm>
          </p:contentPart>
        </mc:Choice>
        <mc:Fallback>
          <p:pic>
            <p:nvPicPr>
              <p:cNvPr id="61" name="Ink 60">
                <a:extLst>
                  <a:ext uri="{FF2B5EF4-FFF2-40B4-BE49-F238E27FC236}">
                    <a16:creationId xmlns:a16="http://schemas.microsoft.com/office/drawing/2014/main" id="{CB4428D7-8F55-3E45-F946-8CF03701EB82}"/>
                  </a:ext>
                </a:extLst>
              </p:cNvPr>
              <p:cNvPicPr/>
              <p:nvPr/>
            </p:nvPicPr>
            <p:blipFill>
              <a:blip r:embed="rId113"/>
              <a:stretch>
                <a:fillRect/>
              </a:stretch>
            </p:blipFill>
            <p:spPr>
              <a:xfrm>
                <a:off x="8077061" y="3529292"/>
                <a:ext cx="735480" cy="849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14">
            <p14:nvContentPartPr>
              <p14:cNvPr id="62" name="Ink 61">
                <a:extLst>
                  <a:ext uri="{FF2B5EF4-FFF2-40B4-BE49-F238E27FC236}">
                    <a16:creationId xmlns:a16="http://schemas.microsoft.com/office/drawing/2014/main" id="{7F17FCF1-21A1-80A5-9496-31875E76DBBC}"/>
                  </a:ext>
                </a:extLst>
              </p14:cNvPr>
              <p14:cNvContentPartPr/>
              <p14:nvPr/>
            </p14:nvContentPartPr>
            <p14:xfrm>
              <a:off x="2038061" y="4076132"/>
              <a:ext cx="43560" cy="244800"/>
            </p14:xfrm>
          </p:contentPart>
        </mc:Choice>
        <mc:Fallback>
          <p:pic>
            <p:nvPicPr>
              <p:cNvPr id="62" name="Ink 61">
                <a:extLst>
                  <a:ext uri="{FF2B5EF4-FFF2-40B4-BE49-F238E27FC236}">
                    <a16:creationId xmlns:a16="http://schemas.microsoft.com/office/drawing/2014/main" id="{7F17FCF1-21A1-80A5-9496-31875E76DBBC}"/>
                  </a:ext>
                </a:extLst>
              </p:cNvPr>
              <p:cNvPicPr/>
              <p:nvPr/>
            </p:nvPicPr>
            <p:blipFill>
              <a:blip r:embed="rId115"/>
              <a:stretch>
                <a:fillRect/>
              </a:stretch>
            </p:blipFill>
            <p:spPr>
              <a:xfrm>
                <a:off x="2022941" y="4061012"/>
                <a:ext cx="73800" cy="2754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16">
            <p14:nvContentPartPr>
              <p14:cNvPr id="63" name="Ink 62">
                <a:extLst>
                  <a:ext uri="{FF2B5EF4-FFF2-40B4-BE49-F238E27FC236}">
                    <a16:creationId xmlns:a16="http://schemas.microsoft.com/office/drawing/2014/main" id="{52C5660F-392C-B760-355D-F73BE5F6A9AB}"/>
                  </a:ext>
                </a:extLst>
              </p14:cNvPr>
              <p14:cNvContentPartPr/>
              <p14:nvPr/>
            </p14:nvContentPartPr>
            <p14:xfrm>
              <a:off x="2063621" y="3978572"/>
              <a:ext cx="158040" cy="175320"/>
            </p14:xfrm>
          </p:contentPart>
        </mc:Choice>
        <mc:Fallback>
          <p:pic>
            <p:nvPicPr>
              <p:cNvPr id="63" name="Ink 62">
                <a:extLst>
                  <a:ext uri="{FF2B5EF4-FFF2-40B4-BE49-F238E27FC236}">
                    <a16:creationId xmlns:a16="http://schemas.microsoft.com/office/drawing/2014/main" id="{52C5660F-392C-B760-355D-F73BE5F6A9AB}"/>
                  </a:ext>
                </a:extLst>
              </p:cNvPr>
              <p:cNvPicPr/>
              <p:nvPr/>
            </p:nvPicPr>
            <p:blipFill>
              <a:blip r:embed="rId117"/>
              <a:stretch>
                <a:fillRect/>
              </a:stretch>
            </p:blipFill>
            <p:spPr>
              <a:xfrm>
                <a:off x="2048141" y="3963092"/>
                <a:ext cx="188640" cy="2059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18">
            <p14:nvContentPartPr>
              <p14:cNvPr id="64" name="Ink 63">
                <a:extLst>
                  <a:ext uri="{FF2B5EF4-FFF2-40B4-BE49-F238E27FC236}">
                    <a16:creationId xmlns:a16="http://schemas.microsoft.com/office/drawing/2014/main" id="{F6BA12EF-422B-FF8A-6365-A42E71E534CF}"/>
                  </a:ext>
                </a:extLst>
              </p14:cNvPr>
              <p14:cNvContentPartPr/>
              <p14:nvPr/>
            </p14:nvContentPartPr>
            <p14:xfrm>
              <a:off x="2342981" y="3943292"/>
              <a:ext cx="120960" cy="322560"/>
            </p14:xfrm>
          </p:contentPart>
        </mc:Choice>
        <mc:Fallback>
          <p:pic>
            <p:nvPicPr>
              <p:cNvPr id="64" name="Ink 63">
                <a:extLst>
                  <a:ext uri="{FF2B5EF4-FFF2-40B4-BE49-F238E27FC236}">
                    <a16:creationId xmlns:a16="http://schemas.microsoft.com/office/drawing/2014/main" id="{F6BA12EF-422B-FF8A-6365-A42E71E534CF}"/>
                  </a:ext>
                </a:extLst>
              </p:cNvPr>
              <p:cNvPicPr/>
              <p:nvPr/>
            </p:nvPicPr>
            <p:blipFill>
              <a:blip r:embed="rId119"/>
              <a:stretch>
                <a:fillRect/>
              </a:stretch>
            </p:blipFill>
            <p:spPr>
              <a:xfrm>
                <a:off x="2327501" y="3928172"/>
                <a:ext cx="151560" cy="3528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20">
            <p14:nvContentPartPr>
              <p14:cNvPr id="65" name="Ink 64">
                <a:extLst>
                  <a:ext uri="{FF2B5EF4-FFF2-40B4-BE49-F238E27FC236}">
                    <a16:creationId xmlns:a16="http://schemas.microsoft.com/office/drawing/2014/main" id="{F3EE0C84-7826-B621-3C2A-A449F3600242}"/>
                  </a:ext>
                </a:extLst>
              </p14:cNvPr>
              <p14:cNvContentPartPr/>
              <p14:nvPr/>
            </p14:nvContentPartPr>
            <p14:xfrm>
              <a:off x="3076661" y="3927812"/>
              <a:ext cx="22320" cy="297000"/>
            </p14:xfrm>
          </p:contentPart>
        </mc:Choice>
        <mc:Fallback>
          <p:pic>
            <p:nvPicPr>
              <p:cNvPr id="65" name="Ink 64">
                <a:extLst>
                  <a:ext uri="{FF2B5EF4-FFF2-40B4-BE49-F238E27FC236}">
                    <a16:creationId xmlns:a16="http://schemas.microsoft.com/office/drawing/2014/main" id="{F3EE0C84-7826-B621-3C2A-A449F3600242}"/>
                  </a:ext>
                </a:extLst>
              </p:cNvPr>
              <p:cNvPicPr/>
              <p:nvPr/>
            </p:nvPicPr>
            <p:blipFill>
              <a:blip r:embed="rId121"/>
              <a:stretch>
                <a:fillRect/>
              </a:stretch>
            </p:blipFill>
            <p:spPr>
              <a:xfrm>
                <a:off x="3061181" y="3912692"/>
                <a:ext cx="52920" cy="327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22">
            <p14:nvContentPartPr>
              <p14:cNvPr id="66" name="Ink 65">
                <a:extLst>
                  <a:ext uri="{FF2B5EF4-FFF2-40B4-BE49-F238E27FC236}">
                    <a16:creationId xmlns:a16="http://schemas.microsoft.com/office/drawing/2014/main" id="{C94B4D54-9D2F-59BB-EF84-D53214C8A323}"/>
                  </a:ext>
                </a:extLst>
              </p14:cNvPr>
              <p14:cNvContentPartPr/>
              <p14:nvPr/>
            </p14:nvContentPartPr>
            <p14:xfrm>
              <a:off x="3195821" y="3988292"/>
              <a:ext cx="156240" cy="207720"/>
            </p14:xfrm>
          </p:contentPart>
        </mc:Choice>
        <mc:Fallback>
          <p:pic>
            <p:nvPicPr>
              <p:cNvPr id="66" name="Ink 65">
                <a:extLst>
                  <a:ext uri="{FF2B5EF4-FFF2-40B4-BE49-F238E27FC236}">
                    <a16:creationId xmlns:a16="http://schemas.microsoft.com/office/drawing/2014/main" id="{C94B4D54-9D2F-59BB-EF84-D53214C8A323}"/>
                  </a:ext>
                </a:extLst>
              </p:cNvPr>
              <p:cNvPicPr/>
              <p:nvPr/>
            </p:nvPicPr>
            <p:blipFill>
              <a:blip r:embed="rId123"/>
              <a:stretch>
                <a:fillRect/>
              </a:stretch>
            </p:blipFill>
            <p:spPr>
              <a:xfrm>
                <a:off x="3180701" y="3973172"/>
                <a:ext cx="186840" cy="2379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24">
            <p14:nvContentPartPr>
              <p14:cNvPr id="67" name="Ink 66">
                <a:extLst>
                  <a:ext uri="{FF2B5EF4-FFF2-40B4-BE49-F238E27FC236}">
                    <a16:creationId xmlns:a16="http://schemas.microsoft.com/office/drawing/2014/main" id="{7D7BDA47-B338-3929-599C-4145883FED6A}"/>
                  </a:ext>
                </a:extLst>
              </p14:cNvPr>
              <p14:cNvContentPartPr/>
              <p14:nvPr/>
            </p14:nvContentPartPr>
            <p14:xfrm>
              <a:off x="3235421" y="4086212"/>
              <a:ext cx="114480" cy="42120"/>
            </p14:xfrm>
          </p:contentPart>
        </mc:Choice>
        <mc:Fallback>
          <p:pic>
            <p:nvPicPr>
              <p:cNvPr id="67" name="Ink 66">
                <a:extLst>
                  <a:ext uri="{FF2B5EF4-FFF2-40B4-BE49-F238E27FC236}">
                    <a16:creationId xmlns:a16="http://schemas.microsoft.com/office/drawing/2014/main" id="{7D7BDA47-B338-3929-599C-4145883FED6A}"/>
                  </a:ext>
                </a:extLst>
              </p:cNvPr>
              <p:cNvPicPr/>
              <p:nvPr/>
            </p:nvPicPr>
            <p:blipFill>
              <a:blip r:embed="rId125"/>
              <a:stretch>
                <a:fillRect/>
              </a:stretch>
            </p:blipFill>
            <p:spPr>
              <a:xfrm>
                <a:off x="3219941" y="4071092"/>
                <a:ext cx="145080" cy="72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26">
            <p14:nvContentPartPr>
              <p14:cNvPr id="68" name="Ink 67">
                <a:extLst>
                  <a:ext uri="{FF2B5EF4-FFF2-40B4-BE49-F238E27FC236}">
                    <a16:creationId xmlns:a16="http://schemas.microsoft.com/office/drawing/2014/main" id="{90AF1F66-0B3A-4CCA-E7E4-2B9C30B5B683}"/>
                  </a:ext>
                </a:extLst>
              </p14:cNvPr>
              <p14:cNvContentPartPr/>
              <p14:nvPr/>
            </p14:nvContentPartPr>
            <p14:xfrm>
              <a:off x="2625941" y="3988292"/>
              <a:ext cx="27720" cy="254160"/>
            </p14:xfrm>
          </p:contentPart>
        </mc:Choice>
        <mc:Fallback>
          <p:pic>
            <p:nvPicPr>
              <p:cNvPr id="68" name="Ink 67">
                <a:extLst>
                  <a:ext uri="{FF2B5EF4-FFF2-40B4-BE49-F238E27FC236}">
                    <a16:creationId xmlns:a16="http://schemas.microsoft.com/office/drawing/2014/main" id="{90AF1F66-0B3A-4CCA-E7E4-2B9C30B5B683}"/>
                  </a:ext>
                </a:extLst>
              </p:cNvPr>
              <p:cNvPicPr/>
              <p:nvPr/>
            </p:nvPicPr>
            <p:blipFill>
              <a:blip r:embed="rId127"/>
              <a:stretch>
                <a:fillRect/>
              </a:stretch>
            </p:blipFill>
            <p:spPr>
              <a:xfrm>
                <a:off x="2610821" y="3972812"/>
                <a:ext cx="58320" cy="2847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28">
            <p14:nvContentPartPr>
              <p14:cNvPr id="69" name="Ink 68">
                <a:extLst>
                  <a:ext uri="{FF2B5EF4-FFF2-40B4-BE49-F238E27FC236}">
                    <a16:creationId xmlns:a16="http://schemas.microsoft.com/office/drawing/2014/main" id="{F8D970E1-AD7D-A187-1797-152984C428D2}"/>
                  </a:ext>
                </a:extLst>
              </p14:cNvPr>
              <p14:cNvContentPartPr/>
              <p14:nvPr/>
            </p14:nvContentPartPr>
            <p14:xfrm>
              <a:off x="2633141" y="3992252"/>
              <a:ext cx="148680" cy="248760"/>
            </p14:xfrm>
          </p:contentPart>
        </mc:Choice>
        <mc:Fallback>
          <p:pic>
            <p:nvPicPr>
              <p:cNvPr id="69" name="Ink 68">
                <a:extLst>
                  <a:ext uri="{FF2B5EF4-FFF2-40B4-BE49-F238E27FC236}">
                    <a16:creationId xmlns:a16="http://schemas.microsoft.com/office/drawing/2014/main" id="{F8D970E1-AD7D-A187-1797-152984C428D2}"/>
                  </a:ext>
                </a:extLst>
              </p:cNvPr>
              <p:cNvPicPr/>
              <p:nvPr/>
            </p:nvPicPr>
            <p:blipFill>
              <a:blip r:embed="rId129"/>
              <a:stretch>
                <a:fillRect/>
              </a:stretch>
            </p:blipFill>
            <p:spPr>
              <a:xfrm>
                <a:off x="2618021" y="3977132"/>
                <a:ext cx="179280" cy="2793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30">
            <p14:nvContentPartPr>
              <p14:cNvPr id="70" name="Ink 69">
                <a:extLst>
                  <a:ext uri="{FF2B5EF4-FFF2-40B4-BE49-F238E27FC236}">
                    <a16:creationId xmlns:a16="http://schemas.microsoft.com/office/drawing/2014/main" id="{8ABBA164-94D0-F37D-A497-4EC35BAE3310}"/>
                  </a:ext>
                </a:extLst>
              </p14:cNvPr>
              <p14:cNvContentPartPr/>
              <p14:nvPr/>
            </p14:nvContentPartPr>
            <p14:xfrm>
              <a:off x="3339821" y="3933572"/>
              <a:ext cx="111240" cy="436320"/>
            </p14:xfrm>
          </p:contentPart>
        </mc:Choice>
        <mc:Fallback>
          <p:pic>
            <p:nvPicPr>
              <p:cNvPr id="70" name="Ink 69">
                <a:extLst>
                  <a:ext uri="{FF2B5EF4-FFF2-40B4-BE49-F238E27FC236}">
                    <a16:creationId xmlns:a16="http://schemas.microsoft.com/office/drawing/2014/main" id="{8ABBA164-94D0-F37D-A497-4EC35BAE3310}"/>
                  </a:ext>
                </a:extLst>
              </p:cNvPr>
              <p:cNvPicPr/>
              <p:nvPr/>
            </p:nvPicPr>
            <p:blipFill>
              <a:blip r:embed="rId131"/>
              <a:stretch>
                <a:fillRect/>
              </a:stretch>
            </p:blipFill>
            <p:spPr>
              <a:xfrm>
                <a:off x="3324701" y="3918452"/>
                <a:ext cx="141480" cy="4669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32">
            <p14:nvContentPartPr>
              <p14:cNvPr id="71" name="Ink 70">
                <a:extLst>
                  <a:ext uri="{FF2B5EF4-FFF2-40B4-BE49-F238E27FC236}">
                    <a16:creationId xmlns:a16="http://schemas.microsoft.com/office/drawing/2014/main" id="{5EE08FF7-13B3-8104-51BC-7B391B61246C}"/>
                  </a:ext>
                </a:extLst>
              </p14:cNvPr>
              <p14:cNvContentPartPr/>
              <p14:nvPr/>
            </p14:nvContentPartPr>
            <p14:xfrm>
              <a:off x="3703781" y="4079372"/>
              <a:ext cx="108000" cy="12240"/>
            </p14:xfrm>
          </p:contentPart>
        </mc:Choice>
        <mc:Fallback>
          <p:pic>
            <p:nvPicPr>
              <p:cNvPr id="71" name="Ink 70">
                <a:extLst>
                  <a:ext uri="{FF2B5EF4-FFF2-40B4-BE49-F238E27FC236}">
                    <a16:creationId xmlns:a16="http://schemas.microsoft.com/office/drawing/2014/main" id="{5EE08FF7-13B3-8104-51BC-7B391B61246C}"/>
                  </a:ext>
                </a:extLst>
              </p:cNvPr>
              <p:cNvPicPr/>
              <p:nvPr/>
            </p:nvPicPr>
            <p:blipFill>
              <a:blip r:embed="rId133"/>
              <a:stretch>
                <a:fillRect/>
              </a:stretch>
            </p:blipFill>
            <p:spPr>
              <a:xfrm>
                <a:off x="3688301" y="4064252"/>
                <a:ext cx="138240" cy="428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34">
            <p14:nvContentPartPr>
              <p14:cNvPr id="72" name="Ink 71">
                <a:extLst>
                  <a:ext uri="{FF2B5EF4-FFF2-40B4-BE49-F238E27FC236}">
                    <a16:creationId xmlns:a16="http://schemas.microsoft.com/office/drawing/2014/main" id="{72B52A6C-8DE5-9608-DDE1-4A5CF8DAD418}"/>
                  </a:ext>
                </a:extLst>
              </p14:cNvPr>
              <p14:cNvContentPartPr/>
              <p14:nvPr/>
            </p14:nvContentPartPr>
            <p14:xfrm>
              <a:off x="3683621" y="4179092"/>
              <a:ext cx="153000" cy="7560"/>
            </p14:xfrm>
          </p:contentPart>
        </mc:Choice>
        <mc:Fallback>
          <p:pic>
            <p:nvPicPr>
              <p:cNvPr id="72" name="Ink 71">
                <a:extLst>
                  <a:ext uri="{FF2B5EF4-FFF2-40B4-BE49-F238E27FC236}">
                    <a16:creationId xmlns:a16="http://schemas.microsoft.com/office/drawing/2014/main" id="{72B52A6C-8DE5-9608-DDE1-4A5CF8DAD418}"/>
                  </a:ext>
                </a:extLst>
              </p:cNvPr>
              <p:cNvPicPr/>
              <p:nvPr/>
            </p:nvPicPr>
            <p:blipFill>
              <a:blip r:embed="rId135"/>
              <a:stretch>
                <a:fillRect/>
              </a:stretch>
            </p:blipFill>
            <p:spPr>
              <a:xfrm>
                <a:off x="3668501" y="4163972"/>
                <a:ext cx="183240" cy="381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36">
            <p14:nvContentPartPr>
              <p14:cNvPr id="73" name="Ink 72">
                <a:extLst>
                  <a:ext uri="{FF2B5EF4-FFF2-40B4-BE49-F238E27FC236}">
                    <a16:creationId xmlns:a16="http://schemas.microsoft.com/office/drawing/2014/main" id="{CDB4F80C-91E2-03BF-4340-D185DB0DEE1B}"/>
                  </a:ext>
                </a:extLst>
              </p14:cNvPr>
              <p14:cNvContentPartPr/>
              <p14:nvPr/>
            </p14:nvContentPartPr>
            <p14:xfrm>
              <a:off x="6454901" y="822452"/>
              <a:ext cx="171000" cy="316080"/>
            </p14:xfrm>
          </p:contentPart>
        </mc:Choice>
        <mc:Fallback>
          <p:pic>
            <p:nvPicPr>
              <p:cNvPr id="73" name="Ink 72">
                <a:extLst>
                  <a:ext uri="{FF2B5EF4-FFF2-40B4-BE49-F238E27FC236}">
                    <a16:creationId xmlns:a16="http://schemas.microsoft.com/office/drawing/2014/main" id="{CDB4F80C-91E2-03BF-4340-D185DB0DEE1B}"/>
                  </a:ext>
                </a:extLst>
              </p:cNvPr>
              <p:cNvPicPr/>
              <p:nvPr/>
            </p:nvPicPr>
            <p:blipFill>
              <a:blip r:embed="rId137"/>
              <a:stretch>
                <a:fillRect/>
              </a:stretch>
            </p:blipFill>
            <p:spPr>
              <a:xfrm>
                <a:off x="6439421" y="807332"/>
                <a:ext cx="201600" cy="3466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38">
            <p14:nvContentPartPr>
              <p14:cNvPr id="74" name="Ink 73">
                <a:extLst>
                  <a:ext uri="{FF2B5EF4-FFF2-40B4-BE49-F238E27FC236}">
                    <a16:creationId xmlns:a16="http://schemas.microsoft.com/office/drawing/2014/main" id="{AC75129B-A9FE-2DAF-D65C-2A07D09C52A7}"/>
                  </a:ext>
                </a:extLst>
              </p14:cNvPr>
              <p14:cNvContentPartPr/>
              <p14:nvPr/>
            </p14:nvContentPartPr>
            <p14:xfrm>
              <a:off x="6633821" y="889772"/>
              <a:ext cx="79920" cy="190080"/>
            </p14:xfrm>
          </p:contentPart>
        </mc:Choice>
        <mc:Fallback>
          <p:pic>
            <p:nvPicPr>
              <p:cNvPr id="74" name="Ink 73">
                <a:extLst>
                  <a:ext uri="{FF2B5EF4-FFF2-40B4-BE49-F238E27FC236}">
                    <a16:creationId xmlns:a16="http://schemas.microsoft.com/office/drawing/2014/main" id="{AC75129B-A9FE-2DAF-D65C-2A07D09C52A7}"/>
                  </a:ext>
                </a:extLst>
              </p:cNvPr>
              <p:cNvPicPr/>
              <p:nvPr/>
            </p:nvPicPr>
            <p:blipFill>
              <a:blip r:embed="rId139"/>
              <a:stretch>
                <a:fillRect/>
              </a:stretch>
            </p:blipFill>
            <p:spPr>
              <a:xfrm>
                <a:off x="6618341" y="874652"/>
                <a:ext cx="110520" cy="2206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40">
            <p14:nvContentPartPr>
              <p14:cNvPr id="75" name="Ink 74">
                <a:extLst>
                  <a:ext uri="{FF2B5EF4-FFF2-40B4-BE49-F238E27FC236}">
                    <a16:creationId xmlns:a16="http://schemas.microsoft.com/office/drawing/2014/main" id="{8CEB1EA2-DDDF-7B37-BB9C-1887811C10E1}"/>
                  </a:ext>
                </a:extLst>
              </p14:cNvPr>
              <p14:cNvContentPartPr/>
              <p14:nvPr/>
            </p14:nvContentPartPr>
            <p14:xfrm>
              <a:off x="6776741" y="893732"/>
              <a:ext cx="36360" cy="162720"/>
            </p14:xfrm>
          </p:contentPart>
        </mc:Choice>
        <mc:Fallback>
          <p:pic>
            <p:nvPicPr>
              <p:cNvPr id="75" name="Ink 74">
                <a:extLst>
                  <a:ext uri="{FF2B5EF4-FFF2-40B4-BE49-F238E27FC236}">
                    <a16:creationId xmlns:a16="http://schemas.microsoft.com/office/drawing/2014/main" id="{8CEB1EA2-DDDF-7B37-BB9C-1887811C10E1}"/>
                  </a:ext>
                </a:extLst>
              </p:cNvPr>
              <p:cNvPicPr/>
              <p:nvPr/>
            </p:nvPicPr>
            <p:blipFill>
              <a:blip r:embed="rId141"/>
              <a:stretch>
                <a:fillRect/>
              </a:stretch>
            </p:blipFill>
            <p:spPr>
              <a:xfrm>
                <a:off x="6761621" y="878252"/>
                <a:ext cx="66960" cy="1929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42">
            <p14:nvContentPartPr>
              <p14:cNvPr id="76" name="Ink 75">
                <a:extLst>
                  <a:ext uri="{FF2B5EF4-FFF2-40B4-BE49-F238E27FC236}">
                    <a16:creationId xmlns:a16="http://schemas.microsoft.com/office/drawing/2014/main" id="{EEB73C84-A3B0-ED7C-4F71-87D15655F6C2}"/>
                  </a:ext>
                </a:extLst>
              </p14:cNvPr>
              <p14:cNvContentPartPr/>
              <p14:nvPr/>
            </p14:nvContentPartPr>
            <p14:xfrm>
              <a:off x="6881861" y="809132"/>
              <a:ext cx="72720" cy="249120"/>
            </p14:xfrm>
          </p:contentPart>
        </mc:Choice>
        <mc:Fallback>
          <p:pic>
            <p:nvPicPr>
              <p:cNvPr id="76" name="Ink 75">
                <a:extLst>
                  <a:ext uri="{FF2B5EF4-FFF2-40B4-BE49-F238E27FC236}">
                    <a16:creationId xmlns:a16="http://schemas.microsoft.com/office/drawing/2014/main" id="{EEB73C84-A3B0-ED7C-4F71-87D15655F6C2}"/>
                  </a:ext>
                </a:extLst>
              </p:cNvPr>
              <p:cNvPicPr/>
              <p:nvPr/>
            </p:nvPicPr>
            <p:blipFill>
              <a:blip r:embed="rId143"/>
              <a:stretch>
                <a:fillRect/>
              </a:stretch>
            </p:blipFill>
            <p:spPr>
              <a:xfrm>
                <a:off x="6866741" y="793652"/>
                <a:ext cx="102960" cy="279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44">
            <p14:nvContentPartPr>
              <p14:cNvPr id="77" name="Ink 76">
                <a:extLst>
                  <a:ext uri="{FF2B5EF4-FFF2-40B4-BE49-F238E27FC236}">
                    <a16:creationId xmlns:a16="http://schemas.microsoft.com/office/drawing/2014/main" id="{9BA0E79D-3000-AF2C-909B-0434DFFB144C}"/>
                  </a:ext>
                </a:extLst>
              </p14:cNvPr>
              <p14:cNvContentPartPr/>
              <p14:nvPr/>
            </p14:nvContentPartPr>
            <p14:xfrm>
              <a:off x="6822101" y="941612"/>
              <a:ext cx="63000" cy="9720"/>
            </p14:xfrm>
          </p:contentPart>
        </mc:Choice>
        <mc:Fallback>
          <p:pic>
            <p:nvPicPr>
              <p:cNvPr id="77" name="Ink 76">
                <a:extLst>
                  <a:ext uri="{FF2B5EF4-FFF2-40B4-BE49-F238E27FC236}">
                    <a16:creationId xmlns:a16="http://schemas.microsoft.com/office/drawing/2014/main" id="{9BA0E79D-3000-AF2C-909B-0434DFFB144C}"/>
                  </a:ext>
                </a:extLst>
              </p:cNvPr>
              <p:cNvPicPr/>
              <p:nvPr/>
            </p:nvPicPr>
            <p:blipFill>
              <a:blip r:embed="rId145"/>
              <a:stretch>
                <a:fillRect/>
              </a:stretch>
            </p:blipFill>
            <p:spPr>
              <a:xfrm>
                <a:off x="6806621" y="926492"/>
                <a:ext cx="93600" cy="40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46">
            <p14:nvContentPartPr>
              <p14:cNvPr id="78" name="Ink 77">
                <a:extLst>
                  <a:ext uri="{FF2B5EF4-FFF2-40B4-BE49-F238E27FC236}">
                    <a16:creationId xmlns:a16="http://schemas.microsoft.com/office/drawing/2014/main" id="{80E65C74-CA11-53BA-40FF-4F1646F83944}"/>
                  </a:ext>
                </a:extLst>
              </p14:cNvPr>
              <p14:cNvContentPartPr/>
              <p14:nvPr/>
            </p14:nvContentPartPr>
            <p14:xfrm>
              <a:off x="7019381" y="862412"/>
              <a:ext cx="128880" cy="196560"/>
            </p14:xfrm>
          </p:contentPart>
        </mc:Choice>
        <mc:Fallback>
          <p:pic>
            <p:nvPicPr>
              <p:cNvPr id="78" name="Ink 77">
                <a:extLst>
                  <a:ext uri="{FF2B5EF4-FFF2-40B4-BE49-F238E27FC236}">
                    <a16:creationId xmlns:a16="http://schemas.microsoft.com/office/drawing/2014/main" id="{80E65C74-CA11-53BA-40FF-4F1646F83944}"/>
                  </a:ext>
                </a:extLst>
              </p:cNvPr>
              <p:cNvPicPr/>
              <p:nvPr/>
            </p:nvPicPr>
            <p:blipFill>
              <a:blip r:embed="rId147"/>
              <a:stretch>
                <a:fillRect/>
              </a:stretch>
            </p:blipFill>
            <p:spPr>
              <a:xfrm>
                <a:off x="7003901" y="847292"/>
                <a:ext cx="159480" cy="2268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48">
            <p14:nvContentPartPr>
              <p14:cNvPr id="79" name="Ink 78">
                <a:extLst>
                  <a:ext uri="{FF2B5EF4-FFF2-40B4-BE49-F238E27FC236}">
                    <a16:creationId xmlns:a16="http://schemas.microsoft.com/office/drawing/2014/main" id="{AE26FC0F-0C36-8713-AD47-B42053CF79A2}"/>
                  </a:ext>
                </a:extLst>
              </p14:cNvPr>
              <p14:cNvContentPartPr/>
              <p14:nvPr/>
            </p14:nvContentPartPr>
            <p14:xfrm>
              <a:off x="7208741" y="879332"/>
              <a:ext cx="160920" cy="205200"/>
            </p14:xfrm>
          </p:contentPart>
        </mc:Choice>
        <mc:Fallback>
          <p:pic>
            <p:nvPicPr>
              <p:cNvPr id="79" name="Ink 78">
                <a:extLst>
                  <a:ext uri="{FF2B5EF4-FFF2-40B4-BE49-F238E27FC236}">
                    <a16:creationId xmlns:a16="http://schemas.microsoft.com/office/drawing/2014/main" id="{AE26FC0F-0C36-8713-AD47-B42053CF79A2}"/>
                  </a:ext>
                </a:extLst>
              </p:cNvPr>
              <p:cNvPicPr/>
              <p:nvPr/>
            </p:nvPicPr>
            <p:blipFill>
              <a:blip r:embed="rId149"/>
              <a:stretch>
                <a:fillRect/>
              </a:stretch>
            </p:blipFill>
            <p:spPr>
              <a:xfrm>
                <a:off x="7193621" y="863852"/>
                <a:ext cx="191160" cy="2354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50">
            <p14:nvContentPartPr>
              <p14:cNvPr id="80" name="Ink 79">
                <a:extLst>
                  <a:ext uri="{FF2B5EF4-FFF2-40B4-BE49-F238E27FC236}">
                    <a16:creationId xmlns:a16="http://schemas.microsoft.com/office/drawing/2014/main" id="{2C8A3EDD-5323-586A-5135-F21A3DC6E12B}"/>
                  </a:ext>
                </a:extLst>
              </p14:cNvPr>
              <p14:cNvContentPartPr/>
              <p14:nvPr/>
            </p14:nvContentPartPr>
            <p14:xfrm>
              <a:off x="7459301" y="877172"/>
              <a:ext cx="58680" cy="235080"/>
            </p14:xfrm>
          </p:contentPart>
        </mc:Choice>
        <mc:Fallback>
          <p:pic>
            <p:nvPicPr>
              <p:cNvPr id="80" name="Ink 79">
                <a:extLst>
                  <a:ext uri="{FF2B5EF4-FFF2-40B4-BE49-F238E27FC236}">
                    <a16:creationId xmlns:a16="http://schemas.microsoft.com/office/drawing/2014/main" id="{2C8A3EDD-5323-586A-5135-F21A3DC6E12B}"/>
                  </a:ext>
                </a:extLst>
              </p:cNvPr>
              <p:cNvPicPr/>
              <p:nvPr/>
            </p:nvPicPr>
            <p:blipFill>
              <a:blip r:embed="rId151"/>
              <a:stretch>
                <a:fillRect/>
              </a:stretch>
            </p:blipFill>
            <p:spPr>
              <a:xfrm>
                <a:off x="7444181" y="862052"/>
                <a:ext cx="89280" cy="2656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52">
            <p14:nvContentPartPr>
              <p14:cNvPr id="81" name="Ink 80">
                <a:extLst>
                  <a:ext uri="{FF2B5EF4-FFF2-40B4-BE49-F238E27FC236}">
                    <a16:creationId xmlns:a16="http://schemas.microsoft.com/office/drawing/2014/main" id="{6C7AD4E9-1FC2-3C56-08F8-5E89FAF02E18}"/>
                  </a:ext>
                </a:extLst>
              </p14:cNvPr>
              <p14:cNvContentPartPr/>
              <p14:nvPr/>
            </p14:nvContentPartPr>
            <p14:xfrm>
              <a:off x="7368581" y="1150412"/>
              <a:ext cx="10080" cy="14760"/>
            </p14:xfrm>
          </p:contentPart>
        </mc:Choice>
        <mc:Fallback>
          <p:pic>
            <p:nvPicPr>
              <p:cNvPr id="81" name="Ink 80">
                <a:extLst>
                  <a:ext uri="{FF2B5EF4-FFF2-40B4-BE49-F238E27FC236}">
                    <a16:creationId xmlns:a16="http://schemas.microsoft.com/office/drawing/2014/main" id="{6C7AD4E9-1FC2-3C56-08F8-5E89FAF02E18}"/>
                  </a:ext>
                </a:extLst>
              </p:cNvPr>
              <p:cNvPicPr/>
              <p:nvPr/>
            </p:nvPicPr>
            <p:blipFill>
              <a:blip r:embed="rId153"/>
              <a:stretch>
                <a:fillRect/>
              </a:stretch>
            </p:blipFill>
            <p:spPr>
              <a:xfrm>
                <a:off x="7353461" y="1135292"/>
                <a:ext cx="40680" cy="453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54">
            <p14:nvContentPartPr>
              <p14:cNvPr id="82" name="Ink 81">
                <a:extLst>
                  <a:ext uri="{FF2B5EF4-FFF2-40B4-BE49-F238E27FC236}">
                    <a16:creationId xmlns:a16="http://schemas.microsoft.com/office/drawing/2014/main" id="{BC840F65-0861-3B43-D209-E42768BF7B12}"/>
                  </a:ext>
                </a:extLst>
              </p14:cNvPr>
              <p14:cNvContentPartPr/>
              <p14:nvPr/>
            </p14:nvContentPartPr>
            <p14:xfrm>
              <a:off x="7576301" y="968612"/>
              <a:ext cx="66240" cy="18720"/>
            </p14:xfrm>
          </p:contentPart>
        </mc:Choice>
        <mc:Fallback>
          <p:pic>
            <p:nvPicPr>
              <p:cNvPr id="82" name="Ink 81">
                <a:extLst>
                  <a:ext uri="{FF2B5EF4-FFF2-40B4-BE49-F238E27FC236}">
                    <a16:creationId xmlns:a16="http://schemas.microsoft.com/office/drawing/2014/main" id="{BC840F65-0861-3B43-D209-E42768BF7B12}"/>
                  </a:ext>
                </a:extLst>
              </p:cNvPr>
              <p:cNvPicPr/>
              <p:nvPr/>
            </p:nvPicPr>
            <p:blipFill>
              <a:blip r:embed="rId155"/>
              <a:stretch>
                <a:fillRect/>
              </a:stretch>
            </p:blipFill>
            <p:spPr>
              <a:xfrm>
                <a:off x="7560821" y="953492"/>
                <a:ext cx="96840" cy="49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56">
            <p14:nvContentPartPr>
              <p14:cNvPr id="83" name="Ink 82">
                <a:extLst>
                  <a:ext uri="{FF2B5EF4-FFF2-40B4-BE49-F238E27FC236}">
                    <a16:creationId xmlns:a16="http://schemas.microsoft.com/office/drawing/2014/main" id="{39D0C58C-F3E5-8BE3-2D44-0C536D1361C6}"/>
                  </a:ext>
                </a:extLst>
              </p14:cNvPr>
              <p14:cNvContentPartPr/>
              <p14:nvPr/>
            </p14:nvContentPartPr>
            <p14:xfrm>
              <a:off x="7570181" y="1037732"/>
              <a:ext cx="93240" cy="18360"/>
            </p14:xfrm>
          </p:contentPart>
        </mc:Choice>
        <mc:Fallback>
          <p:pic>
            <p:nvPicPr>
              <p:cNvPr id="83" name="Ink 82">
                <a:extLst>
                  <a:ext uri="{FF2B5EF4-FFF2-40B4-BE49-F238E27FC236}">
                    <a16:creationId xmlns:a16="http://schemas.microsoft.com/office/drawing/2014/main" id="{39D0C58C-F3E5-8BE3-2D44-0C536D1361C6}"/>
                  </a:ext>
                </a:extLst>
              </p:cNvPr>
              <p:cNvPicPr/>
              <p:nvPr/>
            </p:nvPicPr>
            <p:blipFill>
              <a:blip r:embed="rId157"/>
              <a:stretch>
                <a:fillRect/>
              </a:stretch>
            </p:blipFill>
            <p:spPr>
              <a:xfrm>
                <a:off x="7554701" y="1022252"/>
                <a:ext cx="123480" cy="489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58">
            <p14:nvContentPartPr>
              <p14:cNvPr id="84" name="Ink 83">
                <a:extLst>
                  <a:ext uri="{FF2B5EF4-FFF2-40B4-BE49-F238E27FC236}">
                    <a16:creationId xmlns:a16="http://schemas.microsoft.com/office/drawing/2014/main" id="{5A729F74-C59D-C7F8-FD27-EA77BA6C2939}"/>
                  </a:ext>
                </a:extLst>
              </p14:cNvPr>
              <p14:cNvContentPartPr/>
              <p14:nvPr/>
            </p14:nvContentPartPr>
            <p14:xfrm>
              <a:off x="7960781" y="914972"/>
              <a:ext cx="117000" cy="248400"/>
            </p14:xfrm>
          </p:contentPart>
        </mc:Choice>
        <mc:Fallback>
          <p:pic>
            <p:nvPicPr>
              <p:cNvPr id="84" name="Ink 83">
                <a:extLst>
                  <a:ext uri="{FF2B5EF4-FFF2-40B4-BE49-F238E27FC236}">
                    <a16:creationId xmlns:a16="http://schemas.microsoft.com/office/drawing/2014/main" id="{5A729F74-C59D-C7F8-FD27-EA77BA6C2939}"/>
                  </a:ext>
                </a:extLst>
              </p:cNvPr>
              <p:cNvPicPr/>
              <p:nvPr/>
            </p:nvPicPr>
            <p:blipFill>
              <a:blip r:embed="rId159"/>
              <a:stretch>
                <a:fillRect/>
              </a:stretch>
            </p:blipFill>
            <p:spPr>
              <a:xfrm>
                <a:off x="7945661" y="899852"/>
                <a:ext cx="147600" cy="279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60">
            <p14:nvContentPartPr>
              <p14:cNvPr id="85" name="Ink 84">
                <a:extLst>
                  <a:ext uri="{FF2B5EF4-FFF2-40B4-BE49-F238E27FC236}">
                    <a16:creationId xmlns:a16="http://schemas.microsoft.com/office/drawing/2014/main" id="{5932576B-71E4-16F1-078B-D62FAAD46795}"/>
                  </a:ext>
                </a:extLst>
              </p14:cNvPr>
              <p14:cNvContentPartPr/>
              <p14:nvPr/>
            </p14:nvContentPartPr>
            <p14:xfrm>
              <a:off x="8182901" y="885812"/>
              <a:ext cx="136440" cy="255960"/>
            </p14:xfrm>
          </p:contentPart>
        </mc:Choice>
        <mc:Fallback>
          <p:pic>
            <p:nvPicPr>
              <p:cNvPr id="85" name="Ink 84">
                <a:extLst>
                  <a:ext uri="{FF2B5EF4-FFF2-40B4-BE49-F238E27FC236}">
                    <a16:creationId xmlns:a16="http://schemas.microsoft.com/office/drawing/2014/main" id="{5932576B-71E4-16F1-078B-D62FAAD46795}"/>
                  </a:ext>
                </a:extLst>
              </p:cNvPr>
              <p:cNvPicPr/>
              <p:nvPr/>
            </p:nvPicPr>
            <p:blipFill>
              <a:blip r:embed="rId161"/>
              <a:stretch>
                <a:fillRect/>
              </a:stretch>
            </p:blipFill>
            <p:spPr>
              <a:xfrm>
                <a:off x="8167781" y="870692"/>
                <a:ext cx="167040" cy="2862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62">
            <p14:nvContentPartPr>
              <p14:cNvPr id="86" name="Ink 85">
                <a:extLst>
                  <a:ext uri="{FF2B5EF4-FFF2-40B4-BE49-F238E27FC236}">
                    <a16:creationId xmlns:a16="http://schemas.microsoft.com/office/drawing/2014/main" id="{B9471544-59BE-600F-B030-DF8059EB418F}"/>
                  </a:ext>
                </a:extLst>
              </p14:cNvPr>
              <p14:cNvContentPartPr/>
              <p14:nvPr/>
            </p14:nvContentPartPr>
            <p14:xfrm>
              <a:off x="8210261" y="1022252"/>
              <a:ext cx="108360" cy="16200"/>
            </p14:xfrm>
          </p:contentPart>
        </mc:Choice>
        <mc:Fallback>
          <p:pic>
            <p:nvPicPr>
              <p:cNvPr id="86" name="Ink 85">
                <a:extLst>
                  <a:ext uri="{FF2B5EF4-FFF2-40B4-BE49-F238E27FC236}">
                    <a16:creationId xmlns:a16="http://schemas.microsoft.com/office/drawing/2014/main" id="{B9471544-59BE-600F-B030-DF8059EB418F}"/>
                  </a:ext>
                </a:extLst>
              </p:cNvPr>
              <p:cNvPicPr/>
              <p:nvPr/>
            </p:nvPicPr>
            <p:blipFill>
              <a:blip r:embed="rId163"/>
              <a:stretch>
                <a:fillRect/>
              </a:stretch>
            </p:blipFill>
            <p:spPr>
              <a:xfrm>
                <a:off x="8195141" y="1006772"/>
                <a:ext cx="138600" cy="468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64">
            <p14:nvContentPartPr>
              <p14:cNvPr id="87" name="Ink 86">
                <a:extLst>
                  <a:ext uri="{FF2B5EF4-FFF2-40B4-BE49-F238E27FC236}">
                    <a16:creationId xmlns:a16="http://schemas.microsoft.com/office/drawing/2014/main" id="{868264BD-A15C-77B1-F6BA-30274F6F5CD8}"/>
                  </a:ext>
                </a:extLst>
              </p14:cNvPr>
              <p14:cNvContentPartPr/>
              <p14:nvPr/>
            </p14:nvContentPartPr>
            <p14:xfrm>
              <a:off x="8102981" y="853412"/>
              <a:ext cx="80640" cy="292680"/>
            </p14:xfrm>
          </p:contentPart>
        </mc:Choice>
        <mc:Fallback>
          <p:pic>
            <p:nvPicPr>
              <p:cNvPr id="87" name="Ink 86">
                <a:extLst>
                  <a:ext uri="{FF2B5EF4-FFF2-40B4-BE49-F238E27FC236}">
                    <a16:creationId xmlns:a16="http://schemas.microsoft.com/office/drawing/2014/main" id="{868264BD-A15C-77B1-F6BA-30274F6F5CD8}"/>
                  </a:ext>
                </a:extLst>
              </p:cNvPr>
              <p:cNvPicPr/>
              <p:nvPr/>
            </p:nvPicPr>
            <p:blipFill>
              <a:blip r:embed="rId165"/>
              <a:stretch>
                <a:fillRect/>
              </a:stretch>
            </p:blipFill>
            <p:spPr>
              <a:xfrm>
                <a:off x="8087861" y="837932"/>
                <a:ext cx="110880" cy="3232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66">
            <p14:nvContentPartPr>
              <p14:cNvPr id="88" name="Ink 87">
                <a:extLst>
                  <a:ext uri="{FF2B5EF4-FFF2-40B4-BE49-F238E27FC236}">
                    <a16:creationId xmlns:a16="http://schemas.microsoft.com/office/drawing/2014/main" id="{0A719C7F-9CA2-7450-A619-9E1C206305A9}"/>
                  </a:ext>
                </a:extLst>
              </p14:cNvPr>
              <p14:cNvContentPartPr/>
              <p14:nvPr/>
            </p14:nvContentPartPr>
            <p14:xfrm>
              <a:off x="8353181" y="952412"/>
              <a:ext cx="73440" cy="302400"/>
            </p14:xfrm>
          </p:contentPart>
        </mc:Choice>
        <mc:Fallback>
          <p:pic>
            <p:nvPicPr>
              <p:cNvPr id="88" name="Ink 87">
                <a:extLst>
                  <a:ext uri="{FF2B5EF4-FFF2-40B4-BE49-F238E27FC236}">
                    <a16:creationId xmlns:a16="http://schemas.microsoft.com/office/drawing/2014/main" id="{0A719C7F-9CA2-7450-A619-9E1C206305A9}"/>
                  </a:ext>
                </a:extLst>
              </p:cNvPr>
              <p:cNvPicPr/>
              <p:nvPr/>
            </p:nvPicPr>
            <p:blipFill>
              <a:blip r:embed="rId167"/>
              <a:stretch>
                <a:fillRect/>
              </a:stretch>
            </p:blipFill>
            <p:spPr>
              <a:xfrm>
                <a:off x="8338061" y="937292"/>
                <a:ext cx="103680" cy="333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68">
            <p14:nvContentPartPr>
              <p14:cNvPr id="89" name="Ink 88">
                <a:extLst>
                  <a:ext uri="{FF2B5EF4-FFF2-40B4-BE49-F238E27FC236}">
                    <a16:creationId xmlns:a16="http://schemas.microsoft.com/office/drawing/2014/main" id="{05B71E90-7AE5-0A61-4342-FAEF35E1E2DA}"/>
                  </a:ext>
                </a:extLst>
              </p14:cNvPr>
              <p14:cNvContentPartPr/>
              <p14:nvPr/>
            </p14:nvContentPartPr>
            <p14:xfrm>
              <a:off x="8501501" y="1100372"/>
              <a:ext cx="13680" cy="5040"/>
            </p14:xfrm>
          </p:contentPart>
        </mc:Choice>
        <mc:Fallback>
          <p:pic>
            <p:nvPicPr>
              <p:cNvPr id="89" name="Ink 88">
                <a:extLst>
                  <a:ext uri="{FF2B5EF4-FFF2-40B4-BE49-F238E27FC236}">
                    <a16:creationId xmlns:a16="http://schemas.microsoft.com/office/drawing/2014/main" id="{05B71E90-7AE5-0A61-4342-FAEF35E1E2DA}"/>
                  </a:ext>
                </a:extLst>
              </p:cNvPr>
              <p:cNvPicPr/>
              <p:nvPr/>
            </p:nvPicPr>
            <p:blipFill>
              <a:blip r:embed="rId169"/>
              <a:stretch>
                <a:fillRect/>
              </a:stretch>
            </p:blipFill>
            <p:spPr>
              <a:xfrm>
                <a:off x="8486381" y="1085252"/>
                <a:ext cx="44280" cy="356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70">
            <p14:nvContentPartPr>
              <p14:cNvPr id="90" name="Ink 89">
                <a:extLst>
                  <a:ext uri="{FF2B5EF4-FFF2-40B4-BE49-F238E27FC236}">
                    <a16:creationId xmlns:a16="http://schemas.microsoft.com/office/drawing/2014/main" id="{F00834B0-0D83-07B1-4401-6C78489AB479}"/>
                  </a:ext>
                </a:extLst>
              </p14:cNvPr>
              <p14:cNvContentPartPr/>
              <p14:nvPr/>
            </p14:nvContentPartPr>
            <p14:xfrm>
              <a:off x="8590061" y="928652"/>
              <a:ext cx="177120" cy="275400"/>
            </p14:xfrm>
          </p:contentPart>
        </mc:Choice>
        <mc:Fallback>
          <p:pic>
            <p:nvPicPr>
              <p:cNvPr id="90" name="Ink 89">
                <a:extLst>
                  <a:ext uri="{FF2B5EF4-FFF2-40B4-BE49-F238E27FC236}">
                    <a16:creationId xmlns:a16="http://schemas.microsoft.com/office/drawing/2014/main" id="{F00834B0-0D83-07B1-4401-6C78489AB479}"/>
                  </a:ext>
                </a:extLst>
              </p:cNvPr>
              <p:cNvPicPr/>
              <p:nvPr/>
            </p:nvPicPr>
            <p:blipFill>
              <a:blip r:embed="rId171"/>
              <a:stretch>
                <a:fillRect/>
              </a:stretch>
            </p:blipFill>
            <p:spPr>
              <a:xfrm>
                <a:off x="8574941" y="913172"/>
                <a:ext cx="207720" cy="30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72">
            <p14:nvContentPartPr>
              <p14:cNvPr id="91" name="Ink 90">
                <a:extLst>
                  <a:ext uri="{FF2B5EF4-FFF2-40B4-BE49-F238E27FC236}">
                    <a16:creationId xmlns:a16="http://schemas.microsoft.com/office/drawing/2014/main" id="{32C1840E-35B3-6CD0-4771-16CD4C21CCF5}"/>
                  </a:ext>
                </a:extLst>
              </p14:cNvPr>
              <p14:cNvContentPartPr/>
              <p14:nvPr/>
            </p14:nvContentPartPr>
            <p14:xfrm>
              <a:off x="8785901" y="925412"/>
              <a:ext cx="56520" cy="210960"/>
            </p14:xfrm>
          </p:contentPart>
        </mc:Choice>
        <mc:Fallback>
          <p:pic>
            <p:nvPicPr>
              <p:cNvPr id="91" name="Ink 90">
                <a:extLst>
                  <a:ext uri="{FF2B5EF4-FFF2-40B4-BE49-F238E27FC236}">
                    <a16:creationId xmlns:a16="http://schemas.microsoft.com/office/drawing/2014/main" id="{32C1840E-35B3-6CD0-4771-16CD4C21CCF5}"/>
                  </a:ext>
                </a:extLst>
              </p:cNvPr>
              <p:cNvPicPr/>
              <p:nvPr/>
            </p:nvPicPr>
            <p:blipFill>
              <a:blip r:embed="rId173"/>
              <a:stretch>
                <a:fillRect/>
              </a:stretch>
            </p:blipFill>
            <p:spPr>
              <a:xfrm>
                <a:off x="8770781" y="910292"/>
                <a:ext cx="87120" cy="2415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74">
            <p14:nvContentPartPr>
              <p14:cNvPr id="92" name="Ink 91">
                <a:extLst>
                  <a:ext uri="{FF2B5EF4-FFF2-40B4-BE49-F238E27FC236}">
                    <a16:creationId xmlns:a16="http://schemas.microsoft.com/office/drawing/2014/main" id="{743FC3BB-4632-FB87-7A3D-2A2F03C4F52B}"/>
                  </a:ext>
                </a:extLst>
              </p14:cNvPr>
              <p14:cNvContentPartPr/>
              <p14:nvPr/>
            </p14:nvContentPartPr>
            <p14:xfrm>
              <a:off x="8942141" y="982652"/>
              <a:ext cx="92160" cy="180000"/>
            </p14:xfrm>
          </p:contentPart>
        </mc:Choice>
        <mc:Fallback>
          <p:pic>
            <p:nvPicPr>
              <p:cNvPr id="92" name="Ink 91">
                <a:extLst>
                  <a:ext uri="{FF2B5EF4-FFF2-40B4-BE49-F238E27FC236}">
                    <a16:creationId xmlns:a16="http://schemas.microsoft.com/office/drawing/2014/main" id="{743FC3BB-4632-FB87-7A3D-2A2F03C4F52B}"/>
                  </a:ext>
                </a:extLst>
              </p:cNvPr>
              <p:cNvPicPr/>
              <p:nvPr/>
            </p:nvPicPr>
            <p:blipFill>
              <a:blip r:embed="rId175"/>
              <a:stretch>
                <a:fillRect/>
              </a:stretch>
            </p:blipFill>
            <p:spPr>
              <a:xfrm>
                <a:off x="8927021" y="967532"/>
                <a:ext cx="122760" cy="210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76">
            <p14:nvContentPartPr>
              <p14:cNvPr id="93" name="Ink 92">
                <a:extLst>
                  <a:ext uri="{FF2B5EF4-FFF2-40B4-BE49-F238E27FC236}">
                    <a16:creationId xmlns:a16="http://schemas.microsoft.com/office/drawing/2014/main" id="{7752FA15-3717-2E6B-45FF-86AFFA269204}"/>
                  </a:ext>
                </a:extLst>
              </p14:cNvPr>
              <p14:cNvContentPartPr/>
              <p14:nvPr/>
            </p14:nvContentPartPr>
            <p14:xfrm>
              <a:off x="9136181" y="953132"/>
              <a:ext cx="24120" cy="235080"/>
            </p14:xfrm>
          </p:contentPart>
        </mc:Choice>
        <mc:Fallback>
          <p:pic>
            <p:nvPicPr>
              <p:cNvPr id="93" name="Ink 92">
                <a:extLst>
                  <a:ext uri="{FF2B5EF4-FFF2-40B4-BE49-F238E27FC236}">
                    <a16:creationId xmlns:a16="http://schemas.microsoft.com/office/drawing/2014/main" id="{7752FA15-3717-2E6B-45FF-86AFFA269204}"/>
                  </a:ext>
                </a:extLst>
              </p:cNvPr>
              <p:cNvPicPr/>
              <p:nvPr/>
            </p:nvPicPr>
            <p:blipFill>
              <a:blip r:embed="rId177"/>
              <a:stretch>
                <a:fillRect/>
              </a:stretch>
            </p:blipFill>
            <p:spPr>
              <a:xfrm>
                <a:off x="9121061" y="938012"/>
                <a:ext cx="54720" cy="2656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78">
            <p14:nvContentPartPr>
              <p14:cNvPr id="94" name="Ink 93">
                <a:extLst>
                  <a:ext uri="{FF2B5EF4-FFF2-40B4-BE49-F238E27FC236}">
                    <a16:creationId xmlns:a16="http://schemas.microsoft.com/office/drawing/2014/main" id="{44430E25-8877-B1C7-8DB6-205D8D69BB60}"/>
                  </a:ext>
                </a:extLst>
              </p14:cNvPr>
              <p14:cNvContentPartPr/>
              <p14:nvPr/>
            </p14:nvContentPartPr>
            <p14:xfrm>
              <a:off x="9244901" y="973292"/>
              <a:ext cx="134280" cy="219600"/>
            </p14:xfrm>
          </p:contentPart>
        </mc:Choice>
        <mc:Fallback>
          <p:pic>
            <p:nvPicPr>
              <p:cNvPr id="94" name="Ink 93">
                <a:extLst>
                  <a:ext uri="{FF2B5EF4-FFF2-40B4-BE49-F238E27FC236}">
                    <a16:creationId xmlns:a16="http://schemas.microsoft.com/office/drawing/2014/main" id="{44430E25-8877-B1C7-8DB6-205D8D69BB60}"/>
                  </a:ext>
                </a:extLst>
              </p:cNvPr>
              <p:cNvPicPr/>
              <p:nvPr/>
            </p:nvPicPr>
            <p:blipFill>
              <a:blip r:embed="rId179"/>
              <a:stretch>
                <a:fillRect/>
              </a:stretch>
            </p:blipFill>
            <p:spPr>
              <a:xfrm>
                <a:off x="9229421" y="958172"/>
                <a:ext cx="164880" cy="2502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80">
            <p14:nvContentPartPr>
              <p14:cNvPr id="95" name="Ink 94">
                <a:extLst>
                  <a:ext uri="{FF2B5EF4-FFF2-40B4-BE49-F238E27FC236}">
                    <a16:creationId xmlns:a16="http://schemas.microsoft.com/office/drawing/2014/main" id="{78072F91-900E-D7EA-C10A-D9602E3D9B4B}"/>
                  </a:ext>
                </a:extLst>
              </p14:cNvPr>
              <p14:cNvContentPartPr/>
              <p14:nvPr/>
            </p14:nvContentPartPr>
            <p14:xfrm>
              <a:off x="9300341" y="1086332"/>
              <a:ext cx="81360" cy="51840"/>
            </p14:xfrm>
          </p:contentPart>
        </mc:Choice>
        <mc:Fallback>
          <p:pic>
            <p:nvPicPr>
              <p:cNvPr id="95" name="Ink 94">
                <a:extLst>
                  <a:ext uri="{FF2B5EF4-FFF2-40B4-BE49-F238E27FC236}">
                    <a16:creationId xmlns:a16="http://schemas.microsoft.com/office/drawing/2014/main" id="{78072F91-900E-D7EA-C10A-D9602E3D9B4B}"/>
                  </a:ext>
                </a:extLst>
              </p:cNvPr>
              <p:cNvPicPr/>
              <p:nvPr/>
            </p:nvPicPr>
            <p:blipFill>
              <a:blip r:embed="rId181"/>
              <a:stretch>
                <a:fillRect/>
              </a:stretch>
            </p:blipFill>
            <p:spPr>
              <a:xfrm>
                <a:off x="9285221" y="1070852"/>
                <a:ext cx="111960" cy="824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82">
            <p14:nvContentPartPr>
              <p14:cNvPr id="96" name="Ink 95">
                <a:extLst>
                  <a:ext uri="{FF2B5EF4-FFF2-40B4-BE49-F238E27FC236}">
                    <a16:creationId xmlns:a16="http://schemas.microsoft.com/office/drawing/2014/main" id="{38E56456-F98B-E034-7495-AD299FCE37E2}"/>
                  </a:ext>
                </a:extLst>
              </p14:cNvPr>
              <p14:cNvContentPartPr/>
              <p14:nvPr/>
            </p14:nvContentPartPr>
            <p14:xfrm>
              <a:off x="9414101" y="999572"/>
              <a:ext cx="110520" cy="245160"/>
            </p14:xfrm>
          </p:contentPart>
        </mc:Choice>
        <mc:Fallback>
          <p:pic>
            <p:nvPicPr>
              <p:cNvPr id="96" name="Ink 95">
                <a:extLst>
                  <a:ext uri="{FF2B5EF4-FFF2-40B4-BE49-F238E27FC236}">
                    <a16:creationId xmlns:a16="http://schemas.microsoft.com/office/drawing/2014/main" id="{38E56456-F98B-E034-7495-AD299FCE37E2}"/>
                  </a:ext>
                </a:extLst>
              </p:cNvPr>
              <p:cNvPicPr/>
              <p:nvPr/>
            </p:nvPicPr>
            <p:blipFill>
              <a:blip r:embed="rId183"/>
              <a:stretch>
                <a:fillRect/>
              </a:stretch>
            </p:blipFill>
            <p:spPr>
              <a:xfrm>
                <a:off x="9398981" y="984452"/>
                <a:ext cx="141120" cy="2754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84">
            <p14:nvContentPartPr>
              <p14:cNvPr id="97" name="Ink 96">
                <a:extLst>
                  <a:ext uri="{FF2B5EF4-FFF2-40B4-BE49-F238E27FC236}">
                    <a16:creationId xmlns:a16="http://schemas.microsoft.com/office/drawing/2014/main" id="{94076768-A1CF-E8A5-87CC-B4A9D868B48C}"/>
                  </a:ext>
                </a:extLst>
              </p14:cNvPr>
              <p14:cNvContentPartPr/>
              <p14:nvPr/>
            </p14:nvContentPartPr>
            <p14:xfrm>
              <a:off x="8354261" y="1323572"/>
              <a:ext cx="798840" cy="57960"/>
            </p14:xfrm>
          </p:contentPart>
        </mc:Choice>
        <mc:Fallback>
          <p:pic>
            <p:nvPicPr>
              <p:cNvPr id="97" name="Ink 96">
                <a:extLst>
                  <a:ext uri="{FF2B5EF4-FFF2-40B4-BE49-F238E27FC236}">
                    <a16:creationId xmlns:a16="http://schemas.microsoft.com/office/drawing/2014/main" id="{94076768-A1CF-E8A5-87CC-B4A9D868B48C}"/>
                  </a:ext>
                </a:extLst>
              </p:cNvPr>
              <p:cNvPicPr/>
              <p:nvPr/>
            </p:nvPicPr>
            <p:blipFill>
              <a:blip r:embed="rId185"/>
              <a:stretch>
                <a:fillRect/>
              </a:stretch>
            </p:blipFill>
            <p:spPr>
              <a:xfrm>
                <a:off x="8339141" y="1308452"/>
                <a:ext cx="829440" cy="885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86">
            <p14:nvContentPartPr>
              <p14:cNvPr id="98" name="Ink 97">
                <a:extLst>
                  <a:ext uri="{FF2B5EF4-FFF2-40B4-BE49-F238E27FC236}">
                    <a16:creationId xmlns:a16="http://schemas.microsoft.com/office/drawing/2014/main" id="{9C7C2506-0501-12E9-3D3D-87D22253A32B}"/>
                  </a:ext>
                </a:extLst>
              </p14:cNvPr>
              <p14:cNvContentPartPr/>
              <p14:nvPr/>
            </p14:nvContentPartPr>
            <p14:xfrm>
              <a:off x="6767381" y="812012"/>
              <a:ext cx="129960" cy="120960"/>
            </p14:xfrm>
          </p:contentPart>
        </mc:Choice>
        <mc:Fallback>
          <p:pic>
            <p:nvPicPr>
              <p:cNvPr id="98" name="Ink 97">
                <a:extLst>
                  <a:ext uri="{FF2B5EF4-FFF2-40B4-BE49-F238E27FC236}">
                    <a16:creationId xmlns:a16="http://schemas.microsoft.com/office/drawing/2014/main" id="{9C7C2506-0501-12E9-3D3D-87D22253A32B}"/>
                  </a:ext>
                </a:extLst>
              </p:cNvPr>
              <p:cNvPicPr/>
              <p:nvPr/>
            </p:nvPicPr>
            <p:blipFill>
              <a:blip r:embed="rId187"/>
              <a:stretch>
                <a:fillRect/>
              </a:stretch>
            </p:blipFill>
            <p:spPr>
              <a:xfrm>
                <a:off x="6752261" y="796532"/>
                <a:ext cx="160560" cy="1515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88">
            <p14:nvContentPartPr>
              <p14:cNvPr id="99" name="Ink 98">
                <a:extLst>
                  <a:ext uri="{FF2B5EF4-FFF2-40B4-BE49-F238E27FC236}">
                    <a16:creationId xmlns:a16="http://schemas.microsoft.com/office/drawing/2014/main" id="{89C736B7-251C-2C8B-44EF-9CC859B4AEFE}"/>
                  </a:ext>
                </a:extLst>
              </p14:cNvPr>
              <p14:cNvContentPartPr/>
              <p14:nvPr/>
            </p14:nvContentPartPr>
            <p14:xfrm>
              <a:off x="7444541" y="1121972"/>
              <a:ext cx="1391040" cy="392040"/>
            </p14:xfrm>
          </p:contentPart>
        </mc:Choice>
        <mc:Fallback>
          <p:pic>
            <p:nvPicPr>
              <p:cNvPr id="99" name="Ink 98">
                <a:extLst>
                  <a:ext uri="{FF2B5EF4-FFF2-40B4-BE49-F238E27FC236}">
                    <a16:creationId xmlns:a16="http://schemas.microsoft.com/office/drawing/2014/main" id="{89C736B7-251C-2C8B-44EF-9CC859B4AEFE}"/>
                  </a:ext>
                </a:extLst>
              </p:cNvPr>
              <p:cNvPicPr/>
              <p:nvPr/>
            </p:nvPicPr>
            <p:blipFill>
              <a:blip r:embed="rId189"/>
              <a:stretch>
                <a:fillRect/>
              </a:stretch>
            </p:blipFill>
            <p:spPr>
              <a:xfrm>
                <a:off x="7429421" y="1106852"/>
                <a:ext cx="1421280" cy="4226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90">
            <p14:nvContentPartPr>
              <p14:cNvPr id="100" name="Ink 99">
                <a:extLst>
                  <a:ext uri="{FF2B5EF4-FFF2-40B4-BE49-F238E27FC236}">
                    <a16:creationId xmlns:a16="http://schemas.microsoft.com/office/drawing/2014/main" id="{70318551-BF06-AC6F-3F4E-02BD085A8707}"/>
                  </a:ext>
                </a:extLst>
              </p14:cNvPr>
              <p14:cNvContentPartPr/>
              <p14:nvPr/>
            </p14:nvContentPartPr>
            <p14:xfrm>
              <a:off x="4452941" y="3810452"/>
              <a:ext cx="155880" cy="229680"/>
            </p14:xfrm>
          </p:contentPart>
        </mc:Choice>
        <mc:Fallback>
          <p:pic>
            <p:nvPicPr>
              <p:cNvPr id="100" name="Ink 99">
                <a:extLst>
                  <a:ext uri="{FF2B5EF4-FFF2-40B4-BE49-F238E27FC236}">
                    <a16:creationId xmlns:a16="http://schemas.microsoft.com/office/drawing/2014/main" id="{70318551-BF06-AC6F-3F4E-02BD085A8707}"/>
                  </a:ext>
                </a:extLst>
              </p:cNvPr>
              <p:cNvPicPr/>
              <p:nvPr/>
            </p:nvPicPr>
            <p:blipFill>
              <a:blip r:embed="rId191"/>
              <a:stretch>
                <a:fillRect/>
              </a:stretch>
            </p:blipFill>
            <p:spPr>
              <a:xfrm>
                <a:off x="4437821" y="3794972"/>
                <a:ext cx="186480" cy="2602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92">
            <p14:nvContentPartPr>
              <p14:cNvPr id="101" name="Ink 100">
                <a:extLst>
                  <a:ext uri="{FF2B5EF4-FFF2-40B4-BE49-F238E27FC236}">
                    <a16:creationId xmlns:a16="http://schemas.microsoft.com/office/drawing/2014/main" id="{1CDC9C21-9817-206E-A67D-1745C9376C74}"/>
                  </a:ext>
                </a:extLst>
              </p14:cNvPr>
              <p14:cNvContentPartPr/>
              <p14:nvPr/>
            </p14:nvContentPartPr>
            <p14:xfrm>
              <a:off x="4702781" y="3842852"/>
              <a:ext cx="84240" cy="229320"/>
            </p14:xfrm>
          </p:contentPart>
        </mc:Choice>
        <mc:Fallback>
          <p:pic>
            <p:nvPicPr>
              <p:cNvPr id="101" name="Ink 100">
                <a:extLst>
                  <a:ext uri="{FF2B5EF4-FFF2-40B4-BE49-F238E27FC236}">
                    <a16:creationId xmlns:a16="http://schemas.microsoft.com/office/drawing/2014/main" id="{1CDC9C21-9817-206E-A67D-1745C9376C74}"/>
                  </a:ext>
                </a:extLst>
              </p:cNvPr>
              <p:cNvPicPr/>
              <p:nvPr/>
            </p:nvPicPr>
            <p:blipFill>
              <a:blip r:embed="rId193"/>
              <a:stretch>
                <a:fillRect/>
              </a:stretch>
            </p:blipFill>
            <p:spPr>
              <a:xfrm>
                <a:off x="4687661" y="3827732"/>
                <a:ext cx="114840" cy="2599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94">
            <p14:nvContentPartPr>
              <p14:cNvPr id="102" name="Ink 101">
                <a:extLst>
                  <a:ext uri="{FF2B5EF4-FFF2-40B4-BE49-F238E27FC236}">
                    <a16:creationId xmlns:a16="http://schemas.microsoft.com/office/drawing/2014/main" id="{56244868-6A9D-A11E-A860-EA16C6F7E9F9}"/>
                  </a:ext>
                </a:extLst>
              </p14:cNvPr>
              <p14:cNvContentPartPr/>
              <p14:nvPr/>
            </p14:nvContentPartPr>
            <p14:xfrm>
              <a:off x="4860821" y="3879572"/>
              <a:ext cx="141120" cy="171360"/>
            </p14:xfrm>
          </p:contentPart>
        </mc:Choice>
        <mc:Fallback>
          <p:pic>
            <p:nvPicPr>
              <p:cNvPr id="102" name="Ink 101">
                <a:extLst>
                  <a:ext uri="{FF2B5EF4-FFF2-40B4-BE49-F238E27FC236}">
                    <a16:creationId xmlns:a16="http://schemas.microsoft.com/office/drawing/2014/main" id="{56244868-6A9D-A11E-A860-EA16C6F7E9F9}"/>
                  </a:ext>
                </a:extLst>
              </p:cNvPr>
              <p:cNvPicPr/>
              <p:nvPr/>
            </p:nvPicPr>
            <p:blipFill>
              <a:blip r:embed="rId195"/>
              <a:stretch>
                <a:fillRect/>
              </a:stretch>
            </p:blipFill>
            <p:spPr>
              <a:xfrm>
                <a:off x="4845701" y="3864452"/>
                <a:ext cx="171360" cy="2019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96">
            <p14:nvContentPartPr>
              <p14:cNvPr id="103" name="Ink 102">
                <a:extLst>
                  <a:ext uri="{FF2B5EF4-FFF2-40B4-BE49-F238E27FC236}">
                    <a16:creationId xmlns:a16="http://schemas.microsoft.com/office/drawing/2014/main" id="{3BE79AFC-2DB5-AC29-1433-B0956EA8F960}"/>
                  </a:ext>
                </a:extLst>
              </p14:cNvPr>
              <p14:cNvContentPartPr/>
              <p14:nvPr/>
            </p14:nvContentPartPr>
            <p14:xfrm>
              <a:off x="4873421" y="3942212"/>
              <a:ext cx="116640" cy="56520"/>
            </p14:xfrm>
          </p:contentPart>
        </mc:Choice>
        <mc:Fallback>
          <p:pic>
            <p:nvPicPr>
              <p:cNvPr id="103" name="Ink 102">
                <a:extLst>
                  <a:ext uri="{FF2B5EF4-FFF2-40B4-BE49-F238E27FC236}">
                    <a16:creationId xmlns:a16="http://schemas.microsoft.com/office/drawing/2014/main" id="{3BE79AFC-2DB5-AC29-1433-B0956EA8F960}"/>
                  </a:ext>
                </a:extLst>
              </p:cNvPr>
              <p:cNvPicPr/>
              <p:nvPr/>
            </p:nvPicPr>
            <p:blipFill>
              <a:blip r:embed="rId197"/>
              <a:stretch>
                <a:fillRect/>
              </a:stretch>
            </p:blipFill>
            <p:spPr>
              <a:xfrm>
                <a:off x="4857941" y="3927092"/>
                <a:ext cx="147240" cy="87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98">
            <p14:nvContentPartPr>
              <p14:cNvPr id="104" name="Ink 103">
                <a:extLst>
                  <a:ext uri="{FF2B5EF4-FFF2-40B4-BE49-F238E27FC236}">
                    <a16:creationId xmlns:a16="http://schemas.microsoft.com/office/drawing/2014/main" id="{DF99B5B3-86F7-1FC3-BB2C-A33256C0DEAB}"/>
                  </a:ext>
                </a:extLst>
              </p14:cNvPr>
              <p14:cNvContentPartPr/>
              <p14:nvPr/>
            </p14:nvContentPartPr>
            <p14:xfrm>
              <a:off x="5061701" y="3859412"/>
              <a:ext cx="176040" cy="176760"/>
            </p14:xfrm>
          </p:contentPart>
        </mc:Choice>
        <mc:Fallback>
          <p:pic>
            <p:nvPicPr>
              <p:cNvPr id="104" name="Ink 103">
                <a:extLst>
                  <a:ext uri="{FF2B5EF4-FFF2-40B4-BE49-F238E27FC236}">
                    <a16:creationId xmlns:a16="http://schemas.microsoft.com/office/drawing/2014/main" id="{DF99B5B3-86F7-1FC3-BB2C-A33256C0DEAB}"/>
                  </a:ext>
                </a:extLst>
              </p:cNvPr>
              <p:cNvPicPr/>
              <p:nvPr/>
            </p:nvPicPr>
            <p:blipFill>
              <a:blip r:embed="rId199"/>
              <a:stretch>
                <a:fillRect/>
              </a:stretch>
            </p:blipFill>
            <p:spPr>
              <a:xfrm>
                <a:off x="5046581" y="3844292"/>
                <a:ext cx="206640" cy="2073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00">
            <p14:nvContentPartPr>
              <p14:cNvPr id="105" name="Ink 104">
                <a:extLst>
                  <a:ext uri="{FF2B5EF4-FFF2-40B4-BE49-F238E27FC236}">
                    <a16:creationId xmlns:a16="http://schemas.microsoft.com/office/drawing/2014/main" id="{774AF5C8-7396-9D2F-E8AF-D4665748A922}"/>
                  </a:ext>
                </a:extLst>
              </p14:cNvPr>
              <p14:cNvContentPartPr/>
              <p14:nvPr/>
            </p14:nvContentPartPr>
            <p14:xfrm>
              <a:off x="5290661" y="3879212"/>
              <a:ext cx="149040" cy="189360"/>
            </p14:xfrm>
          </p:contentPart>
        </mc:Choice>
        <mc:Fallback>
          <p:pic>
            <p:nvPicPr>
              <p:cNvPr id="105" name="Ink 104">
                <a:extLst>
                  <a:ext uri="{FF2B5EF4-FFF2-40B4-BE49-F238E27FC236}">
                    <a16:creationId xmlns:a16="http://schemas.microsoft.com/office/drawing/2014/main" id="{774AF5C8-7396-9D2F-E8AF-D4665748A922}"/>
                  </a:ext>
                </a:extLst>
              </p:cNvPr>
              <p:cNvPicPr/>
              <p:nvPr/>
            </p:nvPicPr>
            <p:blipFill>
              <a:blip r:embed="rId201"/>
              <a:stretch>
                <a:fillRect/>
              </a:stretch>
            </p:blipFill>
            <p:spPr>
              <a:xfrm>
                <a:off x="5275541" y="3863732"/>
                <a:ext cx="179640" cy="2199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02">
            <p14:nvContentPartPr>
              <p14:cNvPr id="106" name="Ink 105">
                <a:extLst>
                  <a:ext uri="{FF2B5EF4-FFF2-40B4-BE49-F238E27FC236}">
                    <a16:creationId xmlns:a16="http://schemas.microsoft.com/office/drawing/2014/main" id="{B5ECDFF4-254C-1422-D2CB-BC078EEAED75}"/>
                  </a:ext>
                </a:extLst>
              </p14:cNvPr>
              <p14:cNvContentPartPr/>
              <p14:nvPr/>
            </p14:nvContentPartPr>
            <p14:xfrm>
              <a:off x="4456181" y="4161812"/>
              <a:ext cx="1175760" cy="83160"/>
            </p14:xfrm>
          </p:contentPart>
        </mc:Choice>
        <mc:Fallback>
          <p:pic>
            <p:nvPicPr>
              <p:cNvPr id="106" name="Ink 105">
                <a:extLst>
                  <a:ext uri="{FF2B5EF4-FFF2-40B4-BE49-F238E27FC236}">
                    <a16:creationId xmlns:a16="http://schemas.microsoft.com/office/drawing/2014/main" id="{B5ECDFF4-254C-1422-D2CB-BC078EEAED75}"/>
                  </a:ext>
                </a:extLst>
              </p:cNvPr>
              <p:cNvPicPr/>
              <p:nvPr/>
            </p:nvPicPr>
            <p:blipFill>
              <a:blip r:embed="rId203"/>
              <a:stretch>
                <a:fillRect/>
              </a:stretch>
            </p:blipFill>
            <p:spPr>
              <a:xfrm>
                <a:off x="4441061" y="4146692"/>
                <a:ext cx="1206000" cy="1137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04">
            <p14:nvContentPartPr>
              <p14:cNvPr id="107" name="Ink 106">
                <a:extLst>
                  <a:ext uri="{FF2B5EF4-FFF2-40B4-BE49-F238E27FC236}">
                    <a16:creationId xmlns:a16="http://schemas.microsoft.com/office/drawing/2014/main" id="{2BA0943A-3F19-7F3B-027B-513D53AC9E5A}"/>
                  </a:ext>
                </a:extLst>
              </p14:cNvPr>
              <p14:cNvContentPartPr/>
              <p14:nvPr/>
            </p14:nvContentPartPr>
            <p14:xfrm>
              <a:off x="4924901" y="4289972"/>
              <a:ext cx="173160" cy="244080"/>
            </p14:xfrm>
          </p:contentPart>
        </mc:Choice>
        <mc:Fallback>
          <p:pic>
            <p:nvPicPr>
              <p:cNvPr id="107" name="Ink 106">
                <a:extLst>
                  <a:ext uri="{FF2B5EF4-FFF2-40B4-BE49-F238E27FC236}">
                    <a16:creationId xmlns:a16="http://schemas.microsoft.com/office/drawing/2014/main" id="{2BA0943A-3F19-7F3B-027B-513D53AC9E5A}"/>
                  </a:ext>
                </a:extLst>
              </p:cNvPr>
              <p:cNvPicPr/>
              <p:nvPr/>
            </p:nvPicPr>
            <p:blipFill>
              <a:blip r:embed="rId205"/>
              <a:stretch>
                <a:fillRect/>
              </a:stretch>
            </p:blipFill>
            <p:spPr>
              <a:xfrm>
                <a:off x="4909781" y="4274492"/>
                <a:ext cx="203760" cy="2746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06">
            <p14:nvContentPartPr>
              <p14:cNvPr id="108" name="Ink 107">
                <a:extLst>
                  <a:ext uri="{FF2B5EF4-FFF2-40B4-BE49-F238E27FC236}">
                    <a16:creationId xmlns:a16="http://schemas.microsoft.com/office/drawing/2014/main" id="{4D1B5D73-E6CD-EE4C-EC16-915A098AF38D}"/>
                  </a:ext>
                </a:extLst>
              </p14:cNvPr>
              <p14:cNvContentPartPr/>
              <p14:nvPr/>
            </p14:nvContentPartPr>
            <p14:xfrm>
              <a:off x="5511341" y="3837092"/>
              <a:ext cx="143280" cy="349200"/>
            </p14:xfrm>
          </p:contentPart>
        </mc:Choice>
        <mc:Fallback>
          <p:pic>
            <p:nvPicPr>
              <p:cNvPr id="108" name="Ink 107">
                <a:extLst>
                  <a:ext uri="{FF2B5EF4-FFF2-40B4-BE49-F238E27FC236}">
                    <a16:creationId xmlns:a16="http://schemas.microsoft.com/office/drawing/2014/main" id="{4D1B5D73-E6CD-EE4C-EC16-915A098AF38D}"/>
                  </a:ext>
                </a:extLst>
              </p:cNvPr>
              <p:cNvPicPr/>
              <p:nvPr/>
            </p:nvPicPr>
            <p:blipFill>
              <a:blip r:embed="rId207"/>
              <a:stretch>
                <a:fillRect/>
              </a:stretch>
            </p:blipFill>
            <p:spPr>
              <a:xfrm>
                <a:off x="5496221" y="3821972"/>
                <a:ext cx="173880" cy="3798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08">
            <p14:nvContentPartPr>
              <p14:cNvPr id="109" name="Ink 108">
                <a:extLst>
                  <a:ext uri="{FF2B5EF4-FFF2-40B4-BE49-F238E27FC236}">
                    <a16:creationId xmlns:a16="http://schemas.microsoft.com/office/drawing/2014/main" id="{2ED8F0A3-3DFC-9951-08F3-E25FEE4008F5}"/>
                  </a:ext>
                </a:extLst>
              </p14:cNvPr>
              <p14:cNvContentPartPr/>
              <p14:nvPr/>
            </p14:nvContentPartPr>
            <p14:xfrm>
              <a:off x="5169341" y="4388252"/>
              <a:ext cx="22320" cy="142560"/>
            </p14:xfrm>
          </p:contentPart>
        </mc:Choice>
        <mc:Fallback>
          <p:pic>
            <p:nvPicPr>
              <p:cNvPr id="109" name="Ink 108">
                <a:extLst>
                  <a:ext uri="{FF2B5EF4-FFF2-40B4-BE49-F238E27FC236}">
                    <a16:creationId xmlns:a16="http://schemas.microsoft.com/office/drawing/2014/main" id="{2ED8F0A3-3DFC-9951-08F3-E25FEE4008F5}"/>
                  </a:ext>
                </a:extLst>
              </p:cNvPr>
              <p:cNvPicPr/>
              <p:nvPr/>
            </p:nvPicPr>
            <p:blipFill>
              <a:blip r:embed="rId209"/>
              <a:stretch>
                <a:fillRect/>
              </a:stretch>
            </p:blipFill>
            <p:spPr>
              <a:xfrm>
                <a:off x="5153861" y="4373132"/>
                <a:ext cx="52920" cy="1731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10">
            <p14:nvContentPartPr>
              <p14:cNvPr id="110" name="Ink 109">
                <a:extLst>
                  <a:ext uri="{FF2B5EF4-FFF2-40B4-BE49-F238E27FC236}">
                    <a16:creationId xmlns:a16="http://schemas.microsoft.com/office/drawing/2014/main" id="{4BCCEC1C-21EA-37D8-5AAB-40BB69FDF9FA}"/>
                  </a:ext>
                </a:extLst>
              </p14:cNvPr>
              <p14:cNvContentPartPr/>
              <p14:nvPr/>
            </p14:nvContentPartPr>
            <p14:xfrm>
              <a:off x="5186261" y="4325612"/>
              <a:ext cx="200160" cy="204120"/>
            </p14:xfrm>
          </p:contentPart>
        </mc:Choice>
        <mc:Fallback>
          <p:pic>
            <p:nvPicPr>
              <p:cNvPr id="110" name="Ink 109">
                <a:extLst>
                  <a:ext uri="{FF2B5EF4-FFF2-40B4-BE49-F238E27FC236}">
                    <a16:creationId xmlns:a16="http://schemas.microsoft.com/office/drawing/2014/main" id="{4BCCEC1C-21EA-37D8-5AAB-40BB69FDF9FA}"/>
                  </a:ext>
                </a:extLst>
              </p:cNvPr>
              <p:cNvPicPr/>
              <p:nvPr/>
            </p:nvPicPr>
            <p:blipFill>
              <a:blip r:embed="rId211"/>
              <a:stretch>
                <a:fillRect/>
              </a:stretch>
            </p:blipFill>
            <p:spPr>
              <a:xfrm>
                <a:off x="5171141" y="4310492"/>
                <a:ext cx="230760" cy="234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12">
            <p14:nvContentPartPr>
              <p14:cNvPr id="111" name="Ink 110">
                <a:extLst>
                  <a:ext uri="{FF2B5EF4-FFF2-40B4-BE49-F238E27FC236}">
                    <a16:creationId xmlns:a16="http://schemas.microsoft.com/office/drawing/2014/main" id="{B54C3EED-DC5C-275A-A268-244289C576F4}"/>
                  </a:ext>
                </a:extLst>
              </p14:cNvPr>
              <p14:cNvContentPartPr/>
              <p14:nvPr/>
            </p14:nvContentPartPr>
            <p14:xfrm>
              <a:off x="5278421" y="4429292"/>
              <a:ext cx="116280" cy="73800"/>
            </p14:xfrm>
          </p:contentPart>
        </mc:Choice>
        <mc:Fallback>
          <p:pic>
            <p:nvPicPr>
              <p:cNvPr id="111" name="Ink 110">
                <a:extLst>
                  <a:ext uri="{FF2B5EF4-FFF2-40B4-BE49-F238E27FC236}">
                    <a16:creationId xmlns:a16="http://schemas.microsoft.com/office/drawing/2014/main" id="{B54C3EED-DC5C-275A-A268-244289C576F4}"/>
                  </a:ext>
                </a:extLst>
              </p:cNvPr>
              <p:cNvPicPr/>
              <p:nvPr/>
            </p:nvPicPr>
            <p:blipFill>
              <a:blip r:embed="rId213"/>
              <a:stretch>
                <a:fillRect/>
              </a:stretch>
            </p:blipFill>
            <p:spPr>
              <a:xfrm>
                <a:off x="5262941" y="4413812"/>
                <a:ext cx="146880" cy="1044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14">
            <p14:nvContentPartPr>
              <p14:cNvPr id="112" name="Ink 111">
                <a:extLst>
                  <a:ext uri="{FF2B5EF4-FFF2-40B4-BE49-F238E27FC236}">
                    <a16:creationId xmlns:a16="http://schemas.microsoft.com/office/drawing/2014/main" id="{C3B42F24-0FBC-A7E1-A991-DAB156EC5C3E}"/>
                  </a:ext>
                </a:extLst>
              </p14:cNvPr>
              <p14:cNvContentPartPr/>
              <p14:nvPr/>
            </p14:nvContentPartPr>
            <p14:xfrm>
              <a:off x="5408741" y="4380332"/>
              <a:ext cx="102240" cy="199440"/>
            </p14:xfrm>
          </p:contentPart>
        </mc:Choice>
        <mc:Fallback>
          <p:pic>
            <p:nvPicPr>
              <p:cNvPr id="112" name="Ink 111">
                <a:extLst>
                  <a:ext uri="{FF2B5EF4-FFF2-40B4-BE49-F238E27FC236}">
                    <a16:creationId xmlns:a16="http://schemas.microsoft.com/office/drawing/2014/main" id="{C3B42F24-0FBC-A7E1-A991-DAB156EC5C3E}"/>
                  </a:ext>
                </a:extLst>
              </p:cNvPr>
              <p:cNvPicPr/>
              <p:nvPr/>
            </p:nvPicPr>
            <p:blipFill>
              <a:blip r:embed="rId215"/>
              <a:stretch>
                <a:fillRect/>
              </a:stretch>
            </p:blipFill>
            <p:spPr>
              <a:xfrm>
                <a:off x="5393621" y="4364852"/>
                <a:ext cx="132840" cy="2300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16">
            <p14:nvContentPartPr>
              <p14:cNvPr id="113" name="Ink 112">
                <a:extLst>
                  <a:ext uri="{FF2B5EF4-FFF2-40B4-BE49-F238E27FC236}">
                    <a16:creationId xmlns:a16="http://schemas.microsoft.com/office/drawing/2014/main" id="{5BA642D3-FD94-9F21-EE62-A114B940C44F}"/>
                  </a:ext>
                </a:extLst>
              </p14:cNvPr>
              <p14:cNvContentPartPr/>
              <p14:nvPr/>
            </p14:nvContentPartPr>
            <p14:xfrm>
              <a:off x="5067461" y="4280252"/>
              <a:ext cx="127080" cy="292680"/>
            </p14:xfrm>
          </p:contentPart>
        </mc:Choice>
        <mc:Fallback>
          <p:pic>
            <p:nvPicPr>
              <p:cNvPr id="113" name="Ink 112">
                <a:extLst>
                  <a:ext uri="{FF2B5EF4-FFF2-40B4-BE49-F238E27FC236}">
                    <a16:creationId xmlns:a16="http://schemas.microsoft.com/office/drawing/2014/main" id="{5BA642D3-FD94-9F21-EE62-A114B940C44F}"/>
                  </a:ext>
                </a:extLst>
              </p:cNvPr>
              <p:cNvPicPr/>
              <p:nvPr/>
            </p:nvPicPr>
            <p:blipFill>
              <a:blip r:embed="rId217"/>
              <a:stretch>
                <a:fillRect/>
              </a:stretch>
            </p:blipFill>
            <p:spPr>
              <a:xfrm>
                <a:off x="5052341" y="4264772"/>
                <a:ext cx="157680" cy="3232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18">
            <p14:nvContentPartPr>
              <p14:cNvPr id="114" name="Ink 113">
                <a:extLst>
                  <a:ext uri="{FF2B5EF4-FFF2-40B4-BE49-F238E27FC236}">
                    <a16:creationId xmlns:a16="http://schemas.microsoft.com/office/drawing/2014/main" id="{0B78DCB1-27A3-93D3-A097-4B5F4B8BB5FC}"/>
                  </a:ext>
                </a:extLst>
              </p14:cNvPr>
              <p14:cNvContentPartPr/>
              <p14:nvPr/>
            </p14:nvContentPartPr>
            <p14:xfrm>
              <a:off x="5888621" y="4145612"/>
              <a:ext cx="149040" cy="15480"/>
            </p14:xfrm>
          </p:contentPart>
        </mc:Choice>
        <mc:Fallback>
          <p:pic>
            <p:nvPicPr>
              <p:cNvPr id="114" name="Ink 113">
                <a:extLst>
                  <a:ext uri="{FF2B5EF4-FFF2-40B4-BE49-F238E27FC236}">
                    <a16:creationId xmlns:a16="http://schemas.microsoft.com/office/drawing/2014/main" id="{0B78DCB1-27A3-93D3-A097-4B5F4B8BB5FC}"/>
                  </a:ext>
                </a:extLst>
              </p:cNvPr>
              <p:cNvPicPr/>
              <p:nvPr/>
            </p:nvPicPr>
            <p:blipFill>
              <a:blip r:embed="rId219"/>
              <a:stretch>
                <a:fillRect/>
              </a:stretch>
            </p:blipFill>
            <p:spPr>
              <a:xfrm>
                <a:off x="5873141" y="4130132"/>
                <a:ext cx="179280" cy="45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20">
            <p14:nvContentPartPr>
              <p14:cNvPr id="115" name="Ink 114">
                <a:extLst>
                  <a:ext uri="{FF2B5EF4-FFF2-40B4-BE49-F238E27FC236}">
                    <a16:creationId xmlns:a16="http://schemas.microsoft.com/office/drawing/2014/main" id="{EF7073D5-5E4B-5CC5-0A5A-FFEA4C545EF2}"/>
                  </a:ext>
                </a:extLst>
              </p14:cNvPr>
              <p14:cNvContentPartPr/>
              <p14:nvPr/>
            </p14:nvContentPartPr>
            <p14:xfrm>
              <a:off x="5872781" y="4247132"/>
              <a:ext cx="202680" cy="13320"/>
            </p14:xfrm>
          </p:contentPart>
        </mc:Choice>
        <mc:Fallback>
          <p:pic>
            <p:nvPicPr>
              <p:cNvPr id="115" name="Ink 114">
                <a:extLst>
                  <a:ext uri="{FF2B5EF4-FFF2-40B4-BE49-F238E27FC236}">
                    <a16:creationId xmlns:a16="http://schemas.microsoft.com/office/drawing/2014/main" id="{EF7073D5-5E4B-5CC5-0A5A-FFEA4C545EF2}"/>
                  </a:ext>
                </a:extLst>
              </p:cNvPr>
              <p:cNvPicPr/>
              <p:nvPr/>
            </p:nvPicPr>
            <p:blipFill>
              <a:blip r:embed="rId221"/>
              <a:stretch>
                <a:fillRect/>
              </a:stretch>
            </p:blipFill>
            <p:spPr>
              <a:xfrm>
                <a:off x="5857661" y="4231652"/>
                <a:ext cx="233280" cy="439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22">
            <p14:nvContentPartPr>
              <p14:cNvPr id="116" name="Ink 115">
                <a:extLst>
                  <a:ext uri="{FF2B5EF4-FFF2-40B4-BE49-F238E27FC236}">
                    <a16:creationId xmlns:a16="http://schemas.microsoft.com/office/drawing/2014/main" id="{3FFD9FBA-306C-848C-06DC-F1F5856B3325}"/>
                  </a:ext>
                </a:extLst>
              </p14:cNvPr>
              <p14:cNvContentPartPr/>
              <p14:nvPr/>
            </p14:nvContentPartPr>
            <p14:xfrm>
              <a:off x="6507101" y="3921692"/>
              <a:ext cx="338040" cy="153720"/>
            </p14:xfrm>
          </p:contentPart>
        </mc:Choice>
        <mc:Fallback>
          <p:pic>
            <p:nvPicPr>
              <p:cNvPr id="116" name="Ink 115">
                <a:extLst>
                  <a:ext uri="{FF2B5EF4-FFF2-40B4-BE49-F238E27FC236}">
                    <a16:creationId xmlns:a16="http://schemas.microsoft.com/office/drawing/2014/main" id="{3FFD9FBA-306C-848C-06DC-F1F5856B3325}"/>
                  </a:ext>
                </a:extLst>
              </p:cNvPr>
              <p:cNvPicPr/>
              <p:nvPr/>
            </p:nvPicPr>
            <p:blipFill>
              <a:blip r:embed="rId223"/>
              <a:stretch>
                <a:fillRect/>
              </a:stretch>
            </p:blipFill>
            <p:spPr>
              <a:xfrm>
                <a:off x="6491981" y="3906572"/>
                <a:ext cx="368280" cy="184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24">
            <p14:nvContentPartPr>
              <p14:cNvPr id="117" name="Ink 116">
                <a:extLst>
                  <a:ext uri="{FF2B5EF4-FFF2-40B4-BE49-F238E27FC236}">
                    <a16:creationId xmlns:a16="http://schemas.microsoft.com/office/drawing/2014/main" id="{284A05EC-A15B-5AAB-8973-D3027A63CEC8}"/>
                  </a:ext>
                </a:extLst>
              </p14:cNvPr>
              <p14:cNvContentPartPr/>
              <p14:nvPr/>
            </p14:nvContentPartPr>
            <p14:xfrm>
              <a:off x="6698621" y="3980372"/>
              <a:ext cx="308880" cy="304920"/>
            </p14:xfrm>
          </p:contentPart>
        </mc:Choice>
        <mc:Fallback>
          <p:pic>
            <p:nvPicPr>
              <p:cNvPr id="117" name="Ink 116">
                <a:extLst>
                  <a:ext uri="{FF2B5EF4-FFF2-40B4-BE49-F238E27FC236}">
                    <a16:creationId xmlns:a16="http://schemas.microsoft.com/office/drawing/2014/main" id="{284A05EC-A15B-5AAB-8973-D3027A63CEC8}"/>
                  </a:ext>
                </a:extLst>
              </p:cNvPr>
              <p:cNvPicPr/>
              <p:nvPr/>
            </p:nvPicPr>
            <p:blipFill>
              <a:blip r:embed="rId225"/>
              <a:stretch>
                <a:fillRect/>
              </a:stretch>
            </p:blipFill>
            <p:spPr>
              <a:xfrm>
                <a:off x="6683501" y="3965252"/>
                <a:ext cx="339120" cy="3355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26">
            <p14:nvContentPartPr>
              <p14:cNvPr id="118" name="Ink 117">
                <a:extLst>
                  <a:ext uri="{FF2B5EF4-FFF2-40B4-BE49-F238E27FC236}">
                    <a16:creationId xmlns:a16="http://schemas.microsoft.com/office/drawing/2014/main" id="{C8FCAA20-08D2-BF80-A005-B1C2C9E91039}"/>
                  </a:ext>
                </a:extLst>
              </p14:cNvPr>
              <p14:cNvContentPartPr/>
              <p14:nvPr/>
            </p14:nvContentPartPr>
            <p14:xfrm>
              <a:off x="6942341" y="4139852"/>
              <a:ext cx="23040" cy="119160"/>
            </p14:xfrm>
          </p:contentPart>
        </mc:Choice>
        <mc:Fallback>
          <p:pic>
            <p:nvPicPr>
              <p:cNvPr id="118" name="Ink 117">
                <a:extLst>
                  <a:ext uri="{FF2B5EF4-FFF2-40B4-BE49-F238E27FC236}">
                    <a16:creationId xmlns:a16="http://schemas.microsoft.com/office/drawing/2014/main" id="{C8FCAA20-08D2-BF80-A005-B1C2C9E91039}"/>
                  </a:ext>
                </a:extLst>
              </p:cNvPr>
              <p:cNvPicPr/>
              <p:nvPr/>
            </p:nvPicPr>
            <p:blipFill>
              <a:blip r:embed="rId227"/>
              <a:stretch>
                <a:fillRect/>
              </a:stretch>
            </p:blipFill>
            <p:spPr>
              <a:xfrm>
                <a:off x="6926861" y="4124732"/>
                <a:ext cx="53280" cy="1497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28">
            <p14:nvContentPartPr>
              <p14:cNvPr id="119" name="Ink 118">
                <a:extLst>
                  <a:ext uri="{FF2B5EF4-FFF2-40B4-BE49-F238E27FC236}">
                    <a16:creationId xmlns:a16="http://schemas.microsoft.com/office/drawing/2014/main" id="{01C71045-BFC1-A9FF-BCD1-4601163FD0F0}"/>
                  </a:ext>
                </a:extLst>
              </p14:cNvPr>
              <p14:cNvContentPartPr/>
              <p14:nvPr/>
            </p14:nvContentPartPr>
            <p14:xfrm>
              <a:off x="7054301" y="4152812"/>
              <a:ext cx="74520" cy="124920"/>
            </p14:xfrm>
          </p:contentPart>
        </mc:Choice>
        <mc:Fallback>
          <p:pic>
            <p:nvPicPr>
              <p:cNvPr id="119" name="Ink 118">
                <a:extLst>
                  <a:ext uri="{FF2B5EF4-FFF2-40B4-BE49-F238E27FC236}">
                    <a16:creationId xmlns:a16="http://schemas.microsoft.com/office/drawing/2014/main" id="{01C71045-BFC1-A9FF-BCD1-4601163FD0F0}"/>
                  </a:ext>
                </a:extLst>
              </p:cNvPr>
              <p:cNvPicPr/>
              <p:nvPr/>
            </p:nvPicPr>
            <p:blipFill>
              <a:blip r:embed="rId229"/>
              <a:stretch>
                <a:fillRect/>
              </a:stretch>
            </p:blipFill>
            <p:spPr>
              <a:xfrm>
                <a:off x="7039181" y="4137692"/>
                <a:ext cx="105120" cy="1555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30">
            <p14:nvContentPartPr>
              <p14:cNvPr id="120" name="Ink 119">
                <a:extLst>
                  <a:ext uri="{FF2B5EF4-FFF2-40B4-BE49-F238E27FC236}">
                    <a16:creationId xmlns:a16="http://schemas.microsoft.com/office/drawing/2014/main" id="{DD933D27-C1D4-4941-39F6-75A0CB120B62}"/>
                  </a:ext>
                </a:extLst>
              </p14:cNvPr>
              <p14:cNvContentPartPr/>
              <p14:nvPr/>
            </p14:nvContentPartPr>
            <p14:xfrm>
              <a:off x="7114061" y="4159292"/>
              <a:ext cx="150480" cy="105840"/>
            </p14:xfrm>
          </p:contentPart>
        </mc:Choice>
        <mc:Fallback>
          <p:pic>
            <p:nvPicPr>
              <p:cNvPr id="120" name="Ink 119">
                <a:extLst>
                  <a:ext uri="{FF2B5EF4-FFF2-40B4-BE49-F238E27FC236}">
                    <a16:creationId xmlns:a16="http://schemas.microsoft.com/office/drawing/2014/main" id="{DD933D27-C1D4-4941-39F6-75A0CB120B62}"/>
                  </a:ext>
                </a:extLst>
              </p:cNvPr>
              <p:cNvPicPr/>
              <p:nvPr/>
            </p:nvPicPr>
            <p:blipFill>
              <a:blip r:embed="rId231"/>
              <a:stretch>
                <a:fillRect/>
              </a:stretch>
            </p:blipFill>
            <p:spPr>
              <a:xfrm>
                <a:off x="7098581" y="4143812"/>
                <a:ext cx="180720" cy="1364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32">
            <p14:nvContentPartPr>
              <p14:cNvPr id="121" name="Ink 120">
                <a:extLst>
                  <a:ext uri="{FF2B5EF4-FFF2-40B4-BE49-F238E27FC236}">
                    <a16:creationId xmlns:a16="http://schemas.microsoft.com/office/drawing/2014/main" id="{85ECF94C-9659-1BA5-4029-34D3830D9832}"/>
                  </a:ext>
                </a:extLst>
              </p14:cNvPr>
              <p14:cNvContentPartPr/>
              <p14:nvPr/>
            </p14:nvContentPartPr>
            <p14:xfrm>
              <a:off x="6399461" y="4362332"/>
              <a:ext cx="952920" cy="42480"/>
            </p14:xfrm>
          </p:contentPart>
        </mc:Choice>
        <mc:Fallback>
          <p:pic>
            <p:nvPicPr>
              <p:cNvPr id="121" name="Ink 120">
                <a:extLst>
                  <a:ext uri="{FF2B5EF4-FFF2-40B4-BE49-F238E27FC236}">
                    <a16:creationId xmlns:a16="http://schemas.microsoft.com/office/drawing/2014/main" id="{85ECF94C-9659-1BA5-4029-34D3830D9832}"/>
                  </a:ext>
                </a:extLst>
              </p:cNvPr>
              <p:cNvPicPr/>
              <p:nvPr/>
            </p:nvPicPr>
            <p:blipFill>
              <a:blip r:embed="rId233"/>
              <a:stretch>
                <a:fillRect/>
              </a:stretch>
            </p:blipFill>
            <p:spPr>
              <a:xfrm>
                <a:off x="6383981" y="4346852"/>
                <a:ext cx="983520" cy="730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34">
            <p14:nvContentPartPr>
              <p14:cNvPr id="122" name="Ink 121">
                <a:extLst>
                  <a:ext uri="{FF2B5EF4-FFF2-40B4-BE49-F238E27FC236}">
                    <a16:creationId xmlns:a16="http://schemas.microsoft.com/office/drawing/2014/main" id="{0BDB96C0-C9CB-4A59-A3E9-269368CF169B}"/>
                  </a:ext>
                </a:extLst>
              </p14:cNvPr>
              <p14:cNvContentPartPr/>
              <p14:nvPr/>
            </p14:nvContentPartPr>
            <p14:xfrm>
              <a:off x="3876221" y="3072092"/>
              <a:ext cx="360720" cy="66960"/>
            </p14:xfrm>
          </p:contentPart>
        </mc:Choice>
        <mc:Fallback>
          <p:pic>
            <p:nvPicPr>
              <p:cNvPr id="122" name="Ink 121">
                <a:extLst>
                  <a:ext uri="{FF2B5EF4-FFF2-40B4-BE49-F238E27FC236}">
                    <a16:creationId xmlns:a16="http://schemas.microsoft.com/office/drawing/2014/main" id="{0BDB96C0-C9CB-4A59-A3E9-269368CF169B}"/>
                  </a:ext>
                </a:extLst>
              </p:cNvPr>
              <p:cNvPicPr/>
              <p:nvPr/>
            </p:nvPicPr>
            <p:blipFill>
              <a:blip r:embed="rId235"/>
              <a:stretch>
                <a:fillRect/>
              </a:stretch>
            </p:blipFill>
            <p:spPr>
              <a:xfrm>
                <a:off x="3861101" y="3056612"/>
                <a:ext cx="391320" cy="975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36">
            <p14:nvContentPartPr>
              <p14:cNvPr id="123" name="Ink 122">
                <a:extLst>
                  <a:ext uri="{FF2B5EF4-FFF2-40B4-BE49-F238E27FC236}">
                    <a16:creationId xmlns:a16="http://schemas.microsoft.com/office/drawing/2014/main" id="{F4505B97-66AF-C35E-C50E-9FEB7334BBD3}"/>
                  </a:ext>
                </a:extLst>
              </p14:cNvPr>
              <p14:cNvContentPartPr/>
              <p14:nvPr/>
            </p14:nvContentPartPr>
            <p14:xfrm>
              <a:off x="6670901" y="4558532"/>
              <a:ext cx="123480" cy="196920"/>
            </p14:xfrm>
          </p:contentPart>
        </mc:Choice>
        <mc:Fallback>
          <p:pic>
            <p:nvPicPr>
              <p:cNvPr id="123" name="Ink 122">
                <a:extLst>
                  <a:ext uri="{FF2B5EF4-FFF2-40B4-BE49-F238E27FC236}">
                    <a16:creationId xmlns:a16="http://schemas.microsoft.com/office/drawing/2014/main" id="{F4505B97-66AF-C35E-C50E-9FEB7334BBD3}"/>
                  </a:ext>
                </a:extLst>
              </p:cNvPr>
              <p:cNvPicPr/>
              <p:nvPr/>
            </p:nvPicPr>
            <p:blipFill>
              <a:blip r:embed="rId237"/>
              <a:stretch>
                <a:fillRect/>
              </a:stretch>
            </p:blipFill>
            <p:spPr>
              <a:xfrm>
                <a:off x="6655781" y="4543412"/>
                <a:ext cx="153720" cy="2271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38">
            <p14:nvContentPartPr>
              <p14:cNvPr id="124" name="Ink 123">
                <a:extLst>
                  <a:ext uri="{FF2B5EF4-FFF2-40B4-BE49-F238E27FC236}">
                    <a16:creationId xmlns:a16="http://schemas.microsoft.com/office/drawing/2014/main" id="{6C2CFF96-F33A-856A-EBA4-762E563D22E0}"/>
                  </a:ext>
                </a:extLst>
              </p14:cNvPr>
              <p14:cNvContentPartPr/>
              <p14:nvPr/>
            </p14:nvContentPartPr>
            <p14:xfrm>
              <a:off x="6876101" y="4632332"/>
              <a:ext cx="85320" cy="109440"/>
            </p14:xfrm>
          </p:contentPart>
        </mc:Choice>
        <mc:Fallback>
          <p:pic>
            <p:nvPicPr>
              <p:cNvPr id="124" name="Ink 123">
                <a:extLst>
                  <a:ext uri="{FF2B5EF4-FFF2-40B4-BE49-F238E27FC236}">
                    <a16:creationId xmlns:a16="http://schemas.microsoft.com/office/drawing/2014/main" id="{6C2CFF96-F33A-856A-EBA4-762E563D22E0}"/>
                  </a:ext>
                </a:extLst>
              </p:cNvPr>
              <p:cNvPicPr/>
              <p:nvPr/>
            </p:nvPicPr>
            <p:blipFill>
              <a:blip r:embed="rId239"/>
              <a:stretch>
                <a:fillRect/>
              </a:stretch>
            </p:blipFill>
            <p:spPr>
              <a:xfrm>
                <a:off x="6860621" y="4617212"/>
                <a:ext cx="115920" cy="1400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40">
            <p14:nvContentPartPr>
              <p14:cNvPr id="125" name="Ink 124">
                <a:extLst>
                  <a:ext uri="{FF2B5EF4-FFF2-40B4-BE49-F238E27FC236}">
                    <a16:creationId xmlns:a16="http://schemas.microsoft.com/office/drawing/2014/main" id="{D99DEDF5-1286-D931-15BB-AAE7FC0127EA}"/>
                  </a:ext>
                </a:extLst>
              </p14:cNvPr>
              <p14:cNvContentPartPr/>
              <p14:nvPr/>
            </p14:nvContentPartPr>
            <p14:xfrm>
              <a:off x="6942341" y="4667612"/>
              <a:ext cx="116280" cy="244080"/>
            </p14:xfrm>
          </p:contentPart>
        </mc:Choice>
        <mc:Fallback>
          <p:pic>
            <p:nvPicPr>
              <p:cNvPr id="125" name="Ink 124">
                <a:extLst>
                  <a:ext uri="{FF2B5EF4-FFF2-40B4-BE49-F238E27FC236}">
                    <a16:creationId xmlns:a16="http://schemas.microsoft.com/office/drawing/2014/main" id="{D99DEDF5-1286-D931-15BB-AAE7FC0127EA}"/>
                  </a:ext>
                </a:extLst>
              </p:cNvPr>
              <p:cNvPicPr/>
              <p:nvPr/>
            </p:nvPicPr>
            <p:blipFill>
              <a:blip r:embed="rId241"/>
              <a:stretch>
                <a:fillRect/>
              </a:stretch>
            </p:blipFill>
            <p:spPr>
              <a:xfrm>
                <a:off x="6926861" y="4652492"/>
                <a:ext cx="146520" cy="2746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42">
            <p14:nvContentPartPr>
              <p14:cNvPr id="126" name="Ink 125">
                <a:extLst>
                  <a:ext uri="{FF2B5EF4-FFF2-40B4-BE49-F238E27FC236}">
                    <a16:creationId xmlns:a16="http://schemas.microsoft.com/office/drawing/2014/main" id="{A16E307F-AEFD-7EDA-A60E-9B705AE4C8E1}"/>
                  </a:ext>
                </a:extLst>
              </p14:cNvPr>
              <p14:cNvContentPartPr/>
              <p14:nvPr/>
            </p14:nvContentPartPr>
            <p14:xfrm>
              <a:off x="7066541" y="4786052"/>
              <a:ext cx="24840" cy="126000"/>
            </p14:xfrm>
          </p:contentPart>
        </mc:Choice>
        <mc:Fallback>
          <p:pic>
            <p:nvPicPr>
              <p:cNvPr id="126" name="Ink 125">
                <a:extLst>
                  <a:ext uri="{FF2B5EF4-FFF2-40B4-BE49-F238E27FC236}">
                    <a16:creationId xmlns:a16="http://schemas.microsoft.com/office/drawing/2014/main" id="{A16E307F-AEFD-7EDA-A60E-9B705AE4C8E1}"/>
                  </a:ext>
                </a:extLst>
              </p:cNvPr>
              <p:cNvPicPr/>
              <p:nvPr/>
            </p:nvPicPr>
            <p:blipFill>
              <a:blip r:embed="rId243"/>
              <a:stretch>
                <a:fillRect/>
              </a:stretch>
            </p:blipFill>
            <p:spPr>
              <a:xfrm>
                <a:off x="7051421" y="4770932"/>
                <a:ext cx="55440" cy="156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44">
            <p14:nvContentPartPr>
              <p14:cNvPr id="127" name="Ink 126">
                <a:extLst>
                  <a:ext uri="{FF2B5EF4-FFF2-40B4-BE49-F238E27FC236}">
                    <a16:creationId xmlns:a16="http://schemas.microsoft.com/office/drawing/2014/main" id="{F4422B82-20BF-8402-3D29-95716C916A60}"/>
                  </a:ext>
                </a:extLst>
              </p14:cNvPr>
              <p14:cNvContentPartPr/>
              <p14:nvPr/>
            </p14:nvContentPartPr>
            <p14:xfrm>
              <a:off x="7185341" y="4811972"/>
              <a:ext cx="74520" cy="104400"/>
            </p14:xfrm>
          </p:contentPart>
        </mc:Choice>
        <mc:Fallback>
          <p:pic>
            <p:nvPicPr>
              <p:cNvPr id="127" name="Ink 126">
                <a:extLst>
                  <a:ext uri="{FF2B5EF4-FFF2-40B4-BE49-F238E27FC236}">
                    <a16:creationId xmlns:a16="http://schemas.microsoft.com/office/drawing/2014/main" id="{F4422B82-20BF-8402-3D29-95716C916A60}"/>
                  </a:ext>
                </a:extLst>
              </p:cNvPr>
              <p:cNvPicPr/>
              <p:nvPr/>
            </p:nvPicPr>
            <p:blipFill>
              <a:blip r:embed="rId245"/>
              <a:stretch>
                <a:fillRect/>
              </a:stretch>
            </p:blipFill>
            <p:spPr>
              <a:xfrm>
                <a:off x="7170221" y="4796852"/>
                <a:ext cx="105120" cy="1346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46">
            <p14:nvContentPartPr>
              <p14:cNvPr id="128" name="Ink 127">
                <a:extLst>
                  <a:ext uri="{FF2B5EF4-FFF2-40B4-BE49-F238E27FC236}">
                    <a16:creationId xmlns:a16="http://schemas.microsoft.com/office/drawing/2014/main" id="{A7C87508-6619-6AEB-6D7E-4FF28788DEF8}"/>
                  </a:ext>
                </a:extLst>
              </p14:cNvPr>
              <p14:cNvContentPartPr/>
              <p14:nvPr/>
            </p14:nvContentPartPr>
            <p14:xfrm>
              <a:off x="7288301" y="4783532"/>
              <a:ext cx="95400" cy="140400"/>
            </p14:xfrm>
          </p:contentPart>
        </mc:Choice>
        <mc:Fallback>
          <p:pic>
            <p:nvPicPr>
              <p:cNvPr id="128" name="Ink 127">
                <a:extLst>
                  <a:ext uri="{FF2B5EF4-FFF2-40B4-BE49-F238E27FC236}">
                    <a16:creationId xmlns:a16="http://schemas.microsoft.com/office/drawing/2014/main" id="{A7C87508-6619-6AEB-6D7E-4FF28788DEF8}"/>
                  </a:ext>
                </a:extLst>
              </p:cNvPr>
              <p:cNvPicPr/>
              <p:nvPr/>
            </p:nvPicPr>
            <p:blipFill>
              <a:blip r:embed="rId247"/>
              <a:stretch>
                <a:fillRect/>
              </a:stretch>
            </p:blipFill>
            <p:spPr>
              <a:xfrm>
                <a:off x="7272821" y="4768412"/>
                <a:ext cx="126000" cy="171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48">
            <p14:nvContentPartPr>
              <p14:cNvPr id="129" name="Ink 128">
                <a:extLst>
                  <a:ext uri="{FF2B5EF4-FFF2-40B4-BE49-F238E27FC236}">
                    <a16:creationId xmlns:a16="http://schemas.microsoft.com/office/drawing/2014/main" id="{0411C188-A81B-5951-EF2F-EE33583F8AF7}"/>
                  </a:ext>
                </a:extLst>
              </p14:cNvPr>
              <p14:cNvContentPartPr/>
              <p14:nvPr/>
            </p14:nvContentPartPr>
            <p14:xfrm>
              <a:off x="7530221" y="4336412"/>
              <a:ext cx="155160" cy="23760"/>
            </p14:xfrm>
          </p:contentPart>
        </mc:Choice>
        <mc:Fallback>
          <p:pic>
            <p:nvPicPr>
              <p:cNvPr id="129" name="Ink 128">
                <a:extLst>
                  <a:ext uri="{FF2B5EF4-FFF2-40B4-BE49-F238E27FC236}">
                    <a16:creationId xmlns:a16="http://schemas.microsoft.com/office/drawing/2014/main" id="{0411C188-A81B-5951-EF2F-EE33583F8AF7}"/>
                  </a:ext>
                </a:extLst>
              </p:cNvPr>
              <p:cNvPicPr/>
              <p:nvPr/>
            </p:nvPicPr>
            <p:blipFill>
              <a:blip r:embed="rId249"/>
              <a:stretch>
                <a:fillRect/>
              </a:stretch>
            </p:blipFill>
            <p:spPr>
              <a:xfrm>
                <a:off x="7515101" y="4320932"/>
                <a:ext cx="185760" cy="54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50">
            <p14:nvContentPartPr>
              <p14:cNvPr id="130" name="Ink 129">
                <a:extLst>
                  <a:ext uri="{FF2B5EF4-FFF2-40B4-BE49-F238E27FC236}">
                    <a16:creationId xmlns:a16="http://schemas.microsoft.com/office/drawing/2014/main" id="{E44891F3-AB69-319A-E06C-73DC46ECCE42}"/>
                  </a:ext>
                </a:extLst>
              </p14:cNvPr>
              <p14:cNvContentPartPr/>
              <p14:nvPr/>
            </p14:nvContentPartPr>
            <p14:xfrm>
              <a:off x="7515101" y="4452692"/>
              <a:ext cx="240840" cy="12960"/>
            </p14:xfrm>
          </p:contentPart>
        </mc:Choice>
        <mc:Fallback>
          <p:pic>
            <p:nvPicPr>
              <p:cNvPr id="130" name="Ink 129">
                <a:extLst>
                  <a:ext uri="{FF2B5EF4-FFF2-40B4-BE49-F238E27FC236}">
                    <a16:creationId xmlns:a16="http://schemas.microsoft.com/office/drawing/2014/main" id="{E44891F3-AB69-319A-E06C-73DC46ECCE42}"/>
                  </a:ext>
                </a:extLst>
              </p:cNvPr>
              <p:cNvPicPr/>
              <p:nvPr/>
            </p:nvPicPr>
            <p:blipFill>
              <a:blip r:embed="rId251"/>
              <a:stretch>
                <a:fillRect/>
              </a:stretch>
            </p:blipFill>
            <p:spPr>
              <a:xfrm>
                <a:off x="7499981" y="4437572"/>
                <a:ext cx="271080" cy="435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52">
            <p14:nvContentPartPr>
              <p14:cNvPr id="131" name="Ink 130">
                <a:extLst>
                  <a:ext uri="{FF2B5EF4-FFF2-40B4-BE49-F238E27FC236}">
                    <a16:creationId xmlns:a16="http://schemas.microsoft.com/office/drawing/2014/main" id="{C44B518D-3FAC-D6AA-6658-46774FBA45B5}"/>
                  </a:ext>
                </a:extLst>
              </p14:cNvPr>
              <p14:cNvContentPartPr/>
              <p14:nvPr/>
            </p14:nvContentPartPr>
            <p14:xfrm>
              <a:off x="8184341" y="4162532"/>
              <a:ext cx="311400" cy="214560"/>
            </p14:xfrm>
          </p:contentPart>
        </mc:Choice>
        <mc:Fallback>
          <p:pic>
            <p:nvPicPr>
              <p:cNvPr id="131" name="Ink 130">
                <a:extLst>
                  <a:ext uri="{FF2B5EF4-FFF2-40B4-BE49-F238E27FC236}">
                    <a16:creationId xmlns:a16="http://schemas.microsoft.com/office/drawing/2014/main" id="{C44B518D-3FAC-D6AA-6658-46774FBA45B5}"/>
                  </a:ext>
                </a:extLst>
              </p:cNvPr>
              <p:cNvPicPr/>
              <p:nvPr/>
            </p:nvPicPr>
            <p:blipFill>
              <a:blip r:embed="rId253"/>
              <a:stretch>
                <a:fillRect/>
              </a:stretch>
            </p:blipFill>
            <p:spPr>
              <a:xfrm>
                <a:off x="8168861" y="4147412"/>
                <a:ext cx="342000" cy="2448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54">
            <p14:nvContentPartPr>
              <p14:cNvPr id="132" name="Ink 131">
                <a:extLst>
                  <a:ext uri="{FF2B5EF4-FFF2-40B4-BE49-F238E27FC236}">
                    <a16:creationId xmlns:a16="http://schemas.microsoft.com/office/drawing/2014/main" id="{EDAECB59-F331-F00A-4A52-213D30A7817B}"/>
                  </a:ext>
                </a:extLst>
              </p14:cNvPr>
              <p14:cNvContentPartPr/>
              <p14:nvPr/>
            </p14:nvContentPartPr>
            <p14:xfrm>
              <a:off x="8272541" y="4368092"/>
              <a:ext cx="289440" cy="240120"/>
            </p14:xfrm>
          </p:contentPart>
        </mc:Choice>
        <mc:Fallback>
          <p:pic>
            <p:nvPicPr>
              <p:cNvPr id="132" name="Ink 131">
                <a:extLst>
                  <a:ext uri="{FF2B5EF4-FFF2-40B4-BE49-F238E27FC236}">
                    <a16:creationId xmlns:a16="http://schemas.microsoft.com/office/drawing/2014/main" id="{EDAECB59-F331-F00A-4A52-213D30A7817B}"/>
                  </a:ext>
                </a:extLst>
              </p:cNvPr>
              <p:cNvPicPr/>
              <p:nvPr/>
            </p:nvPicPr>
            <p:blipFill>
              <a:blip r:embed="rId255"/>
              <a:stretch>
                <a:fillRect/>
              </a:stretch>
            </p:blipFill>
            <p:spPr>
              <a:xfrm>
                <a:off x="8257421" y="4352972"/>
                <a:ext cx="320040" cy="270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56">
            <p14:nvContentPartPr>
              <p14:cNvPr id="133" name="Ink 132">
                <a:extLst>
                  <a:ext uri="{FF2B5EF4-FFF2-40B4-BE49-F238E27FC236}">
                    <a16:creationId xmlns:a16="http://schemas.microsoft.com/office/drawing/2014/main" id="{9B71EB5E-C635-09D4-F109-5ED807223113}"/>
                  </a:ext>
                </a:extLst>
              </p14:cNvPr>
              <p14:cNvContentPartPr/>
              <p14:nvPr/>
            </p14:nvContentPartPr>
            <p14:xfrm>
              <a:off x="8447861" y="4543412"/>
              <a:ext cx="207720" cy="160200"/>
            </p14:xfrm>
          </p:contentPart>
        </mc:Choice>
        <mc:Fallback>
          <p:pic>
            <p:nvPicPr>
              <p:cNvPr id="133" name="Ink 132">
                <a:extLst>
                  <a:ext uri="{FF2B5EF4-FFF2-40B4-BE49-F238E27FC236}">
                    <a16:creationId xmlns:a16="http://schemas.microsoft.com/office/drawing/2014/main" id="{9B71EB5E-C635-09D4-F109-5ED807223113}"/>
                  </a:ext>
                </a:extLst>
              </p:cNvPr>
              <p:cNvPicPr/>
              <p:nvPr/>
            </p:nvPicPr>
            <p:blipFill>
              <a:blip r:embed="rId257"/>
              <a:stretch>
                <a:fillRect/>
              </a:stretch>
            </p:blipFill>
            <p:spPr>
              <a:xfrm>
                <a:off x="8432381" y="4528292"/>
                <a:ext cx="237960" cy="1908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58">
            <p14:nvContentPartPr>
              <p14:cNvPr id="134" name="Ink 133">
                <a:extLst>
                  <a:ext uri="{FF2B5EF4-FFF2-40B4-BE49-F238E27FC236}">
                    <a16:creationId xmlns:a16="http://schemas.microsoft.com/office/drawing/2014/main" id="{FBB0EF5F-F480-7DFF-D544-746BCABD7B5F}"/>
                  </a:ext>
                </a:extLst>
              </p14:cNvPr>
              <p14:cNvContentPartPr/>
              <p14:nvPr/>
            </p14:nvContentPartPr>
            <p14:xfrm>
              <a:off x="8712821" y="4573292"/>
              <a:ext cx="79560" cy="95040"/>
            </p14:xfrm>
          </p:contentPart>
        </mc:Choice>
        <mc:Fallback>
          <p:pic>
            <p:nvPicPr>
              <p:cNvPr id="134" name="Ink 133">
                <a:extLst>
                  <a:ext uri="{FF2B5EF4-FFF2-40B4-BE49-F238E27FC236}">
                    <a16:creationId xmlns:a16="http://schemas.microsoft.com/office/drawing/2014/main" id="{FBB0EF5F-F480-7DFF-D544-746BCABD7B5F}"/>
                  </a:ext>
                </a:extLst>
              </p:cNvPr>
              <p:cNvPicPr/>
              <p:nvPr/>
            </p:nvPicPr>
            <p:blipFill>
              <a:blip r:embed="rId259"/>
              <a:stretch>
                <a:fillRect/>
              </a:stretch>
            </p:blipFill>
            <p:spPr>
              <a:xfrm>
                <a:off x="8697701" y="4558172"/>
                <a:ext cx="109800" cy="1252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60">
            <p14:nvContentPartPr>
              <p14:cNvPr id="135" name="Ink 134">
                <a:extLst>
                  <a:ext uri="{FF2B5EF4-FFF2-40B4-BE49-F238E27FC236}">
                    <a16:creationId xmlns:a16="http://schemas.microsoft.com/office/drawing/2014/main" id="{56CAD2BD-D873-264C-D561-84427B3EDA96}"/>
                  </a:ext>
                </a:extLst>
              </p14:cNvPr>
              <p14:cNvContentPartPr/>
              <p14:nvPr/>
            </p14:nvContentPartPr>
            <p14:xfrm>
              <a:off x="8988941" y="4372412"/>
              <a:ext cx="73080" cy="20880"/>
            </p14:xfrm>
          </p:contentPart>
        </mc:Choice>
        <mc:Fallback>
          <p:pic>
            <p:nvPicPr>
              <p:cNvPr id="135" name="Ink 134">
                <a:extLst>
                  <a:ext uri="{FF2B5EF4-FFF2-40B4-BE49-F238E27FC236}">
                    <a16:creationId xmlns:a16="http://schemas.microsoft.com/office/drawing/2014/main" id="{56CAD2BD-D873-264C-D561-84427B3EDA96}"/>
                  </a:ext>
                </a:extLst>
              </p:cNvPr>
              <p:cNvPicPr/>
              <p:nvPr/>
            </p:nvPicPr>
            <p:blipFill>
              <a:blip r:embed="rId261"/>
              <a:stretch>
                <a:fillRect/>
              </a:stretch>
            </p:blipFill>
            <p:spPr>
              <a:xfrm>
                <a:off x="8973821" y="4357292"/>
                <a:ext cx="103680" cy="514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62">
            <p14:nvContentPartPr>
              <p14:cNvPr id="136" name="Ink 135">
                <a:extLst>
                  <a:ext uri="{FF2B5EF4-FFF2-40B4-BE49-F238E27FC236}">
                    <a16:creationId xmlns:a16="http://schemas.microsoft.com/office/drawing/2014/main" id="{DBC550D9-B7D0-271A-D73D-C90E9DF607FF}"/>
                  </a:ext>
                </a:extLst>
              </p14:cNvPr>
              <p14:cNvContentPartPr/>
              <p14:nvPr/>
            </p14:nvContentPartPr>
            <p14:xfrm>
              <a:off x="9044741" y="4435772"/>
              <a:ext cx="90000" cy="6840"/>
            </p14:xfrm>
          </p:contentPart>
        </mc:Choice>
        <mc:Fallback>
          <p:pic>
            <p:nvPicPr>
              <p:cNvPr id="136" name="Ink 135">
                <a:extLst>
                  <a:ext uri="{FF2B5EF4-FFF2-40B4-BE49-F238E27FC236}">
                    <a16:creationId xmlns:a16="http://schemas.microsoft.com/office/drawing/2014/main" id="{DBC550D9-B7D0-271A-D73D-C90E9DF607FF}"/>
                  </a:ext>
                </a:extLst>
              </p:cNvPr>
              <p:cNvPicPr/>
              <p:nvPr/>
            </p:nvPicPr>
            <p:blipFill>
              <a:blip r:embed="rId263"/>
              <a:stretch>
                <a:fillRect/>
              </a:stretch>
            </p:blipFill>
            <p:spPr>
              <a:xfrm>
                <a:off x="9029621" y="4420652"/>
                <a:ext cx="120240" cy="374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64">
            <p14:nvContentPartPr>
              <p14:cNvPr id="137" name="Ink 136">
                <a:extLst>
                  <a:ext uri="{FF2B5EF4-FFF2-40B4-BE49-F238E27FC236}">
                    <a16:creationId xmlns:a16="http://schemas.microsoft.com/office/drawing/2014/main" id="{AA6D212D-FF14-D552-15DF-3CEA64F14325}"/>
                  </a:ext>
                </a:extLst>
              </p14:cNvPr>
              <p14:cNvContentPartPr/>
              <p14:nvPr/>
            </p14:nvContentPartPr>
            <p14:xfrm>
              <a:off x="9302861" y="4270892"/>
              <a:ext cx="54360" cy="246600"/>
            </p14:xfrm>
          </p:contentPart>
        </mc:Choice>
        <mc:Fallback>
          <p:pic>
            <p:nvPicPr>
              <p:cNvPr id="137" name="Ink 136">
                <a:extLst>
                  <a:ext uri="{FF2B5EF4-FFF2-40B4-BE49-F238E27FC236}">
                    <a16:creationId xmlns:a16="http://schemas.microsoft.com/office/drawing/2014/main" id="{AA6D212D-FF14-D552-15DF-3CEA64F14325}"/>
                  </a:ext>
                </a:extLst>
              </p:cNvPr>
              <p:cNvPicPr/>
              <p:nvPr/>
            </p:nvPicPr>
            <p:blipFill>
              <a:blip r:embed="rId265"/>
              <a:stretch>
                <a:fillRect/>
              </a:stretch>
            </p:blipFill>
            <p:spPr>
              <a:xfrm>
                <a:off x="9287741" y="4255412"/>
                <a:ext cx="84960" cy="2772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66">
            <p14:nvContentPartPr>
              <p14:cNvPr id="138" name="Ink 137">
                <a:extLst>
                  <a:ext uri="{FF2B5EF4-FFF2-40B4-BE49-F238E27FC236}">
                    <a16:creationId xmlns:a16="http://schemas.microsoft.com/office/drawing/2014/main" id="{B6BA9315-91EE-8582-2DFD-0F313EA101B3}"/>
                  </a:ext>
                </a:extLst>
              </p14:cNvPr>
              <p14:cNvContentPartPr/>
              <p14:nvPr/>
            </p14:nvContentPartPr>
            <p14:xfrm>
              <a:off x="9359381" y="4445492"/>
              <a:ext cx="88920" cy="171720"/>
            </p14:xfrm>
          </p:contentPart>
        </mc:Choice>
        <mc:Fallback>
          <p:pic>
            <p:nvPicPr>
              <p:cNvPr id="138" name="Ink 137">
                <a:extLst>
                  <a:ext uri="{FF2B5EF4-FFF2-40B4-BE49-F238E27FC236}">
                    <a16:creationId xmlns:a16="http://schemas.microsoft.com/office/drawing/2014/main" id="{B6BA9315-91EE-8582-2DFD-0F313EA101B3}"/>
                  </a:ext>
                </a:extLst>
              </p:cNvPr>
              <p:cNvPicPr/>
              <p:nvPr/>
            </p:nvPicPr>
            <p:blipFill>
              <a:blip r:embed="rId267"/>
              <a:stretch>
                <a:fillRect/>
              </a:stretch>
            </p:blipFill>
            <p:spPr>
              <a:xfrm>
                <a:off x="9343901" y="4430012"/>
                <a:ext cx="119520" cy="202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68">
            <p14:nvContentPartPr>
              <p14:cNvPr id="139" name="Ink 138">
                <a:extLst>
                  <a:ext uri="{FF2B5EF4-FFF2-40B4-BE49-F238E27FC236}">
                    <a16:creationId xmlns:a16="http://schemas.microsoft.com/office/drawing/2014/main" id="{7608FD20-1210-2F28-3940-C7691381A46F}"/>
                  </a:ext>
                </a:extLst>
              </p14:cNvPr>
              <p14:cNvContentPartPr/>
              <p14:nvPr/>
            </p14:nvContentPartPr>
            <p14:xfrm>
              <a:off x="9465581" y="4589852"/>
              <a:ext cx="150480" cy="119160"/>
            </p14:xfrm>
          </p:contentPart>
        </mc:Choice>
        <mc:Fallback>
          <p:pic>
            <p:nvPicPr>
              <p:cNvPr id="139" name="Ink 138">
                <a:extLst>
                  <a:ext uri="{FF2B5EF4-FFF2-40B4-BE49-F238E27FC236}">
                    <a16:creationId xmlns:a16="http://schemas.microsoft.com/office/drawing/2014/main" id="{7608FD20-1210-2F28-3940-C7691381A46F}"/>
                  </a:ext>
                </a:extLst>
              </p:cNvPr>
              <p:cNvPicPr/>
              <p:nvPr/>
            </p:nvPicPr>
            <p:blipFill>
              <a:blip r:embed="rId269"/>
              <a:stretch>
                <a:fillRect/>
              </a:stretch>
            </p:blipFill>
            <p:spPr>
              <a:xfrm>
                <a:off x="9450101" y="4574732"/>
                <a:ext cx="180720" cy="1497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70">
            <p14:nvContentPartPr>
              <p14:cNvPr id="140" name="Ink 139">
                <a:extLst>
                  <a:ext uri="{FF2B5EF4-FFF2-40B4-BE49-F238E27FC236}">
                    <a16:creationId xmlns:a16="http://schemas.microsoft.com/office/drawing/2014/main" id="{967090A9-9C0B-E534-FADF-CFB5C6D253C1}"/>
                  </a:ext>
                </a:extLst>
              </p14:cNvPr>
              <p14:cNvContentPartPr/>
              <p14:nvPr/>
            </p14:nvContentPartPr>
            <p14:xfrm>
              <a:off x="9109541" y="4798652"/>
              <a:ext cx="250200" cy="36720"/>
            </p14:xfrm>
          </p:contentPart>
        </mc:Choice>
        <mc:Fallback>
          <p:pic>
            <p:nvPicPr>
              <p:cNvPr id="140" name="Ink 139">
                <a:extLst>
                  <a:ext uri="{FF2B5EF4-FFF2-40B4-BE49-F238E27FC236}">
                    <a16:creationId xmlns:a16="http://schemas.microsoft.com/office/drawing/2014/main" id="{967090A9-9C0B-E534-FADF-CFB5C6D253C1}"/>
                  </a:ext>
                </a:extLst>
              </p:cNvPr>
              <p:cNvPicPr/>
              <p:nvPr/>
            </p:nvPicPr>
            <p:blipFill>
              <a:blip r:embed="rId271"/>
              <a:stretch>
                <a:fillRect/>
              </a:stretch>
            </p:blipFill>
            <p:spPr>
              <a:xfrm>
                <a:off x="9094421" y="4783172"/>
                <a:ext cx="280800" cy="669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72">
            <p14:nvContentPartPr>
              <p14:cNvPr id="141" name="Ink 140">
                <a:extLst>
                  <a:ext uri="{FF2B5EF4-FFF2-40B4-BE49-F238E27FC236}">
                    <a16:creationId xmlns:a16="http://schemas.microsoft.com/office/drawing/2014/main" id="{049E546E-E06E-B609-AF9D-32A9C15D1144}"/>
                  </a:ext>
                </a:extLst>
              </p14:cNvPr>
              <p14:cNvContentPartPr/>
              <p14:nvPr/>
            </p14:nvContentPartPr>
            <p14:xfrm>
              <a:off x="9136901" y="4883252"/>
              <a:ext cx="279000" cy="23760"/>
            </p14:xfrm>
          </p:contentPart>
        </mc:Choice>
        <mc:Fallback>
          <p:pic>
            <p:nvPicPr>
              <p:cNvPr id="141" name="Ink 140">
                <a:extLst>
                  <a:ext uri="{FF2B5EF4-FFF2-40B4-BE49-F238E27FC236}">
                    <a16:creationId xmlns:a16="http://schemas.microsoft.com/office/drawing/2014/main" id="{049E546E-E06E-B609-AF9D-32A9C15D1144}"/>
                  </a:ext>
                </a:extLst>
              </p:cNvPr>
              <p:cNvPicPr/>
              <p:nvPr/>
            </p:nvPicPr>
            <p:blipFill>
              <a:blip r:embed="rId273"/>
              <a:stretch>
                <a:fillRect/>
              </a:stretch>
            </p:blipFill>
            <p:spPr>
              <a:xfrm>
                <a:off x="9121781" y="4868132"/>
                <a:ext cx="309600" cy="543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74">
            <p14:nvContentPartPr>
              <p14:cNvPr id="142" name="Ink 141">
                <a:extLst>
                  <a:ext uri="{FF2B5EF4-FFF2-40B4-BE49-F238E27FC236}">
                    <a16:creationId xmlns:a16="http://schemas.microsoft.com/office/drawing/2014/main" id="{5D32FBAC-A702-0E75-D10C-D0A34B3FFA05}"/>
                  </a:ext>
                </a:extLst>
              </p14:cNvPr>
              <p14:cNvContentPartPr/>
              <p14:nvPr/>
            </p14:nvContentPartPr>
            <p14:xfrm>
              <a:off x="2238581" y="4749692"/>
              <a:ext cx="904320" cy="1008000"/>
            </p14:xfrm>
          </p:contentPart>
        </mc:Choice>
        <mc:Fallback>
          <p:pic>
            <p:nvPicPr>
              <p:cNvPr id="142" name="Ink 141">
                <a:extLst>
                  <a:ext uri="{FF2B5EF4-FFF2-40B4-BE49-F238E27FC236}">
                    <a16:creationId xmlns:a16="http://schemas.microsoft.com/office/drawing/2014/main" id="{5D32FBAC-A702-0E75-D10C-D0A34B3FFA05}"/>
                  </a:ext>
                </a:extLst>
              </p:cNvPr>
              <p:cNvPicPr/>
              <p:nvPr/>
            </p:nvPicPr>
            <p:blipFill>
              <a:blip r:embed="rId275"/>
              <a:stretch>
                <a:fillRect/>
              </a:stretch>
            </p:blipFill>
            <p:spPr>
              <a:xfrm>
                <a:off x="2223101" y="4734572"/>
                <a:ext cx="934920" cy="1038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76">
            <p14:nvContentPartPr>
              <p14:cNvPr id="143" name="Ink 142">
                <a:extLst>
                  <a:ext uri="{FF2B5EF4-FFF2-40B4-BE49-F238E27FC236}">
                    <a16:creationId xmlns:a16="http://schemas.microsoft.com/office/drawing/2014/main" id="{934731CE-3980-F5C8-157A-2476A225FDF1}"/>
                  </a:ext>
                </a:extLst>
              </p14:cNvPr>
              <p14:cNvContentPartPr/>
              <p14:nvPr/>
            </p14:nvContentPartPr>
            <p14:xfrm>
              <a:off x="2461421" y="5123732"/>
              <a:ext cx="172800" cy="218160"/>
            </p14:xfrm>
          </p:contentPart>
        </mc:Choice>
        <mc:Fallback>
          <p:pic>
            <p:nvPicPr>
              <p:cNvPr id="143" name="Ink 142">
                <a:extLst>
                  <a:ext uri="{FF2B5EF4-FFF2-40B4-BE49-F238E27FC236}">
                    <a16:creationId xmlns:a16="http://schemas.microsoft.com/office/drawing/2014/main" id="{934731CE-3980-F5C8-157A-2476A225FDF1}"/>
                  </a:ext>
                </a:extLst>
              </p:cNvPr>
              <p:cNvPicPr/>
              <p:nvPr/>
            </p:nvPicPr>
            <p:blipFill>
              <a:blip r:embed="rId277"/>
              <a:stretch>
                <a:fillRect/>
              </a:stretch>
            </p:blipFill>
            <p:spPr>
              <a:xfrm>
                <a:off x="2446301" y="5108252"/>
                <a:ext cx="203400" cy="2487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78">
            <p14:nvContentPartPr>
              <p14:cNvPr id="144" name="Ink 143">
                <a:extLst>
                  <a:ext uri="{FF2B5EF4-FFF2-40B4-BE49-F238E27FC236}">
                    <a16:creationId xmlns:a16="http://schemas.microsoft.com/office/drawing/2014/main" id="{637743A1-10C4-A324-0F78-44791D364ABE}"/>
                  </a:ext>
                </a:extLst>
              </p14:cNvPr>
              <p14:cNvContentPartPr/>
              <p14:nvPr/>
            </p14:nvContentPartPr>
            <p14:xfrm>
              <a:off x="2466101" y="5242172"/>
              <a:ext cx="122760" cy="69840"/>
            </p14:xfrm>
          </p:contentPart>
        </mc:Choice>
        <mc:Fallback>
          <p:pic>
            <p:nvPicPr>
              <p:cNvPr id="144" name="Ink 143">
                <a:extLst>
                  <a:ext uri="{FF2B5EF4-FFF2-40B4-BE49-F238E27FC236}">
                    <a16:creationId xmlns:a16="http://schemas.microsoft.com/office/drawing/2014/main" id="{637743A1-10C4-A324-0F78-44791D364ABE}"/>
                  </a:ext>
                </a:extLst>
              </p:cNvPr>
              <p:cNvPicPr/>
              <p:nvPr/>
            </p:nvPicPr>
            <p:blipFill>
              <a:blip r:embed="rId279"/>
              <a:stretch>
                <a:fillRect/>
              </a:stretch>
            </p:blipFill>
            <p:spPr>
              <a:xfrm>
                <a:off x="2450621" y="5226692"/>
                <a:ext cx="153360" cy="1004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80">
            <p14:nvContentPartPr>
              <p14:cNvPr id="145" name="Ink 144">
                <a:extLst>
                  <a:ext uri="{FF2B5EF4-FFF2-40B4-BE49-F238E27FC236}">
                    <a16:creationId xmlns:a16="http://schemas.microsoft.com/office/drawing/2014/main" id="{2E54985E-493A-1894-87CB-2EBAEB4AB3BA}"/>
                  </a:ext>
                </a:extLst>
              </p14:cNvPr>
              <p14:cNvContentPartPr/>
              <p14:nvPr/>
            </p14:nvContentPartPr>
            <p14:xfrm>
              <a:off x="2964341" y="4687052"/>
              <a:ext cx="830160" cy="1042200"/>
            </p14:xfrm>
          </p:contentPart>
        </mc:Choice>
        <mc:Fallback>
          <p:pic>
            <p:nvPicPr>
              <p:cNvPr id="145" name="Ink 144">
                <a:extLst>
                  <a:ext uri="{FF2B5EF4-FFF2-40B4-BE49-F238E27FC236}">
                    <a16:creationId xmlns:a16="http://schemas.microsoft.com/office/drawing/2014/main" id="{2E54985E-493A-1894-87CB-2EBAEB4AB3BA}"/>
                  </a:ext>
                </a:extLst>
              </p:cNvPr>
              <p:cNvPicPr/>
              <p:nvPr/>
            </p:nvPicPr>
            <p:blipFill>
              <a:blip r:embed="rId281"/>
              <a:stretch>
                <a:fillRect/>
              </a:stretch>
            </p:blipFill>
            <p:spPr>
              <a:xfrm>
                <a:off x="2948861" y="4671572"/>
                <a:ext cx="860760" cy="10728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82">
            <p14:nvContentPartPr>
              <p14:cNvPr id="146" name="Ink 145">
                <a:extLst>
                  <a:ext uri="{FF2B5EF4-FFF2-40B4-BE49-F238E27FC236}">
                    <a16:creationId xmlns:a16="http://schemas.microsoft.com/office/drawing/2014/main" id="{8567707E-6CD2-BE53-E568-DACACC07D6B2}"/>
                  </a:ext>
                </a:extLst>
              </p14:cNvPr>
              <p14:cNvContentPartPr/>
              <p14:nvPr/>
            </p14:nvContentPartPr>
            <p14:xfrm>
              <a:off x="3482381" y="5170892"/>
              <a:ext cx="124920" cy="185760"/>
            </p14:xfrm>
          </p:contentPart>
        </mc:Choice>
        <mc:Fallback>
          <p:pic>
            <p:nvPicPr>
              <p:cNvPr id="146" name="Ink 145">
                <a:extLst>
                  <a:ext uri="{FF2B5EF4-FFF2-40B4-BE49-F238E27FC236}">
                    <a16:creationId xmlns:a16="http://schemas.microsoft.com/office/drawing/2014/main" id="{8567707E-6CD2-BE53-E568-DACACC07D6B2}"/>
                  </a:ext>
                </a:extLst>
              </p:cNvPr>
              <p:cNvPicPr/>
              <p:nvPr/>
            </p:nvPicPr>
            <p:blipFill>
              <a:blip r:embed="rId283"/>
              <a:stretch>
                <a:fillRect/>
              </a:stretch>
            </p:blipFill>
            <p:spPr>
              <a:xfrm>
                <a:off x="3467261" y="5155772"/>
                <a:ext cx="155160" cy="21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84">
            <p14:nvContentPartPr>
              <p14:cNvPr id="147" name="Ink 146">
                <a:extLst>
                  <a:ext uri="{FF2B5EF4-FFF2-40B4-BE49-F238E27FC236}">
                    <a16:creationId xmlns:a16="http://schemas.microsoft.com/office/drawing/2014/main" id="{0AE99136-F5B9-E5F2-46BC-0F3B041D2B28}"/>
                  </a:ext>
                </a:extLst>
              </p14:cNvPr>
              <p14:cNvContentPartPr/>
              <p14:nvPr/>
            </p14:nvContentPartPr>
            <p14:xfrm>
              <a:off x="1915661" y="5415332"/>
              <a:ext cx="385200" cy="132840"/>
            </p14:xfrm>
          </p:contentPart>
        </mc:Choice>
        <mc:Fallback>
          <p:pic>
            <p:nvPicPr>
              <p:cNvPr id="147" name="Ink 146">
                <a:extLst>
                  <a:ext uri="{FF2B5EF4-FFF2-40B4-BE49-F238E27FC236}">
                    <a16:creationId xmlns:a16="http://schemas.microsoft.com/office/drawing/2014/main" id="{0AE99136-F5B9-E5F2-46BC-0F3B041D2B28}"/>
                  </a:ext>
                </a:extLst>
              </p:cNvPr>
              <p:cNvPicPr/>
              <p:nvPr/>
            </p:nvPicPr>
            <p:blipFill>
              <a:blip r:embed="rId285"/>
              <a:stretch>
                <a:fillRect/>
              </a:stretch>
            </p:blipFill>
            <p:spPr>
              <a:xfrm>
                <a:off x="1900181" y="5400212"/>
                <a:ext cx="415800" cy="1630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86">
            <p14:nvContentPartPr>
              <p14:cNvPr id="148" name="Ink 147">
                <a:extLst>
                  <a:ext uri="{FF2B5EF4-FFF2-40B4-BE49-F238E27FC236}">
                    <a16:creationId xmlns:a16="http://schemas.microsoft.com/office/drawing/2014/main" id="{E2762384-D200-E0D7-D68B-CF3FCFD740CF}"/>
                  </a:ext>
                </a:extLst>
              </p14:cNvPr>
              <p14:cNvContentPartPr/>
              <p14:nvPr/>
            </p14:nvContentPartPr>
            <p14:xfrm>
              <a:off x="1873181" y="5507492"/>
              <a:ext cx="123840" cy="66960"/>
            </p14:xfrm>
          </p:contentPart>
        </mc:Choice>
        <mc:Fallback>
          <p:pic>
            <p:nvPicPr>
              <p:cNvPr id="148" name="Ink 147">
                <a:extLst>
                  <a:ext uri="{FF2B5EF4-FFF2-40B4-BE49-F238E27FC236}">
                    <a16:creationId xmlns:a16="http://schemas.microsoft.com/office/drawing/2014/main" id="{E2762384-D200-E0D7-D68B-CF3FCFD740CF}"/>
                  </a:ext>
                </a:extLst>
              </p:cNvPr>
              <p:cNvPicPr/>
              <p:nvPr/>
            </p:nvPicPr>
            <p:blipFill>
              <a:blip r:embed="rId287"/>
              <a:stretch>
                <a:fillRect/>
              </a:stretch>
            </p:blipFill>
            <p:spPr>
              <a:xfrm>
                <a:off x="1857701" y="5492012"/>
                <a:ext cx="154440" cy="972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88">
            <p14:nvContentPartPr>
              <p14:cNvPr id="149" name="Ink 148">
                <a:extLst>
                  <a:ext uri="{FF2B5EF4-FFF2-40B4-BE49-F238E27FC236}">
                    <a16:creationId xmlns:a16="http://schemas.microsoft.com/office/drawing/2014/main" id="{A7053302-C62F-304A-C3B5-7820108757C0}"/>
                  </a:ext>
                </a:extLst>
              </p14:cNvPr>
              <p14:cNvContentPartPr/>
              <p14:nvPr/>
            </p14:nvContentPartPr>
            <p14:xfrm>
              <a:off x="2464301" y="5477972"/>
              <a:ext cx="75240" cy="91080"/>
            </p14:xfrm>
          </p:contentPart>
        </mc:Choice>
        <mc:Fallback>
          <p:pic>
            <p:nvPicPr>
              <p:cNvPr id="149" name="Ink 148">
                <a:extLst>
                  <a:ext uri="{FF2B5EF4-FFF2-40B4-BE49-F238E27FC236}">
                    <a16:creationId xmlns:a16="http://schemas.microsoft.com/office/drawing/2014/main" id="{A7053302-C62F-304A-C3B5-7820108757C0}"/>
                  </a:ext>
                </a:extLst>
              </p:cNvPr>
              <p:cNvPicPr/>
              <p:nvPr/>
            </p:nvPicPr>
            <p:blipFill>
              <a:blip r:embed="rId289"/>
              <a:stretch>
                <a:fillRect/>
              </a:stretch>
            </p:blipFill>
            <p:spPr>
              <a:xfrm>
                <a:off x="2449181" y="5462492"/>
                <a:ext cx="105480" cy="1216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90">
            <p14:nvContentPartPr>
              <p14:cNvPr id="150" name="Ink 149">
                <a:extLst>
                  <a:ext uri="{FF2B5EF4-FFF2-40B4-BE49-F238E27FC236}">
                    <a16:creationId xmlns:a16="http://schemas.microsoft.com/office/drawing/2014/main" id="{F439437C-127D-33BD-1A48-6041707202EC}"/>
                  </a:ext>
                </a:extLst>
              </p14:cNvPr>
              <p14:cNvContentPartPr/>
              <p14:nvPr/>
            </p14:nvContentPartPr>
            <p14:xfrm>
              <a:off x="2583101" y="5487332"/>
              <a:ext cx="20520" cy="13680"/>
            </p14:xfrm>
          </p:contentPart>
        </mc:Choice>
        <mc:Fallback>
          <p:pic>
            <p:nvPicPr>
              <p:cNvPr id="150" name="Ink 149">
                <a:extLst>
                  <a:ext uri="{FF2B5EF4-FFF2-40B4-BE49-F238E27FC236}">
                    <a16:creationId xmlns:a16="http://schemas.microsoft.com/office/drawing/2014/main" id="{F439437C-127D-33BD-1A48-6041707202EC}"/>
                  </a:ext>
                </a:extLst>
              </p:cNvPr>
              <p:cNvPicPr/>
              <p:nvPr/>
            </p:nvPicPr>
            <p:blipFill>
              <a:blip r:embed="rId291"/>
              <a:stretch>
                <a:fillRect/>
              </a:stretch>
            </p:blipFill>
            <p:spPr>
              <a:xfrm>
                <a:off x="2567621" y="5472212"/>
                <a:ext cx="51120" cy="442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92">
            <p14:nvContentPartPr>
              <p14:cNvPr id="151" name="Ink 150">
                <a:extLst>
                  <a:ext uri="{FF2B5EF4-FFF2-40B4-BE49-F238E27FC236}">
                    <a16:creationId xmlns:a16="http://schemas.microsoft.com/office/drawing/2014/main" id="{D8B243F4-F1F1-1F2B-1656-BC9874BB0C65}"/>
                  </a:ext>
                </a:extLst>
              </p14:cNvPr>
              <p14:cNvContentPartPr/>
              <p14:nvPr/>
            </p14:nvContentPartPr>
            <p14:xfrm>
              <a:off x="2679221" y="5457092"/>
              <a:ext cx="93240" cy="118440"/>
            </p14:xfrm>
          </p:contentPart>
        </mc:Choice>
        <mc:Fallback>
          <p:pic>
            <p:nvPicPr>
              <p:cNvPr id="151" name="Ink 150">
                <a:extLst>
                  <a:ext uri="{FF2B5EF4-FFF2-40B4-BE49-F238E27FC236}">
                    <a16:creationId xmlns:a16="http://schemas.microsoft.com/office/drawing/2014/main" id="{D8B243F4-F1F1-1F2B-1656-BC9874BB0C65}"/>
                  </a:ext>
                </a:extLst>
              </p:cNvPr>
              <p:cNvPicPr/>
              <p:nvPr/>
            </p:nvPicPr>
            <p:blipFill>
              <a:blip r:embed="rId293"/>
              <a:stretch>
                <a:fillRect/>
              </a:stretch>
            </p:blipFill>
            <p:spPr>
              <a:xfrm>
                <a:off x="2664101" y="5441612"/>
                <a:ext cx="123480" cy="1490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94">
            <p14:nvContentPartPr>
              <p14:cNvPr id="152" name="Ink 151">
                <a:extLst>
                  <a:ext uri="{FF2B5EF4-FFF2-40B4-BE49-F238E27FC236}">
                    <a16:creationId xmlns:a16="http://schemas.microsoft.com/office/drawing/2014/main" id="{B3E76A46-57B7-82E4-0952-CC5013047155}"/>
                  </a:ext>
                </a:extLst>
              </p14:cNvPr>
              <p14:cNvContentPartPr/>
              <p14:nvPr/>
            </p14:nvContentPartPr>
            <p14:xfrm>
              <a:off x="3375821" y="5478332"/>
              <a:ext cx="60480" cy="72000"/>
            </p14:xfrm>
          </p:contentPart>
        </mc:Choice>
        <mc:Fallback>
          <p:pic>
            <p:nvPicPr>
              <p:cNvPr id="152" name="Ink 151">
                <a:extLst>
                  <a:ext uri="{FF2B5EF4-FFF2-40B4-BE49-F238E27FC236}">
                    <a16:creationId xmlns:a16="http://schemas.microsoft.com/office/drawing/2014/main" id="{B3E76A46-57B7-82E4-0952-CC5013047155}"/>
                  </a:ext>
                </a:extLst>
              </p:cNvPr>
              <p:cNvPicPr/>
              <p:nvPr/>
            </p:nvPicPr>
            <p:blipFill>
              <a:blip r:embed="rId295"/>
              <a:stretch>
                <a:fillRect/>
              </a:stretch>
            </p:blipFill>
            <p:spPr>
              <a:xfrm>
                <a:off x="3360701" y="5462852"/>
                <a:ext cx="91080" cy="1022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96">
            <p14:nvContentPartPr>
              <p14:cNvPr id="153" name="Ink 152">
                <a:extLst>
                  <a:ext uri="{FF2B5EF4-FFF2-40B4-BE49-F238E27FC236}">
                    <a16:creationId xmlns:a16="http://schemas.microsoft.com/office/drawing/2014/main" id="{6FF1D939-416F-71CF-9295-576580A88BC8}"/>
                  </a:ext>
                </a:extLst>
              </p14:cNvPr>
              <p14:cNvContentPartPr/>
              <p14:nvPr/>
            </p14:nvContentPartPr>
            <p14:xfrm>
              <a:off x="3492461" y="5467892"/>
              <a:ext cx="94680" cy="95400"/>
            </p14:xfrm>
          </p:contentPart>
        </mc:Choice>
        <mc:Fallback>
          <p:pic>
            <p:nvPicPr>
              <p:cNvPr id="153" name="Ink 152">
                <a:extLst>
                  <a:ext uri="{FF2B5EF4-FFF2-40B4-BE49-F238E27FC236}">
                    <a16:creationId xmlns:a16="http://schemas.microsoft.com/office/drawing/2014/main" id="{6FF1D939-416F-71CF-9295-576580A88BC8}"/>
                  </a:ext>
                </a:extLst>
              </p:cNvPr>
              <p:cNvPicPr/>
              <p:nvPr/>
            </p:nvPicPr>
            <p:blipFill>
              <a:blip r:embed="rId297"/>
              <a:stretch>
                <a:fillRect/>
              </a:stretch>
            </p:blipFill>
            <p:spPr>
              <a:xfrm>
                <a:off x="3477341" y="5452772"/>
                <a:ext cx="124920" cy="12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98">
            <p14:nvContentPartPr>
              <p14:cNvPr id="154" name="Ink 153">
                <a:extLst>
                  <a:ext uri="{FF2B5EF4-FFF2-40B4-BE49-F238E27FC236}">
                    <a16:creationId xmlns:a16="http://schemas.microsoft.com/office/drawing/2014/main" id="{59562287-870A-959D-29D0-14F06667CF97}"/>
                  </a:ext>
                </a:extLst>
              </p14:cNvPr>
              <p14:cNvContentPartPr/>
              <p14:nvPr/>
            </p14:nvContentPartPr>
            <p14:xfrm>
              <a:off x="2922941" y="4419212"/>
              <a:ext cx="158760" cy="734760"/>
            </p14:xfrm>
          </p:contentPart>
        </mc:Choice>
        <mc:Fallback>
          <p:pic>
            <p:nvPicPr>
              <p:cNvPr id="154" name="Ink 153">
                <a:extLst>
                  <a:ext uri="{FF2B5EF4-FFF2-40B4-BE49-F238E27FC236}">
                    <a16:creationId xmlns:a16="http://schemas.microsoft.com/office/drawing/2014/main" id="{59562287-870A-959D-29D0-14F06667CF97}"/>
                  </a:ext>
                </a:extLst>
              </p:cNvPr>
              <p:cNvPicPr/>
              <p:nvPr/>
            </p:nvPicPr>
            <p:blipFill>
              <a:blip r:embed="rId299"/>
              <a:stretch>
                <a:fillRect/>
              </a:stretch>
            </p:blipFill>
            <p:spPr>
              <a:xfrm>
                <a:off x="2907821" y="4404092"/>
                <a:ext cx="189360" cy="7653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00">
            <p14:nvContentPartPr>
              <p14:cNvPr id="155" name="Ink 154">
                <a:extLst>
                  <a:ext uri="{FF2B5EF4-FFF2-40B4-BE49-F238E27FC236}">
                    <a16:creationId xmlns:a16="http://schemas.microsoft.com/office/drawing/2014/main" id="{D50387EF-5D7F-E535-9B46-36F9063DAEC6}"/>
                  </a:ext>
                </a:extLst>
              </p14:cNvPr>
              <p14:cNvContentPartPr/>
              <p14:nvPr/>
            </p14:nvContentPartPr>
            <p14:xfrm>
              <a:off x="2666261" y="4394372"/>
              <a:ext cx="78480" cy="140760"/>
            </p14:xfrm>
          </p:contentPart>
        </mc:Choice>
        <mc:Fallback>
          <p:pic>
            <p:nvPicPr>
              <p:cNvPr id="155" name="Ink 154">
                <a:extLst>
                  <a:ext uri="{FF2B5EF4-FFF2-40B4-BE49-F238E27FC236}">
                    <a16:creationId xmlns:a16="http://schemas.microsoft.com/office/drawing/2014/main" id="{D50387EF-5D7F-E535-9B46-36F9063DAEC6}"/>
                  </a:ext>
                </a:extLst>
              </p:cNvPr>
              <p:cNvPicPr/>
              <p:nvPr/>
            </p:nvPicPr>
            <p:blipFill>
              <a:blip r:embed="rId301"/>
              <a:stretch>
                <a:fillRect/>
              </a:stretch>
            </p:blipFill>
            <p:spPr>
              <a:xfrm>
                <a:off x="2651141" y="4378892"/>
                <a:ext cx="108720" cy="1713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02">
            <p14:nvContentPartPr>
              <p14:cNvPr id="156" name="Ink 155">
                <a:extLst>
                  <a:ext uri="{FF2B5EF4-FFF2-40B4-BE49-F238E27FC236}">
                    <a16:creationId xmlns:a16="http://schemas.microsoft.com/office/drawing/2014/main" id="{C059DD56-E968-4B88-ECE2-D81566F48C62}"/>
                  </a:ext>
                </a:extLst>
              </p14:cNvPr>
              <p14:cNvContentPartPr/>
              <p14:nvPr/>
            </p14:nvContentPartPr>
            <p14:xfrm>
              <a:off x="2788661" y="4440092"/>
              <a:ext cx="5760" cy="7560"/>
            </p14:xfrm>
          </p:contentPart>
        </mc:Choice>
        <mc:Fallback>
          <p:pic>
            <p:nvPicPr>
              <p:cNvPr id="156" name="Ink 155">
                <a:extLst>
                  <a:ext uri="{FF2B5EF4-FFF2-40B4-BE49-F238E27FC236}">
                    <a16:creationId xmlns:a16="http://schemas.microsoft.com/office/drawing/2014/main" id="{C059DD56-E968-4B88-ECE2-D81566F48C62}"/>
                  </a:ext>
                </a:extLst>
              </p:cNvPr>
              <p:cNvPicPr/>
              <p:nvPr/>
            </p:nvPicPr>
            <p:blipFill>
              <a:blip r:embed="rId303"/>
              <a:stretch>
                <a:fillRect/>
              </a:stretch>
            </p:blipFill>
            <p:spPr>
              <a:xfrm>
                <a:off x="2773541" y="4424612"/>
                <a:ext cx="36000" cy="381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04">
            <p14:nvContentPartPr>
              <p14:cNvPr id="157" name="Ink 156">
                <a:extLst>
                  <a:ext uri="{FF2B5EF4-FFF2-40B4-BE49-F238E27FC236}">
                    <a16:creationId xmlns:a16="http://schemas.microsoft.com/office/drawing/2014/main" id="{EB41A793-BFD4-0491-9461-9D90F0530682}"/>
                  </a:ext>
                </a:extLst>
              </p14:cNvPr>
              <p14:cNvContentPartPr/>
              <p14:nvPr/>
            </p14:nvContentPartPr>
            <p14:xfrm>
              <a:off x="2839421" y="4362332"/>
              <a:ext cx="108720" cy="73800"/>
            </p14:xfrm>
          </p:contentPart>
        </mc:Choice>
        <mc:Fallback>
          <p:pic>
            <p:nvPicPr>
              <p:cNvPr id="157" name="Ink 156">
                <a:extLst>
                  <a:ext uri="{FF2B5EF4-FFF2-40B4-BE49-F238E27FC236}">
                    <a16:creationId xmlns:a16="http://schemas.microsoft.com/office/drawing/2014/main" id="{EB41A793-BFD4-0491-9461-9D90F0530682}"/>
                  </a:ext>
                </a:extLst>
              </p:cNvPr>
              <p:cNvPicPr/>
              <p:nvPr/>
            </p:nvPicPr>
            <p:blipFill>
              <a:blip r:embed="rId305"/>
              <a:stretch>
                <a:fillRect/>
              </a:stretch>
            </p:blipFill>
            <p:spPr>
              <a:xfrm>
                <a:off x="2824301" y="4347212"/>
                <a:ext cx="139320" cy="1044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06">
            <p14:nvContentPartPr>
              <p14:cNvPr id="158" name="Ink 157">
                <a:extLst>
                  <a:ext uri="{FF2B5EF4-FFF2-40B4-BE49-F238E27FC236}">
                    <a16:creationId xmlns:a16="http://schemas.microsoft.com/office/drawing/2014/main" id="{B0A5160B-54BC-3303-60AD-E28BE264AB8D}"/>
                  </a:ext>
                </a:extLst>
              </p14:cNvPr>
              <p14:cNvContentPartPr/>
              <p14:nvPr/>
            </p14:nvContentPartPr>
            <p14:xfrm>
              <a:off x="2844101" y="4322372"/>
              <a:ext cx="117360" cy="65880"/>
            </p14:xfrm>
          </p:contentPart>
        </mc:Choice>
        <mc:Fallback>
          <p:pic>
            <p:nvPicPr>
              <p:cNvPr id="158" name="Ink 157">
                <a:extLst>
                  <a:ext uri="{FF2B5EF4-FFF2-40B4-BE49-F238E27FC236}">
                    <a16:creationId xmlns:a16="http://schemas.microsoft.com/office/drawing/2014/main" id="{B0A5160B-54BC-3303-60AD-E28BE264AB8D}"/>
                  </a:ext>
                </a:extLst>
              </p:cNvPr>
              <p:cNvPicPr/>
              <p:nvPr/>
            </p:nvPicPr>
            <p:blipFill>
              <a:blip r:embed="rId307"/>
              <a:stretch>
                <a:fillRect/>
              </a:stretch>
            </p:blipFill>
            <p:spPr>
              <a:xfrm>
                <a:off x="2828621" y="4307252"/>
                <a:ext cx="147960" cy="964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08">
            <p14:nvContentPartPr>
              <p14:cNvPr id="159" name="Ink 158">
                <a:extLst>
                  <a:ext uri="{FF2B5EF4-FFF2-40B4-BE49-F238E27FC236}">
                    <a16:creationId xmlns:a16="http://schemas.microsoft.com/office/drawing/2014/main" id="{C240DE64-7C39-1080-77CC-C84646A384F3}"/>
                  </a:ext>
                </a:extLst>
              </p14:cNvPr>
              <p14:cNvContentPartPr/>
              <p14:nvPr/>
            </p14:nvContentPartPr>
            <p14:xfrm>
              <a:off x="2849861" y="4328852"/>
              <a:ext cx="149040" cy="119880"/>
            </p14:xfrm>
          </p:contentPart>
        </mc:Choice>
        <mc:Fallback>
          <p:pic>
            <p:nvPicPr>
              <p:cNvPr id="159" name="Ink 158">
                <a:extLst>
                  <a:ext uri="{FF2B5EF4-FFF2-40B4-BE49-F238E27FC236}">
                    <a16:creationId xmlns:a16="http://schemas.microsoft.com/office/drawing/2014/main" id="{C240DE64-7C39-1080-77CC-C84646A384F3}"/>
                  </a:ext>
                </a:extLst>
              </p:cNvPr>
              <p:cNvPicPr/>
              <p:nvPr/>
            </p:nvPicPr>
            <p:blipFill>
              <a:blip r:embed="rId309"/>
              <a:stretch>
                <a:fillRect/>
              </a:stretch>
            </p:blipFill>
            <p:spPr>
              <a:xfrm>
                <a:off x="2834741" y="4313372"/>
                <a:ext cx="179640" cy="150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10">
            <p14:nvContentPartPr>
              <p14:cNvPr id="160" name="Ink 159">
                <a:extLst>
                  <a:ext uri="{FF2B5EF4-FFF2-40B4-BE49-F238E27FC236}">
                    <a16:creationId xmlns:a16="http://schemas.microsoft.com/office/drawing/2014/main" id="{E2D8FF3C-9476-B0F7-B078-86F2997C4F62}"/>
                  </a:ext>
                </a:extLst>
              </p14:cNvPr>
              <p14:cNvContentPartPr/>
              <p14:nvPr/>
            </p14:nvContentPartPr>
            <p14:xfrm>
              <a:off x="2987021" y="5076212"/>
              <a:ext cx="97920" cy="30240"/>
            </p14:xfrm>
          </p:contentPart>
        </mc:Choice>
        <mc:Fallback>
          <p:pic>
            <p:nvPicPr>
              <p:cNvPr id="160" name="Ink 159">
                <a:extLst>
                  <a:ext uri="{FF2B5EF4-FFF2-40B4-BE49-F238E27FC236}">
                    <a16:creationId xmlns:a16="http://schemas.microsoft.com/office/drawing/2014/main" id="{E2D8FF3C-9476-B0F7-B078-86F2997C4F62}"/>
                  </a:ext>
                </a:extLst>
              </p:cNvPr>
              <p:cNvPicPr/>
              <p:nvPr/>
            </p:nvPicPr>
            <p:blipFill>
              <a:blip r:embed="rId311"/>
              <a:stretch>
                <a:fillRect/>
              </a:stretch>
            </p:blipFill>
            <p:spPr>
              <a:xfrm>
                <a:off x="2971901" y="5061092"/>
                <a:ext cx="128520" cy="608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12">
            <p14:nvContentPartPr>
              <p14:cNvPr id="161" name="Ink 160">
                <a:extLst>
                  <a:ext uri="{FF2B5EF4-FFF2-40B4-BE49-F238E27FC236}">
                    <a16:creationId xmlns:a16="http://schemas.microsoft.com/office/drawing/2014/main" id="{DCB07DB9-0698-0413-3485-3F2CC4753619}"/>
                  </a:ext>
                </a:extLst>
              </p14:cNvPr>
              <p14:cNvContentPartPr/>
              <p14:nvPr/>
            </p14:nvContentPartPr>
            <p14:xfrm>
              <a:off x="2966501" y="5160452"/>
              <a:ext cx="132840" cy="29520"/>
            </p14:xfrm>
          </p:contentPart>
        </mc:Choice>
        <mc:Fallback>
          <p:pic>
            <p:nvPicPr>
              <p:cNvPr id="161" name="Ink 160">
                <a:extLst>
                  <a:ext uri="{FF2B5EF4-FFF2-40B4-BE49-F238E27FC236}">
                    <a16:creationId xmlns:a16="http://schemas.microsoft.com/office/drawing/2014/main" id="{DCB07DB9-0698-0413-3485-3F2CC4753619}"/>
                  </a:ext>
                </a:extLst>
              </p:cNvPr>
              <p:cNvPicPr/>
              <p:nvPr/>
            </p:nvPicPr>
            <p:blipFill>
              <a:blip r:embed="rId313"/>
              <a:stretch>
                <a:fillRect/>
              </a:stretch>
            </p:blipFill>
            <p:spPr>
              <a:xfrm>
                <a:off x="2951021" y="5145332"/>
                <a:ext cx="163440" cy="60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14">
            <p14:nvContentPartPr>
              <p14:cNvPr id="162" name="Ink 161">
                <a:extLst>
                  <a:ext uri="{FF2B5EF4-FFF2-40B4-BE49-F238E27FC236}">
                    <a16:creationId xmlns:a16="http://schemas.microsoft.com/office/drawing/2014/main" id="{BA2AB675-CDA3-60EC-1026-A36A414ED509}"/>
                  </a:ext>
                </a:extLst>
              </p14:cNvPr>
              <p14:cNvContentPartPr/>
              <p14:nvPr/>
            </p14:nvContentPartPr>
            <p14:xfrm>
              <a:off x="2971901" y="5238212"/>
              <a:ext cx="104760" cy="39960"/>
            </p14:xfrm>
          </p:contentPart>
        </mc:Choice>
        <mc:Fallback>
          <p:pic>
            <p:nvPicPr>
              <p:cNvPr id="162" name="Ink 161">
                <a:extLst>
                  <a:ext uri="{FF2B5EF4-FFF2-40B4-BE49-F238E27FC236}">
                    <a16:creationId xmlns:a16="http://schemas.microsoft.com/office/drawing/2014/main" id="{BA2AB675-CDA3-60EC-1026-A36A414ED509}"/>
                  </a:ext>
                </a:extLst>
              </p:cNvPr>
              <p:cNvPicPr/>
              <p:nvPr/>
            </p:nvPicPr>
            <p:blipFill>
              <a:blip r:embed="rId315"/>
              <a:stretch>
                <a:fillRect/>
              </a:stretch>
            </p:blipFill>
            <p:spPr>
              <a:xfrm>
                <a:off x="2956781" y="5223092"/>
                <a:ext cx="135360" cy="702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16">
            <p14:nvContentPartPr>
              <p14:cNvPr id="163" name="Ink 162">
                <a:extLst>
                  <a:ext uri="{FF2B5EF4-FFF2-40B4-BE49-F238E27FC236}">
                    <a16:creationId xmlns:a16="http://schemas.microsoft.com/office/drawing/2014/main" id="{677D0A79-80FA-ADE9-43BF-DBE7D0034A04}"/>
                  </a:ext>
                </a:extLst>
              </p14:cNvPr>
              <p14:cNvContentPartPr/>
              <p14:nvPr/>
            </p14:nvContentPartPr>
            <p14:xfrm>
              <a:off x="2977661" y="5302292"/>
              <a:ext cx="105480" cy="27360"/>
            </p14:xfrm>
          </p:contentPart>
        </mc:Choice>
        <mc:Fallback>
          <p:pic>
            <p:nvPicPr>
              <p:cNvPr id="163" name="Ink 162">
                <a:extLst>
                  <a:ext uri="{FF2B5EF4-FFF2-40B4-BE49-F238E27FC236}">
                    <a16:creationId xmlns:a16="http://schemas.microsoft.com/office/drawing/2014/main" id="{677D0A79-80FA-ADE9-43BF-DBE7D0034A04}"/>
                  </a:ext>
                </a:extLst>
              </p:cNvPr>
              <p:cNvPicPr/>
              <p:nvPr/>
            </p:nvPicPr>
            <p:blipFill>
              <a:blip r:embed="rId317"/>
              <a:stretch>
                <a:fillRect/>
              </a:stretch>
            </p:blipFill>
            <p:spPr>
              <a:xfrm>
                <a:off x="2962541" y="5287172"/>
                <a:ext cx="135720" cy="579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18">
            <p14:nvContentPartPr>
              <p14:cNvPr id="164" name="Ink 163">
                <a:extLst>
                  <a:ext uri="{FF2B5EF4-FFF2-40B4-BE49-F238E27FC236}">
                    <a16:creationId xmlns:a16="http://schemas.microsoft.com/office/drawing/2014/main" id="{8A56DC3A-AB16-4183-FDAA-7E2EA09CC9B0}"/>
                  </a:ext>
                </a:extLst>
              </p14:cNvPr>
              <p14:cNvContentPartPr/>
              <p14:nvPr/>
            </p14:nvContentPartPr>
            <p14:xfrm>
              <a:off x="2997821" y="5370332"/>
              <a:ext cx="95040" cy="23760"/>
            </p14:xfrm>
          </p:contentPart>
        </mc:Choice>
        <mc:Fallback>
          <p:pic>
            <p:nvPicPr>
              <p:cNvPr id="164" name="Ink 163">
                <a:extLst>
                  <a:ext uri="{FF2B5EF4-FFF2-40B4-BE49-F238E27FC236}">
                    <a16:creationId xmlns:a16="http://schemas.microsoft.com/office/drawing/2014/main" id="{8A56DC3A-AB16-4183-FDAA-7E2EA09CC9B0}"/>
                  </a:ext>
                </a:extLst>
              </p:cNvPr>
              <p:cNvPicPr/>
              <p:nvPr/>
            </p:nvPicPr>
            <p:blipFill>
              <a:blip r:embed="rId319"/>
              <a:stretch>
                <a:fillRect/>
              </a:stretch>
            </p:blipFill>
            <p:spPr>
              <a:xfrm>
                <a:off x="2982701" y="5355212"/>
                <a:ext cx="125640" cy="54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20">
            <p14:nvContentPartPr>
              <p14:cNvPr id="165" name="Ink 164">
                <a:extLst>
                  <a:ext uri="{FF2B5EF4-FFF2-40B4-BE49-F238E27FC236}">
                    <a16:creationId xmlns:a16="http://schemas.microsoft.com/office/drawing/2014/main" id="{BE94AD66-E143-B673-F387-F3BA3BE28D7E}"/>
                  </a:ext>
                </a:extLst>
              </p14:cNvPr>
              <p14:cNvContentPartPr/>
              <p14:nvPr/>
            </p14:nvContentPartPr>
            <p14:xfrm>
              <a:off x="3004661" y="5420372"/>
              <a:ext cx="90720" cy="26280"/>
            </p14:xfrm>
          </p:contentPart>
        </mc:Choice>
        <mc:Fallback>
          <p:pic>
            <p:nvPicPr>
              <p:cNvPr id="165" name="Ink 164">
                <a:extLst>
                  <a:ext uri="{FF2B5EF4-FFF2-40B4-BE49-F238E27FC236}">
                    <a16:creationId xmlns:a16="http://schemas.microsoft.com/office/drawing/2014/main" id="{BE94AD66-E143-B673-F387-F3BA3BE28D7E}"/>
                  </a:ext>
                </a:extLst>
              </p:cNvPr>
              <p:cNvPicPr/>
              <p:nvPr/>
            </p:nvPicPr>
            <p:blipFill>
              <a:blip r:embed="rId321"/>
              <a:stretch>
                <a:fillRect/>
              </a:stretch>
            </p:blipFill>
            <p:spPr>
              <a:xfrm>
                <a:off x="2989541" y="5405252"/>
                <a:ext cx="121320" cy="568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22">
            <p14:nvContentPartPr>
              <p14:cNvPr id="166" name="Ink 165">
                <a:extLst>
                  <a:ext uri="{FF2B5EF4-FFF2-40B4-BE49-F238E27FC236}">
                    <a16:creationId xmlns:a16="http://schemas.microsoft.com/office/drawing/2014/main" id="{B0248C97-2728-C448-9EA8-E1D40CAFF4C3}"/>
                  </a:ext>
                </a:extLst>
              </p14:cNvPr>
              <p14:cNvContentPartPr/>
              <p14:nvPr/>
            </p14:nvContentPartPr>
            <p14:xfrm>
              <a:off x="2951741" y="4920692"/>
              <a:ext cx="251640" cy="680400"/>
            </p14:xfrm>
          </p:contentPart>
        </mc:Choice>
        <mc:Fallback>
          <p:pic>
            <p:nvPicPr>
              <p:cNvPr id="166" name="Ink 165">
                <a:extLst>
                  <a:ext uri="{FF2B5EF4-FFF2-40B4-BE49-F238E27FC236}">
                    <a16:creationId xmlns:a16="http://schemas.microsoft.com/office/drawing/2014/main" id="{B0248C97-2728-C448-9EA8-E1D40CAFF4C3}"/>
                  </a:ext>
                </a:extLst>
              </p:cNvPr>
              <p:cNvPicPr/>
              <p:nvPr/>
            </p:nvPicPr>
            <p:blipFill>
              <a:blip r:embed="rId323"/>
              <a:stretch>
                <a:fillRect/>
              </a:stretch>
            </p:blipFill>
            <p:spPr>
              <a:xfrm>
                <a:off x="2936621" y="4905572"/>
                <a:ext cx="281880" cy="7106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24">
            <p14:nvContentPartPr>
              <p14:cNvPr id="167" name="Ink 166">
                <a:extLst>
                  <a:ext uri="{FF2B5EF4-FFF2-40B4-BE49-F238E27FC236}">
                    <a16:creationId xmlns:a16="http://schemas.microsoft.com/office/drawing/2014/main" id="{8E8F8F7C-5DA2-7CBD-F7EB-8D06D14B63B0}"/>
                  </a:ext>
                </a:extLst>
              </p14:cNvPr>
              <p14:cNvContentPartPr/>
              <p14:nvPr/>
            </p14:nvContentPartPr>
            <p14:xfrm>
              <a:off x="2463221" y="4855172"/>
              <a:ext cx="42840" cy="24840"/>
            </p14:xfrm>
          </p:contentPart>
        </mc:Choice>
        <mc:Fallback>
          <p:pic>
            <p:nvPicPr>
              <p:cNvPr id="167" name="Ink 166">
                <a:extLst>
                  <a:ext uri="{FF2B5EF4-FFF2-40B4-BE49-F238E27FC236}">
                    <a16:creationId xmlns:a16="http://schemas.microsoft.com/office/drawing/2014/main" id="{8E8F8F7C-5DA2-7CBD-F7EB-8D06D14B63B0}"/>
                  </a:ext>
                </a:extLst>
              </p:cNvPr>
              <p:cNvPicPr/>
              <p:nvPr/>
            </p:nvPicPr>
            <p:blipFill>
              <a:blip r:embed="rId325"/>
              <a:stretch>
                <a:fillRect/>
              </a:stretch>
            </p:blipFill>
            <p:spPr>
              <a:xfrm>
                <a:off x="2448101" y="4840052"/>
                <a:ext cx="73440" cy="554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26">
            <p14:nvContentPartPr>
              <p14:cNvPr id="168" name="Ink 167">
                <a:extLst>
                  <a:ext uri="{FF2B5EF4-FFF2-40B4-BE49-F238E27FC236}">
                    <a16:creationId xmlns:a16="http://schemas.microsoft.com/office/drawing/2014/main" id="{53B242F1-CEC6-8234-BF0D-2E1D3DA19B51}"/>
                  </a:ext>
                </a:extLst>
              </p14:cNvPr>
              <p14:cNvContentPartPr/>
              <p14:nvPr/>
            </p14:nvContentPartPr>
            <p14:xfrm>
              <a:off x="2316701" y="4824572"/>
              <a:ext cx="387360" cy="171000"/>
            </p14:xfrm>
          </p:contentPart>
        </mc:Choice>
        <mc:Fallback>
          <p:pic>
            <p:nvPicPr>
              <p:cNvPr id="168" name="Ink 167">
                <a:extLst>
                  <a:ext uri="{FF2B5EF4-FFF2-40B4-BE49-F238E27FC236}">
                    <a16:creationId xmlns:a16="http://schemas.microsoft.com/office/drawing/2014/main" id="{53B242F1-CEC6-8234-BF0D-2E1D3DA19B51}"/>
                  </a:ext>
                </a:extLst>
              </p:cNvPr>
              <p:cNvPicPr/>
              <p:nvPr/>
            </p:nvPicPr>
            <p:blipFill>
              <a:blip r:embed="rId327"/>
              <a:stretch>
                <a:fillRect/>
              </a:stretch>
            </p:blipFill>
            <p:spPr>
              <a:xfrm>
                <a:off x="2301581" y="4809452"/>
                <a:ext cx="417600" cy="201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28">
            <p14:nvContentPartPr>
              <p14:cNvPr id="169" name="Ink 168">
                <a:extLst>
                  <a:ext uri="{FF2B5EF4-FFF2-40B4-BE49-F238E27FC236}">
                    <a16:creationId xmlns:a16="http://schemas.microsoft.com/office/drawing/2014/main" id="{9D428581-A51C-5E22-4417-8D76A010643A}"/>
                  </a:ext>
                </a:extLst>
              </p14:cNvPr>
              <p14:cNvContentPartPr/>
              <p14:nvPr/>
            </p14:nvContentPartPr>
            <p14:xfrm>
              <a:off x="2355221" y="4868132"/>
              <a:ext cx="457200" cy="200160"/>
            </p14:xfrm>
          </p:contentPart>
        </mc:Choice>
        <mc:Fallback>
          <p:pic>
            <p:nvPicPr>
              <p:cNvPr id="169" name="Ink 168">
                <a:extLst>
                  <a:ext uri="{FF2B5EF4-FFF2-40B4-BE49-F238E27FC236}">
                    <a16:creationId xmlns:a16="http://schemas.microsoft.com/office/drawing/2014/main" id="{9D428581-A51C-5E22-4417-8D76A010643A}"/>
                  </a:ext>
                </a:extLst>
              </p:cNvPr>
              <p:cNvPicPr/>
              <p:nvPr/>
            </p:nvPicPr>
            <p:blipFill>
              <a:blip r:embed="rId329"/>
              <a:stretch>
                <a:fillRect/>
              </a:stretch>
            </p:blipFill>
            <p:spPr>
              <a:xfrm>
                <a:off x="2339741" y="4853012"/>
                <a:ext cx="487800" cy="2304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30">
            <p14:nvContentPartPr>
              <p14:cNvPr id="170" name="Ink 169">
                <a:extLst>
                  <a:ext uri="{FF2B5EF4-FFF2-40B4-BE49-F238E27FC236}">
                    <a16:creationId xmlns:a16="http://schemas.microsoft.com/office/drawing/2014/main" id="{7447E272-B826-4C37-5692-81578860BF2F}"/>
                  </a:ext>
                </a:extLst>
              </p14:cNvPr>
              <p14:cNvContentPartPr/>
              <p14:nvPr/>
            </p14:nvContentPartPr>
            <p14:xfrm>
              <a:off x="2301221" y="4921772"/>
              <a:ext cx="573480" cy="254160"/>
            </p14:xfrm>
          </p:contentPart>
        </mc:Choice>
        <mc:Fallback>
          <p:pic>
            <p:nvPicPr>
              <p:cNvPr id="170" name="Ink 169">
                <a:extLst>
                  <a:ext uri="{FF2B5EF4-FFF2-40B4-BE49-F238E27FC236}">
                    <a16:creationId xmlns:a16="http://schemas.microsoft.com/office/drawing/2014/main" id="{7447E272-B826-4C37-5692-81578860BF2F}"/>
                  </a:ext>
                </a:extLst>
              </p:cNvPr>
              <p:cNvPicPr/>
              <p:nvPr/>
            </p:nvPicPr>
            <p:blipFill>
              <a:blip r:embed="rId331"/>
              <a:stretch>
                <a:fillRect/>
              </a:stretch>
            </p:blipFill>
            <p:spPr>
              <a:xfrm>
                <a:off x="2286101" y="4906292"/>
                <a:ext cx="604080" cy="2847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32">
            <p14:nvContentPartPr>
              <p14:cNvPr id="171" name="Ink 170">
                <a:extLst>
                  <a:ext uri="{FF2B5EF4-FFF2-40B4-BE49-F238E27FC236}">
                    <a16:creationId xmlns:a16="http://schemas.microsoft.com/office/drawing/2014/main" id="{8E0B0A46-E2E2-287C-ECF0-9F85E5630D83}"/>
                  </a:ext>
                </a:extLst>
              </p14:cNvPr>
              <p14:cNvContentPartPr/>
              <p14:nvPr/>
            </p14:nvContentPartPr>
            <p14:xfrm>
              <a:off x="2258741" y="5025092"/>
              <a:ext cx="522000" cy="255600"/>
            </p14:xfrm>
          </p:contentPart>
        </mc:Choice>
        <mc:Fallback>
          <p:pic>
            <p:nvPicPr>
              <p:cNvPr id="171" name="Ink 170">
                <a:extLst>
                  <a:ext uri="{FF2B5EF4-FFF2-40B4-BE49-F238E27FC236}">
                    <a16:creationId xmlns:a16="http://schemas.microsoft.com/office/drawing/2014/main" id="{8E0B0A46-E2E2-287C-ECF0-9F85E5630D83}"/>
                  </a:ext>
                </a:extLst>
              </p:cNvPr>
              <p:cNvPicPr/>
              <p:nvPr/>
            </p:nvPicPr>
            <p:blipFill>
              <a:blip r:embed="rId333"/>
              <a:stretch>
                <a:fillRect/>
              </a:stretch>
            </p:blipFill>
            <p:spPr>
              <a:xfrm>
                <a:off x="2243261" y="5009972"/>
                <a:ext cx="552600" cy="2862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34">
            <p14:nvContentPartPr>
              <p14:cNvPr id="172" name="Ink 171">
                <a:extLst>
                  <a:ext uri="{FF2B5EF4-FFF2-40B4-BE49-F238E27FC236}">
                    <a16:creationId xmlns:a16="http://schemas.microsoft.com/office/drawing/2014/main" id="{87179924-0A61-8360-2781-FFB053C487C6}"/>
                  </a:ext>
                </a:extLst>
              </p14:cNvPr>
              <p14:cNvContentPartPr/>
              <p14:nvPr/>
            </p14:nvContentPartPr>
            <p14:xfrm>
              <a:off x="2368901" y="5187812"/>
              <a:ext cx="419040" cy="196560"/>
            </p14:xfrm>
          </p:contentPart>
        </mc:Choice>
        <mc:Fallback>
          <p:pic>
            <p:nvPicPr>
              <p:cNvPr id="172" name="Ink 171">
                <a:extLst>
                  <a:ext uri="{FF2B5EF4-FFF2-40B4-BE49-F238E27FC236}">
                    <a16:creationId xmlns:a16="http://schemas.microsoft.com/office/drawing/2014/main" id="{87179924-0A61-8360-2781-FFB053C487C6}"/>
                  </a:ext>
                </a:extLst>
              </p:cNvPr>
              <p:cNvPicPr/>
              <p:nvPr/>
            </p:nvPicPr>
            <p:blipFill>
              <a:blip r:embed="rId335"/>
              <a:stretch>
                <a:fillRect/>
              </a:stretch>
            </p:blipFill>
            <p:spPr>
              <a:xfrm>
                <a:off x="2353421" y="5172692"/>
                <a:ext cx="449280" cy="2271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36">
            <p14:nvContentPartPr>
              <p14:cNvPr id="173" name="Ink 172">
                <a:extLst>
                  <a:ext uri="{FF2B5EF4-FFF2-40B4-BE49-F238E27FC236}">
                    <a16:creationId xmlns:a16="http://schemas.microsoft.com/office/drawing/2014/main" id="{B7E27464-859B-9F71-5DA1-E43A06426EE8}"/>
                  </a:ext>
                </a:extLst>
              </p14:cNvPr>
              <p14:cNvContentPartPr/>
              <p14:nvPr/>
            </p14:nvContentPartPr>
            <p14:xfrm>
              <a:off x="2418221" y="5302292"/>
              <a:ext cx="358920" cy="185040"/>
            </p14:xfrm>
          </p:contentPart>
        </mc:Choice>
        <mc:Fallback>
          <p:pic>
            <p:nvPicPr>
              <p:cNvPr id="173" name="Ink 172">
                <a:extLst>
                  <a:ext uri="{FF2B5EF4-FFF2-40B4-BE49-F238E27FC236}">
                    <a16:creationId xmlns:a16="http://schemas.microsoft.com/office/drawing/2014/main" id="{B7E27464-859B-9F71-5DA1-E43A06426EE8}"/>
                  </a:ext>
                </a:extLst>
              </p:cNvPr>
              <p:cNvPicPr/>
              <p:nvPr/>
            </p:nvPicPr>
            <p:blipFill>
              <a:blip r:embed="rId337"/>
              <a:stretch>
                <a:fillRect/>
              </a:stretch>
            </p:blipFill>
            <p:spPr>
              <a:xfrm>
                <a:off x="2403101" y="5287172"/>
                <a:ext cx="389520" cy="2152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38">
            <p14:nvContentPartPr>
              <p14:cNvPr id="174" name="Ink 173">
                <a:extLst>
                  <a:ext uri="{FF2B5EF4-FFF2-40B4-BE49-F238E27FC236}">
                    <a16:creationId xmlns:a16="http://schemas.microsoft.com/office/drawing/2014/main" id="{CE75866A-A407-4314-436C-A4E0227F21A5}"/>
                  </a:ext>
                </a:extLst>
              </p14:cNvPr>
              <p14:cNvContentPartPr/>
              <p14:nvPr/>
            </p14:nvContentPartPr>
            <p14:xfrm>
              <a:off x="2449901" y="5447732"/>
              <a:ext cx="349920" cy="180720"/>
            </p14:xfrm>
          </p:contentPart>
        </mc:Choice>
        <mc:Fallback>
          <p:pic>
            <p:nvPicPr>
              <p:cNvPr id="174" name="Ink 173">
                <a:extLst>
                  <a:ext uri="{FF2B5EF4-FFF2-40B4-BE49-F238E27FC236}">
                    <a16:creationId xmlns:a16="http://schemas.microsoft.com/office/drawing/2014/main" id="{CE75866A-A407-4314-436C-A4E0227F21A5}"/>
                  </a:ext>
                </a:extLst>
              </p:cNvPr>
              <p:cNvPicPr/>
              <p:nvPr/>
            </p:nvPicPr>
            <p:blipFill>
              <a:blip r:embed="rId339"/>
              <a:stretch>
                <a:fillRect/>
              </a:stretch>
            </p:blipFill>
            <p:spPr>
              <a:xfrm>
                <a:off x="2434421" y="5432252"/>
                <a:ext cx="380520" cy="211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40">
            <p14:nvContentPartPr>
              <p14:cNvPr id="175" name="Ink 174">
                <a:extLst>
                  <a:ext uri="{FF2B5EF4-FFF2-40B4-BE49-F238E27FC236}">
                    <a16:creationId xmlns:a16="http://schemas.microsoft.com/office/drawing/2014/main" id="{D9D418D3-6384-AACD-0A88-83ED38F08B2C}"/>
                  </a:ext>
                </a:extLst>
              </p14:cNvPr>
              <p14:cNvContentPartPr/>
              <p14:nvPr/>
            </p14:nvContentPartPr>
            <p14:xfrm>
              <a:off x="2597501" y="5544572"/>
              <a:ext cx="198720" cy="120240"/>
            </p14:xfrm>
          </p:contentPart>
        </mc:Choice>
        <mc:Fallback>
          <p:pic>
            <p:nvPicPr>
              <p:cNvPr id="175" name="Ink 174">
                <a:extLst>
                  <a:ext uri="{FF2B5EF4-FFF2-40B4-BE49-F238E27FC236}">
                    <a16:creationId xmlns:a16="http://schemas.microsoft.com/office/drawing/2014/main" id="{D9D418D3-6384-AACD-0A88-83ED38F08B2C}"/>
                  </a:ext>
                </a:extLst>
              </p:cNvPr>
              <p:cNvPicPr/>
              <p:nvPr/>
            </p:nvPicPr>
            <p:blipFill>
              <a:blip r:embed="rId341"/>
              <a:stretch>
                <a:fillRect/>
              </a:stretch>
            </p:blipFill>
            <p:spPr>
              <a:xfrm>
                <a:off x="2582381" y="5529452"/>
                <a:ext cx="229320" cy="1508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42">
            <p14:nvContentPartPr>
              <p14:cNvPr id="176" name="Ink 175">
                <a:extLst>
                  <a:ext uri="{FF2B5EF4-FFF2-40B4-BE49-F238E27FC236}">
                    <a16:creationId xmlns:a16="http://schemas.microsoft.com/office/drawing/2014/main" id="{18DC1F9D-D0A8-608C-FC6B-6E6F48E2C6D9}"/>
                  </a:ext>
                </a:extLst>
              </p14:cNvPr>
              <p14:cNvContentPartPr/>
              <p14:nvPr/>
            </p14:nvContentPartPr>
            <p14:xfrm>
              <a:off x="2666981" y="5638532"/>
              <a:ext cx="162000" cy="100800"/>
            </p14:xfrm>
          </p:contentPart>
        </mc:Choice>
        <mc:Fallback>
          <p:pic>
            <p:nvPicPr>
              <p:cNvPr id="176" name="Ink 175">
                <a:extLst>
                  <a:ext uri="{FF2B5EF4-FFF2-40B4-BE49-F238E27FC236}">
                    <a16:creationId xmlns:a16="http://schemas.microsoft.com/office/drawing/2014/main" id="{18DC1F9D-D0A8-608C-FC6B-6E6F48E2C6D9}"/>
                  </a:ext>
                </a:extLst>
              </p:cNvPr>
              <p:cNvPicPr/>
              <p:nvPr/>
            </p:nvPicPr>
            <p:blipFill>
              <a:blip r:embed="rId343"/>
              <a:stretch>
                <a:fillRect/>
              </a:stretch>
            </p:blipFill>
            <p:spPr>
              <a:xfrm>
                <a:off x="2651861" y="5623412"/>
                <a:ext cx="192600" cy="1310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44">
            <p14:nvContentPartPr>
              <p14:cNvPr id="177" name="Ink 176">
                <a:extLst>
                  <a:ext uri="{FF2B5EF4-FFF2-40B4-BE49-F238E27FC236}">
                    <a16:creationId xmlns:a16="http://schemas.microsoft.com/office/drawing/2014/main" id="{595C9A7D-C627-CFB0-FCE2-A5378CD88767}"/>
                  </a:ext>
                </a:extLst>
              </p14:cNvPr>
              <p14:cNvContentPartPr/>
              <p14:nvPr/>
            </p14:nvContentPartPr>
            <p14:xfrm>
              <a:off x="2769221" y="5664452"/>
              <a:ext cx="106920" cy="82080"/>
            </p14:xfrm>
          </p:contentPart>
        </mc:Choice>
        <mc:Fallback>
          <p:pic>
            <p:nvPicPr>
              <p:cNvPr id="177" name="Ink 176">
                <a:extLst>
                  <a:ext uri="{FF2B5EF4-FFF2-40B4-BE49-F238E27FC236}">
                    <a16:creationId xmlns:a16="http://schemas.microsoft.com/office/drawing/2014/main" id="{595C9A7D-C627-CFB0-FCE2-A5378CD88767}"/>
                  </a:ext>
                </a:extLst>
              </p:cNvPr>
              <p:cNvPicPr/>
              <p:nvPr/>
            </p:nvPicPr>
            <p:blipFill>
              <a:blip r:embed="rId345"/>
              <a:stretch>
                <a:fillRect/>
              </a:stretch>
            </p:blipFill>
            <p:spPr>
              <a:xfrm>
                <a:off x="2754101" y="5649332"/>
                <a:ext cx="137520" cy="1126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46">
            <p14:nvContentPartPr>
              <p14:cNvPr id="178" name="Ink 177">
                <a:extLst>
                  <a:ext uri="{FF2B5EF4-FFF2-40B4-BE49-F238E27FC236}">
                    <a16:creationId xmlns:a16="http://schemas.microsoft.com/office/drawing/2014/main" id="{6CF55C2F-C787-8775-6543-1AE7721C6BA9}"/>
                  </a:ext>
                </a:extLst>
              </p14:cNvPr>
              <p14:cNvContentPartPr/>
              <p14:nvPr/>
            </p14:nvContentPartPr>
            <p14:xfrm>
              <a:off x="2997821" y="4907732"/>
              <a:ext cx="153720" cy="433440"/>
            </p14:xfrm>
          </p:contentPart>
        </mc:Choice>
        <mc:Fallback>
          <p:pic>
            <p:nvPicPr>
              <p:cNvPr id="178" name="Ink 177">
                <a:extLst>
                  <a:ext uri="{FF2B5EF4-FFF2-40B4-BE49-F238E27FC236}">
                    <a16:creationId xmlns:a16="http://schemas.microsoft.com/office/drawing/2014/main" id="{6CF55C2F-C787-8775-6543-1AE7721C6BA9}"/>
                  </a:ext>
                </a:extLst>
              </p:cNvPr>
              <p:cNvPicPr/>
              <p:nvPr/>
            </p:nvPicPr>
            <p:blipFill>
              <a:blip r:embed="rId347"/>
              <a:stretch>
                <a:fillRect/>
              </a:stretch>
            </p:blipFill>
            <p:spPr>
              <a:xfrm>
                <a:off x="2982341" y="4892612"/>
                <a:ext cx="184320" cy="4640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48">
            <p14:nvContentPartPr>
              <p14:cNvPr id="179" name="Ink 178">
                <a:extLst>
                  <a:ext uri="{FF2B5EF4-FFF2-40B4-BE49-F238E27FC236}">
                    <a16:creationId xmlns:a16="http://schemas.microsoft.com/office/drawing/2014/main" id="{51146EB6-336B-0DEB-352B-0DA0B5A39263}"/>
                  </a:ext>
                </a:extLst>
              </p14:cNvPr>
              <p14:cNvContentPartPr/>
              <p14:nvPr/>
            </p14:nvContentPartPr>
            <p14:xfrm>
              <a:off x="9206021" y="4169372"/>
              <a:ext cx="16920" cy="522360"/>
            </p14:xfrm>
          </p:contentPart>
        </mc:Choice>
        <mc:Fallback>
          <p:pic>
            <p:nvPicPr>
              <p:cNvPr id="179" name="Ink 178">
                <a:extLst>
                  <a:ext uri="{FF2B5EF4-FFF2-40B4-BE49-F238E27FC236}">
                    <a16:creationId xmlns:a16="http://schemas.microsoft.com/office/drawing/2014/main" id="{51146EB6-336B-0DEB-352B-0DA0B5A39263}"/>
                  </a:ext>
                </a:extLst>
              </p:cNvPr>
              <p:cNvPicPr/>
              <p:nvPr/>
            </p:nvPicPr>
            <p:blipFill>
              <a:blip r:embed="rId349"/>
              <a:stretch>
                <a:fillRect/>
              </a:stretch>
            </p:blipFill>
            <p:spPr>
              <a:xfrm>
                <a:off x="9190541" y="4154252"/>
                <a:ext cx="47520" cy="5529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50">
            <p14:nvContentPartPr>
              <p14:cNvPr id="180" name="Ink 179">
                <a:extLst>
                  <a:ext uri="{FF2B5EF4-FFF2-40B4-BE49-F238E27FC236}">
                    <a16:creationId xmlns:a16="http://schemas.microsoft.com/office/drawing/2014/main" id="{831D46D2-DCBB-B1DA-8B27-BDA2FC9DE0B6}"/>
                  </a:ext>
                </a:extLst>
              </p14:cNvPr>
              <p14:cNvContentPartPr/>
              <p14:nvPr/>
            </p14:nvContentPartPr>
            <p14:xfrm>
              <a:off x="9165701" y="4183052"/>
              <a:ext cx="614160" cy="603720"/>
            </p14:xfrm>
          </p:contentPart>
        </mc:Choice>
        <mc:Fallback>
          <p:pic>
            <p:nvPicPr>
              <p:cNvPr id="180" name="Ink 179">
                <a:extLst>
                  <a:ext uri="{FF2B5EF4-FFF2-40B4-BE49-F238E27FC236}">
                    <a16:creationId xmlns:a16="http://schemas.microsoft.com/office/drawing/2014/main" id="{831D46D2-DCBB-B1DA-8B27-BDA2FC9DE0B6}"/>
                  </a:ext>
                </a:extLst>
              </p:cNvPr>
              <p:cNvPicPr/>
              <p:nvPr/>
            </p:nvPicPr>
            <p:blipFill>
              <a:blip r:embed="rId351"/>
              <a:stretch>
                <a:fillRect/>
              </a:stretch>
            </p:blipFill>
            <p:spPr>
              <a:xfrm>
                <a:off x="9150581" y="4167932"/>
                <a:ext cx="644400" cy="634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52">
            <p14:nvContentPartPr>
              <p14:cNvPr id="181" name="Ink 180">
                <a:extLst>
                  <a:ext uri="{FF2B5EF4-FFF2-40B4-BE49-F238E27FC236}">
                    <a16:creationId xmlns:a16="http://schemas.microsoft.com/office/drawing/2014/main" id="{0E8FF2C2-2557-098B-1FD3-A83596BEE11C}"/>
                  </a:ext>
                </a:extLst>
              </p14:cNvPr>
              <p14:cNvContentPartPr/>
              <p14:nvPr/>
            </p14:nvContentPartPr>
            <p14:xfrm>
              <a:off x="9162461" y="4777772"/>
              <a:ext cx="648000" cy="45000"/>
            </p14:xfrm>
          </p:contentPart>
        </mc:Choice>
        <mc:Fallback>
          <p:pic>
            <p:nvPicPr>
              <p:cNvPr id="181" name="Ink 180">
                <a:extLst>
                  <a:ext uri="{FF2B5EF4-FFF2-40B4-BE49-F238E27FC236}">
                    <a16:creationId xmlns:a16="http://schemas.microsoft.com/office/drawing/2014/main" id="{0E8FF2C2-2557-098B-1FD3-A83596BEE11C}"/>
                  </a:ext>
                </a:extLst>
              </p:cNvPr>
              <p:cNvPicPr/>
              <p:nvPr/>
            </p:nvPicPr>
            <p:blipFill>
              <a:blip r:embed="rId353"/>
              <a:stretch>
                <a:fillRect/>
              </a:stretch>
            </p:blipFill>
            <p:spPr>
              <a:xfrm>
                <a:off x="9147341" y="4762292"/>
                <a:ext cx="678600" cy="75600"/>
              </a:xfrm>
              <a:prstGeom prst="rect">
                <a:avLst/>
              </a:prstGeom>
            </p:spPr>
          </p:pic>
        </mc:Fallback>
      </mc:AlternateContent>
      <p:grpSp>
        <p:nvGrpSpPr>
          <p:cNvPr id="191" name="Group 190">
            <a:extLst>
              <a:ext uri="{FF2B5EF4-FFF2-40B4-BE49-F238E27FC236}">
                <a16:creationId xmlns:a16="http://schemas.microsoft.com/office/drawing/2014/main" id="{EEED5240-3974-4455-75BB-713418D126B4}"/>
              </a:ext>
            </a:extLst>
          </p:cNvPr>
          <p:cNvGrpSpPr/>
          <p:nvPr/>
        </p:nvGrpSpPr>
        <p:grpSpPr>
          <a:xfrm>
            <a:off x="5147021" y="5385812"/>
            <a:ext cx="1756800" cy="277560"/>
            <a:chOff x="5147021" y="5385812"/>
            <a:chExt cx="1756800" cy="2775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354">
              <p14:nvContentPartPr>
                <p14:cNvPr id="182" name="Ink 181">
                  <a:extLst>
                    <a:ext uri="{FF2B5EF4-FFF2-40B4-BE49-F238E27FC236}">
                      <a16:creationId xmlns:a16="http://schemas.microsoft.com/office/drawing/2014/main" id="{7C73B26A-DAD2-B8E2-A299-98001BA2B041}"/>
                    </a:ext>
                  </a:extLst>
                </p14:cNvPr>
                <p14:cNvContentPartPr/>
                <p14:nvPr/>
              </p14:nvContentPartPr>
              <p14:xfrm>
                <a:off x="5147021" y="5385812"/>
                <a:ext cx="158400" cy="277560"/>
              </p14:xfrm>
            </p:contentPart>
          </mc:Choice>
          <mc:Fallback>
            <p:pic>
              <p:nvPicPr>
                <p:cNvPr id="182" name="Ink 181">
                  <a:extLst>
                    <a:ext uri="{FF2B5EF4-FFF2-40B4-BE49-F238E27FC236}">
                      <a16:creationId xmlns:a16="http://schemas.microsoft.com/office/drawing/2014/main" id="{7C73B26A-DAD2-B8E2-A299-98001BA2B041}"/>
                    </a:ext>
                  </a:extLst>
                </p:cNvPr>
                <p:cNvPicPr/>
                <p:nvPr/>
              </p:nvPicPr>
              <p:blipFill>
                <a:blip r:embed="rId355"/>
                <a:stretch>
                  <a:fillRect/>
                </a:stretch>
              </p:blipFill>
              <p:spPr>
                <a:xfrm>
                  <a:off x="5131541" y="5370692"/>
                  <a:ext cx="189000" cy="308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56">
              <p14:nvContentPartPr>
                <p14:cNvPr id="183" name="Ink 182">
                  <a:extLst>
                    <a:ext uri="{FF2B5EF4-FFF2-40B4-BE49-F238E27FC236}">
                      <a16:creationId xmlns:a16="http://schemas.microsoft.com/office/drawing/2014/main" id="{14E821CA-C7C7-ED6A-9FBE-5E61C8EC9E0D}"/>
                    </a:ext>
                  </a:extLst>
                </p14:cNvPr>
                <p14:cNvContentPartPr/>
                <p14:nvPr/>
              </p14:nvContentPartPr>
              <p14:xfrm>
                <a:off x="5318381" y="5388692"/>
                <a:ext cx="323640" cy="245520"/>
              </p14:xfrm>
            </p:contentPart>
          </mc:Choice>
          <mc:Fallback>
            <p:pic>
              <p:nvPicPr>
                <p:cNvPr id="183" name="Ink 182">
                  <a:extLst>
                    <a:ext uri="{FF2B5EF4-FFF2-40B4-BE49-F238E27FC236}">
                      <a16:creationId xmlns:a16="http://schemas.microsoft.com/office/drawing/2014/main" id="{14E821CA-C7C7-ED6A-9FBE-5E61C8EC9E0D}"/>
                    </a:ext>
                  </a:extLst>
                </p:cNvPr>
                <p:cNvPicPr/>
                <p:nvPr/>
              </p:nvPicPr>
              <p:blipFill>
                <a:blip r:embed="rId357"/>
                <a:stretch>
                  <a:fillRect/>
                </a:stretch>
              </p:blipFill>
              <p:spPr>
                <a:xfrm>
                  <a:off x="5303261" y="5373212"/>
                  <a:ext cx="354240" cy="275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58">
              <p14:nvContentPartPr>
                <p14:cNvPr id="184" name="Ink 183">
                  <a:extLst>
                    <a:ext uri="{FF2B5EF4-FFF2-40B4-BE49-F238E27FC236}">
                      <a16:creationId xmlns:a16="http://schemas.microsoft.com/office/drawing/2014/main" id="{E019BA07-7E65-7404-402E-10BA6DF7D484}"/>
                    </a:ext>
                  </a:extLst>
                </p14:cNvPr>
                <p14:cNvContentPartPr/>
                <p14:nvPr/>
              </p14:nvContentPartPr>
              <p14:xfrm>
                <a:off x="5523221" y="5410652"/>
                <a:ext cx="335160" cy="235080"/>
              </p14:xfrm>
            </p:contentPart>
          </mc:Choice>
          <mc:Fallback>
            <p:pic>
              <p:nvPicPr>
                <p:cNvPr id="184" name="Ink 183">
                  <a:extLst>
                    <a:ext uri="{FF2B5EF4-FFF2-40B4-BE49-F238E27FC236}">
                      <a16:creationId xmlns:a16="http://schemas.microsoft.com/office/drawing/2014/main" id="{E019BA07-7E65-7404-402E-10BA6DF7D484}"/>
                    </a:ext>
                  </a:extLst>
                </p:cNvPr>
                <p:cNvPicPr/>
                <p:nvPr/>
              </p:nvPicPr>
              <p:blipFill>
                <a:blip r:embed="rId359"/>
                <a:stretch>
                  <a:fillRect/>
                </a:stretch>
              </p:blipFill>
              <p:spPr>
                <a:xfrm>
                  <a:off x="5508101" y="5395532"/>
                  <a:ext cx="365760" cy="265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60">
              <p14:nvContentPartPr>
                <p14:cNvPr id="185" name="Ink 184">
                  <a:extLst>
                    <a:ext uri="{FF2B5EF4-FFF2-40B4-BE49-F238E27FC236}">
                      <a16:creationId xmlns:a16="http://schemas.microsoft.com/office/drawing/2014/main" id="{E472823D-C23A-DFA7-97DE-7FA6FEC135BF}"/>
                    </a:ext>
                  </a:extLst>
                </p14:cNvPr>
                <p14:cNvContentPartPr/>
                <p14:nvPr/>
              </p14:nvContentPartPr>
              <p14:xfrm>
                <a:off x="5953061" y="5388692"/>
                <a:ext cx="146160" cy="246600"/>
              </p14:xfrm>
            </p:contentPart>
          </mc:Choice>
          <mc:Fallback>
            <p:pic>
              <p:nvPicPr>
                <p:cNvPr id="185" name="Ink 184">
                  <a:extLst>
                    <a:ext uri="{FF2B5EF4-FFF2-40B4-BE49-F238E27FC236}">
                      <a16:creationId xmlns:a16="http://schemas.microsoft.com/office/drawing/2014/main" id="{E472823D-C23A-DFA7-97DE-7FA6FEC135BF}"/>
                    </a:ext>
                  </a:extLst>
                </p:cNvPr>
                <p:cNvPicPr/>
                <p:nvPr/>
              </p:nvPicPr>
              <p:blipFill>
                <a:blip r:embed="rId361"/>
                <a:stretch>
                  <a:fillRect/>
                </a:stretch>
              </p:blipFill>
              <p:spPr>
                <a:xfrm>
                  <a:off x="5937581" y="5373572"/>
                  <a:ext cx="176760" cy="277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62">
              <p14:nvContentPartPr>
                <p14:cNvPr id="186" name="Ink 185">
                  <a:extLst>
                    <a:ext uri="{FF2B5EF4-FFF2-40B4-BE49-F238E27FC236}">
                      <a16:creationId xmlns:a16="http://schemas.microsoft.com/office/drawing/2014/main" id="{8E8A7CC2-320B-DCAC-CF31-806DFAE2E09C}"/>
                    </a:ext>
                  </a:extLst>
                </p14:cNvPr>
                <p14:cNvContentPartPr/>
                <p14:nvPr/>
              </p14:nvContentPartPr>
              <p14:xfrm>
                <a:off x="6142781" y="5414612"/>
                <a:ext cx="155160" cy="198720"/>
              </p14:xfrm>
            </p:contentPart>
          </mc:Choice>
          <mc:Fallback>
            <p:pic>
              <p:nvPicPr>
                <p:cNvPr id="186" name="Ink 185">
                  <a:extLst>
                    <a:ext uri="{FF2B5EF4-FFF2-40B4-BE49-F238E27FC236}">
                      <a16:creationId xmlns:a16="http://schemas.microsoft.com/office/drawing/2014/main" id="{8E8A7CC2-320B-DCAC-CF31-806DFAE2E09C}"/>
                    </a:ext>
                  </a:extLst>
                </p:cNvPr>
                <p:cNvPicPr/>
                <p:nvPr/>
              </p:nvPicPr>
              <p:blipFill>
                <a:blip r:embed="rId363"/>
                <a:stretch>
                  <a:fillRect/>
                </a:stretch>
              </p:blipFill>
              <p:spPr>
                <a:xfrm>
                  <a:off x="6127661" y="5399492"/>
                  <a:ext cx="185760" cy="229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64">
              <p14:nvContentPartPr>
                <p14:cNvPr id="187" name="Ink 186">
                  <a:extLst>
                    <a:ext uri="{FF2B5EF4-FFF2-40B4-BE49-F238E27FC236}">
                      <a16:creationId xmlns:a16="http://schemas.microsoft.com/office/drawing/2014/main" id="{0379CFDD-9AB0-D90E-FA03-846C021178A9}"/>
                    </a:ext>
                  </a:extLst>
                </p14:cNvPr>
                <p14:cNvContentPartPr/>
                <p14:nvPr/>
              </p14:nvContentPartPr>
              <p14:xfrm>
                <a:off x="6427541" y="5453492"/>
                <a:ext cx="67680" cy="124920"/>
              </p14:xfrm>
            </p:contentPart>
          </mc:Choice>
          <mc:Fallback>
            <p:pic>
              <p:nvPicPr>
                <p:cNvPr id="187" name="Ink 186">
                  <a:extLst>
                    <a:ext uri="{FF2B5EF4-FFF2-40B4-BE49-F238E27FC236}">
                      <a16:creationId xmlns:a16="http://schemas.microsoft.com/office/drawing/2014/main" id="{0379CFDD-9AB0-D90E-FA03-846C021178A9}"/>
                    </a:ext>
                  </a:extLst>
                </p:cNvPr>
                <p:cNvPicPr/>
                <p:nvPr/>
              </p:nvPicPr>
              <p:blipFill>
                <a:blip r:embed="rId365"/>
                <a:stretch>
                  <a:fillRect/>
                </a:stretch>
              </p:blipFill>
              <p:spPr>
                <a:xfrm>
                  <a:off x="6412421" y="5438012"/>
                  <a:ext cx="98280" cy="155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66">
              <p14:nvContentPartPr>
                <p14:cNvPr id="188" name="Ink 187">
                  <a:extLst>
                    <a:ext uri="{FF2B5EF4-FFF2-40B4-BE49-F238E27FC236}">
                      <a16:creationId xmlns:a16="http://schemas.microsoft.com/office/drawing/2014/main" id="{FEFB82CA-9539-AB4F-A452-5DAF58F8D649}"/>
                    </a:ext>
                  </a:extLst>
                </p14:cNvPr>
                <p14:cNvContentPartPr/>
                <p14:nvPr/>
              </p14:nvContentPartPr>
              <p14:xfrm>
                <a:off x="6551381" y="5442332"/>
                <a:ext cx="79920" cy="200160"/>
              </p14:xfrm>
            </p:contentPart>
          </mc:Choice>
          <mc:Fallback>
            <p:pic>
              <p:nvPicPr>
                <p:cNvPr id="188" name="Ink 187">
                  <a:extLst>
                    <a:ext uri="{FF2B5EF4-FFF2-40B4-BE49-F238E27FC236}">
                      <a16:creationId xmlns:a16="http://schemas.microsoft.com/office/drawing/2014/main" id="{FEFB82CA-9539-AB4F-A452-5DAF58F8D649}"/>
                    </a:ext>
                  </a:extLst>
                </p:cNvPr>
                <p:cNvPicPr/>
                <p:nvPr/>
              </p:nvPicPr>
              <p:blipFill>
                <a:blip r:embed="rId367"/>
                <a:stretch>
                  <a:fillRect/>
                </a:stretch>
              </p:blipFill>
              <p:spPr>
                <a:xfrm>
                  <a:off x="6536261" y="5426852"/>
                  <a:ext cx="110520" cy="230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68">
              <p14:nvContentPartPr>
                <p14:cNvPr id="189" name="Ink 188">
                  <a:extLst>
                    <a:ext uri="{FF2B5EF4-FFF2-40B4-BE49-F238E27FC236}">
                      <a16:creationId xmlns:a16="http://schemas.microsoft.com/office/drawing/2014/main" id="{1A022CB6-8FDD-61D5-4C16-28CDE579BFBB}"/>
                    </a:ext>
                  </a:extLst>
                </p14:cNvPr>
                <p14:cNvContentPartPr/>
                <p14:nvPr/>
              </p14:nvContentPartPr>
              <p14:xfrm>
                <a:off x="6806981" y="5481932"/>
                <a:ext cx="95760" cy="12240"/>
              </p14:xfrm>
            </p:contentPart>
          </mc:Choice>
          <mc:Fallback>
            <p:pic>
              <p:nvPicPr>
                <p:cNvPr id="189" name="Ink 188">
                  <a:extLst>
                    <a:ext uri="{FF2B5EF4-FFF2-40B4-BE49-F238E27FC236}">
                      <a16:creationId xmlns:a16="http://schemas.microsoft.com/office/drawing/2014/main" id="{1A022CB6-8FDD-61D5-4C16-28CDE579BFBB}"/>
                    </a:ext>
                  </a:extLst>
                </p:cNvPr>
                <p:cNvPicPr/>
                <p:nvPr/>
              </p:nvPicPr>
              <p:blipFill>
                <a:blip r:embed="rId369"/>
                <a:stretch>
                  <a:fillRect/>
                </a:stretch>
              </p:blipFill>
              <p:spPr>
                <a:xfrm>
                  <a:off x="6791861" y="5466452"/>
                  <a:ext cx="126360" cy="42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70">
              <p14:nvContentPartPr>
                <p14:cNvPr id="190" name="Ink 189">
                  <a:extLst>
                    <a:ext uri="{FF2B5EF4-FFF2-40B4-BE49-F238E27FC236}">
                      <a16:creationId xmlns:a16="http://schemas.microsoft.com/office/drawing/2014/main" id="{AC9BE50E-05A2-DE9C-949F-85D154FED873}"/>
                    </a:ext>
                  </a:extLst>
                </p14:cNvPr>
                <p14:cNvContentPartPr/>
                <p14:nvPr/>
              </p14:nvContentPartPr>
              <p14:xfrm>
                <a:off x="6845501" y="5561132"/>
                <a:ext cx="58320" cy="12960"/>
              </p14:xfrm>
            </p:contentPart>
          </mc:Choice>
          <mc:Fallback>
            <p:pic>
              <p:nvPicPr>
                <p:cNvPr id="190" name="Ink 189">
                  <a:extLst>
                    <a:ext uri="{FF2B5EF4-FFF2-40B4-BE49-F238E27FC236}">
                      <a16:creationId xmlns:a16="http://schemas.microsoft.com/office/drawing/2014/main" id="{AC9BE50E-05A2-DE9C-949F-85D154FED873}"/>
                    </a:ext>
                  </a:extLst>
                </p:cNvPr>
                <p:cNvPicPr/>
                <p:nvPr/>
              </p:nvPicPr>
              <p:blipFill>
                <a:blip r:embed="rId371"/>
                <a:stretch>
                  <a:fillRect/>
                </a:stretch>
              </p:blipFill>
              <p:spPr>
                <a:xfrm>
                  <a:off x="6830021" y="5545652"/>
                  <a:ext cx="88560" cy="435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B4F8EE71-E8F6-D557-A09C-9C6B3371B4FD}"/>
              </a:ext>
            </a:extLst>
          </p:cNvPr>
          <p:cNvGrpSpPr/>
          <p:nvPr/>
        </p:nvGrpSpPr>
        <p:grpSpPr>
          <a:xfrm>
            <a:off x="7223501" y="5350532"/>
            <a:ext cx="1627200" cy="1067760"/>
            <a:chOff x="7223501" y="5350532"/>
            <a:chExt cx="1627200" cy="10677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372">
              <p14:nvContentPartPr>
                <p14:cNvPr id="192" name="Ink 191">
                  <a:extLst>
                    <a:ext uri="{FF2B5EF4-FFF2-40B4-BE49-F238E27FC236}">
                      <a16:creationId xmlns:a16="http://schemas.microsoft.com/office/drawing/2014/main" id="{061695B5-14C6-7AF6-CC35-955AFCF57666}"/>
                    </a:ext>
                  </a:extLst>
                </p14:cNvPr>
                <p14:cNvContentPartPr/>
                <p14:nvPr/>
              </p14:nvContentPartPr>
              <p14:xfrm>
                <a:off x="7223501" y="5350532"/>
                <a:ext cx="115920" cy="227160"/>
              </p14:xfrm>
            </p:contentPart>
          </mc:Choice>
          <mc:Fallback>
            <p:pic>
              <p:nvPicPr>
                <p:cNvPr id="192" name="Ink 191">
                  <a:extLst>
                    <a:ext uri="{FF2B5EF4-FFF2-40B4-BE49-F238E27FC236}">
                      <a16:creationId xmlns:a16="http://schemas.microsoft.com/office/drawing/2014/main" id="{061695B5-14C6-7AF6-CC35-955AFCF57666}"/>
                    </a:ext>
                  </a:extLst>
                </p:cNvPr>
                <p:cNvPicPr/>
                <p:nvPr/>
              </p:nvPicPr>
              <p:blipFill>
                <a:blip r:embed="rId373"/>
                <a:stretch>
                  <a:fillRect/>
                </a:stretch>
              </p:blipFill>
              <p:spPr>
                <a:xfrm>
                  <a:off x="7208021" y="5335052"/>
                  <a:ext cx="146520" cy="257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74">
              <p14:nvContentPartPr>
                <p14:cNvPr id="193" name="Ink 192">
                  <a:extLst>
                    <a:ext uri="{FF2B5EF4-FFF2-40B4-BE49-F238E27FC236}">
                      <a16:creationId xmlns:a16="http://schemas.microsoft.com/office/drawing/2014/main" id="{9292628C-BF23-5558-F316-C3DD884578CF}"/>
                    </a:ext>
                  </a:extLst>
                </p14:cNvPr>
                <p14:cNvContentPartPr/>
                <p14:nvPr/>
              </p14:nvContentPartPr>
              <p14:xfrm>
                <a:off x="7358861" y="5389412"/>
                <a:ext cx="88200" cy="177480"/>
              </p14:xfrm>
            </p:contentPart>
          </mc:Choice>
          <mc:Fallback>
            <p:pic>
              <p:nvPicPr>
                <p:cNvPr id="193" name="Ink 192">
                  <a:extLst>
                    <a:ext uri="{FF2B5EF4-FFF2-40B4-BE49-F238E27FC236}">
                      <a16:creationId xmlns:a16="http://schemas.microsoft.com/office/drawing/2014/main" id="{9292628C-BF23-5558-F316-C3DD884578CF}"/>
                    </a:ext>
                  </a:extLst>
                </p:cNvPr>
                <p:cNvPicPr/>
                <p:nvPr/>
              </p:nvPicPr>
              <p:blipFill>
                <a:blip r:embed="rId375"/>
                <a:stretch>
                  <a:fillRect/>
                </a:stretch>
              </p:blipFill>
              <p:spPr>
                <a:xfrm>
                  <a:off x="7343741" y="5374292"/>
                  <a:ext cx="118800" cy="208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76">
              <p14:nvContentPartPr>
                <p14:cNvPr id="194" name="Ink 193">
                  <a:extLst>
                    <a:ext uri="{FF2B5EF4-FFF2-40B4-BE49-F238E27FC236}">
                      <a16:creationId xmlns:a16="http://schemas.microsoft.com/office/drawing/2014/main" id="{188DA6E7-F1E3-9053-6E8C-842BAB340CF0}"/>
                    </a:ext>
                  </a:extLst>
                </p14:cNvPr>
                <p14:cNvContentPartPr/>
                <p14:nvPr/>
              </p14:nvContentPartPr>
              <p14:xfrm>
                <a:off x="7516901" y="5438012"/>
                <a:ext cx="127800" cy="131040"/>
              </p14:xfrm>
            </p:contentPart>
          </mc:Choice>
          <mc:Fallback>
            <p:pic>
              <p:nvPicPr>
                <p:cNvPr id="194" name="Ink 193">
                  <a:extLst>
                    <a:ext uri="{FF2B5EF4-FFF2-40B4-BE49-F238E27FC236}">
                      <a16:creationId xmlns:a16="http://schemas.microsoft.com/office/drawing/2014/main" id="{188DA6E7-F1E3-9053-6E8C-842BAB340CF0}"/>
                    </a:ext>
                  </a:extLst>
                </p:cNvPr>
                <p:cNvPicPr/>
                <p:nvPr/>
              </p:nvPicPr>
              <p:blipFill>
                <a:blip r:embed="rId377"/>
                <a:stretch>
                  <a:fillRect/>
                </a:stretch>
              </p:blipFill>
              <p:spPr>
                <a:xfrm>
                  <a:off x="7501781" y="5422892"/>
                  <a:ext cx="158400" cy="161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78">
              <p14:nvContentPartPr>
                <p14:cNvPr id="195" name="Ink 194">
                  <a:extLst>
                    <a:ext uri="{FF2B5EF4-FFF2-40B4-BE49-F238E27FC236}">
                      <a16:creationId xmlns:a16="http://schemas.microsoft.com/office/drawing/2014/main" id="{2966948C-BEE1-8DBB-A334-13F2E737669D}"/>
                    </a:ext>
                  </a:extLst>
                </p14:cNvPr>
                <p14:cNvContentPartPr/>
                <p14:nvPr/>
              </p14:nvContentPartPr>
              <p14:xfrm>
                <a:off x="7706621" y="5394092"/>
                <a:ext cx="50760" cy="153360"/>
              </p14:xfrm>
            </p:contentPart>
          </mc:Choice>
          <mc:Fallback>
            <p:pic>
              <p:nvPicPr>
                <p:cNvPr id="195" name="Ink 194">
                  <a:extLst>
                    <a:ext uri="{FF2B5EF4-FFF2-40B4-BE49-F238E27FC236}">
                      <a16:creationId xmlns:a16="http://schemas.microsoft.com/office/drawing/2014/main" id="{2966948C-BEE1-8DBB-A334-13F2E737669D}"/>
                    </a:ext>
                  </a:extLst>
                </p:cNvPr>
                <p:cNvPicPr/>
                <p:nvPr/>
              </p:nvPicPr>
              <p:blipFill>
                <a:blip r:embed="rId379"/>
                <a:stretch>
                  <a:fillRect/>
                </a:stretch>
              </p:blipFill>
              <p:spPr>
                <a:xfrm>
                  <a:off x="7691501" y="5378972"/>
                  <a:ext cx="81360" cy="183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80">
              <p14:nvContentPartPr>
                <p14:cNvPr id="196" name="Ink 195">
                  <a:extLst>
                    <a:ext uri="{FF2B5EF4-FFF2-40B4-BE49-F238E27FC236}">
                      <a16:creationId xmlns:a16="http://schemas.microsoft.com/office/drawing/2014/main" id="{5CE21005-95A0-6B1C-1EAA-F96EEC137097}"/>
                    </a:ext>
                  </a:extLst>
                </p14:cNvPr>
                <p14:cNvContentPartPr/>
                <p14:nvPr/>
              </p14:nvContentPartPr>
              <p14:xfrm>
                <a:off x="7840901" y="5491292"/>
                <a:ext cx="35640" cy="7560"/>
              </p14:xfrm>
            </p:contentPart>
          </mc:Choice>
          <mc:Fallback>
            <p:pic>
              <p:nvPicPr>
                <p:cNvPr id="196" name="Ink 195">
                  <a:extLst>
                    <a:ext uri="{FF2B5EF4-FFF2-40B4-BE49-F238E27FC236}">
                      <a16:creationId xmlns:a16="http://schemas.microsoft.com/office/drawing/2014/main" id="{5CE21005-95A0-6B1C-1EAA-F96EEC137097}"/>
                    </a:ext>
                  </a:extLst>
                </p:cNvPr>
                <p:cNvPicPr/>
                <p:nvPr/>
              </p:nvPicPr>
              <p:blipFill>
                <a:blip r:embed="rId381"/>
                <a:stretch>
                  <a:fillRect/>
                </a:stretch>
              </p:blipFill>
              <p:spPr>
                <a:xfrm>
                  <a:off x="7825781" y="5475812"/>
                  <a:ext cx="66240" cy="37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82">
              <p14:nvContentPartPr>
                <p14:cNvPr id="197" name="Ink 196">
                  <a:extLst>
                    <a:ext uri="{FF2B5EF4-FFF2-40B4-BE49-F238E27FC236}">
                      <a16:creationId xmlns:a16="http://schemas.microsoft.com/office/drawing/2014/main" id="{45CB5BCF-5E57-9E60-5D90-955212EFC209}"/>
                    </a:ext>
                  </a:extLst>
                </p14:cNvPr>
                <p14:cNvContentPartPr/>
                <p14:nvPr/>
              </p14:nvContentPartPr>
              <p14:xfrm>
                <a:off x="7979141" y="5356652"/>
                <a:ext cx="139320" cy="172080"/>
              </p14:xfrm>
            </p:contentPart>
          </mc:Choice>
          <mc:Fallback>
            <p:pic>
              <p:nvPicPr>
                <p:cNvPr id="197" name="Ink 196">
                  <a:extLst>
                    <a:ext uri="{FF2B5EF4-FFF2-40B4-BE49-F238E27FC236}">
                      <a16:creationId xmlns:a16="http://schemas.microsoft.com/office/drawing/2014/main" id="{45CB5BCF-5E57-9E60-5D90-955212EFC209}"/>
                    </a:ext>
                  </a:extLst>
                </p:cNvPr>
                <p:cNvPicPr/>
                <p:nvPr/>
              </p:nvPicPr>
              <p:blipFill>
                <a:blip r:embed="rId383"/>
                <a:stretch>
                  <a:fillRect/>
                </a:stretch>
              </p:blipFill>
              <p:spPr>
                <a:xfrm>
                  <a:off x="7964021" y="5341532"/>
                  <a:ext cx="169920" cy="202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84">
              <p14:nvContentPartPr>
                <p14:cNvPr id="198" name="Ink 197">
                  <a:extLst>
                    <a:ext uri="{FF2B5EF4-FFF2-40B4-BE49-F238E27FC236}">
                      <a16:creationId xmlns:a16="http://schemas.microsoft.com/office/drawing/2014/main" id="{BF4B734E-4DD8-A3F7-FFAF-6C87CA98DF04}"/>
                    </a:ext>
                  </a:extLst>
                </p14:cNvPr>
                <p14:cNvContentPartPr/>
                <p14:nvPr/>
              </p14:nvContentPartPr>
              <p14:xfrm>
                <a:off x="8152661" y="5357732"/>
                <a:ext cx="65880" cy="136800"/>
              </p14:xfrm>
            </p:contentPart>
          </mc:Choice>
          <mc:Fallback>
            <p:pic>
              <p:nvPicPr>
                <p:cNvPr id="198" name="Ink 197">
                  <a:extLst>
                    <a:ext uri="{FF2B5EF4-FFF2-40B4-BE49-F238E27FC236}">
                      <a16:creationId xmlns:a16="http://schemas.microsoft.com/office/drawing/2014/main" id="{BF4B734E-4DD8-A3F7-FFAF-6C87CA98DF04}"/>
                    </a:ext>
                  </a:extLst>
                </p:cNvPr>
                <p:cNvPicPr/>
                <p:nvPr/>
              </p:nvPicPr>
              <p:blipFill>
                <a:blip r:embed="rId385"/>
                <a:stretch>
                  <a:fillRect/>
                </a:stretch>
              </p:blipFill>
              <p:spPr>
                <a:xfrm>
                  <a:off x="8137541" y="5342612"/>
                  <a:ext cx="96480" cy="167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86">
              <p14:nvContentPartPr>
                <p14:cNvPr id="199" name="Ink 198">
                  <a:extLst>
                    <a:ext uri="{FF2B5EF4-FFF2-40B4-BE49-F238E27FC236}">
                      <a16:creationId xmlns:a16="http://schemas.microsoft.com/office/drawing/2014/main" id="{350103B4-17CA-ADA1-CA85-CBF426925ABC}"/>
                    </a:ext>
                  </a:extLst>
                </p14:cNvPr>
                <p14:cNvContentPartPr/>
                <p14:nvPr/>
              </p14:nvContentPartPr>
              <p14:xfrm>
                <a:off x="8248781" y="5361692"/>
                <a:ext cx="130680" cy="195120"/>
              </p14:xfrm>
            </p:contentPart>
          </mc:Choice>
          <mc:Fallback>
            <p:pic>
              <p:nvPicPr>
                <p:cNvPr id="199" name="Ink 198">
                  <a:extLst>
                    <a:ext uri="{FF2B5EF4-FFF2-40B4-BE49-F238E27FC236}">
                      <a16:creationId xmlns:a16="http://schemas.microsoft.com/office/drawing/2014/main" id="{350103B4-17CA-ADA1-CA85-CBF426925ABC}"/>
                    </a:ext>
                  </a:extLst>
                </p:cNvPr>
                <p:cNvPicPr/>
                <p:nvPr/>
              </p:nvPicPr>
              <p:blipFill>
                <a:blip r:embed="rId387"/>
                <a:stretch>
                  <a:fillRect/>
                </a:stretch>
              </p:blipFill>
              <p:spPr>
                <a:xfrm>
                  <a:off x="8233661" y="5346572"/>
                  <a:ext cx="161280" cy="225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88">
              <p14:nvContentPartPr>
                <p14:cNvPr id="200" name="Ink 199">
                  <a:extLst>
                    <a:ext uri="{FF2B5EF4-FFF2-40B4-BE49-F238E27FC236}">
                      <a16:creationId xmlns:a16="http://schemas.microsoft.com/office/drawing/2014/main" id="{2590A30E-63DC-6C13-9C42-DCFE0BDDDE81}"/>
                    </a:ext>
                  </a:extLst>
                </p14:cNvPr>
                <p14:cNvContentPartPr/>
                <p14:nvPr/>
              </p14:nvContentPartPr>
              <p14:xfrm>
                <a:off x="8422301" y="5409212"/>
                <a:ext cx="55800" cy="183600"/>
              </p14:xfrm>
            </p:contentPart>
          </mc:Choice>
          <mc:Fallback>
            <p:pic>
              <p:nvPicPr>
                <p:cNvPr id="200" name="Ink 199">
                  <a:extLst>
                    <a:ext uri="{FF2B5EF4-FFF2-40B4-BE49-F238E27FC236}">
                      <a16:creationId xmlns:a16="http://schemas.microsoft.com/office/drawing/2014/main" id="{2590A30E-63DC-6C13-9C42-DCFE0BDDDE81}"/>
                    </a:ext>
                  </a:extLst>
                </p:cNvPr>
                <p:cNvPicPr/>
                <p:nvPr/>
              </p:nvPicPr>
              <p:blipFill>
                <a:blip r:embed="rId389"/>
                <a:stretch>
                  <a:fillRect/>
                </a:stretch>
              </p:blipFill>
              <p:spPr>
                <a:xfrm>
                  <a:off x="8407181" y="5394092"/>
                  <a:ext cx="86040" cy="213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90">
              <p14:nvContentPartPr>
                <p14:cNvPr id="201" name="Ink 200">
                  <a:extLst>
                    <a:ext uri="{FF2B5EF4-FFF2-40B4-BE49-F238E27FC236}">
                      <a16:creationId xmlns:a16="http://schemas.microsoft.com/office/drawing/2014/main" id="{9CF39D39-1487-CDB4-31B5-29B6CE1F64E0}"/>
                    </a:ext>
                  </a:extLst>
                </p14:cNvPr>
                <p14:cNvContentPartPr/>
                <p14:nvPr/>
              </p14:nvContentPartPr>
              <p14:xfrm>
                <a:off x="8563061" y="5404892"/>
                <a:ext cx="113760" cy="182520"/>
              </p14:xfrm>
            </p:contentPart>
          </mc:Choice>
          <mc:Fallback>
            <p:pic>
              <p:nvPicPr>
                <p:cNvPr id="201" name="Ink 200">
                  <a:extLst>
                    <a:ext uri="{FF2B5EF4-FFF2-40B4-BE49-F238E27FC236}">
                      <a16:creationId xmlns:a16="http://schemas.microsoft.com/office/drawing/2014/main" id="{9CF39D39-1487-CDB4-31B5-29B6CE1F64E0}"/>
                    </a:ext>
                  </a:extLst>
                </p:cNvPr>
                <p:cNvPicPr/>
                <p:nvPr/>
              </p:nvPicPr>
              <p:blipFill>
                <a:blip r:embed="rId391"/>
                <a:stretch>
                  <a:fillRect/>
                </a:stretch>
              </p:blipFill>
              <p:spPr>
                <a:xfrm>
                  <a:off x="8547941" y="5389772"/>
                  <a:ext cx="144000" cy="213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92">
              <p14:nvContentPartPr>
                <p14:cNvPr id="202" name="Ink 201">
                  <a:extLst>
                    <a:ext uri="{FF2B5EF4-FFF2-40B4-BE49-F238E27FC236}">
                      <a16:creationId xmlns:a16="http://schemas.microsoft.com/office/drawing/2014/main" id="{5E52946B-CEB7-82DA-0CCE-36703622B2EE}"/>
                    </a:ext>
                  </a:extLst>
                </p14:cNvPr>
                <p14:cNvContentPartPr/>
                <p14:nvPr/>
              </p14:nvContentPartPr>
              <p14:xfrm>
                <a:off x="8629301" y="5371052"/>
                <a:ext cx="109080" cy="151920"/>
              </p14:xfrm>
            </p:contentPart>
          </mc:Choice>
          <mc:Fallback>
            <p:pic>
              <p:nvPicPr>
                <p:cNvPr id="202" name="Ink 201">
                  <a:extLst>
                    <a:ext uri="{FF2B5EF4-FFF2-40B4-BE49-F238E27FC236}">
                      <a16:creationId xmlns:a16="http://schemas.microsoft.com/office/drawing/2014/main" id="{5E52946B-CEB7-82DA-0CCE-36703622B2EE}"/>
                    </a:ext>
                  </a:extLst>
                </p:cNvPr>
                <p:cNvPicPr/>
                <p:nvPr/>
              </p:nvPicPr>
              <p:blipFill>
                <a:blip r:embed="rId393"/>
                <a:stretch>
                  <a:fillRect/>
                </a:stretch>
              </p:blipFill>
              <p:spPr>
                <a:xfrm>
                  <a:off x="8614181" y="5355932"/>
                  <a:ext cx="139320" cy="182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94">
              <p14:nvContentPartPr>
                <p14:cNvPr id="203" name="Ink 202">
                  <a:extLst>
                    <a:ext uri="{FF2B5EF4-FFF2-40B4-BE49-F238E27FC236}">
                      <a16:creationId xmlns:a16="http://schemas.microsoft.com/office/drawing/2014/main" id="{749AD97A-4DC7-2400-394C-4A3F1FFEBDBA}"/>
                    </a:ext>
                  </a:extLst>
                </p14:cNvPr>
                <p14:cNvContentPartPr/>
                <p14:nvPr/>
              </p14:nvContentPartPr>
              <p14:xfrm>
                <a:off x="7374341" y="5570852"/>
                <a:ext cx="117360" cy="164520"/>
              </p14:xfrm>
            </p:contentPart>
          </mc:Choice>
          <mc:Fallback>
            <p:pic>
              <p:nvPicPr>
                <p:cNvPr id="203" name="Ink 202">
                  <a:extLst>
                    <a:ext uri="{FF2B5EF4-FFF2-40B4-BE49-F238E27FC236}">
                      <a16:creationId xmlns:a16="http://schemas.microsoft.com/office/drawing/2014/main" id="{749AD97A-4DC7-2400-394C-4A3F1FFEBDBA}"/>
                    </a:ext>
                  </a:extLst>
                </p:cNvPr>
                <p:cNvPicPr/>
                <p:nvPr/>
              </p:nvPicPr>
              <p:blipFill>
                <a:blip r:embed="rId395"/>
                <a:stretch>
                  <a:fillRect/>
                </a:stretch>
              </p:blipFill>
              <p:spPr>
                <a:xfrm>
                  <a:off x="7359221" y="5555372"/>
                  <a:ext cx="147960" cy="195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96">
              <p14:nvContentPartPr>
                <p14:cNvPr id="204" name="Ink 203">
                  <a:extLst>
                    <a:ext uri="{FF2B5EF4-FFF2-40B4-BE49-F238E27FC236}">
                      <a16:creationId xmlns:a16="http://schemas.microsoft.com/office/drawing/2014/main" id="{D412E3C0-C6F6-9B2D-3958-22E21687ABE6}"/>
                    </a:ext>
                  </a:extLst>
                </p14:cNvPr>
                <p14:cNvContentPartPr/>
                <p14:nvPr/>
              </p14:nvContentPartPr>
              <p14:xfrm>
                <a:off x="7417181" y="5718092"/>
                <a:ext cx="58680" cy="54720"/>
              </p14:xfrm>
            </p:contentPart>
          </mc:Choice>
          <mc:Fallback>
            <p:pic>
              <p:nvPicPr>
                <p:cNvPr id="204" name="Ink 203">
                  <a:extLst>
                    <a:ext uri="{FF2B5EF4-FFF2-40B4-BE49-F238E27FC236}">
                      <a16:creationId xmlns:a16="http://schemas.microsoft.com/office/drawing/2014/main" id="{D412E3C0-C6F6-9B2D-3958-22E21687ABE6}"/>
                    </a:ext>
                  </a:extLst>
                </p:cNvPr>
                <p:cNvPicPr/>
                <p:nvPr/>
              </p:nvPicPr>
              <p:blipFill>
                <a:blip r:embed="rId397"/>
                <a:stretch>
                  <a:fillRect/>
                </a:stretch>
              </p:blipFill>
              <p:spPr>
                <a:xfrm>
                  <a:off x="7402061" y="5702972"/>
                  <a:ext cx="89280" cy="85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98">
              <p14:nvContentPartPr>
                <p14:cNvPr id="205" name="Ink 204">
                  <a:extLst>
                    <a:ext uri="{FF2B5EF4-FFF2-40B4-BE49-F238E27FC236}">
                      <a16:creationId xmlns:a16="http://schemas.microsoft.com/office/drawing/2014/main" id="{F24DBC14-478E-9443-BB52-72B1E448110D}"/>
                    </a:ext>
                  </a:extLst>
                </p14:cNvPr>
                <p14:cNvContentPartPr/>
                <p14:nvPr/>
              </p14:nvContentPartPr>
              <p14:xfrm>
                <a:off x="7394141" y="5701532"/>
                <a:ext cx="23040" cy="181800"/>
              </p14:xfrm>
            </p:contentPart>
          </mc:Choice>
          <mc:Fallback>
            <p:pic>
              <p:nvPicPr>
                <p:cNvPr id="205" name="Ink 204">
                  <a:extLst>
                    <a:ext uri="{FF2B5EF4-FFF2-40B4-BE49-F238E27FC236}">
                      <a16:creationId xmlns:a16="http://schemas.microsoft.com/office/drawing/2014/main" id="{F24DBC14-478E-9443-BB52-72B1E448110D}"/>
                    </a:ext>
                  </a:extLst>
                </p:cNvPr>
                <p:cNvPicPr/>
                <p:nvPr/>
              </p:nvPicPr>
              <p:blipFill>
                <a:blip r:embed="rId399"/>
                <a:stretch>
                  <a:fillRect/>
                </a:stretch>
              </p:blipFill>
              <p:spPr>
                <a:xfrm>
                  <a:off x="7379021" y="5686412"/>
                  <a:ext cx="53640" cy="212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00">
              <p14:nvContentPartPr>
                <p14:cNvPr id="206" name="Ink 205">
                  <a:extLst>
                    <a:ext uri="{FF2B5EF4-FFF2-40B4-BE49-F238E27FC236}">
                      <a16:creationId xmlns:a16="http://schemas.microsoft.com/office/drawing/2014/main" id="{FE6349D2-879C-02AA-515B-BBDE2A75B67C}"/>
                    </a:ext>
                  </a:extLst>
                </p14:cNvPr>
                <p14:cNvContentPartPr/>
                <p14:nvPr/>
              </p14:nvContentPartPr>
              <p14:xfrm>
                <a:off x="7581701" y="5650052"/>
                <a:ext cx="48600" cy="155880"/>
              </p14:xfrm>
            </p:contentPart>
          </mc:Choice>
          <mc:Fallback>
            <p:pic>
              <p:nvPicPr>
                <p:cNvPr id="206" name="Ink 205">
                  <a:extLst>
                    <a:ext uri="{FF2B5EF4-FFF2-40B4-BE49-F238E27FC236}">
                      <a16:creationId xmlns:a16="http://schemas.microsoft.com/office/drawing/2014/main" id="{FE6349D2-879C-02AA-515B-BBDE2A75B67C}"/>
                    </a:ext>
                  </a:extLst>
                </p:cNvPr>
                <p:cNvPicPr/>
                <p:nvPr/>
              </p:nvPicPr>
              <p:blipFill>
                <a:blip r:embed="rId401"/>
                <a:stretch>
                  <a:fillRect/>
                </a:stretch>
              </p:blipFill>
              <p:spPr>
                <a:xfrm>
                  <a:off x="7566581" y="5634572"/>
                  <a:ext cx="79200" cy="186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02">
              <p14:nvContentPartPr>
                <p14:cNvPr id="207" name="Ink 206">
                  <a:extLst>
                    <a:ext uri="{FF2B5EF4-FFF2-40B4-BE49-F238E27FC236}">
                      <a16:creationId xmlns:a16="http://schemas.microsoft.com/office/drawing/2014/main" id="{F156CF24-76D6-6930-792E-404E6FF3770B}"/>
                    </a:ext>
                  </a:extLst>
                </p14:cNvPr>
                <p14:cNvContentPartPr/>
                <p14:nvPr/>
              </p14:nvContentPartPr>
              <p14:xfrm>
                <a:off x="7507541" y="5681372"/>
                <a:ext cx="39960" cy="168120"/>
              </p14:xfrm>
            </p:contentPart>
          </mc:Choice>
          <mc:Fallback>
            <p:pic>
              <p:nvPicPr>
                <p:cNvPr id="207" name="Ink 206">
                  <a:extLst>
                    <a:ext uri="{FF2B5EF4-FFF2-40B4-BE49-F238E27FC236}">
                      <a16:creationId xmlns:a16="http://schemas.microsoft.com/office/drawing/2014/main" id="{F156CF24-76D6-6930-792E-404E6FF3770B}"/>
                    </a:ext>
                  </a:extLst>
                </p:cNvPr>
                <p:cNvPicPr/>
                <p:nvPr/>
              </p:nvPicPr>
              <p:blipFill>
                <a:blip r:embed="rId403"/>
                <a:stretch>
                  <a:fillRect/>
                </a:stretch>
              </p:blipFill>
              <p:spPr>
                <a:xfrm>
                  <a:off x="7492061" y="5666252"/>
                  <a:ext cx="70560" cy="198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04">
              <p14:nvContentPartPr>
                <p14:cNvPr id="208" name="Ink 207">
                  <a:extLst>
                    <a:ext uri="{FF2B5EF4-FFF2-40B4-BE49-F238E27FC236}">
                      <a16:creationId xmlns:a16="http://schemas.microsoft.com/office/drawing/2014/main" id="{5029576E-51FD-DD18-DDCD-70146CC5358A}"/>
                    </a:ext>
                  </a:extLst>
                </p14:cNvPr>
                <p14:cNvContentPartPr/>
                <p14:nvPr/>
              </p14:nvContentPartPr>
              <p14:xfrm>
                <a:off x="7710221" y="5737532"/>
                <a:ext cx="53280" cy="195120"/>
              </p14:xfrm>
            </p:contentPart>
          </mc:Choice>
          <mc:Fallback>
            <p:pic>
              <p:nvPicPr>
                <p:cNvPr id="208" name="Ink 207">
                  <a:extLst>
                    <a:ext uri="{FF2B5EF4-FFF2-40B4-BE49-F238E27FC236}">
                      <a16:creationId xmlns:a16="http://schemas.microsoft.com/office/drawing/2014/main" id="{5029576E-51FD-DD18-DDCD-70146CC5358A}"/>
                    </a:ext>
                  </a:extLst>
                </p:cNvPr>
                <p:cNvPicPr/>
                <p:nvPr/>
              </p:nvPicPr>
              <p:blipFill>
                <a:blip r:embed="rId405"/>
                <a:stretch>
                  <a:fillRect/>
                </a:stretch>
              </p:blipFill>
              <p:spPr>
                <a:xfrm>
                  <a:off x="7695101" y="5722412"/>
                  <a:ext cx="83880" cy="225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06">
              <p14:nvContentPartPr>
                <p14:cNvPr id="209" name="Ink 208">
                  <a:extLst>
                    <a:ext uri="{FF2B5EF4-FFF2-40B4-BE49-F238E27FC236}">
                      <a16:creationId xmlns:a16="http://schemas.microsoft.com/office/drawing/2014/main" id="{7CF1DB19-5697-15F8-B297-4373C1C6464B}"/>
                    </a:ext>
                  </a:extLst>
                </p14:cNvPr>
                <p14:cNvContentPartPr/>
                <p14:nvPr/>
              </p14:nvContentPartPr>
              <p14:xfrm>
                <a:off x="7871861" y="5802332"/>
                <a:ext cx="3960" cy="9000"/>
              </p14:xfrm>
            </p:contentPart>
          </mc:Choice>
          <mc:Fallback>
            <p:pic>
              <p:nvPicPr>
                <p:cNvPr id="209" name="Ink 208">
                  <a:extLst>
                    <a:ext uri="{FF2B5EF4-FFF2-40B4-BE49-F238E27FC236}">
                      <a16:creationId xmlns:a16="http://schemas.microsoft.com/office/drawing/2014/main" id="{7CF1DB19-5697-15F8-B297-4373C1C6464B}"/>
                    </a:ext>
                  </a:extLst>
                </p:cNvPr>
                <p:cNvPicPr/>
                <p:nvPr/>
              </p:nvPicPr>
              <p:blipFill>
                <a:blip r:embed="rId407"/>
                <a:stretch>
                  <a:fillRect/>
                </a:stretch>
              </p:blipFill>
              <p:spPr>
                <a:xfrm>
                  <a:off x="7856741" y="5787212"/>
                  <a:ext cx="34560" cy="39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08">
              <p14:nvContentPartPr>
                <p14:cNvPr id="210" name="Ink 209">
                  <a:extLst>
                    <a:ext uri="{FF2B5EF4-FFF2-40B4-BE49-F238E27FC236}">
                      <a16:creationId xmlns:a16="http://schemas.microsoft.com/office/drawing/2014/main" id="{6C08ADA2-5B7B-A015-04A3-1EA54BBA6874}"/>
                    </a:ext>
                  </a:extLst>
                </p14:cNvPr>
                <p14:cNvContentPartPr/>
                <p14:nvPr/>
              </p14:nvContentPartPr>
              <p14:xfrm>
                <a:off x="7960061" y="5727092"/>
                <a:ext cx="120240" cy="158040"/>
              </p14:xfrm>
            </p:contentPart>
          </mc:Choice>
          <mc:Fallback>
            <p:pic>
              <p:nvPicPr>
                <p:cNvPr id="210" name="Ink 209">
                  <a:extLst>
                    <a:ext uri="{FF2B5EF4-FFF2-40B4-BE49-F238E27FC236}">
                      <a16:creationId xmlns:a16="http://schemas.microsoft.com/office/drawing/2014/main" id="{6C08ADA2-5B7B-A015-04A3-1EA54BBA6874}"/>
                    </a:ext>
                  </a:extLst>
                </p:cNvPr>
                <p:cNvPicPr/>
                <p:nvPr/>
              </p:nvPicPr>
              <p:blipFill>
                <a:blip r:embed="rId409"/>
                <a:stretch>
                  <a:fillRect/>
                </a:stretch>
              </p:blipFill>
              <p:spPr>
                <a:xfrm>
                  <a:off x="7944581" y="5711612"/>
                  <a:ext cx="150480" cy="188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10">
              <p14:nvContentPartPr>
                <p14:cNvPr id="211" name="Ink 210">
                  <a:extLst>
                    <a:ext uri="{FF2B5EF4-FFF2-40B4-BE49-F238E27FC236}">
                      <a16:creationId xmlns:a16="http://schemas.microsoft.com/office/drawing/2014/main" id="{B769FDBE-C509-8D40-7A0C-187B958E9B99}"/>
                    </a:ext>
                  </a:extLst>
                </p14:cNvPr>
                <p14:cNvContentPartPr/>
                <p14:nvPr/>
              </p14:nvContentPartPr>
              <p14:xfrm>
                <a:off x="8102981" y="5751212"/>
                <a:ext cx="27360" cy="170640"/>
              </p14:xfrm>
            </p:contentPart>
          </mc:Choice>
          <mc:Fallback>
            <p:pic>
              <p:nvPicPr>
                <p:cNvPr id="211" name="Ink 210">
                  <a:extLst>
                    <a:ext uri="{FF2B5EF4-FFF2-40B4-BE49-F238E27FC236}">
                      <a16:creationId xmlns:a16="http://schemas.microsoft.com/office/drawing/2014/main" id="{B769FDBE-C509-8D40-7A0C-187B958E9B99}"/>
                    </a:ext>
                  </a:extLst>
                </p:cNvPr>
                <p:cNvPicPr/>
                <p:nvPr/>
              </p:nvPicPr>
              <p:blipFill>
                <a:blip r:embed="rId411"/>
                <a:stretch>
                  <a:fillRect/>
                </a:stretch>
              </p:blipFill>
              <p:spPr>
                <a:xfrm>
                  <a:off x="8087861" y="5736092"/>
                  <a:ext cx="57600" cy="201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12">
              <p14:nvContentPartPr>
                <p14:cNvPr id="212" name="Ink 211">
                  <a:extLst>
                    <a:ext uri="{FF2B5EF4-FFF2-40B4-BE49-F238E27FC236}">
                      <a16:creationId xmlns:a16="http://schemas.microsoft.com/office/drawing/2014/main" id="{833CA022-EC69-F4EB-E0A5-2A90D9F5F6DF}"/>
                    </a:ext>
                  </a:extLst>
                </p14:cNvPr>
                <p14:cNvContentPartPr/>
                <p14:nvPr/>
              </p14:nvContentPartPr>
              <p14:xfrm>
                <a:off x="8215301" y="5809172"/>
                <a:ext cx="102960" cy="127800"/>
              </p14:xfrm>
            </p:contentPart>
          </mc:Choice>
          <mc:Fallback>
            <p:pic>
              <p:nvPicPr>
                <p:cNvPr id="212" name="Ink 211">
                  <a:extLst>
                    <a:ext uri="{FF2B5EF4-FFF2-40B4-BE49-F238E27FC236}">
                      <a16:creationId xmlns:a16="http://schemas.microsoft.com/office/drawing/2014/main" id="{833CA022-EC69-F4EB-E0A5-2A90D9F5F6DF}"/>
                    </a:ext>
                  </a:extLst>
                </p:cNvPr>
                <p:cNvPicPr/>
                <p:nvPr/>
              </p:nvPicPr>
              <p:blipFill>
                <a:blip r:embed="rId413"/>
                <a:stretch>
                  <a:fillRect/>
                </a:stretch>
              </p:blipFill>
              <p:spPr>
                <a:xfrm>
                  <a:off x="8200181" y="5794052"/>
                  <a:ext cx="133560" cy="158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14">
              <p14:nvContentPartPr>
                <p14:cNvPr id="213" name="Ink 212">
                  <a:extLst>
                    <a:ext uri="{FF2B5EF4-FFF2-40B4-BE49-F238E27FC236}">
                      <a16:creationId xmlns:a16="http://schemas.microsoft.com/office/drawing/2014/main" id="{D5A14A39-163C-5388-B09A-828A848D800F}"/>
                    </a:ext>
                  </a:extLst>
                </p14:cNvPr>
                <p14:cNvContentPartPr/>
                <p14:nvPr/>
              </p14:nvContentPartPr>
              <p14:xfrm>
                <a:off x="8389181" y="5814212"/>
                <a:ext cx="41760" cy="157320"/>
              </p14:xfrm>
            </p:contentPart>
          </mc:Choice>
          <mc:Fallback>
            <p:pic>
              <p:nvPicPr>
                <p:cNvPr id="213" name="Ink 212">
                  <a:extLst>
                    <a:ext uri="{FF2B5EF4-FFF2-40B4-BE49-F238E27FC236}">
                      <a16:creationId xmlns:a16="http://schemas.microsoft.com/office/drawing/2014/main" id="{D5A14A39-163C-5388-B09A-828A848D800F}"/>
                    </a:ext>
                  </a:extLst>
                </p:cNvPr>
                <p:cNvPicPr/>
                <p:nvPr/>
              </p:nvPicPr>
              <p:blipFill>
                <a:blip r:embed="rId415"/>
                <a:stretch>
                  <a:fillRect/>
                </a:stretch>
              </p:blipFill>
              <p:spPr>
                <a:xfrm>
                  <a:off x="8374061" y="5799092"/>
                  <a:ext cx="72360" cy="187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16">
              <p14:nvContentPartPr>
                <p14:cNvPr id="214" name="Ink 213">
                  <a:extLst>
                    <a:ext uri="{FF2B5EF4-FFF2-40B4-BE49-F238E27FC236}">
                      <a16:creationId xmlns:a16="http://schemas.microsoft.com/office/drawing/2014/main" id="{AA57B086-525C-B932-2796-9CE6AD705C8F}"/>
                    </a:ext>
                  </a:extLst>
                </p14:cNvPr>
                <p14:cNvContentPartPr/>
                <p14:nvPr/>
              </p14:nvContentPartPr>
              <p14:xfrm>
                <a:off x="8500781" y="5878292"/>
                <a:ext cx="57240" cy="75600"/>
              </p14:xfrm>
            </p:contentPart>
          </mc:Choice>
          <mc:Fallback>
            <p:pic>
              <p:nvPicPr>
                <p:cNvPr id="214" name="Ink 213">
                  <a:extLst>
                    <a:ext uri="{FF2B5EF4-FFF2-40B4-BE49-F238E27FC236}">
                      <a16:creationId xmlns:a16="http://schemas.microsoft.com/office/drawing/2014/main" id="{AA57B086-525C-B932-2796-9CE6AD705C8F}"/>
                    </a:ext>
                  </a:extLst>
                </p:cNvPr>
                <p:cNvPicPr/>
                <p:nvPr/>
              </p:nvPicPr>
              <p:blipFill>
                <a:blip r:embed="rId417"/>
                <a:stretch>
                  <a:fillRect/>
                </a:stretch>
              </p:blipFill>
              <p:spPr>
                <a:xfrm>
                  <a:off x="8485661" y="5862812"/>
                  <a:ext cx="87840" cy="106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18">
              <p14:nvContentPartPr>
                <p14:cNvPr id="215" name="Ink 214">
                  <a:extLst>
                    <a:ext uri="{FF2B5EF4-FFF2-40B4-BE49-F238E27FC236}">
                      <a16:creationId xmlns:a16="http://schemas.microsoft.com/office/drawing/2014/main" id="{2CBF63F3-4773-16F6-040C-4184B4FB8AF2}"/>
                    </a:ext>
                  </a:extLst>
                </p14:cNvPr>
                <p14:cNvContentPartPr/>
                <p14:nvPr/>
              </p14:nvContentPartPr>
              <p14:xfrm>
                <a:off x="8612381" y="5897372"/>
                <a:ext cx="75240" cy="136080"/>
              </p14:xfrm>
            </p:contentPart>
          </mc:Choice>
          <mc:Fallback>
            <p:pic>
              <p:nvPicPr>
                <p:cNvPr id="215" name="Ink 214">
                  <a:extLst>
                    <a:ext uri="{FF2B5EF4-FFF2-40B4-BE49-F238E27FC236}">
                      <a16:creationId xmlns:a16="http://schemas.microsoft.com/office/drawing/2014/main" id="{2CBF63F3-4773-16F6-040C-4184B4FB8AF2}"/>
                    </a:ext>
                  </a:extLst>
                </p:cNvPr>
                <p:cNvPicPr/>
                <p:nvPr/>
              </p:nvPicPr>
              <p:blipFill>
                <a:blip r:embed="rId419"/>
                <a:stretch>
                  <a:fillRect/>
                </a:stretch>
              </p:blipFill>
              <p:spPr>
                <a:xfrm>
                  <a:off x="8597261" y="5881892"/>
                  <a:ext cx="105840" cy="166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20">
              <p14:nvContentPartPr>
                <p14:cNvPr id="216" name="Ink 215">
                  <a:extLst>
                    <a:ext uri="{FF2B5EF4-FFF2-40B4-BE49-F238E27FC236}">
                      <a16:creationId xmlns:a16="http://schemas.microsoft.com/office/drawing/2014/main" id="{CCBDCF0D-8256-65A7-E583-1DE4B6A9C744}"/>
                    </a:ext>
                  </a:extLst>
                </p14:cNvPr>
                <p14:cNvContentPartPr/>
                <p14:nvPr/>
              </p14:nvContentPartPr>
              <p14:xfrm>
                <a:off x="7454621" y="6115892"/>
                <a:ext cx="132480" cy="158040"/>
              </p14:xfrm>
            </p:contentPart>
          </mc:Choice>
          <mc:Fallback>
            <p:pic>
              <p:nvPicPr>
                <p:cNvPr id="216" name="Ink 215">
                  <a:extLst>
                    <a:ext uri="{FF2B5EF4-FFF2-40B4-BE49-F238E27FC236}">
                      <a16:creationId xmlns:a16="http://schemas.microsoft.com/office/drawing/2014/main" id="{CCBDCF0D-8256-65A7-E583-1DE4B6A9C744}"/>
                    </a:ext>
                  </a:extLst>
                </p:cNvPr>
                <p:cNvPicPr/>
                <p:nvPr/>
              </p:nvPicPr>
              <p:blipFill>
                <a:blip r:embed="rId421"/>
                <a:stretch>
                  <a:fillRect/>
                </a:stretch>
              </p:blipFill>
              <p:spPr>
                <a:xfrm>
                  <a:off x="7439141" y="6100772"/>
                  <a:ext cx="163080" cy="188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22">
              <p14:nvContentPartPr>
                <p14:cNvPr id="217" name="Ink 216">
                  <a:extLst>
                    <a:ext uri="{FF2B5EF4-FFF2-40B4-BE49-F238E27FC236}">
                      <a16:creationId xmlns:a16="http://schemas.microsoft.com/office/drawing/2014/main" id="{18000AA7-756E-F4AA-6CCD-6BF978ACB714}"/>
                    </a:ext>
                  </a:extLst>
                </p14:cNvPr>
                <p14:cNvContentPartPr/>
                <p14:nvPr/>
              </p14:nvContentPartPr>
              <p14:xfrm>
                <a:off x="7624541" y="6191852"/>
                <a:ext cx="75240" cy="18720"/>
              </p14:xfrm>
            </p:contentPart>
          </mc:Choice>
          <mc:Fallback>
            <p:pic>
              <p:nvPicPr>
                <p:cNvPr id="217" name="Ink 216">
                  <a:extLst>
                    <a:ext uri="{FF2B5EF4-FFF2-40B4-BE49-F238E27FC236}">
                      <a16:creationId xmlns:a16="http://schemas.microsoft.com/office/drawing/2014/main" id="{18000AA7-756E-F4AA-6CCD-6BF978ACB714}"/>
                    </a:ext>
                  </a:extLst>
                </p:cNvPr>
                <p:cNvPicPr/>
                <p:nvPr/>
              </p:nvPicPr>
              <p:blipFill>
                <a:blip r:embed="rId423"/>
                <a:stretch>
                  <a:fillRect/>
                </a:stretch>
              </p:blipFill>
              <p:spPr>
                <a:xfrm>
                  <a:off x="7609061" y="6176372"/>
                  <a:ext cx="105480" cy="49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24">
              <p14:nvContentPartPr>
                <p14:cNvPr id="218" name="Ink 217">
                  <a:extLst>
                    <a:ext uri="{FF2B5EF4-FFF2-40B4-BE49-F238E27FC236}">
                      <a16:creationId xmlns:a16="http://schemas.microsoft.com/office/drawing/2014/main" id="{809E1EC6-B46A-DDFB-C094-CF92F67B0283}"/>
                    </a:ext>
                  </a:extLst>
                </p14:cNvPr>
                <p14:cNvContentPartPr/>
                <p14:nvPr/>
              </p14:nvContentPartPr>
              <p14:xfrm>
                <a:off x="7730741" y="6134972"/>
                <a:ext cx="47160" cy="146880"/>
              </p14:xfrm>
            </p:contentPart>
          </mc:Choice>
          <mc:Fallback>
            <p:pic>
              <p:nvPicPr>
                <p:cNvPr id="218" name="Ink 217">
                  <a:extLst>
                    <a:ext uri="{FF2B5EF4-FFF2-40B4-BE49-F238E27FC236}">
                      <a16:creationId xmlns:a16="http://schemas.microsoft.com/office/drawing/2014/main" id="{809E1EC6-B46A-DDFB-C094-CF92F67B0283}"/>
                    </a:ext>
                  </a:extLst>
                </p:cNvPr>
                <p:cNvPicPr/>
                <p:nvPr/>
              </p:nvPicPr>
              <p:blipFill>
                <a:blip r:embed="rId425"/>
                <a:stretch>
                  <a:fillRect/>
                </a:stretch>
              </p:blipFill>
              <p:spPr>
                <a:xfrm>
                  <a:off x="7715261" y="6119852"/>
                  <a:ext cx="77400" cy="177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26">
              <p14:nvContentPartPr>
                <p14:cNvPr id="219" name="Ink 218">
                  <a:extLst>
                    <a:ext uri="{FF2B5EF4-FFF2-40B4-BE49-F238E27FC236}">
                      <a16:creationId xmlns:a16="http://schemas.microsoft.com/office/drawing/2014/main" id="{70465CF3-DB88-B46A-7C9D-B64E6BC535C2}"/>
                    </a:ext>
                  </a:extLst>
                </p14:cNvPr>
                <p14:cNvContentPartPr/>
                <p14:nvPr/>
              </p14:nvContentPartPr>
              <p14:xfrm>
                <a:off x="7849901" y="6210932"/>
                <a:ext cx="48600" cy="25560"/>
              </p14:xfrm>
            </p:contentPart>
          </mc:Choice>
          <mc:Fallback>
            <p:pic>
              <p:nvPicPr>
                <p:cNvPr id="219" name="Ink 218">
                  <a:extLst>
                    <a:ext uri="{FF2B5EF4-FFF2-40B4-BE49-F238E27FC236}">
                      <a16:creationId xmlns:a16="http://schemas.microsoft.com/office/drawing/2014/main" id="{70465CF3-DB88-B46A-7C9D-B64E6BC535C2}"/>
                    </a:ext>
                  </a:extLst>
                </p:cNvPr>
                <p:cNvPicPr/>
                <p:nvPr/>
              </p:nvPicPr>
              <p:blipFill>
                <a:blip r:embed="rId427"/>
                <a:stretch>
                  <a:fillRect/>
                </a:stretch>
              </p:blipFill>
              <p:spPr>
                <a:xfrm>
                  <a:off x="7834781" y="6195812"/>
                  <a:ext cx="79200" cy="56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28">
              <p14:nvContentPartPr>
                <p14:cNvPr id="220" name="Ink 219">
                  <a:extLst>
                    <a:ext uri="{FF2B5EF4-FFF2-40B4-BE49-F238E27FC236}">
                      <a16:creationId xmlns:a16="http://schemas.microsoft.com/office/drawing/2014/main" id="{094B4095-4A51-3A26-BA30-237B767DC4AB}"/>
                    </a:ext>
                  </a:extLst>
                </p14:cNvPr>
                <p14:cNvContentPartPr/>
                <p14:nvPr/>
              </p14:nvContentPartPr>
              <p14:xfrm>
                <a:off x="7936661" y="6147572"/>
                <a:ext cx="90000" cy="174240"/>
              </p14:xfrm>
            </p:contentPart>
          </mc:Choice>
          <mc:Fallback>
            <p:pic>
              <p:nvPicPr>
                <p:cNvPr id="220" name="Ink 219">
                  <a:extLst>
                    <a:ext uri="{FF2B5EF4-FFF2-40B4-BE49-F238E27FC236}">
                      <a16:creationId xmlns:a16="http://schemas.microsoft.com/office/drawing/2014/main" id="{094B4095-4A51-3A26-BA30-237B767DC4AB}"/>
                    </a:ext>
                  </a:extLst>
                </p:cNvPr>
                <p:cNvPicPr/>
                <p:nvPr/>
              </p:nvPicPr>
              <p:blipFill>
                <a:blip r:embed="rId429"/>
                <a:stretch>
                  <a:fillRect/>
                </a:stretch>
              </p:blipFill>
              <p:spPr>
                <a:xfrm>
                  <a:off x="7921541" y="6132452"/>
                  <a:ext cx="120240" cy="204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30">
              <p14:nvContentPartPr>
                <p14:cNvPr id="221" name="Ink 220">
                  <a:extLst>
                    <a:ext uri="{FF2B5EF4-FFF2-40B4-BE49-F238E27FC236}">
                      <a16:creationId xmlns:a16="http://schemas.microsoft.com/office/drawing/2014/main" id="{5E5A9900-D163-312E-2177-13454E80E06B}"/>
                    </a:ext>
                  </a:extLst>
                </p14:cNvPr>
                <p14:cNvContentPartPr/>
                <p14:nvPr/>
              </p14:nvContentPartPr>
              <p14:xfrm>
                <a:off x="8073821" y="6113372"/>
                <a:ext cx="154440" cy="266760"/>
              </p14:xfrm>
            </p:contentPart>
          </mc:Choice>
          <mc:Fallback>
            <p:pic>
              <p:nvPicPr>
                <p:cNvPr id="221" name="Ink 220">
                  <a:extLst>
                    <a:ext uri="{FF2B5EF4-FFF2-40B4-BE49-F238E27FC236}">
                      <a16:creationId xmlns:a16="http://schemas.microsoft.com/office/drawing/2014/main" id="{5E5A9900-D163-312E-2177-13454E80E06B}"/>
                    </a:ext>
                  </a:extLst>
                </p:cNvPr>
                <p:cNvPicPr/>
                <p:nvPr/>
              </p:nvPicPr>
              <p:blipFill>
                <a:blip r:embed="rId431"/>
                <a:stretch>
                  <a:fillRect/>
                </a:stretch>
              </p:blipFill>
              <p:spPr>
                <a:xfrm>
                  <a:off x="8058701" y="6098252"/>
                  <a:ext cx="185040" cy="297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32">
              <p14:nvContentPartPr>
                <p14:cNvPr id="222" name="Ink 221">
                  <a:extLst>
                    <a:ext uri="{FF2B5EF4-FFF2-40B4-BE49-F238E27FC236}">
                      <a16:creationId xmlns:a16="http://schemas.microsoft.com/office/drawing/2014/main" id="{F64BAD72-05FA-1E1C-B8E9-A51889B638D8}"/>
                    </a:ext>
                  </a:extLst>
                </p14:cNvPr>
                <p14:cNvContentPartPr/>
                <p14:nvPr/>
              </p14:nvContentPartPr>
              <p14:xfrm>
                <a:off x="8228621" y="6136772"/>
                <a:ext cx="56160" cy="217800"/>
              </p14:xfrm>
            </p:contentPart>
          </mc:Choice>
          <mc:Fallback>
            <p:pic>
              <p:nvPicPr>
                <p:cNvPr id="222" name="Ink 221">
                  <a:extLst>
                    <a:ext uri="{FF2B5EF4-FFF2-40B4-BE49-F238E27FC236}">
                      <a16:creationId xmlns:a16="http://schemas.microsoft.com/office/drawing/2014/main" id="{F64BAD72-05FA-1E1C-B8E9-A51889B638D8}"/>
                    </a:ext>
                  </a:extLst>
                </p:cNvPr>
                <p:cNvPicPr/>
                <p:nvPr/>
              </p:nvPicPr>
              <p:blipFill>
                <a:blip r:embed="rId433"/>
                <a:stretch>
                  <a:fillRect/>
                </a:stretch>
              </p:blipFill>
              <p:spPr>
                <a:xfrm>
                  <a:off x="8213501" y="6121652"/>
                  <a:ext cx="86400" cy="248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34">
              <p14:nvContentPartPr>
                <p14:cNvPr id="223" name="Ink 222">
                  <a:extLst>
                    <a:ext uri="{FF2B5EF4-FFF2-40B4-BE49-F238E27FC236}">
                      <a16:creationId xmlns:a16="http://schemas.microsoft.com/office/drawing/2014/main" id="{1406DC54-DE4F-1D04-210B-B6C7CD54CB16}"/>
                    </a:ext>
                  </a:extLst>
                </p14:cNvPr>
                <p14:cNvContentPartPr/>
                <p14:nvPr/>
              </p14:nvContentPartPr>
              <p14:xfrm>
                <a:off x="8382701" y="6190412"/>
                <a:ext cx="120240" cy="162360"/>
              </p14:xfrm>
            </p:contentPart>
          </mc:Choice>
          <mc:Fallback>
            <p:pic>
              <p:nvPicPr>
                <p:cNvPr id="223" name="Ink 222">
                  <a:extLst>
                    <a:ext uri="{FF2B5EF4-FFF2-40B4-BE49-F238E27FC236}">
                      <a16:creationId xmlns:a16="http://schemas.microsoft.com/office/drawing/2014/main" id="{1406DC54-DE4F-1D04-210B-B6C7CD54CB16}"/>
                    </a:ext>
                  </a:extLst>
                </p:cNvPr>
                <p:cNvPicPr/>
                <p:nvPr/>
              </p:nvPicPr>
              <p:blipFill>
                <a:blip r:embed="rId435"/>
                <a:stretch>
                  <a:fillRect/>
                </a:stretch>
              </p:blipFill>
              <p:spPr>
                <a:xfrm>
                  <a:off x="8367221" y="6175292"/>
                  <a:ext cx="150840" cy="192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36">
              <p14:nvContentPartPr>
                <p14:cNvPr id="224" name="Ink 223">
                  <a:extLst>
                    <a:ext uri="{FF2B5EF4-FFF2-40B4-BE49-F238E27FC236}">
                      <a16:creationId xmlns:a16="http://schemas.microsoft.com/office/drawing/2014/main" id="{421C852A-9172-8903-4A46-9E29F9C40C00}"/>
                    </a:ext>
                  </a:extLst>
                </p14:cNvPr>
                <p14:cNvContentPartPr/>
                <p14:nvPr/>
              </p14:nvContentPartPr>
              <p14:xfrm>
                <a:off x="8431661" y="6276812"/>
                <a:ext cx="15120" cy="33120"/>
              </p14:xfrm>
            </p:contentPart>
          </mc:Choice>
          <mc:Fallback>
            <p:pic>
              <p:nvPicPr>
                <p:cNvPr id="224" name="Ink 223">
                  <a:extLst>
                    <a:ext uri="{FF2B5EF4-FFF2-40B4-BE49-F238E27FC236}">
                      <a16:creationId xmlns:a16="http://schemas.microsoft.com/office/drawing/2014/main" id="{421C852A-9172-8903-4A46-9E29F9C40C00}"/>
                    </a:ext>
                  </a:extLst>
                </p:cNvPr>
                <p:cNvPicPr/>
                <p:nvPr/>
              </p:nvPicPr>
              <p:blipFill>
                <a:blip r:embed="rId437"/>
                <a:stretch>
                  <a:fillRect/>
                </a:stretch>
              </p:blipFill>
              <p:spPr>
                <a:xfrm>
                  <a:off x="8416541" y="6261692"/>
                  <a:ext cx="45720" cy="63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38">
              <p14:nvContentPartPr>
                <p14:cNvPr id="225" name="Ink 224">
                  <a:extLst>
                    <a:ext uri="{FF2B5EF4-FFF2-40B4-BE49-F238E27FC236}">
                      <a16:creationId xmlns:a16="http://schemas.microsoft.com/office/drawing/2014/main" id="{029CB045-4021-8C16-BF04-957F9ED69291}"/>
                    </a:ext>
                  </a:extLst>
                </p14:cNvPr>
                <p14:cNvContentPartPr/>
                <p14:nvPr/>
              </p14:nvContentPartPr>
              <p14:xfrm>
                <a:off x="8381261" y="6249452"/>
                <a:ext cx="20160" cy="131400"/>
              </p14:xfrm>
            </p:contentPart>
          </mc:Choice>
          <mc:Fallback>
            <p:pic>
              <p:nvPicPr>
                <p:cNvPr id="225" name="Ink 224">
                  <a:extLst>
                    <a:ext uri="{FF2B5EF4-FFF2-40B4-BE49-F238E27FC236}">
                      <a16:creationId xmlns:a16="http://schemas.microsoft.com/office/drawing/2014/main" id="{029CB045-4021-8C16-BF04-957F9ED69291}"/>
                    </a:ext>
                  </a:extLst>
                </p:cNvPr>
                <p:cNvPicPr/>
                <p:nvPr/>
              </p:nvPicPr>
              <p:blipFill>
                <a:blip r:embed="rId439"/>
                <a:stretch>
                  <a:fillRect/>
                </a:stretch>
              </p:blipFill>
              <p:spPr>
                <a:xfrm>
                  <a:off x="8366141" y="6234332"/>
                  <a:ext cx="50760" cy="162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40">
              <p14:nvContentPartPr>
                <p14:cNvPr id="226" name="Ink 225">
                  <a:extLst>
                    <a:ext uri="{FF2B5EF4-FFF2-40B4-BE49-F238E27FC236}">
                      <a16:creationId xmlns:a16="http://schemas.microsoft.com/office/drawing/2014/main" id="{081B268C-F397-13B4-D64D-9E85D67F6D4D}"/>
                    </a:ext>
                  </a:extLst>
                </p14:cNvPr>
                <p14:cNvContentPartPr/>
                <p14:nvPr/>
              </p14:nvContentPartPr>
              <p14:xfrm>
                <a:off x="8380541" y="6209492"/>
                <a:ext cx="95040" cy="155520"/>
              </p14:xfrm>
            </p:contentPart>
          </mc:Choice>
          <mc:Fallback>
            <p:pic>
              <p:nvPicPr>
                <p:cNvPr id="226" name="Ink 225">
                  <a:extLst>
                    <a:ext uri="{FF2B5EF4-FFF2-40B4-BE49-F238E27FC236}">
                      <a16:creationId xmlns:a16="http://schemas.microsoft.com/office/drawing/2014/main" id="{081B268C-F397-13B4-D64D-9E85D67F6D4D}"/>
                    </a:ext>
                  </a:extLst>
                </p:cNvPr>
                <p:cNvPicPr/>
                <p:nvPr/>
              </p:nvPicPr>
              <p:blipFill>
                <a:blip r:embed="rId441"/>
                <a:stretch>
                  <a:fillRect/>
                </a:stretch>
              </p:blipFill>
              <p:spPr>
                <a:xfrm>
                  <a:off x="8365421" y="6194372"/>
                  <a:ext cx="125280" cy="185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42">
              <p14:nvContentPartPr>
                <p14:cNvPr id="227" name="Ink 226">
                  <a:extLst>
                    <a:ext uri="{FF2B5EF4-FFF2-40B4-BE49-F238E27FC236}">
                      <a16:creationId xmlns:a16="http://schemas.microsoft.com/office/drawing/2014/main" id="{9EB04FC4-C9A6-8E70-2E25-81012C68919C}"/>
                    </a:ext>
                  </a:extLst>
                </p14:cNvPr>
                <p14:cNvContentPartPr/>
                <p14:nvPr/>
              </p14:nvContentPartPr>
              <p14:xfrm>
                <a:off x="8576021" y="6148652"/>
                <a:ext cx="43920" cy="269640"/>
              </p14:xfrm>
            </p:contentPart>
          </mc:Choice>
          <mc:Fallback>
            <p:pic>
              <p:nvPicPr>
                <p:cNvPr id="227" name="Ink 226">
                  <a:extLst>
                    <a:ext uri="{FF2B5EF4-FFF2-40B4-BE49-F238E27FC236}">
                      <a16:creationId xmlns:a16="http://schemas.microsoft.com/office/drawing/2014/main" id="{9EB04FC4-C9A6-8E70-2E25-81012C68919C}"/>
                    </a:ext>
                  </a:extLst>
                </p:cNvPr>
                <p:cNvPicPr/>
                <p:nvPr/>
              </p:nvPicPr>
              <p:blipFill>
                <a:blip r:embed="rId443"/>
                <a:stretch>
                  <a:fillRect/>
                </a:stretch>
              </p:blipFill>
              <p:spPr>
                <a:xfrm>
                  <a:off x="8560901" y="6133532"/>
                  <a:ext cx="74520" cy="300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44">
              <p14:nvContentPartPr>
                <p14:cNvPr id="228" name="Ink 227">
                  <a:extLst>
                    <a:ext uri="{FF2B5EF4-FFF2-40B4-BE49-F238E27FC236}">
                      <a16:creationId xmlns:a16="http://schemas.microsoft.com/office/drawing/2014/main" id="{9174CB2F-CA6F-8A7F-3A29-7BA2E1F4FA25}"/>
                    </a:ext>
                  </a:extLst>
                </p14:cNvPr>
                <p14:cNvContentPartPr/>
                <p14:nvPr/>
              </p14:nvContentPartPr>
              <p14:xfrm>
                <a:off x="8696621" y="6237572"/>
                <a:ext cx="69840" cy="159120"/>
              </p14:xfrm>
            </p:contentPart>
          </mc:Choice>
          <mc:Fallback>
            <p:pic>
              <p:nvPicPr>
                <p:cNvPr id="228" name="Ink 227">
                  <a:extLst>
                    <a:ext uri="{FF2B5EF4-FFF2-40B4-BE49-F238E27FC236}">
                      <a16:creationId xmlns:a16="http://schemas.microsoft.com/office/drawing/2014/main" id="{9174CB2F-CA6F-8A7F-3A29-7BA2E1F4FA25}"/>
                    </a:ext>
                  </a:extLst>
                </p:cNvPr>
                <p:cNvPicPr/>
                <p:nvPr/>
              </p:nvPicPr>
              <p:blipFill>
                <a:blip r:embed="rId445"/>
                <a:stretch>
                  <a:fillRect/>
                </a:stretch>
              </p:blipFill>
              <p:spPr>
                <a:xfrm>
                  <a:off x="8681501" y="6222092"/>
                  <a:ext cx="100080" cy="189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46">
              <p14:nvContentPartPr>
                <p14:cNvPr id="229" name="Ink 228">
                  <a:extLst>
                    <a:ext uri="{FF2B5EF4-FFF2-40B4-BE49-F238E27FC236}">
                      <a16:creationId xmlns:a16="http://schemas.microsoft.com/office/drawing/2014/main" id="{C4506E9D-B66F-F457-9B5E-BC143D5018E3}"/>
                    </a:ext>
                  </a:extLst>
                </p14:cNvPr>
                <p14:cNvContentPartPr/>
                <p14:nvPr/>
              </p14:nvContentPartPr>
              <p14:xfrm>
                <a:off x="8810381" y="6241892"/>
                <a:ext cx="40320" cy="172080"/>
              </p14:xfrm>
            </p:contentPart>
          </mc:Choice>
          <mc:Fallback>
            <p:pic>
              <p:nvPicPr>
                <p:cNvPr id="229" name="Ink 228">
                  <a:extLst>
                    <a:ext uri="{FF2B5EF4-FFF2-40B4-BE49-F238E27FC236}">
                      <a16:creationId xmlns:a16="http://schemas.microsoft.com/office/drawing/2014/main" id="{C4506E9D-B66F-F457-9B5E-BC143D5018E3}"/>
                    </a:ext>
                  </a:extLst>
                </p:cNvPr>
                <p:cNvPicPr/>
                <p:nvPr/>
              </p:nvPicPr>
              <p:blipFill>
                <a:blip r:embed="rId447"/>
                <a:stretch>
                  <a:fillRect/>
                </a:stretch>
              </p:blipFill>
              <p:spPr>
                <a:xfrm>
                  <a:off x="8795261" y="6226772"/>
                  <a:ext cx="70560" cy="2026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32" name="Group 231">
            <a:extLst>
              <a:ext uri="{FF2B5EF4-FFF2-40B4-BE49-F238E27FC236}">
                <a16:creationId xmlns:a16="http://schemas.microsoft.com/office/drawing/2014/main" id="{C8F5CBCE-3E9F-4FDC-DE79-1D0D1C063FA8}"/>
              </a:ext>
            </a:extLst>
          </p:cNvPr>
          <p:cNvGrpSpPr/>
          <p:nvPr/>
        </p:nvGrpSpPr>
        <p:grpSpPr>
          <a:xfrm>
            <a:off x="8088581" y="6542132"/>
            <a:ext cx="214200" cy="92160"/>
            <a:chOff x="8088581" y="6542132"/>
            <a:chExt cx="214200" cy="921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448">
              <p14:nvContentPartPr>
                <p14:cNvPr id="230" name="Ink 229">
                  <a:extLst>
                    <a:ext uri="{FF2B5EF4-FFF2-40B4-BE49-F238E27FC236}">
                      <a16:creationId xmlns:a16="http://schemas.microsoft.com/office/drawing/2014/main" id="{04517CEE-791C-72BA-D0EA-DF030E3D9813}"/>
                    </a:ext>
                  </a:extLst>
                </p14:cNvPr>
                <p14:cNvContentPartPr/>
                <p14:nvPr/>
              </p14:nvContentPartPr>
              <p14:xfrm>
                <a:off x="8088581" y="6542132"/>
                <a:ext cx="214200" cy="12240"/>
              </p14:xfrm>
            </p:contentPart>
          </mc:Choice>
          <mc:Fallback>
            <p:pic>
              <p:nvPicPr>
                <p:cNvPr id="230" name="Ink 229">
                  <a:extLst>
                    <a:ext uri="{FF2B5EF4-FFF2-40B4-BE49-F238E27FC236}">
                      <a16:creationId xmlns:a16="http://schemas.microsoft.com/office/drawing/2014/main" id="{04517CEE-791C-72BA-D0EA-DF030E3D9813}"/>
                    </a:ext>
                  </a:extLst>
                </p:cNvPr>
                <p:cNvPicPr/>
                <p:nvPr/>
              </p:nvPicPr>
              <p:blipFill>
                <a:blip r:embed="rId449"/>
                <a:stretch>
                  <a:fillRect/>
                </a:stretch>
              </p:blipFill>
              <p:spPr>
                <a:xfrm>
                  <a:off x="8073461" y="6526652"/>
                  <a:ext cx="244800" cy="42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50">
              <p14:nvContentPartPr>
                <p14:cNvPr id="231" name="Ink 230">
                  <a:extLst>
                    <a:ext uri="{FF2B5EF4-FFF2-40B4-BE49-F238E27FC236}">
                      <a16:creationId xmlns:a16="http://schemas.microsoft.com/office/drawing/2014/main" id="{FD7A09EA-B020-11AE-0513-EA49C4CD326C}"/>
                    </a:ext>
                  </a:extLst>
                </p14:cNvPr>
                <p14:cNvContentPartPr/>
                <p14:nvPr/>
              </p14:nvContentPartPr>
              <p14:xfrm>
                <a:off x="8117741" y="6621332"/>
                <a:ext cx="158400" cy="12960"/>
              </p14:xfrm>
            </p:contentPart>
          </mc:Choice>
          <mc:Fallback>
            <p:pic>
              <p:nvPicPr>
                <p:cNvPr id="231" name="Ink 230">
                  <a:extLst>
                    <a:ext uri="{FF2B5EF4-FFF2-40B4-BE49-F238E27FC236}">
                      <a16:creationId xmlns:a16="http://schemas.microsoft.com/office/drawing/2014/main" id="{FD7A09EA-B020-11AE-0513-EA49C4CD326C}"/>
                    </a:ext>
                  </a:extLst>
                </p:cNvPr>
                <p:cNvPicPr/>
                <p:nvPr/>
              </p:nvPicPr>
              <p:blipFill>
                <a:blip r:embed="rId451"/>
                <a:stretch>
                  <a:fillRect/>
                </a:stretch>
              </p:blipFill>
              <p:spPr>
                <a:xfrm>
                  <a:off x="8102621" y="6606212"/>
                  <a:ext cx="189000" cy="435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5A34995B-6D90-FB58-1E99-0146B053E321}"/>
              </a:ext>
            </a:extLst>
          </p:cNvPr>
          <p:cNvGrpSpPr/>
          <p:nvPr/>
        </p:nvGrpSpPr>
        <p:grpSpPr>
          <a:xfrm>
            <a:off x="2229581" y="4524692"/>
            <a:ext cx="1454760" cy="1641240"/>
            <a:chOff x="2229581" y="4524692"/>
            <a:chExt cx="1454760" cy="16412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452">
              <p14:nvContentPartPr>
                <p14:cNvPr id="234" name="Ink 233">
                  <a:extLst>
                    <a:ext uri="{FF2B5EF4-FFF2-40B4-BE49-F238E27FC236}">
                      <a16:creationId xmlns:a16="http://schemas.microsoft.com/office/drawing/2014/main" id="{3301BB33-FB49-6DD5-AA50-9BB2C3B3AFDD}"/>
                    </a:ext>
                  </a:extLst>
                </p14:cNvPr>
                <p14:cNvContentPartPr/>
                <p14:nvPr/>
              </p14:nvContentPartPr>
              <p14:xfrm>
                <a:off x="2721341" y="5342972"/>
                <a:ext cx="672840" cy="822960"/>
              </p14:xfrm>
            </p:contentPart>
          </mc:Choice>
          <mc:Fallback>
            <p:pic>
              <p:nvPicPr>
                <p:cNvPr id="234" name="Ink 233">
                  <a:extLst>
                    <a:ext uri="{FF2B5EF4-FFF2-40B4-BE49-F238E27FC236}">
                      <a16:creationId xmlns:a16="http://schemas.microsoft.com/office/drawing/2014/main" id="{3301BB33-FB49-6DD5-AA50-9BB2C3B3AFDD}"/>
                    </a:ext>
                  </a:extLst>
                </p:cNvPr>
                <p:cNvPicPr/>
                <p:nvPr/>
              </p:nvPicPr>
              <p:blipFill>
                <a:blip r:embed="rId453"/>
                <a:stretch>
                  <a:fillRect/>
                </a:stretch>
              </p:blipFill>
              <p:spPr>
                <a:xfrm>
                  <a:off x="2706221" y="5327852"/>
                  <a:ext cx="703440" cy="853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54">
              <p14:nvContentPartPr>
                <p14:cNvPr id="235" name="Ink 234">
                  <a:extLst>
                    <a:ext uri="{FF2B5EF4-FFF2-40B4-BE49-F238E27FC236}">
                      <a16:creationId xmlns:a16="http://schemas.microsoft.com/office/drawing/2014/main" id="{D13A126F-0936-49C0-58AF-685224656721}"/>
                    </a:ext>
                  </a:extLst>
                </p14:cNvPr>
                <p14:cNvContentPartPr/>
                <p14:nvPr/>
              </p14:nvContentPartPr>
              <p14:xfrm>
                <a:off x="2995661" y="5802692"/>
                <a:ext cx="120960" cy="129960"/>
              </p14:xfrm>
            </p:contentPart>
          </mc:Choice>
          <mc:Fallback>
            <p:pic>
              <p:nvPicPr>
                <p:cNvPr id="235" name="Ink 234">
                  <a:extLst>
                    <a:ext uri="{FF2B5EF4-FFF2-40B4-BE49-F238E27FC236}">
                      <a16:creationId xmlns:a16="http://schemas.microsoft.com/office/drawing/2014/main" id="{D13A126F-0936-49C0-58AF-685224656721}"/>
                    </a:ext>
                  </a:extLst>
                </p:cNvPr>
                <p:cNvPicPr/>
                <p:nvPr/>
              </p:nvPicPr>
              <p:blipFill>
                <a:blip r:embed="rId455"/>
                <a:stretch>
                  <a:fillRect/>
                </a:stretch>
              </p:blipFill>
              <p:spPr>
                <a:xfrm>
                  <a:off x="2980541" y="5787212"/>
                  <a:ext cx="151200" cy="160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56">
              <p14:nvContentPartPr>
                <p14:cNvPr id="236" name="Ink 235">
                  <a:extLst>
                    <a:ext uri="{FF2B5EF4-FFF2-40B4-BE49-F238E27FC236}">
                      <a16:creationId xmlns:a16="http://schemas.microsoft.com/office/drawing/2014/main" id="{6657F2A9-B0DF-22F8-1766-E52D57512FEB}"/>
                    </a:ext>
                  </a:extLst>
                </p14:cNvPr>
                <p14:cNvContentPartPr/>
                <p14:nvPr/>
              </p14:nvContentPartPr>
              <p14:xfrm>
                <a:off x="3086381" y="5182052"/>
                <a:ext cx="597960" cy="802800"/>
              </p14:xfrm>
            </p:contentPart>
          </mc:Choice>
          <mc:Fallback>
            <p:pic>
              <p:nvPicPr>
                <p:cNvPr id="236" name="Ink 235">
                  <a:extLst>
                    <a:ext uri="{FF2B5EF4-FFF2-40B4-BE49-F238E27FC236}">
                      <a16:creationId xmlns:a16="http://schemas.microsoft.com/office/drawing/2014/main" id="{6657F2A9-B0DF-22F8-1766-E52D57512FEB}"/>
                    </a:ext>
                  </a:extLst>
                </p:cNvPr>
                <p:cNvPicPr/>
                <p:nvPr/>
              </p:nvPicPr>
              <p:blipFill>
                <a:blip r:embed="rId457"/>
                <a:stretch>
                  <a:fillRect/>
                </a:stretch>
              </p:blipFill>
              <p:spPr>
                <a:xfrm>
                  <a:off x="3071261" y="5166932"/>
                  <a:ext cx="628560" cy="833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58">
              <p14:nvContentPartPr>
                <p14:cNvPr id="237" name="Ink 236">
                  <a:extLst>
                    <a:ext uri="{FF2B5EF4-FFF2-40B4-BE49-F238E27FC236}">
                      <a16:creationId xmlns:a16="http://schemas.microsoft.com/office/drawing/2014/main" id="{18B76FC7-D199-7A0D-D3A6-15D8A96F7D31}"/>
                    </a:ext>
                  </a:extLst>
                </p14:cNvPr>
                <p14:cNvContentPartPr/>
                <p14:nvPr/>
              </p14:nvContentPartPr>
              <p14:xfrm>
                <a:off x="2229581" y="5057132"/>
                <a:ext cx="870840" cy="1077480"/>
              </p14:xfrm>
            </p:contentPart>
          </mc:Choice>
          <mc:Fallback>
            <p:pic>
              <p:nvPicPr>
                <p:cNvPr id="237" name="Ink 236">
                  <a:extLst>
                    <a:ext uri="{FF2B5EF4-FFF2-40B4-BE49-F238E27FC236}">
                      <a16:creationId xmlns:a16="http://schemas.microsoft.com/office/drawing/2014/main" id="{18B76FC7-D199-7A0D-D3A6-15D8A96F7D31}"/>
                    </a:ext>
                  </a:extLst>
                </p:cNvPr>
                <p:cNvPicPr/>
                <p:nvPr/>
              </p:nvPicPr>
              <p:blipFill>
                <a:blip r:embed="rId459"/>
                <a:stretch>
                  <a:fillRect/>
                </a:stretch>
              </p:blipFill>
              <p:spPr>
                <a:xfrm>
                  <a:off x="2214461" y="5042012"/>
                  <a:ext cx="901440" cy="1107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60">
              <p14:nvContentPartPr>
                <p14:cNvPr id="238" name="Ink 237">
                  <a:extLst>
                    <a:ext uri="{FF2B5EF4-FFF2-40B4-BE49-F238E27FC236}">
                      <a16:creationId xmlns:a16="http://schemas.microsoft.com/office/drawing/2014/main" id="{4DFC65D0-2369-A278-14CF-EA35F2886854}"/>
                    </a:ext>
                  </a:extLst>
                </p14:cNvPr>
                <p14:cNvContentPartPr/>
                <p14:nvPr/>
              </p14:nvContentPartPr>
              <p14:xfrm>
                <a:off x="2647901" y="4524692"/>
                <a:ext cx="687240" cy="791280"/>
              </p14:xfrm>
            </p:contentPart>
          </mc:Choice>
          <mc:Fallback>
            <p:pic>
              <p:nvPicPr>
                <p:cNvPr id="238" name="Ink 237">
                  <a:extLst>
                    <a:ext uri="{FF2B5EF4-FFF2-40B4-BE49-F238E27FC236}">
                      <a16:creationId xmlns:a16="http://schemas.microsoft.com/office/drawing/2014/main" id="{4DFC65D0-2369-A278-14CF-EA35F2886854}"/>
                    </a:ext>
                  </a:extLst>
                </p:cNvPr>
                <p:cNvPicPr/>
                <p:nvPr/>
              </p:nvPicPr>
              <p:blipFill>
                <a:blip r:embed="rId461"/>
                <a:stretch>
                  <a:fillRect/>
                </a:stretch>
              </p:blipFill>
              <p:spPr>
                <a:xfrm>
                  <a:off x="2632421" y="4509572"/>
                  <a:ext cx="717840" cy="82188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16729782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" name="Google Shape;156;p1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72197" y="916154"/>
            <a:ext cx="8493485" cy="5941845"/>
          </a:xfrm>
          <a:prstGeom prst="rect">
            <a:avLst/>
          </a:prstGeom>
          <a:noFill/>
          <a:ln>
            <a:noFill/>
          </a:ln>
        </p:spPr>
      </p:pic>
      <p:sp>
        <p:nvSpPr>
          <p:cNvPr id="157" name="Google Shape;157;p13"/>
          <p:cNvSpPr txBox="1">
            <a:spLocks noGrp="1"/>
          </p:cNvSpPr>
          <p:nvPr>
            <p:ph type="title"/>
          </p:nvPr>
        </p:nvSpPr>
        <p:spPr>
          <a:xfrm>
            <a:off x="838200" y="0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r>
              <a:rPr lang="en-US"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ultiplication Rule</a:t>
            </a:r>
            <a:endParaRPr/>
          </a:p>
        </p:txBody>
      </p:sp>
      <p:sp>
        <p:nvSpPr>
          <p:cNvPr id="158" name="Google Shape;158;p13"/>
          <p:cNvSpPr/>
          <p:nvPr/>
        </p:nvSpPr>
        <p:spPr>
          <a:xfrm>
            <a:off x="7712242" y="757990"/>
            <a:ext cx="1672390" cy="288758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4">
            <p14:nvContentPartPr>
              <p14:cNvPr id="2" name="Ink 1">
                <a:extLst>
                  <a:ext uri="{FF2B5EF4-FFF2-40B4-BE49-F238E27FC236}">
                    <a16:creationId xmlns:a16="http://schemas.microsoft.com/office/drawing/2014/main" id="{759EB146-A9C1-22FA-CE68-46DA929D8E89}"/>
                  </a:ext>
                </a:extLst>
              </p14:cNvPr>
              <p14:cNvContentPartPr/>
              <p14:nvPr/>
            </p14:nvContentPartPr>
            <p14:xfrm>
              <a:off x="5584781" y="1870772"/>
              <a:ext cx="1427760" cy="25920"/>
            </p14:xfrm>
          </p:contentPart>
        </mc:Choice>
        <mc:Fallback>
          <p:pic>
            <p:nvPicPr>
              <p:cNvPr id="2" name="Ink 1">
                <a:extLst>
                  <a:ext uri="{FF2B5EF4-FFF2-40B4-BE49-F238E27FC236}">
                    <a16:creationId xmlns:a16="http://schemas.microsoft.com/office/drawing/2014/main" id="{759EB146-A9C1-22FA-CE68-46DA929D8E89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569301" y="1855292"/>
                <a:ext cx="1458360" cy="565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6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911D1D7C-5492-F6A4-4CB1-BBA92544E388}"/>
                  </a:ext>
                </a:extLst>
              </p14:cNvPr>
              <p14:cNvContentPartPr/>
              <p14:nvPr/>
            </p14:nvContentPartPr>
            <p14:xfrm>
              <a:off x="6978701" y="1885532"/>
              <a:ext cx="2306520" cy="81720"/>
            </p14:xfrm>
          </p:contentPart>
        </mc:Choice>
        <mc:Fallback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911D1D7C-5492-F6A4-4CB1-BBA92544E388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6963581" y="1870052"/>
                <a:ext cx="2336760" cy="112320"/>
              </a:xfrm>
              <a:prstGeom prst="rect">
                <a:avLst/>
              </a:prstGeom>
            </p:spPr>
          </p:pic>
        </mc:Fallback>
      </mc:AlternateContent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Google Shape;163;p14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r>
              <a:rPr lang="en-US"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rginal Probability</a:t>
            </a:r>
            <a:endParaRPr/>
          </a:p>
        </p:txBody>
      </p:sp>
      <p:sp>
        <p:nvSpPr>
          <p:cNvPr id="164" name="Google Shape;164;p14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286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</a:pPr>
            <a:r>
              <a:rPr lang="en-US"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ntingency table consists of rows and columns of two attributes at different levels with frequencies or numbers in each of the cells. It is a matrix of frequencies assigned to rows and columns. </a:t>
            </a:r>
            <a:endParaRPr/>
          </a:p>
          <a:p>
            <a:pPr marL="2286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</a:pPr>
            <a:r>
              <a:rPr lang="en-US"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he term marginal is used to indicate that the probabilities are calculated using a contingency table (also called joint probability table). </a:t>
            </a:r>
            <a:endParaRPr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Google Shape;169;p15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r>
              <a:rPr lang="en-US"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rginal Probability - Example</a:t>
            </a:r>
            <a:endParaRPr/>
          </a:p>
        </p:txBody>
      </p:sp>
      <p:pic>
        <p:nvPicPr>
          <p:cNvPr id="170" name="Google Shape;170;p1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670" y="1392114"/>
            <a:ext cx="8210410" cy="546588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7" name="Group 166">
            <a:extLst>
              <a:ext uri="{FF2B5EF4-FFF2-40B4-BE49-F238E27FC236}">
                <a16:creationId xmlns:a16="http://schemas.microsoft.com/office/drawing/2014/main" id="{3B43B7F5-B181-4DE6-90B5-F532599479FB}"/>
              </a:ext>
            </a:extLst>
          </p:cNvPr>
          <p:cNvGrpSpPr/>
          <p:nvPr/>
        </p:nvGrpSpPr>
        <p:grpSpPr>
          <a:xfrm>
            <a:off x="9343184" y="2688554"/>
            <a:ext cx="2176920" cy="1101960"/>
            <a:chOff x="9343184" y="2688554"/>
            <a:chExt cx="2176920" cy="11019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4">
              <p14:nvContentPartPr>
                <p14:cNvPr id="25" name="Ink 24">
                  <a:extLst>
                    <a:ext uri="{FF2B5EF4-FFF2-40B4-BE49-F238E27FC236}">
                      <a16:creationId xmlns:a16="http://schemas.microsoft.com/office/drawing/2014/main" id="{C48AD8FA-B9DA-4557-A559-86CF61C1445A}"/>
                    </a:ext>
                  </a:extLst>
                </p14:cNvPr>
                <p14:cNvContentPartPr/>
                <p14:nvPr/>
              </p14:nvContentPartPr>
              <p14:xfrm>
                <a:off x="9471704" y="2714114"/>
                <a:ext cx="243000" cy="424800"/>
              </p14:xfrm>
            </p:contentPart>
          </mc:Choice>
          <mc:Fallback xmlns="">
            <p:pic>
              <p:nvPicPr>
                <p:cNvPr id="25" name="Ink 24">
                  <a:extLst>
                    <a:ext uri="{FF2B5EF4-FFF2-40B4-BE49-F238E27FC236}">
                      <a16:creationId xmlns:a16="http://schemas.microsoft.com/office/drawing/2014/main" id="{C48AD8FA-B9DA-4557-A559-86CF61C1445A}"/>
                    </a:ext>
                  </a:extLst>
                </p:cNvPr>
                <p:cNvPicPr/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9435704" y="2678474"/>
                  <a:ext cx="314640" cy="496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">
              <p14:nvContentPartPr>
                <p14:cNvPr id="26" name="Ink 25">
                  <a:extLst>
                    <a:ext uri="{FF2B5EF4-FFF2-40B4-BE49-F238E27FC236}">
                      <a16:creationId xmlns:a16="http://schemas.microsoft.com/office/drawing/2014/main" id="{1B972313-24EA-4FDE-AA28-DC01D7560E7D}"/>
                    </a:ext>
                  </a:extLst>
                </p14:cNvPr>
                <p14:cNvContentPartPr/>
                <p14:nvPr/>
              </p14:nvContentPartPr>
              <p14:xfrm>
                <a:off x="9868784" y="2732474"/>
                <a:ext cx="223920" cy="150120"/>
              </p14:xfrm>
            </p:contentPart>
          </mc:Choice>
          <mc:Fallback xmlns="">
            <p:pic>
              <p:nvPicPr>
                <p:cNvPr id="26" name="Ink 25">
                  <a:extLst>
                    <a:ext uri="{FF2B5EF4-FFF2-40B4-BE49-F238E27FC236}">
                      <a16:creationId xmlns:a16="http://schemas.microsoft.com/office/drawing/2014/main" id="{1B972313-24EA-4FDE-AA28-DC01D7560E7D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9832784" y="2696474"/>
                  <a:ext cx="295560" cy="221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">
              <p14:nvContentPartPr>
                <p14:cNvPr id="27" name="Ink 26">
                  <a:extLst>
                    <a:ext uri="{FF2B5EF4-FFF2-40B4-BE49-F238E27FC236}">
                      <a16:creationId xmlns:a16="http://schemas.microsoft.com/office/drawing/2014/main" id="{DB41C388-F17E-4837-B448-1D5CDC3565A9}"/>
                    </a:ext>
                  </a:extLst>
                </p14:cNvPr>
                <p14:cNvContentPartPr/>
                <p14:nvPr/>
              </p14:nvContentPartPr>
              <p14:xfrm>
                <a:off x="9472424" y="3252674"/>
                <a:ext cx="677160" cy="199440"/>
              </p14:xfrm>
            </p:contentPart>
          </mc:Choice>
          <mc:Fallback xmlns="">
            <p:pic>
              <p:nvPicPr>
                <p:cNvPr id="27" name="Ink 26">
                  <a:extLst>
                    <a:ext uri="{FF2B5EF4-FFF2-40B4-BE49-F238E27FC236}">
                      <a16:creationId xmlns:a16="http://schemas.microsoft.com/office/drawing/2014/main" id="{DB41C388-F17E-4837-B448-1D5CDC3565A9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9436784" y="3217034"/>
                  <a:ext cx="748800" cy="271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">
              <p14:nvContentPartPr>
                <p14:cNvPr id="28" name="Ink 27">
                  <a:extLst>
                    <a:ext uri="{FF2B5EF4-FFF2-40B4-BE49-F238E27FC236}">
                      <a16:creationId xmlns:a16="http://schemas.microsoft.com/office/drawing/2014/main" id="{64996E55-709E-463B-97F2-436D00C36892}"/>
                    </a:ext>
                  </a:extLst>
                </p14:cNvPr>
                <p14:cNvContentPartPr/>
                <p14:nvPr/>
              </p14:nvContentPartPr>
              <p14:xfrm>
                <a:off x="9625064" y="3546434"/>
                <a:ext cx="417960" cy="244080"/>
              </p14:xfrm>
            </p:contentPart>
          </mc:Choice>
          <mc:Fallback xmlns="">
            <p:pic>
              <p:nvPicPr>
                <p:cNvPr id="28" name="Ink 27">
                  <a:extLst>
                    <a:ext uri="{FF2B5EF4-FFF2-40B4-BE49-F238E27FC236}">
                      <a16:creationId xmlns:a16="http://schemas.microsoft.com/office/drawing/2014/main" id="{64996E55-709E-463B-97F2-436D00C36892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9589424" y="3510794"/>
                  <a:ext cx="489600" cy="315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">
              <p14:nvContentPartPr>
                <p14:cNvPr id="29" name="Ink 28">
                  <a:extLst>
                    <a:ext uri="{FF2B5EF4-FFF2-40B4-BE49-F238E27FC236}">
                      <a16:creationId xmlns:a16="http://schemas.microsoft.com/office/drawing/2014/main" id="{D0E887B4-EB50-4465-906D-1C8D107DF03C}"/>
                    </a:ext>
                  </a:extLst>
                </p14:cNvPr>
                <p14:cNvContentPartPr/>
                <p14:nvPr/>
              </p14:nvContentPartPr>
              <p14:xfrm>
                <a:off x="10127984" y="3481274"/>
                <a:ext cx="165960" cy="129600"/>
              </p14:xfrm>
            </p:contentPart>
          </mc:Choice>
          <mc:Fallback xmlns="">
            <p:pic>
              <p:nvPicPr>
                <p:cNvPr id="29" name="Ink 28">
                  <a:extLst>
                    <a:ext uri="{FF2B5EF4-FFF2-40B4-BE49-F238E27FC236}">
                      <a16:creationId xmlns:a16="http://schemas.microsoft.com/office/drawing/2014/main" id="{D0E887B4-EB50-4465-906D-1C8D107DF03C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10092344" y="3445274"/>
                  <a:ext cx="237600" cy="201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">
              <p14:nvContentPartPr>
                <p14:cNvPr id="30" name="Ink 29">
                  <a:extLst>
                    <a:ext uri="{FF2B5EF4-FFF2-40B4-BE49-F238E27FC236}">
                      <a16:creationId xmlns:a16="http://schemas.microsoft.com/office/drawing/2014/main" id="{9B07AAE5-88A4-456D-A490-F8800672213E}"/>
                    </a:ext>
                  </a:extLst>
                </p14:cNvPr>
                <p14:cNvContentPartPr/>
                <p14:nvPr/>
              </p14:nvContentPartPr>
              <p14:xfrm>
                <a:off x="10516424" y="2938034"/>
                <a:ext cx="128160" cy="241560"/>
              </p14:xfrm>
            </p:contentPart>
          </mc:Choice>
          <mc:Fallback xmlns="">
            <p:pic>
              <p:nvPicPr>
                <p:cNvPr id="30" name="Ink 29">
                  <a:extLst>
                    <a:ext uri="{FF2B5EF4-FFF2-40B4-BE49-F238E27FC236}">
                      <a16:creationId xmlns:a16="http://schemas.microsoft.com/office/drawing/2014/main" id="{9B07AAE5-88A4-456D-A490-F8800672213E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10480424" y="2902394"/>
                  <a:ext cx="199800" cy="313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">
              <p14:nvContentPartPr>
                <p14:cNvPr id="31" name="Ink 30">
                  <a:extLst>
                    <a:ext uri="{FF2B5EF4-FFF2-40B4-BE49-F238E27FC236}">
                      <a16:creationId xmlns:a16="http://schemas.microsoft.com/office/drawing/2014/main" id="{2C58EA83-6281-4F07-BB53-62D073AAE92E}"/>
                    </a:ext>
                  </a:extLst>
                </p14:cNvPr>
                <p14:cNvContentPartPr/>
                <p14:nvPr/>
              </p14:nvContentPartPr>
              <p14:xfrm>
                <a:off x="10472864" y="3070874"/>
                <a:ext cx="264240" cy="119520"/>
              </p14:xfrm>
            </p:contentPart>
          </mc:Choice>
          <mc:Fallback xmlns="">
            <p:pic>
              <p:nvPicPr>
                <p:cNvPr id="31" name="Ink 30">
                  <a:extLst>
                    <a:ext uri="{FF2B5EF4-FFF2-40B4-BE49-F238E27FC236}">
                      <a16:creationId xmlns:a16="http://schemas.microsoft.com/office/drawing/2014/main" id="{2C58EA83-6281-4F07-BB53-62D073AAE92E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10436864" y="3034874"/>
                  <a:ext cx="335880" cy="191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">
              <p14:nvContentPartPr>
                <p14:cNvPr id="160" name="Ink 159">
                  <a:extLst>
                    <a:ext uri="{FF2B5EF4-FFF2-40B4-BE49-F238E27FC236}">
                      <a16:creationId xmlns:a16="http://schemas.microsoft.com/office/drawing/2014/main" id="{67E33896-CB74-4851-8AE3-4F9F99594D83}"/>
                    </a:ext>
                  </a:extLst>
                </p14:cNvPr>
                <p14:cNvContentPartPr/>
                <p14:nvPr/>
              </p14:nvContentPartPr>
              <p14:xfrm>
                <a:off x="10833584" y="2688554"/>
                <a:ext cx="255960" cy="263880"/>
              </p14:xfrm>
            </p:contentPart>
          </mc:Choice>
          <mc:Fallback xmlns="">
            <p:pic>
              <p:nvPicPr>
                <p:cNvPr id="160" name="Ink 159">
                  <a:extLst>
                    <a:ext uri="{FF2B5EF4-FFF2-40B4-BE49-F238E27FC236}">
                      <a16:creationId xmlns:a16="http://schemas.microsoft.com/office/drawing/2014/main" id="{67E33896-CB74-4851-8AE3-4F9F99594D83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10797584" y="2652914"/>
                  <a:ext cx="327600" cy="335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">
              <p14:nvContentPartPr>
                <p14:cNvPr id="161" name="Ink 160">
                  <a:extLst>
                    <a:ext uri="{FF2B5EF4-FFF2-40B4-BE49-F238E27FC236}">
                      <a16:creationId xmlns:a16="http://schemas.microsoft.com/office/drawing/2014/main" id="{71F78638-56CB-4F22-8782-4E44A766A7CC}"/>
                    </a:ext>
                  </a:extLst>
                </p14:cNvPr>
                <p14:cNvContentPartPr/>
                <p14:nvPr/>
              </p14:nvContentPartPr>
              <p14:xfrm>
                <a:off x="11198624" y="2691794"/>
                <a:ext cx="245880" cy="176400"/>
              </p14:xfrm>
            </p:contentPart>
          </mc:Choice>
          <mc:Fallback xmlns="">
            <p:pic>
              <p:nvPicPr>
                <p:cNvPr id="161" name="Ink 160">
                  <a:extLst>
                    <a:ext uri="{FF2B5EF4-FFF2-40B4-BE49-F238E27FC236}">
                      <a16:creationId xmlns:a16="http://schemas.microsoft.com/office/drawing/2014/main" id="{71F78638-56CB-4F22-8782-4E44A766A7CC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11162984" y="2655794"/>
                  <a:ext cx="317520" cy="248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">
              <p14:nvContentPartPr>
                <p14:cNvPr id="162" name="Ink 161">
                  <a:extLst>
                    <a:ext uri="{FF2B5EF4-FFF2-40B4-BE49-F238E27FC236}">
                      <a16:creationId xmlns:a16="http://schemas.microsoft.com/office/drawing/2014/main" id="{01FD81D0-26B6-4FD7-BF2E-36BFA65F22C7}"/>
                    </a:ext>
                  </a:extLst>
                </p14:cNvPr>
                <p14:cNvContentPartPr/>
                <p14:nvPr/>
              </p14:nvContentPartPr>
              <p14:xfrm>
                <a:off x="11016104" y="2993474"/>
                <a:ext cx="401760" cy="113760"/>
              </p14:xfrm>
            </p:contentPart>
          </mc:Choice>
          <mc:Fallback xmlns="">
            <p:pic>
              <p:nvPicPr>
                <p:cNvPr id="162" name="Ink 161">
                  <a:extLst>
                    <a:ext uri="{FF2B5EF4-FFF2-40B4-BE49-F238E27FC236}">
                      <a16:creationId xmlns:a16="http://schemas.microsoft.com/office/drawing/2014/main" id="{01FD81D0-26B6-4FD7-BF2E-36BFA65F22C7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10980104" y="2957834"/>
                  <a:ext cx="473400" cy="185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4">
              <p14:nvContentPartPr>
                <p14:cNvPr id="163" name="Ink 162">
                  <a:extLst>
                    <a:ext uri="{FF2B5EF4-FFF2-40B4-BE49-F238E27FC236}">
                      <a16:creationId xmlns:a16="http://schemas.microsoft.com/office/drawing/2014/main" id="{98589039-40F4-4954-9CD6-E0F03414F851}"/>
                    </a:ext>
                  </a:extLst>
                </p14:cNvPr>
                <p14:cNvContentPartPr/>
                <p14:nvPr/>
              </p14:nvContentPartPr>
              <p14:xfrm>
                <a:off x="10966064" y="3272114"/>
                <a:ext cx="206280" cy="343440"/>
              </p14:xfrm>
            </p:contentPart>
          </mc:Choice>
          <mc:Fallback xmlns="">
            <p:pic>
              <p:nvPicPr>
                <p:cNvPr id="163" name="Ink 162">
                  <a:extLst>
                    <a:ext uri="{FF2B5EF4-FFF2-40B4-BE49-F238E27FC236}">
                      <a16:creationId xmlns:a16="http://schemas.microsoft.com/office/drawing/2014/main" id="{98589039-40F4-4954-9CD6-E0F03414F851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10930064" y="3236114"/>
                  <a:ext cx="277920" cy="415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6">
              <p14:nvContentPartPr>
                <p14:cNvPr id="164" name="Ink 163">
                  <a:extLst>
                    <a:ext uri="{FF2B5EF4-FFF2-40B4-BE49-F238E27FC236}">
                      <a16:creationId xmlns:a16="http://schemas.microsoft.com/office/drawing/2014/main" id="{8485DA08-3953-40F4-8C89-F81102C8F9D9}"/>
                    </a:ext>
                  </a:extLst>
                </p14:cNvPr>
                <p14:cNvContentPartPr/>
                <p14:nvPr/>
              </p14:nvContentPartPr>
              <p14:xfrm>
                <a:off x="11168744" y="3326834"/>
                <a:ext cx="237960" cy="92880"/>
              </p14:xfrm>
            </p:contentPart>
          </mc:Choice>
          <mc:Fallback xmlns="">
            <p:pic>
              <p:nvPicPr>
                <p:cNvPr id="164" name="Ink 163">
                  <a:extLst>
                    <a:ext uri="{FF2B5EF4-FFF2-40B4-BE49-F238E27FC236}">
                      <a16:creationId xmlns:a16="http://schemas.microsoft.com/office/drawing/2014/main" id="{8485DA08-3953-40F4-8C89-F81102C8F9D9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11132744" y="3290834"/>
                  <a:ext cx="309600" cy="164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8">
              <p14:nvContentPartPr>
                <p14:cNvPr id="165" name="Ink 164">
                  <a:extLst>
                    <a:ext uri="{FF2B5EF4-FFF2-40B4-BE49-F238E27FC236}">
                      <a16:creationId xmlns:a16="http://schemas.microsoft.com/office/drawing/2014/main" id="{E731189B-60D4-4014-8584-B6FB08075743}"/>
                    </a:ext>
                  </a:extLst>
                </p14:cNvPr>
                <p14:cNvContentPartPr/>
                <p14:nvPr/>
              </p14:nvContentPartPr>
              <p14:xfrm>
                <a:off x="11158664" y="3271394"/>
                <a:ext cx="361440" cy="496440"/>
              </p14:xfrm>
            </p:contentPart>
          </mc:Choice>
          <mc:Fallback xmlns="">
            <p:pic>
              <p:nvPicPr>
                <p:cNvPr id="165" name="Ink 164">
                  <a:extLst>
                    <a:ext uri="{FF2B5EF4-FFF2-40B4-BE49-F238E27FC236}">
                      <a16:creationId xmlns:a16="http://schemas.microsoft.com/office/drawing/2014/main" id="{E731189B-60D4-4014-8584-B6FB08075743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11123024" y="3235394"/>
                  <a:ext cx="433080" cy="568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0">
              <p14:nvContentPartPr>
                <p14:cNvPr id="166" name="Ink 165">
                  <a:extLst>
                    <a:ext uri="{FF2B5EF4-FFF2-40B4-BE49-F238E27FC236}">
                      <a16:creationId xmlns:a16="http://schemas.microsoft.com/office/drawing/2014/main" id="{72F80B11-1B7D-4915-A0FA-B94F1CF34303}"/>
                    </a:ext>
                  </a:extLst>
                </p14:cNvPr>
                <p14:cNvContentPartPr/>
                <p14:nvPr/>
              </p14:nvContentPartPr>
              <p14:xfrm>
                <a:off x="9343184" y="2703674"/>
                <a:ext cx="968040" cy="548640"/>
              </p14:xfrm>
            </p:contentPart>
          </mc:Choice>
          <mc:Fallback xmlns="">
            <p:pic>
              <p:nvPicPr>
                <p:cNvPr id="166" name="Ink 165">
                  <a:extLst>
                    <a:ext uri="{FF2B5EF4-FFF2-40B4-BE49-F238E27FC236}">
                      <a16:creationId xmlns:a16="http://schemas.microsoft.com/office/drawing/2014/main" id="{72F80B11-1B7D-4915-A0FA-B94F1CF34303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9307184" y="2668034"/>
                  <a:ext cx="1039680" cy="6202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75" name="Group 174">
            <a:extLst>
              <a:ext uri="{FF2B5EF4-FFF2-40B4-BE49-F238E27FC236}">
                <a16:creationId xmlns:a16="http://schemas.microsoft.com/office/drawing/2014/main" id="{E34F7F2A-70D0-49D8-A8E4-B215616D15D3}"/>
              </a:ext>
            </a:extLst>
          </p:cNvPr>
          <p:cNvGrpSpPr/>
          <p:nvPr/>
        </p:nvGrpSpPr>
        <p:grpSpPr>
          <a:xfrm>
            <a:off x="10039064" y="4384874"/>
            <a:ext cx="1409400" cy="471960"/>
            <a:chOff x="10039064" y="4384874"/>
            <a:chExt cx="1409400" cy="4719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32">
              <p14:nvContentPartPr>
                <p14:cNvPr id="168" name="Ink 167">
                  <a:extLst>
                    <a:ext uri="{FF2B5EF4-FFF2-40B4-BE49-F238E27FC236}">
                      <a16:creationId xmlns:a16="http://schemas.microsoft.com/office/drawing/2014/main" id="{017428C8-56A3-4872-9B0B-B6225479E424}"/>
                    </a:ext>
                  </a:extLst>
                </p14:cNvPr>
                <p14:cNvContentPartPr/>
                <p14:nvPr/>
              </p14:nvContentPartPr>
              <p14:xfrm>
                <a:off x="10039064" y="4559474"/>
                <a:ext cx="344160" cy="138240"/>
              </p14:xfrm>
            </p:contentPart>
          </mc:Choice>
          <mc:Fallback xmlns="">
            <p:pic>
              <p:nvPicPr>
                <p:cNvPr id="168" name="Ink 167">
                  <a:extLst>
                    <a:ext uri="{FF2B5EF4-FFF2-40B4-BE49-F238E27FC236}">
                      <a16:creationId xmlns:a16="http://schemas.microsoft.com/office/drawing/2014/main" id="{017428C8-56A3-4872-9B0B-B6225479E424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10003064" y="4523834"/>
                  <a:ext cx="415800" cy="209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4">
              <p14:nvContentPartPr>
                <p14:cNvPr id="171" name="Ink 170">
                  <a:extLst>
                    <a:ext uri="{FF2B5EF4-FFF2-40B4-BE49-F238E27FC236}">
                      <a16:creationId xmlns:a16="http://schemas.microsoft.com/office/drawing/2014/main" id="{70ECCD6F-182F-417A-A4B0-04A64A129385}"/>
                    </a:ext>
                  </a:extLst>
                </p14:cNvPr>
                <p14:cNvContentPartPr/>
                <p14:nvPr/>
              </p14:nvContentPartPr>
              <p14:xfrm>
                <a:off x="10200344" y="4698434"/>
                <a:ext cx="296280" cy="158400"/>
              </p14:xfrm>
            </p:contentPart>
          </mc:Choice>
          <mc:Fallback xmlns="">
            <p:pic>
              <p:nvPicPr>
                <p:cNvPr id="171" name="Ink 170">
                  <a:extLst>
                    <a:ext uri="{FF2B5EF4-FFF2-40B4-BE49-F238E27FC236}">
                      <a16:creationId xmlns:a16="http://schemas.microsoft.com/office/drawing/2014/main" id="{70ECCD6F-182F-417A-A4B0-04A64A129385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10164704" y="4662794"/>
                  <a:ext cx="367920" cy="230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6">
              <p14:nvContentPartPr>
                <p14:cNvPr id="172" name="Ink 171">
                  <a:extLst>
                    <a:ext uri="{FF2B5EF4-FFF2-40B4-BE49-F238E27FC236}">
                      <a16:creationId xmlns:a16="http://schemas.microsoft.com/office/drawing/2014/main" id="{CDCF5102-A81F-478B-BDC9-A443FD323E4E}"/>
                    </a:ext>
                  </a:extLst>
                </p14:cNvPr>
                <p14:cNvContentPartPr/>
                <p14:nvPr/>
              </p14:nvContentPartPr>
              <p14:xfrm>
                <a:off x="10515344" y="4384874"/>
                <a:ext cx="383760" cy="370800"/>
              </p14:xfrm>
            </p:contentPart>
          </mc:Choice>
          <mc:Fallback xmlns="">
            <p:pic>
              <p:nvPicPr>
                <p:cNvPr id="172" name="Ink 171">
                  <a:extLst>
                    <a:ext uri="{FF2B5EF4-FFF2-40B4-BE49-F238E27FC236}">
                      <a16:creationId xmlns:a16="http://schemas.microsoft.com/office/drawing/2014/main" id="{CDCF5102-A81F-478B-BDC9-A443FD323E4E}"/>
                    </a:ext>
                  </a:extLst>
                </p:cNvPr>
                <p:cNvPicPr/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10479704" y="4349234"/>
                  <a:ext cx="455400" cy="442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8">
              <p14:nvContentPartPr>
                <p14:cNvPr id="173" name="Ink 172">
                  <a:extLst>
                    <a:ext uri="{FF2B5EF4-FFF2-40B4-BE49-F238E27FC236}">
                      <a16:creationId xmlns:a16="http://schemas.microsoft.com/office/drawing/2014/main" id="{0BBCBF2E-F73A-4B7F-B858-222BD43772D5}"/>
                    </a:ext>
                  </a:extLst>
                </p14:cNvPr>
                <p14:cNvContentPartPr/>
                <p14:nvPr/>
              </p14:nvContentPartPr>
              <p14:xfrm>
                <a:off x="10989824" y="4395314"/>
                <a:ext cx="294840" cy="338760"/>
              </p14:xfrm>
            </p:contentPart>
          </mc:Choice>
          <mc:Fallback xmlns="">
            <p:pic>
              <p:nvPicPr>
                <p:cNvPr id="173" name="Ink 172">
                  <a:extLst>
                    <a:ext uri="{FF2B5EF4-FFF2-40B4-BE49-F238E27FC236}">
                      <a16:creationId xmlns:a16="http://schemas.microsoft.com/office/drawing/2014/main" id="{0BBCBF2E-F73A-4B7F-B858-222BD43772D5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10953824" y="4359314"/>
                  <a:ext cx="366480" cy="410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0">
              <p14:nvContentPartPr>
                <p14:cNvPr id="174" name="Ink 173">
                  <a:extLst>
                    <a:ext uri="{FF2B5EF4-FFF2-40B4-BE49-F238E27FC236}">
                      <a16:creationId xmlns:a16="http://schemas.microsoft.com/office/drawing/2014/main" id="{979DECAC-B0C0-48FF-A030-FB842D853E6E}"/>
                    </a:ext>
                  </a:extLst>
                </p14:cNvPr>
                <p14:cNvContentPartPr/>
                <p14:nvPr/>
              </p14:nvContentPartPr>
              <p14:xfrm>
                <a:off x="11361704" y="4568114"/>
                <a:ext cx="86760" cy="193680"/>
              </p14:xfrm>
            </p:contentPart>
          </mc:Choice>
          <mc:Fallback xmlns="">
            <p:pic>
              <p:nvPicPr>
                <p:cNvPr id="174" name="Ink 173">
                  <a:extLst>
                    <a:ext uri="{FF2B5EF4-FFF2-40B4-BE49-F238E27FC236}">
                      <a16:creationId xmlns:a16="http://schemas.microsoft.com/office/drawing/2014/main" id="{979DECAC-B0C0-48FF-A030-FB842D853E6E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11326064" y="4532474"/>
                  <a:ext cx="158400" cy="2653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3E3F61E-AAE5-4811-A10E-43F064205456}"/>
              </a:ext>
            </a:extLst>
          </p:cNvPr>
          <p:cNvGrpSpPr/>
          <p:nvPr/>
        </p:nvGrpSpPr>
        <p:grpSpPr>
          <a:xfrm>
            <a:off x="10051774" y="1460322"/>
            <a:ext cx="1094040" cy="426240"/>
            <a:chOff x="10051774" y="1460322"/>
            <a:chExt cx="1094040" cy="4262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42">
              <p14:nvContentPartPr>
                <p14:cNvPr id="2" name="Ink 1">
                  <a:extLst>
                    <a:ext uri="{FF2B5EF4-FFF2-40B4-BE49-F238E27FC236}">
                      <a16:creationId xmlns:a16="http://schemas.microsoft.com/office/drawing/2014/main" id="{FE5AE1A4-AB75-4A02-91D2-C5026703709E}"/>
                    </a:ext>
                  </a:extLst>
                </p14:cNvPr>
                <p14:cNvContentPartPr/>
                <p14:nvPr/>
              </p14:nvContentPartPr>
              <p14:xfrm>
                <a:off x="10114774" y="1668402"/>
                <a:ext cx="2520" cy="3240"/>
              </p14:xfrm>
            </p:contentPart>
          </mc:Choice>
          <mc:Fallback xmlns="">
            <p:pic>
              <p:nvPicPr>
                <p:cNvPr id="2" name="Ink 1">
                  <a:extLst>
                    <a:ext uri="{FF2B5EF4-FFF2-40B4-BE49-F238E27FC236}">
                      <a16:creationId xmlns:a16="http://schemas.microsoft.com/office/drawing/2014/main" id="{FE5AE1A4-AB75-4A02-91D2-C5026703709E}"/>
                    </a:ext>
                  </a:extLst>
                </p:cNvPr>
                <p:cNvPicPr/>
                <p:nvPr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10079134" y="1632402"/>
                  <a:ext cx="74160" cy="74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4">
              <p14:nvContentPartPr>
                <p14:cNvPr id="3" name="Ink 2">
                  <a:extLst>
                    <a:ext uri="{FF2B5EF4-FFF2-40B4-BE49-F238E27FC236}">
                      <a16:creationId xmlns:a16="http://schemas.microsoft.com/office/drawing/2014/main" id="{495C32E7-40AC-4A3C-B096-81228DA54F61}"/>
                    </a:ext>
                  </a:extLst>
                </p14:cNvPr>
                <p14:cNvContentPartPr/>
                <p14:nvPr/>
              </p14:nvContentPartPr>
              <p14:xfrm>
                <a:off x="10051774" y="1460322"/>
                <a:ext cx="284040" cy="387360"/>
              </p14:xfrm>
            </p:contentPart>
          </mc:Choice>
          <mc:Fallback xmlns="">
            <p:pic>
              <p:nvPicPr>
                <p:cNvPr id="3" name="Ink 2">
                  <a:extLst>
                    <a:ext uri="{FF2B5EF4-FFF2-40B4-BE49-F238E27FC236}">
                      <a16:creationId xmlns:a16="http://schemas.microsoft.com/office/drawing/2014/main" id="{495C32E7-40AC-4A3C-B096-81228DA54F61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10016134" y="1424322"/>
                  <a:ext cx="355680" cy="459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6">
              <p14:nvContentPartPr>
                <p14:cNvPr id="4" name="Ink 3">
                  <a:extLst>
                    <a:ext uri="{FF2B5EF4-FFF2-40B4-BE49-F238E27FC236}">
                      <a16:creationId xmlns:a16="http://schemas.microsoft.com/office/drawing/2014/main" id="{FECA83EB-1BB5-40C0-A6B6-7E13FE88F7C9}"/>
                    </a:ext>
                  </a:extLst>
                </p14:cNvPr>
                <p14:cNvContentPartPr/>
                <p14:nvPr/>
              </p14:nvContentPartPr>
              <p14:xfrm>
                <a:off x="10364974" y="1498122"/>
                <a:ext cx="145440" cy="346680"/>
              </p14:xfrm>
            </p:contentPart>
          </mc:Choice>
          <mc:Fallback xmlns="">
            <p:pic>
              <p:nvPicPr>
                <p:cNvPr id="4" name="Ink 3">
                  <a:extLst>
                    <a:ext uri="{FF2B5EF4-FFF2-40B4-BE49-F238E27FC236}">
                      <a16:creationId xmlns:a16="http://schemas.microsoft.com/office/drawing/2014/main" id="{FECA83EB-1BB5-40C0-A6B6-7E13FE88F7C9}"/>
                    </a:ext>
                  </a:extLst>
                </p:cNvPr>
                <p:cNvPicPr/>
                <p:nvPr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10329334" y="1462122"/>
                  <a:ext cx="217080" cy="418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8">
              <p14:nvContentPartPr>
                <p14:cNvPr id="6" name="Ink 5">
                  <a:extLst>
                    <a:ext uri="{FF2B5EF4-FFF2-40B4-BE49-F238E27FC236}">
                      <a16:creationId xmlns:a16="http://schemas.microsoft.com/office/drawing/2014/main" id="{BB63FEF2-1DDB-4953-A6C6-1B8CECD1F5F7}"/>
                    </a:ext>
                  </a:extLst>
                </p14:cNvPr>
                <p14:cNvContentPartPr/>
                <p14:nvPr/>
              </p14:nvContentPartPr>
              <p14:xfrm>
                <a:off x="10610494" y="1528722"/>
                <a:ext cx="161640" cy="304200"/>
              </p14:xfrm>
            </p:contentPart>
          </mc:Choice>
          <mc:Fallback xmlns="">
            <p:pic>
              <p:nvPicPr>
                <p:cNvPr id="6" name="Ink 5">
                  <a:extLst>
                    <a:ext uri="{FF2B5EF4-FFF2-40B4-BE49-F238E27FC236}">
                      <a16:creationId xmlns:a16="http://schemas.microsoft.com/office/drawing/2014/main" id="{BB63FEF2-1DDB-4953-A6C6-1B8CECD1F5F7}"/>
                    </a:ext>
                  </a:extLst>
                </p:cNvPr>
                <p:cNvPicPr/>
                <p:nvPr/>
              </p:nvPicPr>
              <p:blipFill>
                <a:blip r:embed="rId49"/>
                <a:stretch>
                  <a:fillRect/>
                </a:stretch>
              </p:blipFill>
              <p:spPr>
                <a:xfrm>
                  <a:off x="10574494" y="1492722"/>
                  <a:ext cx="233280" cy="375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0">
              <p14:nvContentPartPr>
                <p14:cNvPr id="7" name="Ink 6">
                  <a:extLst>
                    <a:ext uri="{FF2B5EF4-FFF2-40B4-BE49-F238E27FC236}">
                      <a16:creationId xmlns:a16="http://schemas.microsoft.com/office/drawing/2014/main" id="{9A7C6BE1-8F5E-488A-A99E-9122C052D428}"/>
                    </a:ext>
                  </a:extLst>
                </p14:cNvPr>
                <p14:cNvContentPartPr/>
                <p14:nvPr/>
              </p14:nvContentPartPr>
              <p14:xfrm>
                <a:off x="10841614" y="1543122"/>
                <a:ext cx="120960" cy="343440"/>
              </p14:xfrm>
            </p:contentPart>
          </mc:Choice>
          <mc:Fallback xmlns="">
            <p:pic>
              <p:nvPicPr>
                <p:cNvPr id="7" name="Ink 6">
                  <a:extLst>
                    <a:ext uri="{FF2B5EF4-FFF2-40B4-BE49-F238E27FC236}">
                      <a16:creationId xmlns:a16="http://schemas.microsoft.com/office/drawing/2014/main" id="{9A7C6BE1-8F5E-488A-A99E-9122C052D428}"/>
                    </a:ext>
                  </a:extLst>
                </p:cNvPr>
                <p:cNvPicPr/>
                <p:nvPr/>
              </p:nvPicPr>
              <p:blipFill>
                <a:blip r:embed="rId51"/>
                <a:stretch>
                  <a:fillRect/>
                </a:stretch>
              </p:blipFill>
              <p:spPr>
                <a:xfrm>
                  <a:off x="10805974" y="1507122"/>
                  <a:ext cx="192600" cy="415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2">
              <p14:nvContentPartPr>
                <p14:cNvPr id="8" name="Ink 7">
                  <a:extLst>
                    <a:ext uri="{FF2B5EF4-FFF2-40B4-BE49-F238E27FC236}">
                      <a16:creationId xmlns:a16="http://schemas.microsoft.com/office/drawing/2014/main" id="{201F17C5-37D3-4582-92D3-73245A0B17D6}"/>
                    </a:ext>
                  </a:extLst>
                </p14:cNvPr>
                <p14:cNvContentPartPr/>
                <p14:nvPr/>
              </p14:nvContentPartPr>
              <p14:xfrm>
                <a:off x="11129254" y="1704042"/>
                <a:ext cx="16560" cy="10440"/>
              </p14:xfrm>
            </p:contentPart>
          </mc:Choice>
          <mc:Fallback xmlns="">
            <p:pic>
              <p:nvPicPr>
                <p:cNvPr id="8" name="Ink 7">
                  <a:extLst>
                    <a:ext uri="{FF2B5EF4-FFF2-40B4-BE49-F238E27FC236}">
                      <a16:creationId xmlns:a16="http://schemas.microsoft.com/office/drawing/2014/main" id="{201F17C5-37D3-4582-92D3-73245A0B17D6}"/>
                    </a:ext>
                  </a:extLst>
                </p:cNvPr>
                <p:cNvPicPr/>
                <p:nvPr/>
              </p:nvPicPr>
              <p:blipFill>
                <a:blip r:embed="rId53"/>
                <a:stretch>
                  <a:fillRect/>
                </a:stretch>
              </p:blipFill>
              <p:spPr>
                <a:xfrm>
                  <a:off x="11093254" y="1668042"/>
                  <a:ext cx="88200" cy="820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37B4242-0C71-449A-9543-30E112D0B720}"/>
              </a:ext>
            </a:extLst>
          </p:cNvPr>
          <p:cNvGrpSpPr/>
          <p:nvPr/>
        </p:nvGrpSpPr>
        <p:grpSpPr>
          <a:xfrm>
            <a:off x="11435254" y="1502082"/>
            <a:ext cx="1227600" cy="564840"/>
            <a:chOff x="11435254" y="1502082"/>
            <a:chExt cx="1227600" cy="5648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54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8D6BBD35-5560-4DF9-86FB-9D1EF249A116}"/>
                    </a:ext>
                  </a:extLst>
                </p14:cNvPr>
                <p14:cNvContentPartPr/>
                <p14:nvPr/>
              </p14:nvContentPartPr>
              <p14:xfrm>
                <a:off x="11629294" y="1573362"/>
                <a:ext cx="21240" cy="11520"/>
              </p14:xfrm>
            </p:contentPart>
          </mc:Choice>
          <mc:Fallback xmlns=""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8D6BBD35-5560-4DF9-86FB-9D1EF249A116}"/>
                    </a:ext>
                  </a:extLst>
                </p:cNvPr>
                <p:cNvPicPr/>
                <p:nvPr/>
              </p:nvPicPr>
              <p:blipFill>
                <a:blip r:embed="rId55"/>
                <a:stretch>
                  <a:fillRect/>
                </a:stretch>
              </p:blipFill>
              <p:spPr>
                <a:xfrm>
                  <a:off x="11593294" y="1537362"/>
                  <a:ext cx="92880" cy="83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6">
              <p14:nvContentPartPr>
                <p14:cNvPr id="13" name="Ink 12">
                  <a:extLst>
                    <a:ext uri="{FF2B5EF4-FFF2-40B4-BE49-F238E27FC236}">
                      <a16:creationId xmlns:a16="http://schemas.microsoft.com/office/drawing/2014/main" id="{A6EAA293-96B7-41FF-A7B3-EF6D6B4324A5}"/>
                    </a:ext>
                  </a:extLst>
                </p14:cNvPr>
                <p14:cNvContentPartPr/>
                <p14:nvPr/>
              </p14:nvContentPartPr>
              <p14:xfrm>
                <a:off x="11435254" y="1502082"/>
                <a:ext cx="245880" cy="421200"/>
              </p14:xfrm>
            </p:contentPart>
          </mc:Choice>
          <mc:Fallback xmlns="">
            <p:pic>
              <p:nvPicPr>
                <p:cNvPr id="13" name="Ink 12">
                  <a:extLst>
                    <a:ext uri="{FF2B5EF4-FFF2-40B4-BE49-F238E27FC236}">
                      <a16:creationId xmlns:a16="http://schemas.microsoft.com/office/drawing/2014/main" id="{A6EAA293-96B7-41FF-A7B3-EF6D6B4324A5}"/>
                    </a:ext>
                  </a:extLst>
                </p:cNvPr>
                <p:cNvPicPr/>
                <p:nvPr/>
              </p:nvPicPr>
              <p:blipFill>
                <a:blip r:embed="rId57"/>
                <a:stretch>
                  <a:fillRect/>
                </a:stretch>
              </p:blipFill>
              <p:spPr>
                <a:xfrm>
                  <a:off x="11399254" y="1466082"/>
                  <a:ext cx="317520" cy="492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8">
              <p14:nvContentPartPr>
                <p14:cNvPr id="14" name="Ink 13">
                  <a:extLst>
                    <a:ext uri="{FF2B5EF4-FFF2-40B4-BE49-F238E27FC236}">
                      <a16:creationId xmlns:a16="http://schemas.microsoft.com/office/drawing/2014/main" id="{5E219B62-5C3E-468F-A92B-1C95F7F82DE9}"/>
                    </a:ext>
                  </a:extLst>
                </p14:cNvPr>
                <p14:cNvContentPartPr/>
                <p14:nvPr/>
              </p14:nvContentPartPr>
              <p14:xfrm>
                <a:off x="11690854" y="1605402"/>
                <a:ext cx="134280" cy="351720"/>
              </p14:xfrm>
            </p:contentPart>
          </mc:Choice>
          <mc:Fallback xmlns="">
            <p:pic>
              <p:nvPicPr>
                <p:cNvPr id="14" name="Ink 13">
                  <a:extLst>
                    <a:ext uri="{FF2B5EF4-FFF2-40B4-BE49-F238E27FC236}">
                      <a16:creationId xmlns:a16="http://schemas.microsoft.com/office/drawing/2014/main" id="{5E219B62-5C3E-468F-A92B-1C95F7F82DE9}"/>
                    </a:ext>
                  </a:extLst>
                </p:cNvPr>
                <p:cNvPicPr/>
                <p:nvPr/>
              </p:nvPicPr>
              <p:blipFill>
                <a:blip r:embed="rId59"/>
                <a:stretch>
                  <a:fillRect/>
                </a:stretch>
              </p:blipFill>
              <p:spPr>
                <a:xfrm>
                  <a:off x="11655214" y="1569402"/>
                  <a:ext cx="205920" cy="423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0">
              <p14:nvContentPartPr>
                <p14:cNvPr id="15" name="Ink 14">
                  <a:extLst>
                    <a:ext uri="{FF2B5EF4-FFF2-40B4-BE49-F238E27FC236}">
                      <a16:creationId xmlns:a16="http://schemas.microsoft.com/office/drawing/2014/main" id="{ECAD2845-6BB5-499F-9D89-8F5007EE588A}"/>
                    </a:ext>
                  </a:extLst>
                </p14:cNvPr>
                <p14:cNvContentPartPr/>
                <p14:nvPr/>
              </p14:nvContentPartPr>
              <p14:xfrm>
                <a:off x="11862934" y="1649322"/>
                <a:ext cx="200520" cy="288000"/>
              </p14:xfrm>
            </p:contentPart>
          </mc:Choice>
          <mc:Fallback xmlns="">
            <p:pic>
              <p:nvPicPr>
                <p:cNvPr id="15" name="Ink 14">
                  <a:extLst>
                    <a:ext uri="{FF2B5EF4-FFF2-40B4-BE49-F238E27FC236}">
                      <a16:creationId xmlns:a16="http://schemas.microsoft.com/office/drawing/2014/main" id="{ECAD2845-6BB5-499F-9D89-8F5007EE588A}"/>
                    </a:ext>
                  </a:extLst>
                </p:cNvPr>
                <p:cNvPicPr/>
                <p:nvPr/>
              </p:nvPicPr>
              <p:blipFill>
                <a:blip r:embed="rId61"/>
                <a:stretch>
                  <a:fillRect/>
                </a:stretch>
              </p:blipFill>
              <p:spPr>
                <a:xfrm>
                  <a:off x="11827294" y="1613682"/>
                  <a:ext cx="272160" cy="359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2">
              <p14:nvContentPartPr>
                <p14:cNvPr id="16" name="Ink 15">
                  <a:extLst>
                    <a:ext uri="{FF2B5EF4-FFF2-40B4-BE49-F238E27FC236}">
                      <a16:creationId xmlns:a16="http://schemas.microsoft.com/office/drawing/2014/main" id="{5EBA18A8-CC1D-45B1-B3B3-6A824849C37F}"/>
                    </a:ext>
                  </a:extLst>
                </p14:cNvPr>
                <p14:cNvContentPartPr/>
                <p14:nvPr/>
              </p14:nvContentPartPr>
              <p14:xfrm>
                <a:off x="11881294" y="1801602"/>
                <a:ext cx="148320" cy="36000"/>
              </p14:xfrm>
            </p:contentPart>
          </mc:Choice>
          <mc:Fallback xmlns="">
            <p:pic>
              <p:nvPicPr>
                <p:cNvPr id="16" name="Ink 15">
                  <a:extLst>
                    <a:ext uri="{FF2B5EF4-FFF2-40B4-BE49-F238E27FC236}">
                      <a16:creationId xmlns:a16="http://schemas.microsoft.com/office/drawing/2014/main" id="{5EBA18A8-CC1D-45B1-B3B3-6A824849C37F}"/>
                    </a:ext>
                  </a:extLst>
                </p:cNvPr>
                <p:cNvPicPr/>
                <p:nvPr/>
              </p:nvPicPr>
              <p:blipFill>
                <a:blip r:embed="rId63"/>
                <a:stretch>
                  <a:fillRect/>
                </a:stretch>
              </p:blipFill>
              <p:spPr>
                <a:xfrm>
                  <a:off x="11845294" y="1765962"/>
                  <a:ext cx="219960" cy="107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4">
              <p14:nvContentPartPr>
                <p14:cNvPr id="17" name="Ink 16">
                  <a:extLst>
                    <a:ext uri="{FF2B5EF4-FFF2-40B4-BE49-F238E27FC236}">
                      <a16:creationId xmlns:a16="http://schemas.microsoft.com/office/drawing/2014/main" id="{C8752D28-03A0-4C34-BD91-D1CA046AA94C}"/>
                    </a:ext>
                  </a:extLst>
                </p14:cNvPr>
                <p14:cNvContentPartPr/>
                <p14:nvPr/>
              </p14:nvContentPartPr>
              <p14:xfrm>
                <a:off x="12183334" y="1701162"/>
                <a:ext cx="38160" cy="267480"/>
              </p14:xfrm>
            </p:contentPart>
          </mc:Choice>
          <mc:Fallback xmlns="">
            <p:pic>
              <p:nvPicPr>
                <p:cNvPr id="17" name="Ink 16">
                  <a:extLst>
                    <a:ext uri="{FF2B5EF4-FFF2-40B4-BE49-F238E27FC236}">
                      <a16:creationId xmlns:a16="http://schemas.microsoft.com/office/drawing/2014/main" id="{C8752D28-03A0-4C34-BD91-D1CA046AA94C}"/>
                    </a:ext>
                  </a:extLst>
                </p:cNvPr>
                <p:cNvPicPr/>
                <p:nvPr/>
              </p:nvPicPr>
              <p:blipFill>
                <a:blip r:embed="rId65"/>
                <a:stretch>
                  <a:fillRect/>
                </a:stretch>
              </p:blipFill>
              <p:spPr>
                <a:xfrm>
                  <a:off x="12147334" y="1665162"/>
                  <a:ext cx="109800" cy="339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6">
              <p14:nvContentPartPr>
                <p14:cNvPr id="18" name="Ink 17">
                  <a:extLst>
                    <a:ext uri="{FF2B5EF4-FFF2-40B4-BE49-F238E27FC236}">
                      <a16:creationId xmlns:a16="http://schemas.microsoft.com/office/drawing/2014/main" id="{333408C1-523F-4089-A1CF-CA8EE49F2281}"/>
                    </a:ext>
                  </a:extLst>
                </p14:cNvPr>
                <p14:cNvContentPartPr/>
                <p14:nvPr/>
              </p14:nvContentPartPr>
              <p14:xfrm>
                <a:off x="12270454" y="1672722"/>
                <a:ext cx="195480" cy="308880"/>
              </p14:xfrm>
            </p:contentPart>
          </mc:Choice>
          <mc:Fallback xmlns="">
            <p:pic>
              <p:nvPicPr>
                <p:cNvPr id="18" name="Ink 17">
                  <a:extLst>
                    <a:ext uri="{FF2B5EF4-FFF2-40B4-BE49-F238E27FC236}">
                      <a16:creationId xmlns:a16="http://schemas.microsoft.com/office/drawing/2014/main" id="{333408C1-523F-4089-A1CF-CA8EE49F2281}"/>
                    </a:ext>
                  </a:extLst>
                </p:cNvPr>
                <p:cNvPicPr/>
                <p:nvPr/>
              </p:nvPicPr>
              <p:blipFill>
                <a:blip r:embed="rId67"/>
                <a:stretch>
                  <a:fillRect/>
                </a:stretch>
              </p:blipFill>
              <p:spPr>
                <a:xfrm>
                  <a:off x="12234454" y="1636722"/>
                  <a:ext cx="267120" cy="380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8">
              <p14:nvContentPartPr>
                <p14:cNvPr id="19" name="Ink 18">
                  <a:extLst>
                    <a:ext uri="{FF2B5EF4-FFF2-40B4-BE49-F238E27FC236}">
                      <a16:creationId xmlns:a16="http://schemas.microsoft.com/office/drawing/2014/main" id="{00853CE2-4DB4-4F56-A9A5-230CC7B770B9}"/>
                    </a:ext>
                  </a:extLst>
                </p14:cNvPr>
                <p14:cNvContentPartPr/>
                <p14:nvPr/>
              </p14:nvContentPartPr>
              <p14:xfrm>
                <a:off x="12424534" y="1722762"/>
                <a:ext cx="238320" cy="344160"/>
              </p14:xfrm>
            </p:contentPart>
          </mc:Choice>
          <mc:Fallback xmlns="">
            <p:pic>
              <p:nvPicPr>
                <p:cNvPr id="19" name="Ink 18">
                  <a:extLst>
                    <a:ext uri="{FF2B5EF4-FFF2-40B4-BE49-F238E27FC236}">
                      <a16:creationId xmlns:a16="http://schemas.microsoft.com/office/drawing/2014/main" id="{00853CE2-4DB4-4F56-A9A5-230CC7B770B9}"/>
                    </a:ext>
                  </a:extLst>
                </p:cNvPr>
                <p:cNvPicPr/>
                <p:nvPr/>
              </p:nvPicPr>
              <p:blipFill>
                <a:blip r:embed="rId69"/>
                <a:stretch>
                  <a:fillRect/>
                </a:stretch>
              </p:blipFill>
              <p:spPr>
                <a:xfrm>
                  <a:off x="12388534" y="1687122"/>
                  <a:ext cx="309960" cy="41580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70">
            <p14:nvContentPartPr>
              <p14:cNvPr id="21" name="Ink 20">
                <a:extLst>
                  <a:ext uri="{FF2B5EF4-FFF2-40B4-BE49-F238E27FC236}">
                    <a16:creationId xmlns:a16="http://schemas.microsoft.com/office/drawing/2014/main" id="{0F7C2964-E4B6-442A-90DE-C3895ABF38FE}"/>
                  </a:ext>
                </a:extLst>
              </p14:cNvPr>
              <p14:cNvContentPartPr/>
              <p14:nvPr/>
            </p14:nvContentPartPr>
            <p14:xfrm>
              <a:off x="-1724546" y="826722"/>
              <a:ext cx="150120" cy="478440"/>
            </p14:xfrm>
          </p:contentPart>
        </mc:Choice>
        <mc:Fallback xmlns="">
          <p:pic>
            <p:nvPicPr>
              <p:cNvPr id="21" name="Ink 20">
                <a:extLst>
                  <a:ext uri="{FF2B5EF4-FFF2-40B4-BE49-F238E27FC236}">
                    <a16:creationId xmlns:a16="http://schemas.microsoft.com/office/drawing/2014/main" id="{0F7C2964-E4B6-442A-90DE-C3895ABF38FE}"/>
                  </a:ext>
                </a:extLst>
              </p:cNvPr>
              <p:cNvPicPr/>
              <p:nvPr/>
            </p:nvPicPr>
            <p:blipFill>
              <a:blip r:embed="rId71"/>
              <a:stretch>
                <a:fillRect/>
              </a:stretch>
            </p:blipFill>
            <p:spPr>
              <a:xfrm>
                <a:off x="-1760186" y="790722"/>
                <a:ext cx="221760" cy="5500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2">
            <p14:nvContentPartPr>
              <p14:cNvPr id="22" name="Ink 21">
                <a:extLst>
                  <a:ext uri="{FF2B5EF4-FFF2-40B4-BE49-F238E27FC236}">
                    <a16:creationId xmlns:a16="http://schemas.microsoft.com/office/drawing/2014/main" id="{DB022793-F472-46C8-8A4D-964D6A2E2C05}"/>
                  </a:ext>
                </a:extLst>
              </p14:cNvPr>
              <p14:cNvContentPartPr/>
              <p14:nvPr/>
            </p14:nvContentPartPr>
            <p14:xfrm>
              <a:off x="-1513946" y="810162"/>
              <a:ext cx="119880" cy="357480"/>
            </p14:xfrm>
          </p:contentPart>
        </mc:Choice>
        <mc:Fallback xmlns="">
          <p:pic>
            <p:nvPicPr>
              <p:cNvPr id="22" name="Ink 21">
                <a:extLst>
                  <a:ext uri="{FF2B5EF4-FFF2-40B4-BE49-F238E27FC236}">
                    <a16:creationId xmlns:a16="http://schemas.microsoft.com/office/drawing/2014/main" id="{DB022793-F472-46C8-8A4D-964D6A2E2C05}"/>
                  </a:ext>
                </a:extLst>
              </p:cNvPr>
              <p:cNvPicPr/>
              <p:nvPr/>
            </p:nvPicPr>
            <p:blipFill>
              <a:blip r:embed="rId73"/>
              <a:stretch>
                <a:fillRect/>
              </a:stretch>
            </p:blipFill>
            <p:spPr>
              <a:xfrm>
                <a:off x="-1549586" y="774162"/>
                <a:ext cx="191520" cy="429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4">
            <p14:nvContentPartPr>
              <p14:cNvPr id="23" name="Ink 22">
                <a:extLst>
                  <a:ext uri="{FF2B5EF4-FFF2-40B4-BE49-F238E27FC236}">
                    <a16:creationId xmlns:a16="http://schemas.microsoft.com/office/drawing/2014/main" id="{29D1DDFA-1132-4E79-8E11-D137F2A45230}"/>
                  </a:ext>
                </a:extLst>
              </p14:cNvPr>
              <p14:cNvContentPartPr/>
              <p14:nvPr/>
            </p14:nvContentPartPr>
            <p14:xfrm>
              <a:off x="-1291106" y="777042"/>
              <a:ext cx="285840" cy="284760"/>
            </p14:xfrm>
          </p:contentPart>
        </mc:Choice>
        <mc:Fallback xmlns="">
          <p:pic>
            <p:nvPicPr>
              <p:cNvPr id="23" name="Ink 22">
                <a:extLst>
                  <a:ext uri="{FF2B5EF4-FFF2-40B4-BE49-F238E27FC236}">
                    <a16:creationId xmlns:a16="http://schemas.microsoft.com/office/drawing/2014/main" id="{29D1DDFA-1132-4E79-8E11-D137F2A45230}"/>
                  </a:ext>
                </a:extLst>
              </p:cNvPr>
              <p:cNvPicPr/>
              <p:nvPr/>
            </p:nvPicPr>
            <p:blipFill>
              <a:blip r:embed="rId75"/>
              <a:stretch>
                <a:fillRect/>
              </a:stretch>
            </p:blipFill>
            <p:spPr>
              <a:xfrm>
                <a:off x="-1326746" y="741402"/>
                <a:ext cx="357480" cy="3564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6">
            <p14:nvContentPartPr>
              <p14:cNvPr id="24" name="Ink 23">
                <a:extLst>
                  <a:ext uri="{FF2B5EF4-FFF2-40B4-BE49-F238E27FC236}">
                    <a16:creationId xmlns:a16="http://schemas.microsoft.com/office/drawing/2014/main" id="{EADEE9AA-31F5-4A2A-B0AA-AA0671C6FCF3}"/>
                  </a:ext>
                </a:extLst>
              </p14:cNvPr>
              <p14:cNvContentPartPr/>
              <p14:nvPr/>
            </p14:nvContentPartPr>
            <p14:xfrm>
              <a:off x="-1151066" y="769842"/>
              <a:ext cx="318960" cy="217440"/>
            </p14:xfrm>
          </p:contentPart>
        </mc:Choice>
        <mc:Fallback xmlns="">
          <p:pic>
            <p:nvPicPr>
              <p:cNvPr id="24" name="Ink 23">
                <a:extLst>
                  <a:ext uri="{FF2B5EF4-FFF2-40B4-BE49-F238E27FC236}">
                    <a16:creationId xmlns:a16="http://schemas.microsoft.com/office/drawing/2014/main" id="{EADEE9AA-31F5-4A2A-B0AA-AA0671C6FCF3}"/>
                  </a:ext>
                </a:extLst>
              </p:cNvPr>
              <p:cNvPicPr/>
              <p:nvPr/>
            </p:nvPicPr>
            <p:blipFill>
              <a:blip r:embed="rId77"/>
              <a:stretch>
                <a:fillRect/>
              </a:stretch>
            </p:blipFill>
            <p:spPr>
              <a:xfrm>
                <a:off x="-1187066" y="733842"/>
                <a:ext cx="390600" cy="2890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8">
            <p14:nvContentPartPr>
              <p14:cNvPr id="176" name="Ink 175">
                <a:extLst>
                  <a:ext uri="{FF2B5EF4-FFF2-40B4-BE49-F238E27FC236}">
                    <a16:creationId xmlns:a16="http://schemas.microsoft.com/office/drawing/2014/main" id="{9258EEE0-120B-494C-A5E5-CCC7BA066F09}"/>
                  </a:ext>
                </a:extLst>
              </p14:cNvPr>
              <p14:cNvContentPartPr/>
              <p14:nvPr/>
            </p14:nvContentPartPr>
            <p14:xfrm>
              <a:off x="-737426" y="798282"/>
              <a:ext cx="119160" cy="38880"/>
            </p14:xfrm>
          </p:contentPart>
        </mc:Choice>
        <mc:Fallback xmlns="">
          <p:pic>
            <p:nvPicPr>
              <p:cNvPr id="176" name="Ink 175">
                <a:extLst>
                  <a:ext uri="{FF2B5EF4-FFF2-40B4-BE49-F238E27FC236}">
                    <a16:creationId xmlns:a16="http://schemas.microsoft.com/office/drawing/2014/main" id="{9258EEE0-120B-494C-A5E5-CCC7BA066F09}"/>
                  </a:ext>
                </a:extLst>
              </p:cNvPr>
              <p:cNvPicPr/>
              <p:nvPr/>
            </p:nvPicPr>
            <p:blipFill>
              <a:blip r:embed="rId79"/>
              <a:stretch>
                <a:fillRect/>
              </a:stretch>
            </p:blipFill>
            <p:spPr>
              <a:xfrm>
                <a:off x="-773066" y="762282"/>
                <a:ext cx="190800" cy="1105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80">
            <p14:nvContentPartPr>
              <p14:cNvPr id="177" name="Ink 176">
                <a:extLst>
                  <a:ext uri="{FF2B5EF4-FFF2-40B4-BE49-F238E27FC236}">
                    <a16:creationId xmlns:a16="http://schemas.microsoft.com/office/drawing/2014/main" id="{4F81ECC0-0CDD-4450-9E9D-0B37E23EC2A1}"/>
                  </a:ext>
                </a:extLst>
              </p14:cNvPr>
              <p14:cNvContentPartPr/>
              <p14:nvPr/>
            </p14:nvContentPartPr>
            <p14:xfrm>
              <a:off x="-396866" y="535482"/>
              <a:ext cx="339120" cy="241560"/>
            </p14:xfrm>
          </p:contentPart>
        </mc:Choice>
        <mc:Fallback xmlns="">
          <p:pic>
            <p:nvPicPr>
              <p:cNvPr id="177" name="Ink 176">
                <a:extLst>
                  <a:ext uri="{FF2B5EF4-FFF2-40B4-BE49-F238E27FC236}">
                    <a16:creationId xmlns:a16="http://schemas.microsoft.com/office/drawing/2014/main" id="{4F81ECC0-0CDD-4450-9E9D-0B37E23EC2A1}"/>
                  </a:ext>
                </a:extLst>
              </p:cNvPr>
              <p:cNvPicPr/>
              <p:nvPr/>
            </p:nvPicPr>
            <p:blipFill>
              <a:blip r:embed="rId81"/>
              <a:stretch>
                <a:fillRect/>
              </a:stretch>
            </p:blipFill>
            <p:spPr>
              <a:xfrm>
                <a:off x="-432866" y="499482"/>
                <a:ext cx="410760" cy="3132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82">
            <p14:nvContentPartPr>
              <p14:cNvPr id="184" name="Ink 183">
                <a:extLst>
                  <a:ext uri="{FF2B5EF4-FFF2-40B4-BE49-F238E27FC236}">
                    <a16:creationId xmlns:a16="http://schemas.microsoft.com/office/drawing/2014/main" id="{73689CCE-5B1D-4B77-9493-151FA0FFAD20}"/>
                  </a:ext>
                </a:extLst>
              </p14:cNvPr>
              <p14:cNvContentPartPr/>
              <p14:nvPr/>
            </p14:nvContentPartPr>
            <p14:xfrm>
              <a:off x="-1481546" y="1603962"/>
              <a:ext cx="141480" cy="356040"/>
            </p14:xfrm>
          </p:contentPart>
        </mc:Choice>
        <mc:Fallback xmlns="">
          <p:pic>
            <p:nvPicPr>
              <p:cNvPr id="184" name="Ink 183">
                <a:extLst>
                  <a:ext uri="{FF2B5EF4-FFF2-40B4-BE49-F238E27FC236}">
                    <a16:creationId xmlns:a16="http://schemas.microsoft.com/office/drawing/2014/main" id="{73689CCE-5B1D-4B77-9493-151FA0FFAD20}"/>
                  </a:ext>
                </a:extLst>
              </p:cNvPr>
              <p:cNvPicPr/>
              <p:nvPr/>
            </p:nvPicPr>
            <p:blipFill>
              <a:blip r:embed="rId83"/>
              <a:stretch>
                <a:fillRect/>
              </a:stretch>
            </p:blipFill>
            <p:spPr>
              <a:xfrm>
                <a:off x="-1517546" y="1568322"/>
                <a:ext cx="213120" cy="4276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84">
            <p14:nvContentPartPr>
              <p14:cNvPr id="185" name="Ink 184">
                <a:extLst>
                  <a:ext uri="{FF2B5EF4-FFF2-40B4-BE49-F238E27FC236}">
                    <a16:creationId xmlns:a16="http://schemas.microsoft.com/office/drawing/2014/main" id="{FF18C70C-964E-4C28-A114-C6A25474AA2A}"/>
                  </a:ext>
                </a:extLst>
              </p14:cNvPr>
              <p14:cNvContentPartPr/>
              <p14:nvPr/>
            </p14:nvContentPartPr>
            <p14:xfrm>
              <a:off x="-1266266" y="1555002"/>
              <a:ext cx="99000" cy="278640"/>
            </p14:xfrm>
          </p:contentPart>
        </mc:Choice>
        <mc:Fallback xmlns="">
          <p:pic>
            <p:nvPicPr>
              <p:cNvPr id="185" name="Ink 184">
                <a:extLst>
                  <a:ext uri="{FF2B5EF4-FFF2-40B4-BE49-F238E27FC236}">
                    <a16:creationId xmlns:a16="http://schemas.microsoft.com/office/drawing/2014/main" id="{FF18C70C-964E-4C28-A114-C6A25474AA2A}"/>
                  </a:ext>
                </a:extLst>
              </p:cNvPr>
              <p:cNvPicPr/>
              <p:nvPr/>
            </p:nvPicPr>
            <p:blipFill>
              <a:blip r:embed="rId85"/>
              <a:stretch>
                <a:fillRect/>
              </a:stretch>
            </p:blipFill>
            <p:spPr>
              <a:xfrm>
                <a:off x="-1301906" y="1519362"/>
                <a:ext cx="170640" cy="3502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86">
            <p14:nvContentPartPr>
              <p14:cNvPr id="186" name="Ink 185">
                <a:extLst>
                  <a:ext uri="{FF2B5EF4-FFF2-40B4-BE49-F238E27FC236}">
                    <a16:creationId xmlns:a16="http://schemas.microsoft.com/office/drawing/2014/main" id="{BDECA12E-4835-49C9-B3D1-E043B4DD1A9B}"/>
                  </a:ext>
                </a:extLst>
              </p14:cNvPr>
              <p14:cNvContentPartPr/>
              <p14:nvPr/>
            </p14:nvContentPartPr>
            <p14:xfrm>
              <a:off x="-1058186" y="1472922"/>
              <a:ext cx="223560" cy="297000"/>
            </p14:xfrm>
          </p:contentPart>
        </mc:Choice>
        <mc:Fallback xmlns="">
          <p:pic>
            <p:nvPicPr>
              <p:cNvPr id="186" name="Ink 185">
                <a:extLst>
                  <a:ext uri="{FF2B5EF4-FFF2-40B4-BE49-F238E27FC236}">
                    <a16:creationId xmlns:a16="http://schemas.microsoft.com/office/drawing/2014/main" id="{BDECA12E-4835-49C9-B3D1-E043B4DD1A9B}"/>
                  </a:ext>
                </a:extLst>
              </p:cNvPr>
              <p:cNvPicPr/>
              <p:nvPr/>
            </p:nvPicPr>
            <p:blipFill>
              <a:blip r:embed="rId87"/>
              <a:stretch>
                <a:fillRect/>
              </a:stretch>
            </p:blipFill>
            <p:spPr>
              <a:xfrm>
                <a:off x="-1093826" y="1437282"/>
                <a:ext cx="295200" cy="3686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88">
            <p14:nvContentPartPr>
              <p14:cNvPr id="187" name="Ink 186">
                <a:extLst>
                  <a:ext uri="{FF2B5EF4-FFF2-40B4-BE49-F238E27FC236}">
                    <a16:creationId xmlns:a16="http://schemas.microsoft.com/office/drawing/2014/main" id="{9F2FF9E7-3079-471D-9AAF-A43A0F2C25F5}"/>
                  </a:ext>
                </a:extLst>
              </p14:cNvPr>
              <p14:cNvContentPartPr/>
              <p14:nvPr/>
            </p14:nvContentPartPr>
            <p14:xfrm>
              <a:off x="-825986" y="1416762"/>
              <a:ext cx="171000" cy="281520"/>
            </p14:xfrm>
          </p:contentPart>
        </mc:Choice>
        <mc:Fallback xmlns="">
          <p:pic>
            <p:nvPicPr>
              <p:cNvPr id="187" name="Ink 186">
                <a:extLst>
                  <a:ext uri="{FF2B5EF4-FFF2-40B4-BE49-F238E27FC236}">
                    <a16:creationId xmlns:a16="http://schemas.microsoft.com/office/drawing/2014/main" id="{9F2FF9E7-3079-471D-9AAF-A43A0F2C25F5}"/>
                  </a:ext>
                </a:extLst>
              </p:cNvPr>
              <p:cNvPicPr/>
              <p:nvPr/>
            </p:nvPicPr>
            <p:blipFill>
              <a:blip r:embed="rId89"/>
              <a:stretch>
                <a:fillRect/>
              </a:stretch>
            </p:blipFill>
            <p:spPr>
              <a:xfrm>
                <a:off x="-861626" y="1381122"/>
                <a:ext cx="242640" cy="3531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90">
            <p14:nvContentPartPr>
              <p14:cNvPr id="188" name="Ink 187">
                <a:extLst>
                  <a:ext uri="{FF2B5EF4-FFF2-40B4-BE49-F238E27FC236}">
                    <a16:creationId xmlns:a16="http://schemas.microsoft.com/office/drawing/2014/main" id="{62CDDDAA-2446-4F41-9ED8-AFF620DC10B1}"/>
                  </a:ext>
                </a:extLst>
              </p14:cNvPr>
              <p14:cNvContentPartPr/>
              <p14:nvPr/>
            </p14:nvContentPartPr>
            <p14:xfrm>
              <a:off x="-568946" y="1396242"/>
              <a:ext cx="191160" cy="90360"/>
            </p14:xfrm>
          </p:contentPart>
        </mc:Choice>
        <mc:Fallback xmlns="">
          <p:pic>
            <p:nvPicPr>
              <p:cNvPr id="188" name="Ink 187">
                <a:extLst>
                  <a:ext uri="{FF2B5EF4-FFF2-40B4-BE49-F238E27FC236}">
                    <a16:creationId xmlns:a16="http://schemas.microsoft.com/office/drawing/2014/main" id="{62CDDDAA-2446-4F41-9ED8-AFF620DC10B1}"/>
                  </a:ext>
                </a:extLst>
              </p:cNvPr>
              <p:cNvPicPr/>
              <p:nvPr/>
            </p:nvPicPr>
            <p:blipFill>
              <a:blip r:embed="rId91"/>
              <a:stretch>
                <a:fillRect/>
              </a:stretch>
            </p:blipFill>
            <p:spPr>
              <a:xfrm>
                <a:off x="-604586" y="1360602"/>
                <a:ext cx="262800" cy="162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92">
            <p14:nvContentPartPr>
              <p14:cNvPr id="189" name="Ink 188">
                <a:extLst>
                  <a:ext uri="{FF2B5EF4-FFF2-40B4-BE49-F238E27FC236}">
                    <a16:creationId xmlns:a16="http://schemas.microsoft.com/office/drawing/2014/main" id="{06DA1D92-7A4A-41E0-92FA-05F23019181A}"/>
                  </a:ext>
                </a:extLst>
              </p14:cNvPr>
              <p14:cNvContentPartPr/>
              <p14:nvPr/>
            </p14:nvContentPartPr>
            <p14:xfrm>
              <a:off x="-206786" y="1115082"/>
              <a:ext cx="144000" cy="327600"/>
            </p14:xfrm>
          </p:contentPart>
        </mc:Choice>
        <mc:Fallback xmlns="">
          <p:pic>
            <p:nvPicPr>
              <p:cNvPr id="189" name="Ink 188">
                <a:extLst>
                  <a:ext uri="{FF2B5EF4-FFF2-40B4-BE49-F238E27FC236}">
                    <a16:creationId xmlns:a16="http://schemas.microsoft.com/office/drawing/2014/main" id="{06DA1D92-7A4A-41E0-92FA-05F23019181A}"/>
                  </a:ext>
                </a:extLst>
              </p:cNvPr>
              <p:cNvPicPr/>
              <p:nvPr/>
            </p:nvPicPr>
            <p:blipFill>
              <a:blip r:embed="rId93"/>
              <a:stretch>
                <a:fillRect/>
              </a:stretch>
            </p:blipFill>
            <p:spPr>
              <a:xfrm>
                <a:off x="-242786" y="1079082"/>
                <a:ext cx="215640" cy="399240"/>
              </a:xfrm>
              <a:prstGeom prst="rect">
                <a:avLst/>
              </a:prstGeom>
            </p:spPr>
          </p:pic>
        </mc:Fallback>
      </mc:AlternateContent>
      <p:grpSp>
        <p:nvGrpSpPr>
          <p:cNvPr id="195" name="Group 194">
            <a:extLst>
              <a:ext uri="{FF2B5EF4-FFF2-40B4-BE49-F238E27FC236}">
                <a16:creationId xmlns:a16="http://schemas.microsoft.com/office/drawing/2014/main" id="{2843E7DE-CE98-4AD7-9A64-D379157F8F91}"/>
              </a:ext>
            </a:extLst>
          </p:cNvPr>
          <p:cNvGrpSpPr/>
          <p:nvPr/>
        </p:nvGrpSpPr>
        <p:grpSpPr>
          <a:xfrm>
            <a:off x="-137666" y="251082"/>
            <a:ext cx="1189800" cy="1193760"/>
            <a:chOff x="-137666" y="251082"/>
            <a:chExt cx="1189800" cy="11937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94">
              <p14:nvContentPartPr>
                <p14:cNvPr id="178" name="Ink 177">
                  <a:extLst>
                    <a:ext uri="{FF2B5EF4-FFF2-40B4-BE49-F238E27FC236}">
                      <a16:creationId xmlns:a16="http://schemas.microsoft.com/office/drawing/2014/main" id="{31792B62-C591-4E34-968B-A100A2D756B9}"/>
                    </a:ext>
                  </a:extLst>
                </p14:cNvPr>
                <p14:cNvContentPartPr/>
                <p14:nvPr/>
              </p14:nvContentPartPr>
              <p14:xfrm>
                <a:off x="-39026" y="476802"/>
                <a:ext cx="190080" cy="171720"/>
              </p14:xfrm>
            </p:contentPart>
          </mc:Choice>
          <mc:Fallback xmlns="">
            <p:pic>
              <p:nvPicPr>
                <p:cNvPr id="178" name="Ink 177">
                  <a:extLst>
                    <a:ext uri="{FF2B5EF4-FFF2-40B4-BE49-F238E27FC236}">
                      <a16:creationId xmlns:a16="http://schemas.microsoft.com/office/drawing/2014/main" id="{31792B62-C591-4E34-968B-A100A2D756B9}"/>
                    </a:ext>
                  </a:extLst>
                </p:cNvPr>
                <p:cNvPicPr/>
                <p:nvPr/>
              </p:nvPicPr>
              <p:blipFill>
                <a:blip r:embed="rId95"/>
                <a:stretch>
                  <a:fillRect/>
                </a:stretch>
              </p:blipFill>
              <p:spPr>
                <a:xfrm>
                  <a:off x="-75026" y="441162"/>
                  <a:ext cx="261720" cy="243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6">
              <p14:nvContentPartPr>
                <p14:cNvPr id="179" name="Ink 178">
                  <a:extLst>
                    <a:ext uri="{FF2B5EF4-FFF2-40B4-BE49-F238E27FC236}">
                      <a16:creationId xmlns:a16="http://schemas.microsoft.com/office/drawing/2014/main" id="{AA69AE6F-D2CA-4730-9E1A-898D29EF2E4F}"/>
                    </a:ext>
                  </a:extLst>
                </p14:cNvPr>
                <p14:cNvContentPartPr/>
                <p14:nvPr/>
              </p14:nvContentPartPr>
              <p14:xfrm>
                <a:off x="203254" y="311922"/>
                <a:ext cx="243000" cy="237600"/>
              </p14:xfrm>
            </p:contentPart>
          </mc:Choice>
          <mc:Fallback xmlns="">
            <p:pic>
              <p:nvPicPr>
                <p:cNvPr id="179" name="Ink 178">
                  <a:extLst>
                    <a:ext uri="{FF2B5EF4-FFF2-40B4-BE49-F238E27FC236}">
                      <a16:creationId xmlns:a16="http://schemas.microsoft.com/office/drawing/2014/main" id="{AA69AE6F-D2CA-4730-9E1A-898D29EF2E4F}"/>
                    </a:ext>
                  </a:extLst>
                </p:cNvPr>
                <p:cNvPicPr/>
                <p:nvPr/>
              </p:nvPicPr>
              <p:blipFill>
                <a:blip r:embed="rId97"/>
                <a:stretch>
                  <a:fillRect/>
                </a:stretch>
              </p:blipFill>
              <p:spPr>
                <a:xfrm>
                  <a:off x="167254" y="275922"/>
                  <a:ext cx="314640" cy="309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8">
              <p14:nvContentPartPr>
                <p14:cNvPr id="180" name="Ink 179">
                  <a:extLst>
                    <a:ext uri="{FF2B5EF4-FFF2-40B4-BE49-F238E27FC236}">
                      <a16:creationId xmlns:a16="http://schemas.microsoft.com/office/drawing/2014/main" id="{1A7F308D-EB18-4843-972C-58B91DAEE1CA}"/>
                    </a:ext>
                  </a:extLst>
                </p14:cNvPr>
                <p14:cNvContentPartPr/>
                <p14:nvPr/>
              </p14:nvContentPartPr>
              <p14:xfrm>
                <a:off x="412054" y="312642"/>
                <a:ext cx="240480" cy="313200"/>
              </p14:xfrm>
            </p:contentPart>
          </mc:Choice>
          <mc:Fallback xmlns="">
            <p:pic>
              <p:nvPicPr>
                <p:cNvPr id="180" name="Ink 179">
                  <a:extLst>
                    <a:ext uri="{FF2B5EF4-FFF2-40B4-BE49-F238E27FC236}">
                      <a16:creationId xmlns:a16="http://schemas.microsoft.com/office/drawing/2014/main" id="{1A7F308D-EB18-4843-972C-58B91DAEE1CA}"/>
                    </a:ext>
                  </a:extLst>
                </p:cNvPr>
                <p:cNvPicPr/>
                <p:nvPr/>
              </p:nvPicPr>
              <p:blipFill>
                <a:blip r:embed="rId99"/>
                <a:stretch>
                  <a:fillRect/>
                </a:stretch>
              </p:blipFill>
              <p:spPr>
                <a:xfrm>
                  <a:off x="376054" y="276642"/>
                  <a:ext cx="312120" cy="384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0">
              <p14:nvContentPartPr>
                <p14:cNvPr id="181" name="Ink 180">
                  <a:extLst>
                    <a:ext uri="{FF2B5EF4-FFF2-40B4-BE49-F238E27FC236}">
                      <a16:creationId xmlns:a16="http://schemas.microsoft.com/office/drawing/2014/main" id="{5CEADB96-C3B2-4AF5-87F6-6BAAD2AAAEB1}"/>
                    </a:ext>
                  </a:extLst>
                </p14:cNvPr>
                <p14:cNvContentPartPr/>
                <p14:nvPr/>
              </p14:nvContentPartPr>
              <p14:xfrm>
                <a:off x="631654" y="251082"/>
                <a:ext cx="15840" cy="22320"/>
              </p14:xfrm>
            </p:contentPart>
          </mc:Choice>
          <mc:Fallback xmlns="">
            <p:pic>
              <p:nvPicPr>
                <p:cNvPr id="181" name="Ink 180">
                  <a:extLst>
                    <a:ext uri="{FF2B5EF4-FFF2-40B4-BE49-F238E27FC236}">
                      <a16:creationId xmlns:a16="http://schemas.microsoft.com/office/drawing/2014/main" id="{5CEADB96-C3B2-4AF5-87F6-6BAAD2AAAEB1}"/>
                    </a:ext>
                  </a:extLst>
                </p:cNvPr>
                <p:cNvPicPr/>
                <p:nvPr/>
              </p:nvPicPr>
              <p:blipFill>
                <a:blip r:embed="rId101"/>
                <a:stretch>
                  <a:fillRect/>
                </a:stretch>
              </p:blipFill>
              <p:spPr>
                <a:xfrm>
                  <a:off x="596014" y="215442"/>
                  <a:ext cx="87480" cy="93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2">
              <p14:nvContentPartPr>
                <p14:cNvPr id="190" name="Ink 189">
                  <a:extLst>
                    <a:ext uri="{FF2B5EF4-FFF2-40B4-BE49-F238E27FC236}">
                      <a16:creationId xmlns:a16="http://schemas.microsoft.com/office/drawing/2014/main" id="{A2A459F1-DFD4-40EC-9718-F1FA4CBD3FC8}"/>
                    </a:ext>
                  </a:extLst>
                </p14:cNvPr>
                <p14:cNvContentPartPr/>
                <p14:nvPr/>
              </p14:nvContentPartPr>
              <p14:xfrm>
                <a:off x="-137666" y="1204722"/>
                <a:ext cx="415800" cy="240120"/>
              </p14:xfrm>
            </p:contentPart>
          </mc:Choice>
          <mc:Fallback xmlns="">
            <p:pic>
              <p:nvPicPr>
                <p:cNvPr id="190" name="Ink 189">
                  <a:extLst>
                    <a:ext uri="{FF2B5EF4-FFF2-40B4-BE49-F238E27FC236}">
                      <a16:creationId xmlns:a16="http://schemas.microsoft.com/office/drawing/2014/main" id="{A2A459F1-DFD4-40EC-9718-F1FA4CBD3FC8}"/>
                    </a:ext>
                  </a:extLst>
                </p:cNvPr>
                <p:cNvPicPr/>
                <p:nvPr/>
              </p:nvPicPr>
              <p:blipFill>
                <a:blip r:embed="rId103"/>
                <a:stretch>
                  <a:fillRect/>
                </a:stretch>
              </p:blipFill>
              <p:spPr>
                <a:xfrm>
                  <a:off x="-173666" y="1169082"/>
                  <a:ext cx="487440" cy="311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4">
              <p14:nvContentPartPr>
                <p14:cNvPr id="191" name="Ink 190">
                  <a:extLst>
                    <a:ext uri="{FF2B5EF4-FFF2-40B4-BE49-F238E27FC236}">
                      <a16:creationId xmlns:a16="http://schemas.microsoft.com/office/drawing/2014/main" id="{9F746A0B-F447-4DB1-8728-F5102CF07C12}"/>
                    </a:ext>
                  </a:extLst>
                </p14:cNvPr>
                <p14:cNvContentPartPr/>
                <p14:nvPr/>
              </p14:nvContentPartPr>
              <p14:xfrm>
                <a:off x="304414" y="1011402"/>
                <a:ext cx="246240" cy="131040"/>
              </p14:xfrm>
            </p:contentPart>
          </mc:Choice>
          <mc:Fallback xmlns="">
            <p:pic>
              <p:nvPicPr>
                <p:cNvPr id="191" name="Ink 190">
                  <a:extLst>
                    <a:ext uri="{FF2B5EF4-FFF2-40B4-BE49-F238E27FC236}">
                      <a16:creationId xmlns:a16="http://schemas.microsoft.com/office/drawing/2014/main" id="{9F746A0B-F447-4DB1-8728-F5102CF07C12}"/>
                    </a:ext>
                  </a:extLst>
                </p:cNvPr>
                <p:cNvPicPr/>
                <p:nvPr/>
              </p:nvPicPr>
              <p:blipFill>
                <a:blip r:embed="rId105"/>
                <a:stretch>
                  <a:fillRect/>
                </a:stretch>
              </p:blipFill>
              <p:spPr>
                <a:xfrm>
                  <a:off x="268774" y="975762"/>
                  <a:ext cx="317880" cy="202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6">
              <p14:nvContentPartPr>
                <p14:cNvPr id="192" name="Ink 191">
                  <a:extLst>
                    <a:ext uri="{FF2B5EF4-FFF2-40B4-BE49-F238E27FC236}">
                      <a16:creationId xmlns:a16="http://schemas.microsoft.com/office/drawing/2014/main" id="{708E1606-D2F2-4C8D-9589-CE7E373C0C71}"/>
                    </a:ext>
                  </a:extLst>
                </p14:cNvPr>
                <p14:cNvContentPartPr/>
                <p14:nvPr/>
              </p14:nvContentPartPr>
              <p14:xfrm>
                <a:off x="550294" y="805842"/>
                <a:ext cx="315360" cy="171360"/>
              </p14:xfrm>
            </p:contentPart>
          </mc:Choice>
          <mc:Fallback xmlns="">
            <p:pic>
              <p:nvPicPr>
                <p:cNvPr id="192" name="Ink 191">
                  <a:extLst>
                    <a:ext uri="{FF2B5EF4-FFF2-40B4-BE49-F238E27FC236}">
                      <a16:creationId xmlns:a16="http://schemas.microsoft.com/office/drawing/2014/main" id="{708E1606-D2F2-4C8D-9589-CE7E373C0C71}"/>
                    </a:ext>
                  </a:extLst>
                </p:cNvPr>
                <p:cNvPicPr/>
                <p:nvPr/>
              </p:nvPicPr>
              <p:blipFill>
                <a:blip r:embed="rId107"/>
                <a:stretch>
                  <a:fillRect/>
                </a:stretch>
              </p:blipFill>
              <p:spPr>
                <a:xfrm>
                  <a:off x="514294" y="770202"/>
                  <a:ext cx="387000" cy="243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8">
              <p14:nvContentPartPr>
                <p14:cNvPr id="193" name="Ink 192">
                  <a:extLst>
                    <a:ext uri="{FF2B5EF4-FFF2-40B4-BE49-F238E27FC236}">
                      <a16:creationId xmlns:a16="http://schemas.microsoft.com/office/drawing/2014/main" id="{C5FABBF2-0B2E-42E7-9B82-A7CD748BF490}"/>
                    </a:ext>
                  </a:extLst>
                </p14:cNvPr>
                <p14:cNvContentPartPr/>
                <p14:nvPr/>
              </p14:nvContentPartPr>
              <p14:xfrm>
                <a:off x="924334" y="590562"/>
                <a:ext cx="127800" cy="157680"/>
              </p14:xfrm>
            </p:contentPart>
          </mc:Choice>
          <mc:Fallback xmlns="">
            <p:pic>
              <p:nvPicPr>
                <p:cNvPr id="193" name="Ink 192">
                  <a:extLst>
                    <a:ext uri="{FF2B5EF4-FFF2-40B4-BE49-F238E27FC236}">
                      <a16:creationId xmlns:a16="http://schemas.microsoft.com/office/drawing/2014/main" id="{C5FABBF2-0B2E-42E7-9B82-A7CD748BF490}"/>
                    </a:ext>
                  </a:extLst>
                </p:cNvPr>
                <p:cNvPicPr/>
                <p:nvPr/>
              </p:nvPicPr>
              <p:blipFill>
                <a:blip r:embed="rId109"/>
                <a:stretch>
                  <a:fillRect/>
                </a:stretch>
              </p:blipFill>
              <p:spPr>
                <a:xfrm>
                  <a:off x="888334" y="554562"/>
                  <a:ext cx="199440" cy="22932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110">
            <p14:nvContentPartPr>
              <p14:cNvPr id="196" name="Ink 195">
                <a:extLst>
                  <a:ext uri="{FF2B5EF4-FFF2-40B4-BE49-F238E27FC236}">
                    <a16:creationId xmlns:a16="http://schemas.microsoft.com/office/drawing/2014/main" id="{5DE03DF3-3B6A-446B-BF26-10BC8BF674F7}"/>
                  </a:ext>
                </a:extLst>
              </p14:cNvPr>
              <p14:cNvContentPartPr/>
              <p14:nvPr/>
            </p14:nvContentPartPr>
            <p14:xfrm>
              <a:off x="-1590266" y="2651202"/>
              <a:ext cx="133920" cy="421920"/>
            </p14:xfrm>
          </p:contentPart>
        </mc:Choice>
        <mc:Fallback xmlns="">
          <p:pic>
            <p:nvPicPr>
              <p:cNvPr id="196" name="Ink 195">
                <a:extLst>
                  <a:ext uri="{FF2B5EF4-FFF2-40B4-BE49-F238E27FC236}">
                    <a16:creationId xmlns:a16="http://schemas.microsoft.com/office/drawing/2014/main" id="{5DE03DF3-3B6A-446B-BF26-10BC8BF674F7}"/>
                  </a:ext>
                </a:extLst>
              </p:cNvPr>
              <p:cNvPicPr/>
              <p:nvPr/>
            </p:nvPicPr>
            <p:blipFill>
              <a:blip r:embed="rId111"/>
              <a:stretch>
                <a:fillRect/>
              </a:stretch>
            </p:blipFill>
            <p:spPr>
              <a:xfrm>
                <a:off x="-1625906" y="2615562"/>
                <a:ext cx="205560" cy="4935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12">
            <p14:nvContentPartPr>
              <p14:cNvPr id="197" name="Ink 196">
                <a:extLst>
                  <a:ext uri="{FF2B5EF4-FFF2-40B4-BE49-F238E27FC236}">
                    <a16:creationId xmlns:a16="http://schemas.microsoft.com/office/drawing/2014/main" id="{8AD66AB3-6524-4445-A932-58CC46BF3B4A}"/>
                  </a:ext>
                </a:extLst>
              </p14:cNvPr>
              <p14:cNvContentPartPr/>
              <p14:nvPr/>
            </p14:nvContentPartPr>
            <p14:xfrm>
              <a:off x="-1329266" y="2615202"/>
              <a:ext cx="169560" cy="332280"/>
            </p14:xfrm>
          </p:contentPart>
        </mc:Choice>
        <mc:Fallback xmlns="">
          <p:pic>
            <p:nvPicPr>
              <p:cNvPr id="197" name="Ink 196">
                <a:extLst>
                  <a:ext uri="{FF2B5EF4-FFF2-40B4-BE49-F238E27FC236}">
                    <a16:creationId xmlns:a16="http://schemas.microsoft.com/office/drawing/2014/main" id="{8AD66AB3-6524-4445-A932-58CC46BF3B4A}"/>
                  </a:ext>
                </a:extLst>
              </p:cNvPr>
              <p:cNvPicPr/>
              <p:nvPr/>
            </p:nvPicPr>
            <p:blipFill>
              <a:blip r:embed="rId113"/>
              <a:stretch>
                <a:fillRect/>
              </a:stretch>
            </p:blipFill>
            <p:spPr>
              <a:xfrm>
                <a:off x="-1364906" y="2579562"/>
                <a:ext cx="241200" cy="4039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14">
            <p14:nvContentPartPr>
              <p14:cNvPr id="198" name="Ink 197">
                <a:extLst>
                  <a:ext uri="{FF2B5EF4-FFF2-40B4-BE49-F238E27FC236}">
                    <a16:creationId xmlns:a16="http://schemas.microsoft.com/office/drawing/2014/main" id="{4062DD93-9556-44EE-BED3-AD4C19EBE09F}"/>
                  </a:ext>
                </a:extLst>
              </p14:cNvPr>
              <p14:cNvContentPartPr/>
              <p14:nvPr/>
            </p14:nvContentPartPr>
            <p14:xfrm>
              <a:off x="-1149626" y="2555082"/>
              <a:ext cx="249120" cy="263160"/>
            </p14:xfrm>
          </p:contentPart>
        </mc:Choice>
        <mc:Fallback xmlns="">
          <p:pic>
            <p:nvPicPr>
              <p:cNvPr id="198" name="Ink 197">
                <a:extLst>
                  <a:ext uri="{FF2B5EF4-FFF2-40B4-BE49-F238E27FC236}">
                    <a16:creationId xmlns:a16="http://schemas.microsoft.com/office/drawing/2014/main" id="{4062DD93-9556-44EE-BED3-AD4C19EBE09F}"/>
                  </a:ext>
                </a:extLst>
              </p:cNvPr>
              <p:cNvPicPr/>
              <p:nvPr/>
            </p:nvPicPr>
            <p:blipFill>
              <a:blip r:embed="rId115"/>
              <a:stretch>
                <a:fillRect/>
              </a:stretch>
            </p:blipFill>
            <p:spPr>
              <a:xfrm>
                <a:off x="-1185626" y="2519442"/>
                <a:ext cx="320760" cy="3348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16">
            <p14:nvContentPartPr>
              <p14:cNvPr id="199" name="Ink 198">
                <a:extLst>
                  <a:ext uri="{FF2B5EF4-FFF2-40B4-BE49-F238E27FC236}">
                    <a16:creationId xmlns:a16="http://schemas.microsoft.com/office/drawing/2014/main" id="{775D3D5B-75C4-41AB-9D68-66639B4390CC}"/>
                  </a:ext>
                </a:extLst>
              </p14:cNvPr>
              <p14:cNvContentPartPr/>
              <p14:nvPr/>
            </p14:nvContentPartPr>
            <p14:xfrm>
              <a:off x="-1071146" y="2635002"/>
              <a:ext cx="95760" cy="107280"/>
            </p14:xfrm>
          </p:contentPart>
        </mc:Choice>
        <mc:Fallback xmlns="">
          <p:pic>
            <p:nvPicPr>
              <p:cNvPr id="199" name="Ink 198">
                <a:extLst>
                  <a:ext uri="{FF2B5EF4-FFF2-40B4-BE49-F238E27FC236}">
                    <a16:creationId xmlns:a16="http://schemas.microsoft.com/office/drawing/2014/main" id="{775D3D5B-75C4-41AB-9D68-66639B4390CC}"/>
                  </a:ext>
                </a:extLst>
              </p:cNvPr>
              <p:cNvPicPr/>
              <p:nvPr/>
            </p:nvPicPr>
            <p:blipFill>
              <a:blip r:embed="rId117"/>
              <a:stretch>
                <a:fillRect/>
              </a:stretch>
            </p:blipFill>
            <p:spPr>
              <a:xfrm>
                <a:off x="-1106786" y="2599002"/>
                <a:ext cx="167400" cy="1789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18">
            <p14:nvContentPartPr>
              <p14:cNvPr id="200" name="Ink 199">
                <a:extLst>
                  <a:ext uri="{FF2B5EF4-FFF2-40B4-BE49-F238E27FC236}">
                    <a16:creationId xmlns:a16="http://schemas.microsoft.com/office/drawing/2014/main" id="{13B417D3-8289-476F-86D2-E82F03219BE0}"/>
                  </a:ext>
                </a:extLst>
              </p14:cNvPr>
              <p14:cNvContentPartPr/>
              <p14:nvPr/>
            </p14:nvContentPartPr>
            <p14:xfrm>
              <a:off x="-867746" y="2457882"/>
              <a:ext cx="321120" cy="267840"/>
            </p14:xfrm>
          </p:contentPart>
        </mc:Choice>
        <mc:Fallback xmlns="">
          <p:pic>
            <p:nvPicPr>
              <p:cNvPr id="200" name="Ink 199">
                <a:extLst>
                  <a:ext uri="{FF2B5EF4-FFF2-40B4-BE49-F238E27FC236}">
                    <a16:creationId xmlns:a16="http://schemas.microsoft.com/office/drawing/2014/main" id="{13B417D3-8289-476F-86D2-E82F03219BE0}"/>
                  </a:ext>
                </a:extLst>
              </p:cNvPr>
              <p:cNvPicPr/>
              <p:nvPr/>
            </p:nvPicPr>
            <p:blipFill>
              <a:blip r:embed="rId119"/>
              <a:stretch>
                <a:fillRect/>
              </a:stretch>
            </p:blipFill>
            <p:spPr>
              <a:xfrm>
                <a:off x="-903746" y="2421882"/>
                <a:ext cx="392760" cy="3394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20">
            <p14:nvContentPartPr>
              <p14:cNvPr id="201" name="Ink 200">
                <a:extLst>
                  <a:ext uri="{FF2B5EF4-FFF2-40B4-BE49-F238E27FC236}">
                    <a16:creationId xmlns:a16="http://schemas.microsoft.com/office/drawing/2014/main" id="{6DD7D4B5-3FD6-4F44-ADF0-0BBF455AA47E}"/>
                  </a:ext>
                </a:extLst>
              </p14:cNvPr>
              <p14:cNvContentPartPr/>
              <p14:nvPr/>
            </p14:nvContentPartPr>
            <p14:xfrm>
              <a:off x="-458066" y="2114442"/>
              <a:ext cx="181080" cy="370800"/>
            </p14:xfrm>
          </p:contentPart>
        </mc:Choice>
        <mc:Fallback xmlns="">
          <p:pic>
            <p:nvPicPr>
              <p:cNvPr id="201" name="Ink 200">
                <a:extLst>
                  <a:ext uri="{FF2B5EF4-FFF2-40B4-BE49-F238E27FC236}">
                    <a16:creationId xmlns:a16="http://schemas.microsoft.com/office/drawing/2014/main" id="{6DD7D4B5-3FD6-4F44-ADF0-0BBF455AA47E}"/>
                  </a:ext>
                </a:extLst>
              </p:cNvPr>
              <p:cNvPicPr/>
              <p:nvPr/>
            </p:nvPicPr>
            <p:blipFill>
              <a:blip r:embed="rId121"/>
              <a:stretch>
                <a:fillRect/>
              </a:stretch>
            </p:blipFill>
            <p:spPr>
              <a:xfrm>
                <a:off x="-493706" y="2078442"/>
                <a:ext cx="252720" cy="442440"/>
              </a:xfrm>
              <a:prstGeom prst="rect">
                <a:avLst/>
              </a:prstGeom>
            </p:spPr>
          </p:pic>
        </mc:Fallback>
      </mc:AlternateContent>
      <p:grpSp>
        <p:nvGrpSpPr>
          <p:cNvPr id="217" name="Group 216">
            <a:extLst>
              <a:ext uri="{FF2B5EF4-FFF2-40B4-BE49-F238E27FC236}">
                <a16:creationId xmlns:a16="http://schemas.microsoft.com/office/drawing/2014/main" id="{855E4BD2-D9FF-457F-98CB-D75735B031FA}"/>
              </a:ext>
            </a:extLst>
          </p:cNvPr>
          <p:cNvGrpSpPr/>
          <p:nvPr/>
        </p:nvGrpSpPr>
        <p:grpSpPr>
          <a:xfrm>
            <a:off x="-196706" y="1806282"/>
            <a:ext cx="597240" cy="509400"/>
            <a:chOff x="-196706" y="1806282"/>
            <a:chExt cx="597240" cy="5094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22">
              <p14:nvContentPartPr>
                <p14:cNvPr id="202" name="Ink 201">
                  <a:extLst>
                    <a:ext uri="{FF2B5EF4-FFF2-40B4-BE49-F238E27FC236}">
                      <a16:creationId xmlns:a16="http://schemas.microsoft.com/office/drawing/2014/main" id="{2E6AE854-309E-4CA0-8A36-FCD531641671}"/>
                    </a:ext>
                  </a:extLst>
                </p14:cNvPr>
                <p14:cNvContentPartPr/>
                <p14:nvPr/>
              </p14:nvContentPartPr>
              <p14:xfrm>
                <a:off x="-196706" y="2070162"/>
                <a:ext cx="136080" cy="245520"/>
              </p14:xfrm>
            </p:contentPart>
          </mc:Choice>
          <mc:Fallback xmlns="">
            <p:pic>
              <p:nvPicPr>
                <p:cNvPr id="202" name="Ink 201">
                  <a:extLst>
                    <a:ext uri="{FF2B5EF4-FFF2-40B4-BE49-F238E27FC236}">
                      <a16:creationId xmlns:a16="http://schemas.microsoft.com/office/drawing/2014/main" id="{2E6AE854-309E-4CA0-8A36-FCD531641671}"/>
                    </a:ext>
                  </a:extLst>
                </p:cNvPr>
                <p:cNvPicPr/>
                <p:nvPr/>
              </p:nvPicPr>
              <p:blipFill>
                <a:blip r:embed="rId123"/>
                <a:stretch>
                  <a:fillRect/>
                </a:stretch>
              </p:blipFill>
              <p:spPr>
                <a:xfrm>
                  <a:off x="-232706" y="2034522"/>
                  <a:ext cx="207720" cy="317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4">
              <p14:nvContentPartPr>
                <p14:cNvPr id="203" name="Ink 202">
                  <a:extLst>
                    <a:ext uri="{FF2B5EF4-FFF2-40B4-BE49-F238E27FC236}">
                      <a16:creationId xmlns:a16="http://schemas.microsoft.com/office/drawing/2014/main" id="{B897BE02-A4C6-4F23-821F-E757143E4F22}"/>
                    </a:ext>
                  </a:extLst>
                </p14:cNvPr>
                <p14:cNvContentPartPr/>
                <p14:nvPr/>
              </p14:nvContentPartPr>
              <p14:xfrm>
                <a:off x="-15266" y="1940562"/>
                <a:ext cx="285840" cy="272880"/>
              </p14:xfrm>
            </p:contentPart>
          </mc:Choice>
          <mc:Fallback xmlns="">
            <p:pic>
              <p:nvPicPr>
                <p:cNvPr id="203" name="Ink 202">
                  <a:extLst>
                    <a:ext uri="{FF2B5EF4-FFF2-40B4-BE49-F238E27FC236}">
                      <a16:creationId xmlns:a16="http://schemas.microsoft.com/office/drawing/2014/main" id="{B897BE02-A4C6-4F23-821F-E757143E4F22}"/>
                    </a:ext>
                  </a:extLst>
                </p:cNvPr>
                <p:cNvPicPr/>
                <p:nvPr/>
              </p:nvPicPr>
              <p:blipFill>
                <a:blip r:embed="rId125"/>
                <a:stretch>
                  <a:fillRect/>
                </a:stretch>
              </p:blipFill>
              <p:spPr>
                <a:xfrm>
                  <a:off x="-50906" y="1904922"/>
                  <a:ext cx="357480" cy="344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6">
              <p14:nvContentPartPr>
                <p14:cNvPr id="204" name="Ink 203">
                  <a:extLst>
                    <a:ext uri="{FF2B5EF4-FFF2-40B4-BE49-F238E27FC236}">
                      <a16:creationId xmlns:a16="http://schemas.microsoft.com/office/drawing/2014/main" id="{2623040C-758F-4A32-910F-7EAA52ABE3B1}"/>
                    </a:ext>
                  </a:extLst>
                </p14:cNvPr>
                <p14:cNvContentPartPr/>
                <p14:nvPr/>
              </p14:nvContentPartPr>
              <p14:xfrm>
                <a:off x="203254" y="1806282"/>
                <a:ext cx="197280" cy="302760"/>
              </p14:xfrm>
            </p:contentPart>
          </mc:Choice>
          <mc:Fallback xmlns="">
            <p:pic>
              <p:nvPicPr>
                <p:cNvPr id="204" name="Ink 203">
                  <a:extLst>
                    <a:ext uri="{FF2B5EF4-FFF2-40B4-BE49-F238E27FC236}">
                      <a16:creationId xmlns:a16="http://schemas.microsoft.com/office/drawing/2014/main" id="{2623040C-758F-4A32-910F-7EAA52ABE3B1}"/>
                    </a:ext>
                  </a:extLst>
                </p:cNvPr>
                <p:cNvPicPr/>
                <p:nvPr/>
              </p:nvPicPr>
              <p:blipFill>
                <a:blip r:embed="rId127"/>
                <a:stretch>
                  <a:fillRect/>
                </a:stretch>
              </p:blipFill>
              <p:spPr>
                <a:xfrm>
                  <a:off x="167254" y="1770282"/>
                  <a:ext cx="268920" cy="37440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128">
            <p14:nvContentPartPr>
              <p14:cNvPr id="205" name="Ink 204">
                <a:extLst>
                  <a:ext uri="{FF2B5EF4-FFF2-40B4-BE49-F238E27FC236}">
                    <a16:creationId xmlns:a16="http://schemas.microsoft.com/office/drawing/2014/main" id="{2A71BE0C-84A8-4874-9D71-62B71DAFBB4F}"/>
                  </a:ext>
                </a:extLst>
              </p14:cNvPr>
              <p14:cNvContentPartPr/>
              <p14:nvPr/>
            </p14:nvContentPartPr>
            <p14:xfrm>
              <a:off x="-1725266" y="3774402"/>
              <a:ext cx="167040" cy="108360"/>
            </p14:xfrm>
          </p:contentPart>
        </mc:Choice>
        <mc:Fallback xmlns="">
          <p:pic>
            <p:nvPicPr>
              <p:cNvPr id="205" name="Ink 204">
                <a:extLst>
                  <a:ext uri="{FF2B5EF4-FFF2-40B4-BE49-F238E27FC236}">
                    <a16:creationId xmlns:a16="http://schemas.microsoft.com/office/drawing/2014/main" id="{2A71BE0C-84A8-4874-9D71-62B71DAFBB4F}"/>
                  </a:ext>
                </a:extLst>
              </p:cNvPr>
              <p:cNvPicPr/>
              <p:nvPr/>
            </p:nvPicPr>
            <p:blipFill>
              <a:blip r:embed="rId129"/>
              <a:stretch>
                <a:fillRect/>
              </a:stretch>
            </p:blipFill>
            <p:spPr>
              <a:xfrm>
                <a:off x="-1760906" y="3738762"/>
                <a:ext cx="238680" cy="180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30">
            <p14:nvContentPartPr>
              <p14:cNvPr id="206" name="Ink 205">
                <a:extLst>
                  <a:ext uri="{FF2B5EF4-FFF2-40B4-BE49-F238E27FC236}">
                    <a16:creationId xmlns:a16="http://schemas.microsoft.com/office/drawing/2014/main" id="{8D78BAC1-CB5F-4C4D-8691-A12089F1DB33}"/>
                  </a:ext>
                </a:extLst>
              </p14:cNvPr>
              <p14:cNvContentPartPr/>
              <p14:nvPr/>
            </p14:nvContentPartPr>
            <p14:xfrm>
              <a:off x="-1670546" y="3901122"/>
              <a:ext cx="235800" cy="189360"/>
            </p14:xfrm>
          </p:contentPart>
        </mc:Choice>
        <mc:Fallback xmlns="">
          <p:pic>
            <p:nvPicPr>
              <p:cNvPr id="206" name="Ink 205">
                <a:extLst>
                  <a:ext uri="{FF2B5EF4-FFF2-40B4-BE49-F238E27FC236}">
                    <a16:creationId xmlns:a16="http://schemas.microsoft.com/office/drawing/2014/main" id="{8D78BAC1-CB5F-4C4D-8691-A12089F1DB33}"/>
                  </a:ext>
                </a:extLst>
              </p:cNvPr>
              <p:cNvPicPr/>
              <p:nvPr/>
            </p:nvPicPr>
            <p:blipFill>
              <a:blip r:embed="rId131"/>
              <a:stretch>
                <a:fillRect/>
              </a:stretch>
            </p:blipFill>
            <p:spPr>
              <a:xfrm>
                <a:off x="-1706186" y="3865482"/>
                <a:ext cx="307440" cy="261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32">
            <p14:nvContentPartPr>
              <p14:cNvPr id="207" name="Ink 206">
                <a:extLst>
                  <a:ext uri="{FF2B5EF4-FFF2-40B4-BE49-F238E27FC236}">
                    <a16:creationId xmlns:a16="http://schemas.microsoft.com/office/drawing/2014/main" id="{BE3A320C-4D94-4BD6-9207-ED2CD64B9BBA}"/>
                  </a:ext>
                </a:extLst>
              </p14:cNvPr>
              <p14:cNvContentPartPr/>
              <p14:nvPr/>
            </p14:nvContentPartPr>
            <p14:xfrm>
              <a:off x="-1124426" y="3470562"/>
              <a:ext cx="210960" cy="393480"/>
            </p14:xfrm>
          </p:contentPart>
        </mc:Choice>
        <mc:Fallback xmlns="">
          <p:pic>
            <p:nvPicPr>
              <p:cNvPr id="207" name="Ink 206">
                <a:extLst>
                  <a:ext uri="{FF2B5EF4-FFF2-40B4-BE49-F238E27FC236}">
                    <a16:creationId xmlns:a16="http://schemas.microsoft.com/office/drawing/2014/main" id="{BE3A320C-4D94-4BD6-9207-ED2CD64B9BBA}"/>
                  </a:ext>
                </a:extLst>
              </p:cNvPr>
              <p:cNvPicPr/>
              <p:nvPr/>
            </p:nvPicPr>
            <p:blipFill>
              <a:blip r:embed="rId133"/>
              <a:stretch>
                <a:fillRect/>
              </a:stretch>
            </p:blipFill>
            <p:spPr>
              <a:xfrm>
                <a:off x="-1160066" y="3434562"/>
                <a:ext cx="282600" cy="465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34">
            <p14:nvContentPartPr>
              <p14:cNvPr id="208" name="Ink 207">
                <a:extLst>
                  <a:ext uri="{FF2B5EF4-FFF2-40B4-BE49-F238E27FC236}">
                    <a16:creationId xmlns:a16="http://schemas.microsoft.com/office/drawing/2014/main" id="{CC5D1505-FC92-4EEA-BE2C-FF435A61A24A}"/>
                  </a:ext>
                </a:extLst>
              </p14:cNvPr>
              <p14:cNvContentPartPr/>
              <p14:nvPr/>
            </p14:nvContentPartPr>
            <p14:xfrm>
              <a:off x="-745706" y="3293442"/>
              <a:ext cx="357120" cy="340200"/>
            </p14:xfrm>
          </p:contentPart>
        </mc:Choice>
        <mc:Fallback xmlns="">
          <p:pic>
            <p:nvPicPr>
              <p:cNvPr id="208" name="Ink 207">
                <a:extLst>
                  <a:ext uri="{FF2B5EF4-FFF2-40B4-BE49-F238E27FC236}">
                    <a16:creationId xmlns:a16="http://schemas.microsoft.com/office/drawing/2014/main" id="{CC5D1505-FC92-4EEA-BE2C-FF435A61A24A}"/>
                  </a:ext>
                </a:extLst>
              </p:cNvPr>
              <p:cNvPicPr/>
              <p:nvPr/>
            </p:nvPicPr>
            <p:blipFill>
              <a:blip r:embed="rId135"/>
              <a:stretch>
                <a:fillRect/>
              </a:stretch>
            </p:blipFill>
            <p:spPr>
              <a:xfrm>
                <a:off x="-781706" y="3257802"/>
                <a:ext cx="428760" cy="4118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36">
            <p14:nvContentPartPr>
              <p14:cNvPr id="209" name="Ink 208">
                <a:extLst>
                  <a:ext uri="{FF2B5EF4-FFF2-40B4-BE49-F238E27FC236}">
                    <a16:creationId xmlns:a16="http://schemas.microsoft.com/office/drawing/2014/main" id="{EA3B0A5D-0531-4A6E-B839-F544F13142F3}"/>
                  </a:ext>
                </a:extLst>
              </p14:cNvPr>
              <p14:cNvContentPartPr/>
              <p14:nvPr/>
            </p14:nvContentPartPr>
            <p14:xfrm>
              <a:off x="-544466" y="3381282"/>
              <a:ext cx="66960" cy="102240"/>
            </p14:xfrm>
          </p:contentPart>
        </mc:Choice>
        <mc:Fallback xmlns="">
          <p:pic>
            <p:nvPicPr>
              <p:cNvPr id="209" name="Ink 208">
                <a:extLst>
                  <a:ext uri="{FF2B5EF4-FFF2-40B4-BE49-F238E27FC236}">
                    <a16:creationId xmlns:a16="http://schemas.microsoft.com/office/drawing/2014/main" id="{EA3B0A5D-0531-4A6E-B839-F544F13142F3}"/>
                  </a:ext>
                </a:extLst>
              </p:cNvPr>
              <p:cNvPicPr/>
              <p:nvPr/>
            </p:nvPicPr>
            <p:blipFill>
              <a:blip r:embed="rId137"/>
              <a:stretch>
                <a:fillRect/>
              </a:stretch>
            </p:blipFill>
            <p:spPr>
              <a:xfrm>
                <a:off x="-580466" y="3345642"/>
                <a:ext cx="138600" cy="1738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38">
            <p14:nvContentPartPr>
              <p14:cNvPr id="210" name="Ink 209">
                <a:extLst>
                  <a:ext uri="{FF2B5EF4-FFF2-40B4-BE49-F238E27FC236}">
                    <a16:creationId xmlns:a16="http://schemas.microsoft.com/office/drawing/2014/main" id="{9FEA8D6E-5BF4-4AD6-842D-1203DB1D25A5}"/>
                  </a:ext>
                </a:extLst>
              </p14:cNvPr>
              <p14:cNvContentPartPr/>
              <p14:nvPr/>
            </p14:nvContentPartPr>
            <p14:xfrm>
              <a:off x="-387146" y="3013722"/>
              <a:ext cx="336960" cy="327240"/>
            </p14:xfrm>
          </p:contentPart>
        </mc:Choice>
        <mc:Fallback xmlns="">
          <p:pic>
            <p:nvPicPr>
              <p:cNvPr id="210" name="Ink 209">
                <a:extLst>
                  <a:ext uri="{FF2B5EF4-FFF2-40B4-BE49-F238E27FC236}">
                    <a16:creationId xmlns:a16="http://schemas.microsoft.com/office/drawing/2014/main" id="{9FEA8D6E-5BF4-4AD6-842D-1203DB1D25A5}"/>
                  </a:ext>
                </a:extLst>
              </p:cNvPr>
              <p:cNvPicPr/>
              <p:nvPr/>
            </p:nvPicPr>
            <p:blipFill>
              <a:blip r:embed="rId139"/>
              <a:stretch>
                <a:fillRect/>
              </a:stretch>
            </p:blipFill>
            <p:spPr>
              <a:xfrm>
                <a:off x="-422786" y="2977722"/>
                <a:ext cx="408600" cy="3988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40">
            <p14:nvContentPartPr>
              <p14:cNvPr id="213" name="Ink 212">
                <a:extLst>
                  <a:ext uri="{FF2B5EF4-FFF2-40B4-BE49-F238E27FC236}">
                    <a16:creationId xmlns:a16="http://schemas.microsoft.com/office/drawing/2014/main" id="{402E25FF-D0FD-4AA9-875B-DE78905D0861}"/>
                  </a:ext>
                </a:extLst>
              </p14:cNvPr>
              <p14:cNvContentPartPr/>
              <p14:nvPr/>
            </p14:nvContentPartPr>
            <p14:xfrm>
              <a:off x="-855146" y="3204162"/>
              <a:ext cx="247680" cy="576720"/>
            </p14:xfrm>
          </p:contentPart>
        </mc:Choice>
        <mc:Fallback xmlns="">
          <p:pic>
            <p:nvPicPr>
              <p:cNvPr id="213" name="Ink 212">
                <a:extLst>
                  <a:ext uri="{FF2B5EF4-FFF2-40B4-BE49-F238E27FC236}">
                    <a16:creationId xmlns:a16="http://schemas.microsoft.com/office/drawing/2014/main" id="{402E25FF-D0FD-4AA9-875B-DE78905D0861}"/>
                  </a:ext>
                </a:extLst>
              </p:cNvPr>
              <p:cNvPicPr/>
              <p:nvPr/>
            </p:nvPicPr>
            <p:blipFill>
              <a:blip r:embed="rId141"/>
              <a:stretch>
                <a:fillRect/>
              </a:stretch>
            </p:blipFill>
            <p:spPr>
              <a:xfrm>
                <a:off x="-890786" y="3168522"/>
                <a:ext cx="319320" cy="6483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42">
            <p14:nvContentPartPr>
              <p14:cNvPr id="218" name="Ink 217">
                <a:extLst>
                  <a:ext uri="{FF2B5EF4-FFF2-40B4-BE49-F238E27FC236}">
                    <a16:creationId xmlns:a16="http://schemas.microsoft.com/office/drawing/2014/main" id="{9B4BAEF1-1EE4-4DE9-9556-E268225EE84E}"/>
                  </a:ext>
                </a:extLst>
              </p14:cNvPr>
              <p14:cNvContentPartPr/>
              <p14:nvPr/>
            </p14:nvContentPartPr>
            <p14:xfrm>
              <a:off x="-1714466" y="5063922"/>
              <a:ext cx="149040" cy="104040"/>
            </p14:xfrm>
          </p:contentPart>
        </mc:Choice>
        <mc:Fallback xmlns="">
          <p:pic>
            <p:nvPicPr>
              <p:cNvPr id="218" name="Ink 217">
                <a:extLst>
                  <a:ext uri="{FF2B5EF4-FFF2-40B4-BE49-F238E27FC236}">
                    <a16:creationId xmlns:a16="http://schemas.microsoft.com/office/drawing/2014/main" id="{9B4BAEF1-1EE4-4DE9-9556-E268225EE84E}"/>
                  </a:ext>
                </a:extLst>
              </p:cNvPr>
              <p:cNvPicPr/>
              <p:nvPr/>
            </p:nvPicPr>
            <p:blipFill>
              <a:blip r:embed="rId143"/>
              <a:stretch>
                <a:fillRect/>
              </a:stretch>
            </p:blipFill>
            <p:spPr>
              <a:xfrm>
                <a:off x="-1750106" y="5028282"/>
                <a:ext cx="220680" cy="1756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44">
            <p14:nvContentPartPr>
              <p14:cNvPr id="219" name="Ink 218">
                <a:extLst>
                  <a:ext uri="{FF2B5EF4-FFF2-40B4-BE49-F238E27FC236}">
                    <a16:creationId xmlns:a16="http://schemas.microsoft.com/office/drawing/2014/main" id="{617895F4-159E-45A9-98B9-676B91354F66}"/>
                  </a:ext>
                </a:extLst>
              </p14:cNvPr>
              <p14:cNvContentPartPr/>
              <p14:nvPr/>
            </p14:nvContentPartPr>
            <p14:xfrm>
              <a:off x="-1620866" y="5150322"/>
              <a:ext cx="168120" cy="157680"/>
            </p14:xfrm>
          </p:contentPart>
        </mc:Choice>
        <mc:Fallback xmlns="">
          <p:pic>
            <p:nvPicPr>
              <p:cNvPr id="219" name="Ink 218">
                <a:extLst>
                  <a:ext uri="{FF2B5EF4-FFF2-40B4-BE49-F238E27FC236}">
                    <a16:creationId xmlns:a16="http://schemas.microsoft.com/office/drawing/2014/main" id="{617895F4-159E-45A9-98B9-676B91354F66}"/>
                  </a:ext>
                </a:extLst>
              </p:cNvPr>
              <p:cNvPicPr/>
              <p:nvPr/>
            </p:nvPicPr>
            <p:blipFill>
              <a:blip r:embed="rId145"/>
              <a:stretch>
                <a:fillRect/>
              </a:stretch>
            </p:blipFill>
            <p:spPr>
              <a:xfrm>
                <a:off x="-1656506" y="5114682"/>
                <a:ext cx="239760" cy="229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46">
            <p14:nvContentPartPr>
              <p14:cNvPr id="220" name="Ink 219">
                <a:extLst>
                  <a:ext uri="{FF2B5EF4-FFF2-40B4-BE49-F238E27FC236}">
                    <a16:creationId xmlns:a16="http://schemas.microsoft.com/office/drawing/2014/main" id="{5A7DAA8E-A560-49D2-B92B-CA20BAC8CB10}"/>
                  </a:ext>
                </a:extLst>
              </p14:cNvPr>
              <p14:cNvContentPartPr/>
              <p14:nvPr/>
            </p14:nvContentPartPr>
            <p14:xfrm>
              <a:off x="-1325306" y="4592322"/>
              <a:ext cx="225000" cy="421200"/>
            </p14:xfrm>
          </p:contentPart>
        </mc:Choice>
        <mc:Fallback xmlns="">
          <p:pic>
            <p:nvPicPr>
              <p:cNvPr id="220" name="Ink 219">
                <a:extLst>
                  <a:ext uri="{FF2B5EF4-FFF2-40B4-BE49-F238E27FC236}">
                    <a16:creationId xmlns:a16="http://schemas.microsoft.com/office/drawing/2014/main" id="{5A7DAA8E-A560-49D2-B92B-CA20BAC8CB10}"/>
                  </a:ext>
                </a:extLst>
              </p:cNvPr>
              <p:cNvPicPr/>
              <p:nvPr/>
            </p:nvPicPr>
            <p:blipFill>
              <a:blip r:embed="rId147"/>
              <a:stretch>
                <a:fillRect/>
              </a:stretch>
            </p:blipFill>
            <p:spPr>
              <a:xfrm>
                <a:off x="-1360946" y="4556682"/>
                <a:ext cx="296640" cy="4928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48">
            <p14:nvContentPartPr>
              <p14:cNvPr id="221" name="Ink 220">
                <a:extLst>
                  <a:ext uri="{FF2B5EF4-FFF2-40B4-BE49-F238E27FC236}">
                    <a16:creationId xmlns:a16="http://schemas.microsoft.com/office/drawing/2014/main" id="{D8557022-C41B-45F9-BD44-8699FFAD0607}"/>
                  </a:ext>
                </a:extLst>
              </p14:cNvPr>
              <p14:cNvContentPartPr/>
              <p14:nvPr/>
            </p14:nvContentPartPr>
            <p14:xfrm>
              <a:off x="-1052786" y="4555242"/>
              <a:ext cx="263520" cy="241560"/>
            </p14:xfrm>
          </p:contentPart>
        </mc:Choice>
        <mc:Fallback xmlns="">
          <p:pic>
            <p:nvPicPr>
              <p:cNvPr id="221" name="Ink 220">
                <a:extLst>
                  <a:ext uri="{FF2B5EF4-FFF2-40B4-BE49-F238E27FC236}">
                    <a16:creationId xmlns:a16="http://schemas.microsoft.com/office/drawing/2014/main" id="{D8557022-C41B-45F9-BD44-8699FFAD0607}"/>
                  </a:ext>
                </a:extLst>
              </p:cNvPr>
              <p:cNvPicPr/>
              <p:nvPr/>
            </p:nvPicPr>
            <p:blipFill>
              <a:blip r:embed="rId149"/>
              <a:stretch>
                <a:fillRect/>
              </a:stretch>
            </p:blipFill>
            <p:spPr>
              <a:xfrm>
                <a:off x="-1088426" y="4519242"/>
                <a:ext cx="335160" cy="3132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50">
            <p14:nvContentPartPr>
              <p14:cNvPr id="222" name="Ink 221">
                <a:extLst>
                  <a:ext uri="{FF2B5EF4-FFF2-40B4-BE49-F238E27FC236}">
                    <a16:creationId xmlns:a16="http://schemas.microsoft.com/office/drawing/2014/main" id="{7B0B5BE1-B748-4AB5-BD04-095F12A99D59}"/>
                  </a:ext>
                </a:extLst>
              </p14:cNvPr>
              <p14:cNvContentPartPr/>
              <p14:nvPr/>
            </p14:nvContentPartPr>
            <p14:xfrm>
              <a:off x="-785666" y="4406202"/>
              <a:ext cx="265320" cy="312480"/>
            </p14:xfrm>
          </p:contentPart>
        </mc:Choice>
        <mc:Fallback xmlns="">
          <p:pic>
            <p:nvPicPr>
              <p:cNvPr id="222" name="Ink 221">
                <a:extLst>
                  <a:ext uri="{FF2B5EF4-FFF2-40B4-BE49-F238E27FC236}">
                    <a16:creationId xmlns:a16="http://schemas.microsoft.com/office/drawing/2014/main" id="{7B0B5BE1-B748-4AB5-BD04-095F12A99D59}"/>
                  </a:ext>
                </a:extLst>
              </p:cNvPr>
              <p:cNvPicPr/>
              <p:nvPr/>
            </p:nvPicPr>
            <p:blipFill>
              <a:blip r:embed="rId151"/>
              <a:stretch>
                <a:fillRect/>
              </a:stretch>
            </p:blipFill>
            <p:spPr>
              <a:xfrm>
                <a:off x="-821306" y="4370202"/>
                <a:ext cx="336960" cy="384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52">
            <p14:nvContentPartPr>
              <p14:cNvPr id="224" name="Ink 223">
                <a:extLst>
                  <a:ext uri="{FF2B5EF4-FFF2-40B4-BE49-F238E27FC236}">
                    <a16:creationId xmlns:a16="http://schemas.microsoft.com/office/drawing/2014/main" id="{46EECC26-FB37-47BE-8FA5-2DDD7F29D966}"/>
                  </a:ext>
                </a:extLst>
              </p14:cNvPr>
              <p14:cNvContentPartPr/>
              <p14:nvPr/>
            </p14:nvContentPartPr>
            <p14:xfrm>
              <a:off x="-333506" y="4026042"/>
              <a:ext cx="206280" cy="302760"/>
            </p14:xfrm>
          </p:contentPart>
        </mc:Choice>
        <mc:Fallback xmlns="">
          <p:pic>
            <p:nvPicPr>
              <p:cNvPr id="224" name="Ink 223">
                <a:extLst>
                  <a:ext uri="{FF2B5EF4-FFF2-40B4-BE49-F238E27FC236}">
                    <a16:creationId xmlns:a16="http://schemas.microsoft.com/office/drawing/2014/main" id="{46EECC26-FB37-47BE-8FA5-2DDD7F29D966}"/>
                  </a:ext>
                </a:extLst>
              </p:cNvPr>
              <p:cNvPicPr/>
              <p:nvPr/>
            </p:nvPicPr>
            <p:blipFill>
              <a:blip r:embed="rId153"/>
              <a:stretch>
                <a:fillRect/>
              </a:stretch>
            </p:blipFill>
            <p:spPr>
              <a:xfrm>
                <a:off x="-369506" y="3990402"/>
                <a:ext cx="277920" cy="3744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54">
            <p14:nvContentPartPr>
              <p14:cNvPr id="223" name="Ink 222">
                <a:extLst>
                  <a:ext uri="{FF2B5EF4-FFF2-40B4-BE49-F238E27FC236}">
                    <a16:creationId xmlns:a16="http://schemas.microsoft.com/office/drawing/2014/main" id="{D61AC8D2-C8B6-494D-99F0-BC70A1F116A8}"/>
                  </a:ext>
                </a:extLst>
              </p14:cNvPr>
              <p14:cNvContentPartPr/>
              <p14:nvPr/>
            </p14:nvContentPartPr>
            <p14:xfrm>
              <a:off x="-654986" y="4235922"/>
              <a:ext cx="308880" cy="339480"/>
            </p14:xfrm>
          </p:contentPart>
        </mc:Choice>
        <mc:Fallback xmlns="">
          <p:pic>
            <p:nvPicPr>
              <p:cNvPr id="223" name="Ink 222">
                <a:extLst>
                  <a:ext uri="{FF2B5EF4-FFF2-40B4-BE49-F238E27FC236}">
                    <a16:creationId xmlns:a16="http://schemas.microsoft.com/office/drawing/2014/main" id="{D61AC8D2-C8B6-494D-99F0-BC70A1F116A8}"/>
                  </a:ext>
                </a:extLst>
              </p:cNvPr>
              <p:cNvPicPr/>
              <p:nvPr/>
            </p:nvPicPr>
            <p:blipFill>
              <a:blip r:embed="rId155"/>
              <a:stretch>
                <a:fillRect/>
              </a:stretch>
            </p:blipFill>
            <p:spPr>
              <a:xfrm>
                <a:off x="-690986" y="4199922"/>
                <a:ext cx="380520" cy="411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56">
            <p14:nvContentPartPr>
              <p14:cNvPr id="234" name="Ink 233">
                <a:extLst>
                  <a:ext uri="{FF2B5EF4-FFF2-40B4-BE49-F238E27FC236}">
                    <a16:creationId xmlns:a16="http://schemas.microsoft.com/office/drawing/2014/main" id="{90B6F1C9-A77C-4A4F-8050-85AB99007DFF}"/>
                  </a:ext>
                </a:extLst>
              </p14:cNvPr>
              <p14:cNvContentPartPr/>
              <p14:nvPr/>
            </p14:nvContentPartPr>
            <p14:xfrm>
              <a:off x="-1687106" y="5840082"/>
              <a:ext cx="177480" cy="79200"/>
            </p14:xfrm>
          </p:contentPart>
        </mc:Choice>
        <mc:Fallback xmlns="">
          <p:pic>
            <p:nvPicPr>
              <p:cNvPr id="234" name="Ink 233">
                <a:extLst>
                  <a:ext uri="{FF2B5EF4-FFF2-40B4-BE49-F238E27FC236}">
                    <a16:creationId xmlns:a16="http://schemas.microsoft.com/office/drawing/2014/main" id="{90B6F1C9-A77C-4A4F-8050-85AB99007DFF}"/>
                  </a:ext>
                </a:extLst>
              </p:cNvPr>
              <p:cNvPicPr/>
              <p:nvPr/>
            </p:nvPicPr>
            <p:blipFill>
              <a:blip r:embed="rId157"/>
              <a:stretch>
                <a:fillRect/>
              </a:stretch>
            </p:blipFill>
            <p:spPr>
              <a:xfrm>
                <a:off x="-1723106" y="5804442"/>
                <a:ext cx="249120" cy="1508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58">
            <p14:nvContentPartPr>
              <p14:cNvPr id="235" name="Ink 234">
                <a:extLst>
                  <a:ext uri="{FF2B5EF4-FFF2-40B4-BE49-F238E27FC236}">
                    <a16:creationId xmlns:a16="http://schemas.microsoft.com/office/drawing/2014/main" id="{04325DEC-7E0E-43BC-BB1C-EA2EFCA3432A}"/>
                  </a:ext>
                </a:extLst>
              </p14:cNvPr>
              <p14:cNvContentPartPr/>
              <p14:nvPr/>
            </p14:nvContentPartPr>
            <p14:xfrm>
              <a:off x="-1583786" y="6003882"/>
              <a:ext cx="131760" cy="83160"/>
            </p14:xfrm>
          </p:contentPart>
        </mc:Choice>
        <mc:Fallback xmlns="">
          <p:pic>
            <p:nvPicPr>
              <p:cNvPr id="235" name="Ink 234">
                <a:extLst>
                  <a:ext uri="{FF2B5EF4-FFF2-40B4-BE49-F238E27FC236}">
                    <a16:creationId xmlns:a16="http://schemas.microsoft.com/office/drawing/2014/main" id="{04325DEC-7E0E-43BC-BB1C-EA2EFCA3432A}"/>
                  </a:ext>
                </a:extLst>
              </p:cNvPr>
              <p:cNvPicPr/>
              <p:nvPr/>
            </p:nvPicPr>
            <p:blipFill>
              <a:blip r:embed="rId159"/>
              <a:stretch>
                <a:fillRect/>
              </a:stretch>
            </p:blipFill>
            <p:spPr>
              <a:xfrm>
                <a:off x="-1619786" y="5968242"/>
                <a:ext cx="203400" cy="1548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60">
            <p14:nvContentPartPr>
              <p14:cNvPr id="244" name="Ink 243">
                <a:extLst>
                  <a:ext uri="{FF2B5EF4-FFF2-40B4-BE49-F238E27FC236}">
                    <a16:creationId xmlns:a16="http://schemas.microsoft.com/office/drawing/2014/main" id="{3E411E90-E35E-4453-B3A6-5C9ABD18719A}"/>
                  </a:ext>
                </a:extLst>
              </p14:cNvPr>
              <p14:cNvContentPartPr/>
              <p14:nvPr/>
            </p14:nvContentPartPr>
            <p14:xfrm>
              <a:off x="-1117946" y="5454522"/>
              <a:ext cx="211320" cy="368280"/>
            </p14:xfrm>
          </p:contentPart>
        </mc:Choice>
        <mc:Fallback xmlns="">
          <p:pic>
            <p:nvPicPr>
              <p:cNvPr id="244" name="Ink 243">
                <a:extLst>
                  <a:ext uri="{FF2B5EF4-FFF2-40B4-BE49-F238E27FC236}">
                    <a16:creationId xmlns:a16="http://schemas.microsoft.com/office/drawing/2014/main" id="{3E411E90-E35E-4453-B3A6-5C9ABD18719A}"/>
                  </a:ext>
                </a:extLst>
              </p:cNvPr>
              <p:cNvPicPr/>
              <p:nvPr/>
            </p:nvPicPr>
            <p:blipFill>
              <a:blip r:embed="rId161"/>
              <a:stretch>
                <a:fillRect/>
              </a:stretch>
            </p:blipFill>
            <p:spPr>
              <a:xfrm>
                <a:off x="-1153586" y="5418522"/>
                <a:ext cx="282960" cy="4399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62">
            <p14:nvContentPartPr>
              <p14:cNvPr id="245" name="Ink 244">
                <a:extLst>
                  <a:ext uri="{FF2B5EF4-FFF2-40B4-BE49-F238E27FC236}">
                    <a16:creationId xmlns:a16="http://schemas.microsoft.com/office/drawing/2014/main" id="{9C76C850-67A5-4ACC-96E7-7D2EE54A5374}"/>
                  </a:ext>
                </a:extLst>
              </p14:cNvPr>
              <p14:cNvContentPartPr/>
              <p14:nvPr/>
            </p14:nvContentPartPr>
            <p14:xfrm>
              <a:off x="-887186" y="5391522"/>
              <a:ext cx="195120" cy="219240"/>
            </p14:xfrm>
          </p:contentPart>
        </mc:Choice>
        <mc:Fallback xmlns="">
          <p:pic>
            <p:nvPicPr>
              <p:cNvPr id="245" name="Ink 244">
                <a:extLst>
                  <a:ext uri="{FF2B5EF4-FFF2-40B4-BE49-F238E27FC236}">
                    <a16:creationId xmlns:a16="http://schemas.microsoft.com/office/drawing/2014/main" id="{9C76C850-67A5-4ACC-96E7-7D2EE54A5374}"/>
                  </a:ext>
                </a:extLst>
              </p:cNvPr>
              <p:cNvPicPr/>
              <p:nvPr/>
            </p:nvPicPr>
            <p:blipFill>
              <a:blip r:embed="rId163"/>
              <a:stretch>
                <a:fillRect/>
              </a:stretch>
            </p:blipFill>
            <p:spPr>
              <a:xfrm>
                <a:off x="-923186" y="5355522"/>
                <a:ext cx="266760" cy="2908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64">
            <p14:nvContentPartPr>
              <p14:cNvPr id="246" name="Ink 245">
                <a:extLst>
                  <a:ext uri="{FF2B5EF4-FFF2-40B4-BE49-F238E27FC236}">
                    <a16:creationId xmlns:a16="http://schemas.microsoft.com/office/drawing/2014/main" id="{2B234082-D499-4C58-85D3-772B51D3A37F}"/>
                  </a:ext>
                </a:extLst>
              </p14:cNvPr>
              <p14:cNvContentPartPr/>
              <p14:nvPr/>
            </p14:nvContentPartPr>
            <p14:xfrm>
              <a:off x="-731306" y="5225922"/>
              <a:ext cx="277560" cy="287640"/>
            </p14:xfrm>
          </p:contentPart>
        </mc:Choice>
        <mc:Fallback xmlns="">
          <p:pic>
            <p:nvPicPr>
              <p:cNvPr id="246" name="Ink 245">
                <a:extLst>
                  <a:ext uri="{FF2B5EF4-FFF2-40B4-BE49-F238E27FC236}">
                    <a16:creationId xmlns:a16="http://schemas.microsoft.com/office/drawing/2014/main" id="{2B234082-D499-4C58-85D3-772B51D3A37F}"/>
                  </a:ext>
                </a:extLst>
              </p:cNvPr>
              <p:cNvPicPr/>
              <p:nvPr/>
            </p:nvPicPr>
            <p:blipFill>
              <a:blip r:embed="rId165"/>
              <a:stretch>
                <a:fillRect/>
              </a:stretch>
            </p:blipFill>
            <p:spPr>
              <a:xfrm>
                <a:off x="-766946" y="5189922"/>
                <a:ext cx="349200" cy="3592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66">
            <p14:nvContentPartPr>
              <p14:cNvPr id="247" name="Ink 246">
                <a:extLst>
                  <a:ext uri="{FF2B5EF4-FFF2-40B4-BE49-F238E27FC236}">
                    <a16:creationId xmlns:a16="http://schemas.microsoft.com/office/drawing/2014/main" id="{4FBA0EEB-63BB-48D3-9E71-9B88C4FEB6A7}"/>
                  </a:ext>
                </a:extLst>
              </p14:cNvPr>
              <p14:cNvContentPartPr/>
              <p14:nvPr/>
            </p14:nvContentPartPr>
            <p14:xfrm>
              <a:off x="-579026" y="5304042"/>
              <a:ext cx="51480" cy="85680"/>
            </p14:xfrm>
          </p:contentPart>
        </mc:Choice>
        <mc:Fallback xmlns="">
          <p:pic>
            <p:nvPicPr>
              <p:cNvPr id="247" name="Ink 246">
                <a:extLst>
                  <a:ext uri="{FF2B5EF4-FFF2-40B4-BE49-F238E27FC236}">
                    <a16:creationId xmlns:a16="http://schemas.microsoft.com/office/drawing/2014/main" id="{4FBA0EEB-63BB-48D3-9E71-9B88C4FEB6A7}"/>
                  </a:ext>
                </a:extLst>
              </p:cNvPr>
              <p:cNvPicPr/>
              <p:nvPr/>
            </p:nvPicPr>
            <p:blipFill>
              <a:blip r:embed="rId167"/>
              <a:stretch>
                <a:fillRect/>
              </a:stretch>
            </p:blipFill>
            <p:spPr>
              <a:xfrm>
                <a:off x="-614666" y="5268402"/>
                <a:ext cx="123120" cy="157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68">
            <p14:nvContentPartPr>
              <p14:cNvPr id="249" name="Ink 248">
                <a:extLst>
                  <a:ext uri="{FF2B5EF4-FFF2-40B4-BE49-F238E27FC236}">
                    <a16:creationId xmlns:a16="http://schemas.microsoft.com/office/drawing/2014/main" id="{ECD905C7-DBCE-4EF3-AB42-63982C067261}"/>
                  </a:ext>
                </a:extLst>
              </p14:cNvPr>
              <p14:cNvContentPartPr/>
              <p14:nvPr/>
            </p14:nvContentPartPr>
            <p14:xfrm>
              <a:off x="-352946" y="4954482"/>
              <a:ext cx="286920" cy="217440"/>
            </p14:xfrm>
          </p:contentPart>
        </mc:Choice>
        <mc:Fallback xmlns="">
          <p:pic>
            <p:nvPicPr>
              <p:cNvPr id="249" name="Ink 248">
                <a:extLst>
                  <a:ext uri="{FF2B5EF4-FFF2-40B4-BE49-F238E27FC236}">
                    <a16:creationId xmlns:a16="http://schemas.microsoft.com/office/drawing/2014/main" id="{ECD905C7-DBCE-4EF3-AB42-63982C067261}"/>
                  </a:ext>
                </a:extLst>
              </p:cNvPr>
              <p:cNvPicPr/>
              <p:nvPr/>
            </p:nvPicPr>
            <p:blipFill>
              <a:blip r:embed="rId169"/>
              <a:stretch>
                <a:fillRect/>
              </a:stretch>
            </p:blipFill>
            <p:spPr>
              <a:xfrm>
                <a:off x="-388586" y="4918842"/>
                <a:ext cx="358560" cy="289080"/>
              </a:xfrm>
              <a:prstGeom prst="rect">
                <a:avLst/>
              </a:prstGeom>
            </p:spPr>
          </p:pic>
        </mc:Fallback>
      </mc:AlternateContent>
      <p:grpSp>
        <p:nvGrpSpPr>
          <p:cNvPr id="264" name="Group 263">
            <a:extLst>
              <a:ext uri="{FF2B5EF4-FFF2-40B4-BE49-F238E27FC236}">
                <a16:creationId xmlns:a16="http://schemas.microsoft.com/office/drawing/2014/main" id="{276AB749-361A-4F4A-93A9-3EC950A13EC3}"/>
              </a:ext>
            </a:extLst>
          </p:cNvPr>
          <p:cNvGrpSpPr/>
          <p:nvPr/>
        </p:nvGrpSpPr>
        <p:grpSpPr>
          <a:xfrm>
            <a:off x="-493346" y="2609082"/>
            <a:ext cx="2513160" cy="2685960"/>
            <a:chOff x="-493346" y="2609082"/>
            <a:chExt cx="2513160" cy="26859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70">
              <p14:nvContentPartPr>
                <p14:cNvPr id="248" name="Ink 247">
                  <a:extLst>
                    <a:ext uri="{FF2B5EF4-FFF2-40B4-BE49-F238E27FC236}">
                      <a16:creationId xmlns:a16="http://schemas.microsoft.com/office/drawing/2014/main" id="{280EB8F9-5609-44A8-BBC0-E22169BB3887}"/>
                    </a:ext>
                  </a:extLst>
                </p14:cNvPr>
                <p14:cNvContentPartPr/>
                <p14:nvPr/>
              </p14:nvContentPartPr>
              <p14:xfrm>
                <a:off x="-493346" y="5105322"/>
                <a:ext cx="174600" cy="189720"/>
              </p14:xfrm>
            </p:contentPart>
          </mc:Choice>
          <mc:Fallback xmlns="">
            <p:pic>
              <p:nvPicPr>
                <p:cNvPr id="248" name="Ink 247">
                  <a:extLst>
                    <a:ext uri="{FF2B5EF4-FFF2-40B4-BE49-F238E27FC236}">
                      <a16:creationId xmlns:a16="http://schemas.microsoft.com/office/drawing/2014/main" id="{280EB8F9-5609-44A8-BBC0-E22169BB3887}"/>
                    </a:ext>
                  </a:extLst>
                </p:cNvPr>
                <p:cNvPicPr/>
                <p:nvPr/>
              </p:nvPicPr>
              <p:blipFill>
                <a:blip r:embed="rId171"/>
                <a:stretch>
                  <a:fillRect/>
                </a:stretch>
              </p:blipFill>
              <p:spPr>
                <a:xfrm>
                  <a:off x="-529346" y="5069682"/>
                  <a:ext cx="246240" cy="261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2">
              <p14:nvContentPartPr>
                <p14:cNvPr id="211" name="Ink 210">
                  <a:extLst>
                    <a:ext uri="{FF2B5EF4-FFF2-40B4-BE49-F238E27FC236}">
                      <a16:creationId xmlns:a16="http://schemas.microsoft.com/office/drawing/2014/main" id="{3DE1C8AC-D2C2-4694-B6D7-50A00DF10B54}"/>
                    </a:ext>
                  </a:extLst>
                </p14:cNvPr>
                <p14:cNvContentPartPr/>
                <p14:nvPr/>
              </p14:nvContentPartPr>
              <p14:xfrm>
                <a:off x="-12026" y="2746242"/>
                <a:ext cx="250920" cy="330840"/>
              </p14:xfrm>
            </p:contentPart>
          </mc:Choice>
          <mc:Fallback xmlns="">
            <p:pic>
              <p:nvPicPr>
                <p:cNvPr id="211" name="Ink 210">
                  <a:extLst>
                    <a:ext uri="{FF2B5EF4-FFF2-40B4-BE49-F238E27FC236}">
                      <a16:creationId xmlns:a16="http://schemas.microsoft.com/office/drawing/2014/main" id="{3DE1C8AC-D2C2-4694-B6D7-50A00DF10B54}"/>
                    </a:ext>
                  </a:extLst>
                </p:cNvPr>
                <p:cNvPicPr/>
                <p:nvPr/>
              </p:nvPicPr>
              <p:blipFill>
                <a:blip r:embed="rId173"/>
                <a:stretch>
                  <a:fillRect/>
                </a:stretch>
              </p:blipFill>
              <p:spPr>
                <a:xfrm>
                  <a:off x="-47666" y="2710242"/>
                  <a:ext cx="322560" cy="402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4">
              <p14:nvContentPartPr>
                <p14:cNvPr id="212" name="Ink 211">
                  <a:extLst>
                    <a:ext uri="{FF2B5EF4-FFF2-40B4-BE49-F238E27FC236}">
                      <a16:creationId xmlns:a16="http://schemas.microsoft.com/office/drawing/2014/main" id="{55F6AEE2-191F-4A5C-957F-2A4608771D4A}"/>
                    </a:ext>
                  </a:extLst>
                </p14:cNvPr>
                <p14:cNvContentPartPr/>
                <p14:nvPr/>
              </p14:nvContentPartPr>
              <p14:xfrm>
                <a:off x="144214" y="2609082"/>
                <a:ext cx="286920" cy="425160"/>
              </p14:xfrm>
            </p:contentPart>
          </mc:Choice>
          <mc:Fallback xmlns="">
            <p:pic>
              <p:nvPicPr>
                <p:cNvPr id="212" name="Ink 211">
                  <a:extLst>
                    <a:ext uri="{FF2B5EF4-FFF2-40B4-BE49-F238E27FC236}">
                      <a16:creationId xmlns:a16="http://schemas.microsoft.com/office/drawing/2014/main" id="{55F6AEE2-191F-4A5C-957F-2A4608771D4A}"/>
                    </a:ext>
                  </a:extLst>
                </p:cNvPr>
                <p:cNvPicPr/>
                <p:nvPr/>
              </p:nvPicPr>
              <p:blipFill>
                <a:blip r:embed="rId175"/>
                <a:stretch>
                  <a:fillRect/>
                </a:stretch>
              </p:blipFill>
              <p:spPr>
                <a:xfrm>
                  <a:off x="108214" y="2573442"/>
                  <a:ext cx="358560" cy="496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6">
              <p14:nvContentPartPr>
                <p14:cNvPr id="225" name="Ink 224">
                  <a:extLst>
                    <a:ext uri="{FF2B5EF4-FFF2-40B4-BE49-F238E27FC236}">
                      <a16:creationId xmlns:a16="http://schemas.microsoft.com/office/drawing/2014/main" id="{97E2249E-1786-4E67-AF86-9CE9C41145D2}"/>
                    </a:ext>
                  </a:extLst>
                </p14:cNvPr>
                <p14:cNvContentPartPr/>
                <p14:nvPr/>
              </p14:nvContentPartPr>
              <p14:xfrm>
                <a:off x="-140906" y="3890682"/>
                <a:ext cx="237960" cy="269280"/>
              </p14:xfrm>
            </p:contentPart>
          </mc:Choice>
          <mc:Fallback xmlns="">
            <p:pic>
              <p:nvPicPr>
                <p:cNvPr id="225" name="Ink 224">
                  <a:extLst>
                    <a:ext uri="{FF2B5EF4-FFF2-40B4-BE49-F238E27FC236}">
                      <a16:creationId xmlns:a16="http://schemas.microsoft.com/office/drawing/2014/main" id="{97E2249E-1786-4E67-AF86-9CE9C41145D2}"/>
                    </a:ext>
                  </a:extLst>
                </p:cNvPr>
                <p:cNvPicPr/>
                <p:nvPr/>
              </p:nvPicPr>
              <p:blipFill>
                <a:blip r:embed="rId177"/>
                <a:stretch>
                  <a:fillRect/>
                </a:stretch>
              </p:blipFill>
              <p:spPr>
                <a:xfrm>
                  <a:off x="-176906" y="3855042"/>
                  <a:ext cx="309600" cy="340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8">
              <p14:nvContentPartPr>
                <p14:cNvPr id="226" name="Ink 225">
                  <a:extLst>
                    <a:ext uri="{FF2B5EF4-FFF2-40B4-BE49-F238E27FC236}">
                      <a16:creationId xmlns:a16="http://schemas.microsoft.com/office/drawing/2014/main" id="{8B1566F0-31C3-45E5-AEB3-957586A86921}"/>
                    </a:ext>
                  </a:extLst>
                </p14:cNvPr>
                <p14:cNvContentPartPr/>
                <p14:nvPr/>
              </p14:nvContentPartPr>
              <p14:xfrm>
                <a:off x="122974" y="3855042"/>
                <a:ext cx="66600" cy="52920"/>
              </p14:xfrm>
            </p:contentPart>
          </mc:Choice>
          <mc:Fallback xmlns="">
            <p:pic>
              <p:nvPicPr>
                <p:cNvPr id="226" name="Ink 225">
                  <a:extLst>
                    <a:ext uri="{FF2B5EF4-FFF2-40B4-BE49-F238E27FC236}">
                      <a16:creationId xmlns:a16="http://schemas.microsoft.com/office/drawing/2014/main" id="{8B1566F0-31C3-45E5-AEB3-957586A86921}"/>
                    </a:ext>
                  </a:extLst>
                </p:cNvPr>
                <p:cNvPicPr/>
                <p:nvPr/>
              </p:nvPicPr>
              <p:blipFill>
                <a:blip r:embed="rId179"/>
                <a:stretch>
                  <a:fillRect/>
                </a:stretch>
              </p:blipFill>
              <p:spPr>
                <a:xfrm>
                  <a:off x="87334" y="3819042"/>
                  <a:ext cx="138240" cy="124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0">
              <p14:nvContentPartPr>
                <p14:cNvPr id="227" name="Ink 226">
                  <a:extLst>
                    <a:ext uri="{FF2B5EF4-FFF2-40B4-BE49-F238E27FC236}">
                      <a16:creationId xmlns:a16="http://schemas.microsoft.com/office/drawing/2014/main" id="{21CC59BD-899F-4CED-BE25-9834FC59231E}"/>
                    </a:ext>
                  </a:extLst>
                </p14:cNvPr>
                <p14:cNvContentPartPr/>
                <p14:nvPr/>
              </p14:nvContentPartPr>
              <p14:xfrm>
                <a:off x="364534" y="3472362"/>
                <a:ext cx="173880" cy="390240"/>
              </p14:xfrm>
            </p:contentPart>
          </mc:Choice>
          <mc:Fallback xmlns="">
            <p:pic>
              <p:nvPicPr>
                <p:cNvPr id="227" name="Ink 226">
                  <a:extLst>
                    <a:ext uri="{FF2B5EF4-FFF2-40B4-BE49-F238E27FC236}">
                      <a16:creationId xmlns:a16="http://schemas.microsoft.com/office/drawing/2014/main" id="{21CC59BD-899F-4CED-BE25-9834FC59231E}"/>
                    </a:ext>
                  </a:extLst>
                </p:cNvPr>
                <p:cNvPicPr/>
                <p:nvPr/>
              </p:nvPicPr>
              <p:blipFill>
                <a:blip r:embed="rId181"/>
                <a:stretch>
                  <a:fillRect/>
                </a:stretch>
              </p:blipFill>
              <p:spPr>
                <a:xfrm>
                  <a:off x="328894" y="3436362"/>
                  <a:ext cx="245520" cy="461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2">
              <p14:nvContentPartPr>
                <p14:cNvPr id="228" name="Ink 227">
                  <a:extLst>
                    <a:ext uri="{FF2B5EF4-FFF2-40B4-BE49-F238E27FC236}">
                      <a16:creationId xmlns:a16="http://schemas.microsoft.com/office/drawing/2014/main" id="{BEAABA64-283F-479C-8F9C-0798DE1ACFB1}"/>
                    </a:ext>
                  </a:extLst>
                </p14:cNvPr>
                <p14:cNvContentPartPr/>
                <p14:nvPr/>
              </p14:nvContentPartPr>
              <p14:xfrm>
                <a:off x="502054" y="3452202"/>
                <a:ext cx="211680" cy="193320"/>
              </p14:xfrm>
            </p:contentPart>
          </mc:Choice>
          <mc:Fallback xmlns="">
            <p:pic>
              <p:nvPicPr>
                <p:cNvPr id="228" name="Ink 227">
                  <a:extLst>
                    <a:ext uri="{FF2B5EF4-FFF2-40B4-BE49-F238E27FC236}">
                      <a16:creationId xmlns:a16="http://schemas.microsoft.com/office/drawing/2014/main" id="{BEAABA64-283F-479C-8F9C-0798DE1ACFB1}"/>
                    </a:ext>
                  </a:extLst>
                </p:cNvPr>
                <p:cNvPicPr/>
                <p:nvPr/>
              </p:nvPicPr>
              <p:blipFill>
                <a:blip r:embed="rId183"/>
                <a:stretch>
                  <a:fillRect/>
                </a:stretch>
              </p:blipFill>
              <p:spPr>
                <a:xfrm>
                  <a:off x="466414" y="3416562"/>
                  <a:ext cx="283320" cy="264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4">
              <p14:nvContentPartPr>
                <p14:cNvPr id="229" name="Ink 228">
                  <a:extLst>
                    <a:ext uri="{FF2B5EF4-FFF2-40B4-BE49-F238E27FC236}">
                      <a16:creationId xmlns:a16="http://schemas.microsoft.com/office/drawing/2014/main" id="{E0715434-C859-4D5F-84FA-15AB76124797}"/>
                    </a:ext>
                  </a:extLst>
                </p14:cNvPr>
                <p14:cNvContentPartPr/>
                <p14:nvPr/>
              </p14:nvContentPartPr>
              <p14:xfrm>
                <a:off x="709774" y="3248442"/>
                <a:ext cx="212760" cy="268920"/>
              </p14:xfrm>
            </p:contentPart>
          </mc:Choice>
          <mc:Fallback xmlns="">
            <p:pic>
              <p:nvPicPr>
                <p:cNvPr id="229" name="Ink 228">
                  <a:extLst>
                    <a:ext uri="{FF2B5EF4-FFF2-40B4-BE49-F238E27FC236}">
                      <a16:creationId xmlns:a16="http://schemas.microsoft.com/office/drawing/2014/main" id="{E0715434-C859-4D5F-84FA-15AB76124797}"/>
                    </a:ext>
                  </a:extLst>
                </p:cNvPr>
                <p:cNvPicPr/>
                <p:nvPr/>
              </p:nvPicPr>
              <p:blipFill>
                <a:blip r:embed="rId185"/>
                <a:stretch>
                  <a:fillRect/>
                </a:stretch>
              </p:blipFill>
              <p:spPr>
                <a:xfrm>
                  <a:off x="673774" y="3212442"/>
                  <a:ext cx="284400" cy="340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6">
              <p14:nvContentPartPr>
                <p14:cNvPr id="230" name="Ink 229">
                  <a:extLst>
                    <a:ext uri="{FF2B5EF4-FFF2-40B4-BE49-F238E27FC236}">
                      <a16:creationId xmlns:a16="http://schemas.microsoft.com/office/drawing/2014/main" id="{8E1995A0-BC5D-4264-B432-C49AFEDBD923}"/>
                    </a:ext>
                  </a:extLst>
                </p14:cNvPr>
                <p14:cNvContentPartPr/>
                <p14:nvPr/>
              </p14:nvContentPartPr>
              <p14:xfrm>
                <a:off x="855574" y="3084282"/>
                <a:ext cx="244080" cy="238680"/>
              </p14:xfrm>
            </p:contentPart>
          </mc:Choice>
          <mc:Fallback xmlns="">
            <p:pic>
              <p:nvPicPr>
                <p:cNvPr id="230" name="Ink 229">
                  <a:extLst>
                    <a:ext uri="{FF2B5EF4-FFF2-40B4-BE49-F238E27FC236}">
                      <a16:creationId xmlns:a16="http://schemas.microsoft.com/office/drawing/2014/main" id="{8E1995A0-BC5D-4264-B432-C49AFEDBD923}"/>
                    </a:ext>
                  </a:extLst>
                </p:cNvPr>
                <p:cNvPicPr/>
                <p:nvPr/>
              </p:nvPicPr>
              <p:blipFill>
                <a:blip r:embed="rId187"/>
                <a:stretch>
                  <a:fillRect/>
                </a:stretch>
              </p:blipFill>
              <p:spPr>
                <a:xfrm>
                  <a:off x="819574" y="3048642"/>
                  <a:ext cx="315720" cy="310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8">
              <p14:nvContentPartPr>
                <p14:cNvPr id="250" name="Ink 249">
                  <a:extLst>
                    <a:ext uri="{FF2B5EF4-FFF2-40B4-BE49-F238E27FC236}">
                      <a16:creationId xmlns:a16="http://schemas.microsoft.com/office/drawing/2014/main" id="{ACC7D6C7-0693-4968-9E58-EA4125F3A570}"/>
                    </a:ext>
                  </a:extLst>
                </p14:cNvPr>
                <p14:cNvContentPartPr/>
                <p14:nvPr/>
              </p14:nvContentPartPr>
              <p14:xfrm>
                <a:off x="-195986" y="4712922"/>
                <a:ext cx="345240" cy="321840"/>
              </p14:xfrm>
            </p:contentPart>
          </mc:Choice>
          <mc:Fallback xmlns="">
            <p:pic>
              <p:nvPicPr>
                <p:cNvPr id="250" name="Ink 249">
                  <a:extLst>
                    <a:ext uri="{FF2B5EF4-FFF2-40B4-BE49-F238E27FC236}">
                      <a16:creationId xmlns:a16="http://schemas.microsoft.com/office/drawing/2014/main" id="{ACC7D6C7-0693-4968-9E58-EA4125F3A570}"/>
                    </a:ext>
                  </a:extLst>
                </p:cNvPr>
                <p:cNvPicPr/>
                <p:nvPr/>
              </p:nvPicPr>
              <p:blipFill>
                <a:blip r:embed="rId189"/>
                <a:stretch>
                  <a:fillRect/>
                </a:stretch>
              </p:blipFill>
              <p:spPr>
                <a:xfrm>
                  <a:off x="-231986" y="4676922"/>
                  <a:ext cx="416880" cy="393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90">
              <p14:nvContentPartPr>
                <p14:cNvPr id="251" name="Ink 250">
                  <a:extLst>
                    <a:ext uri="{FF2B5EF4-FFF2-40B4-BE49-F238E27FC236}">
                      <a16:creationId xmlns:a16="http://schemas.microsoft.com/office/drawing/2014/main" id="{10E164FA-8E31-41F8-AF72-61BD772BBF9F}"/>
                    </a:ext>
                  </a:extLst>
                </p14:cNvPr>
                <p14:cNvContentPartPr/>
                <p14:nvPr/>
              </p14:nvContentPartPr>
              <p14:xfrm>
                <a:off x="187414" y="4784202"/>
                <a:ext cx="31680" cy="43920"/>
              </p14:xfrm>
            </p:contentPart>
          </mc:Choice>
          <mc:Fallback xmlns="">
            <p:pic>
              <p:nvPicPr>
                <p:cNvPr id="251" name="Ink 250">
                  <a:extLst>
                    <a:ext uri="{FF2B5EF4-FFF2-40B4-BE49-F238E27FC236}">
                      <a16:creationId xmlns:a16="http://schemas.microsoft.com/office/drawing/2014/main" id="{10E164FA-8E31-41F8-AF72-61BD772BBF9F}"/>
                    </a:ext>
                  </a:extLst>
                </p:cNvPr>
                <p:cNvPicPr/>
                <p:nvPr/>
              </p:nvPicPr>
              <p:blipFill>
                <a:blip r:embed="rId191"/>
                <a:stretch>
                  <a:fillRect/>
                </a:stretch>
              </p:blipFill>
              <p:spPr>
                <a:xfrm>
                  <a:off x="151774" y="4748202"/>
                  <a:ext cx="103320" cy="115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92">
              <p14:nvContentPartPr>
                <p14:cNvPr id="252" name="Ink 251">
                  <a:extLst>
                    <a:ext uri="{FF2B5EF4-FFF2-40B4-BE49-F238E27FC236}">
                      <a16:creationId xmlns:a16="http://schemas.microsoft.com/office/drawing/2014/main" id="{15236D87-8710-4681-8C83-100E46B0D71F}"/>
                    </a:ext>
                  </a:extLst>
                </p14:cNvPr>
                <p14:cNvContentPartPr/>
                <p14:nvPr/>
              </p14:nvContentPartPr>
              <p14:xfrm>
                <a:off x="285694" y="4363362"/>
                <a:ext cx="208440" cy="304920"/>
              </p14:xfrm>
            </p:contentPart>
          </mc:Choice>
          <mc:Fallback xmlns="">
            <p:pic>
              <p:nvPicPr>
                <p:cNvPr id="252" name="Ink 251">
                  <a:extLst>
                    <a:ext uri="{FF2B5EF4-FFF2-40B4-BE49-F238E27FC236}">
                      <a16:creationId xmlns:a16="http://schemas.microsoft.com/office/drawing/2014/main" id="{15236D87-8710-4681-8C83-100E46B0D71F}"/>
                    </a:ext>
                  </a:extLst>
                </p:cNvPr>
                <p:cNvPicPr/>
                <p:nvPr/>
              </p:nvPicPr>
              <p:blipFill>
                <a:blip r:embed="rId193"/>
                <a:stretch>
                  <a:fillRect/>
                </a:stretch>
              </p:blipFill>
              <p:spPr>
                <a:xfrm>
                  <a:off x="249694" y="4327362"/>
                  <a:ext cx="280080" cy="376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94">
              <p14:nvContentPartPr>
                <p14:cNvPr id="253" name="Ink 252">
                  <a:extLst>
                    <a:ext uri="{FF2B5EF4-FFF2-40B4-BE49-F238E27FC236}">
                      <a16:creationId xmlns:a16="http://schemas.microsoft.com/office/drawing/2014/main" id="{AF81CCF2-285A-49BA-A30A-69B205980547}"/>
                    </a:ext>
                  </a:extLst>
                </p14:cNvPr>
                <p14:cNvContentPartPr/>
                <p14:nvPr/>
              </p14:nvContentPartPr>
              <p14:xfrm>
                <a:off x="495214" y="4284522"/>
                <a:ext cx="196200" cy="201600"/>
              </p14:xfrm>
            </p:contentPart>
          </mc:Choice>
          <mc:Fallback xmlns="">
            <p:pic>
              <p:nvPicPr>
                <p:cNvPr id="253" name="Ink 252">
                  <a:extLst>
                    <a:ext uri="{FF2B5EF4-FFF2-40B4-BE49-F238E27FC236}">
                      <a16:creationId xmlns:a16="http://schemas.microsoft.com/office/drawing/2014/main" id="{AF81CCF2-285A-49BA-A30A-69B205980547}"/>
                    </a:ext>
                  </a:extLst>
                </p:cNvPr>
                <p:cNvPicPr/>
                <p:nvPr/>
              </p:nvPicPr>
              <p:blipFill>
                <a:blip r:embed="rId195"/>
                <a:stretch>
                  <a:fillRect/>
                </a:stretch>
              </p:blipFill>
              <p:spPr>
                <a:xfrm>
                  <a:off x="459214" y="4248522"/>
                  <a:ext cx="267840" cy="273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96">
              <p14:nvContentPartPr>
                <p14:cNvPr id="254" name="Ink 253">
                  <a:extLst>
                    <a:ext uri="{FF2B5EF4-FFF2-40B4-BE49-F238E27FC236}">
                      <a16:creationId xmlns:a16="http://schemas.microsoft.com/office/drawing/2014/main" id="{C4F9D1C2-172F-4AD9-9D38-808E6232218C}"/>
                    </a:ext>
                  </a:extLst>
                </p14:cNvPr>
                <p14:cNvContentPartPr/>
                <p14:nvPr/>
              </p14:nvContentPartPr>
              <p14:xfrm>
                <a:off x="672334" y="4107402"/>
                <a:ext cx="277560" cy="237600"/>
              </p14:xfrm>
            </p:contentPart>
          </mc:Choice>
          <mc:Fallback xmlns="">
            <p:pic>
              <p:nvPicPr>
                <p:cNvPr id="254" name="Ink 253">
                  <a:extLst>
                    <a:ext uri="{FF2B5EF4-FFF2-40B4-BE49-F238E27FC236}">
                      <a16:creationId xmlns:a16="http://schemas.microsoft.com/office/drawing/2014/main" id="{C4F9D1C2-172F-4AD9-9D38-808E6232218C}"/>
                    </a:ext>
                  </a:extLst>
                </p:cNvPr>
                <p:cNvPicPr/>
                <p:nvPr/>
              </p:nvPicPr>
              <p:blipFill>
                <a:blip r:embed="rId197"/>
                <a:stretch>
                  <a:fillRect/>
                </a:stretch>
              </p:blipFill>
              <p:spPr>
                <a:xfrm>
                  <a:off x="636334" y="4071402"/>
                  <a:ext cx="349200" cy="309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98">
              <p14:nvContentPartPr>
                <p14:cNvPr id="255" name="Ink 254">
                  <a:extLst>
                    <a:ext uri="{FF2B5EF4-FFF2-40B4-BE49-F238E27FC236}">
                      <a16:creationId xmlns:a16="http://schemas.microsoft.com/office/drawing/2014/main" id="{25457CE7-1935-48B3-A326-97082923D98D}"/>
                    </a:ext>
                  </a:extLst>
                </p14:cNvPr>
                <p14:cNvContentPartPr/>
                <p14:nvPr/>
              </p14:nvContentPartPr>
              <p14:xfrm>
                <a:off x="826054" y="3894282"/>
                <a:ext cx="334080" cy="349920"/>
              </p14:xfrm>
            </p:contentPart>
          </mc:Choice>
          <mc:Fallback xmlns="">
            <p:pic>
              <p:nvPicPr>
                <p:cNvPr id="255" name="Ink 254">
                  <a:extLst>
                    <a:ext uri="{FF2B5EF4-FFF2-40B4-BE49-F238E27FC236}">
                      <a16:creationId xmlns:a16="http://schemas.microsoft.com/office/drawing/2014/main" id="{25457CE7-1935-48B3-A326-97082923D98D}"/>
                    </a:ext>
                  </a:extLst>
                </p:cNvPr>
                <p:cNvPicPr/>
                <p:nvPr/>
              </p:nvPicPr>
              <p:blipFill>
                <a:blip r:embed="rId199"/>
                <a:stretch>
                  <a:fillRect/>
                </a:stretch>
              </p:blipFill>
              <p:spPr>
                <a:xfrm>
                  <a:off x="790414" y="3858642"/>
                  <a:ext cx="405720" cy="421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0">
              <p14:nvContentPartPr>
                <p14:cNvPr id="256" name="Ink 255">
                  <a:extLst>
                    <a:ext uri="{FF2B5EF4-FFF2-40B4-BE49-F238E27FC236}">
                      <a16:creationId xmlns:a16="http://schemas.microsoft.com/office/drawing/2014/main" id="{D663656E-AFF7-4B53-B37A-9F2851034218}"/>
                    </a:ext>
                  </a:extLst>
                </p14:cNvPr>
                <p14:cNvContentPartPr/>
                <p14:nvPr/>
              </p14:nvContentPartPr>
              <p14:xfrm>
                <a:off x="1152934" y="3614202"/>
                <a:ext cx="198720" cy="216000"/>
              </p14:xfrm>
            </p:contentPart>
          </mc:Choice>
          <mc:Fallback xmlns="">
            <p:pic>
              <p:nvPicPr>
                <p:cNvPr id="256" name="Ink 255">
                  <a:extLst>
                    <a:ext uri="{FF2B5EF4-FFF2-40B4-BE49-F238E27FC236}">
                      <a16:creationId xmlns:a16="http://schemas.microsoft.com/office/drawing/2014/main" id="{D663656E-AFF7-4B53-B37A-9F2851034218}"/>
                    </a:ext>
                  </a:extLst>
                </p:cNvPr>
                <p:cNvPicPr/>
                <p:nvPr/>
              </p:nvPicPr>
              <p:blipFill>
                <a:blip r:embed="rId201"/>
                <a:stretch>
                  <a:fillRect/>
                </a:stretch>
              </p:blipFill>
              <p:spPr>
                <a:xfrm>
                  <a:off x="1116934" y="3578562"/>
                  <a:ext cx="270360" cy="287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2">
              <p14:nvContentPartPr>
                <p14:cNvPr id="257" name="Ink 256">
                  <a:extLst>
                    <a:ext uri="{FF2B5EF4-FFF2-40B4-BE49-F238E27FC236}">
                      <a16:creationId xmlns:a16="http://schemas.microsoft.com/office/drawing/2014/main" id="{DB7E86A3-C7D5-417D-BA22-CB20893AB8DC}"/>
                    </a:ext>
                  </a:extLst>
                </p14:cNvPr>
                <p14:cNvContentPartPr/>
                <p14:nvPr/>
              </p14:nvContentPartPr>
              <p14:xfrm>
                <a:off x="1295134" y="3544362"/>
                <a:ext cx="202680" cy="226800"/>
              </p14:xfrm>
            </p:contentPart>
          </mc:Choice>
          <mc:Fallback xmlns="">
            <p:pic>
              <p:nvPicPr>
                <p:cNvPr id="257" name="Ink 256">
                  <a:extLst>
                    <a:ext uri="{FF2B5EF4-FFF2-40B4-BE49-F238E27FC236}">
                      <a16:creationId xmlns:a16="http://schemas.microsoft.com/office/drawing/2014/main" id="{DB7E86A3-C7D5-417D-BA22-CB20893AB8DC}"/>
                    </a:ext>
                  </a:extLst>
                </p:cNvPr>
                <p:cNvPicPr/>
                <p:nvPr/>
              </p:nvPicPr>
              <p:blipFill>
                <a:blip r:embed="rId203"/>
                <a:stretch>
                  <a:fillRect/>
                </a:stretch>
              </p:blipFill>
              <p:spPr>
                <a:xfrm>
                  <a:off x="1259134" y="3508362"/>
                  <a:ext cx="274320" cy="298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4">
              <p14:nvContentPartPr>
                <p14:cNvPr id="258" name="Ink 257">
                  <a:extLst>
                    <a:ext uri="{FF2B5EF4-FFF2-40B4-BE49-F238E27FC236}">
                      <a16:creationId xmlns:a16="http://schemas.microsoft.com/office/drawing/2014/main" id="{EE09DBE3-85F7-4C94-A9E8-F3B666210C1E}"/>
                    </a:ext>
                  </a:extLst>
                </p14:cNvPr>
                <p14:cNvContentPartPr/>
                <p14:nvPr/>
              </p14:nvContentPartPr>
              <p14:xfrm>
                <a:off x="665134" y="3979242"/>
                <a:ext cx="776160" cy="729720"/>
              </p14:xfrm>
            </p:contentPart>
          </mc:Choice>
          <mc:Fallback xmlns="">
            <p:pic>
              <p:nvPicPr>
                <p:cNvPr id="258" name="Ink 257">
                  <a:extLst>
                    <a:ext uri="{FF2B5EF4-FFF2-40B4-BE49-F238E27FC236}">
                      <a16:creationId xmlns:a16="http://schemas.microsoft.com/office/drawing/2014/main" id="{EE09DBE3-85F7-4C94-A9E8-F3B666210C1E}"/>
                    </a:ext>
                  </a:extLst>
                </p:cNvPr>
                <p:cNvPicPr/>
                <p:nvPr/>
              </p:nvPicPr>
              <p:blipFill>
                <a:blip r:embed="rId205"/>
                <a:stretch>
                  <a:fillRect/>
                </a:stretch>
              </p:blipFill>
              <p:spPr>
                <a:xfrm>
                  <a:off x="629494" y="3943602"/>
                  <a:ext cx="847800" cy="801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6">
              <p14:nvContentPartPr>
                <p14:cNvPr id="259" name="Ink 258">
                  <a:extLst>
                    <a:ext uri="{FF2B5EF4-FFF2-40B4-BE49-F238E27FC236}">
                      <a16:creationId xmlns:a16="http://schemas.microsoft.com/office/drawing/2014/main" id="{B0AF2033-5450-4D24-8249-F929E0E98C24}"/>
                    </a:ext>
                  </a:extLst>
                </p14:cNvPr>
                <p14:cNvContentPartPr/>
                <p14:nvPr/>
              </p14:nvContentPartPr>
              <p14:xfrm>
                <a:off x="1168054" y="4297482"/>
                <a:ext cx="127080" cy="415080"/>
              </p14:xfrm>
            </p:contentPart>
          </mc:Choice>
          <mc:Fallback xmlns="">
            <p:pic>
              <p:nvPicPr>
                <p:cNvPr id="259" name="Ink 258">
                  <a:extLst>
                    <a:ext uri="{FF2B5EF4-FFF2-40B4-BE49-F238E27FC236}">
                      <a16:creationId xmlns:a16="http://schemas.microsoft.com/office/drawing/2014/main" id="{B0AF2033-5450-4D24-8249-F929E0E98C24}"/>
                    </a:ext>
                  </a:extLst>
                </p:cNvPr>
                <p:cNvPicPr/>
                <p:nvPr/>
              </p:nvPicPr>
              <p:blipFill>
                <a:blip r:embed="rId207"/>
                <a:stretch>
                  <a:fillRect/>
                </a:stretch>
              </p:blipFill>
              <p:spPr>
                <a:xfrm>
                  <a:off x="1132054" y="4261842"/>
                  <a:ext cx="198720" cy="486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8">
              <p14:nvContentPartPr>
                <p14:cNvPr id="260" name="Ink 259">
                  <a:extLst>
                    <a:ext uri="{FF2B5EF4-FFF2-40B4-BE49-F238E27FC236}">
                      <a16:creationId xmlns:a16="http://schemas.microsoft.com/office/drawing/2014/main" id="{458A9CB7-A85F-4E7C-A0D3-351BAF8C79A9}"/>
                    </a:ext>
                  </a:extLst>
                </p14:cNvPr>
                <p14:cNvContentPartPr/>
                <p14:nvPr/>
              </p14:nvContentPartPr>
              <p14:xfrm>
                <a:off x="1373614" y="4039002"/>
                <a:ext cx="482400" cy="334800"/>
              </p14:xfrm>
            </p:contentPart>
          </mc:Choice>
          <mc:Fallback xmlns="">
            <p:pic>
              <p:nvPicPr>
                <p:cNvPr id="260" name="Ink 259">
                  <a:extLst>
                    <a:ext uri="{FF2B5EF4-FFF2-40B4-BE49-F238E27FC236}">
                      <a16:creationId xmlns:a16="http://schemas.microsoft.com/office/drawing/2014/main" id="{458A9CB7-A85F-4E7C-A0D3-351BAF8C79A9}"/>
                    </a:ext>
                  </a:extLst>
                </p:cNvPr>
                <p:cNvPicPr/>
                <p:nvPr/>
              </p:nvPicPr>
              <p:blipFill>
                <a:blip r:embed="rId209"/>
                <a:stretch>
                  <a:fillRect/>
                </a:stretch>
              </p:blipFill>
              <p:spPr>
                <a:xfrm>
                  <a:off x="1337614" y="4003362"/>
                  <a:ext cx="554040" cy="406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10">
              <p14:nvContentPartPr>
                <p14:cNvPr id="261" name="Ink 260">
                  <a:extLst>
                    <a:ext uri="{FF2B5EF4-FFF2-40B4-BE49-F238E27FC236}">
                      <a16:creationId xmlns:a16="http://schemas.microsoft.com/office/drawing/2014/main" id="{84C980B4-989C-4D13-AB0F-EC7A8EC44C46}"/>
                    </a:ext>
                  </a:extLst>
                </p14:cNvPr>
                <p14:cNvContentPartPr/>
                <p14:nvPr/>
              </p14:nvContentPartPr>
              <p14:xfrm>
                <a:off x="1867534" y="3889602"/>
                <a:ext cx="152280" cy="295200"/>
              </p14:xfrm>
            </p:contentPart>
          </mc:Choice>
          <mc:Fallback xmlns="">
            <p:pic>
              <p:nvPicPr>
                <p:cNvPr id="261" name="Ink 260">
                  <a:extLst>
                    <a:ext uri="{FF2B5EF4-FFF2-40B4-BE49-F238E27FC236}">
                      <a16:creationId xmlns:a16="http://schemas.microsoft.com/office/drawing/2014/main" id="{84C980B4-989C-4D13-AB0F-EC7A8EC44C46}"/>
                    </a:ext>
                  </a:extLst>
                </p:cNvPr>
                <p:cNvPicPr/>
                <p:nvPr/>
              </p:nvPicPr>
              <p:blipFill>
                <a:blip r:embed="rId211"/>
                <a:stretch>
                  <a:fillRect/>
                </a:stretch>
              </p:blipFill>
              <p:spPr>
                <a:xfrm>
                  <a:off x="1831534" y="3853602"/>
                  <a:ext cx="223920" cy="36684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212">
            <p14:nvContentPartPr>
              <p14:cNvPr id="5" name="Ink 4">
                <a:extLst>
                  <a:ext uri="{FF2B5EF4-FFF2-40B4-BE49-F238E27FC236}">
                    <a16:creationId xmlns:a16="http://schemas.microsoft.com/office/drawing/2014/main" id="{44C565A0-468B-7580-1FBF-21C608024B0F}"/>
                  </a:ext>
                </a:extLst>
              </p14:cNvPr>
              <p14:cNvContentPartPr/>
              <p14:nvPr/>
            </p14:nvContentPartPr>
            <p14:xfrm>
              <a:off x="7623101" y="3116372"/>
              <a:ext cx="480600" cy="410400"/>
            </p14:xfrm>
          </p:contentPart>
        </mc:Choice>
        <mc:Fallback>
          <p:pic>
            <p:nvPicPr>
              <p:cNvPr id="5" name="Ink 4">
                <a:extLst>
                  <a:ext uri="{FF2B5EF4-FFF2-40B4-BE49-F238E27FC236}">
                    <a16:creationId xmlns:a16="http://schemas.microsoft.com/office/drawing/2014/main" id="{44C565A0-468B-7580-1FBF-21C608024B0F}"/>
                  </a:ext>
                </a:extLst>
              </p:cNvPr>
              <p:cNvPicPr/>
              <p:nvPr/>
            </p:nvPicPr>
            <p:blipFill>
              <a:blip r:embed="rId213"/>
              <a:stretch>
                <a:fillRect/>
              </a:stretch>
            </p:blipFill>
            <p:spPr>
              <a:xfrm>
                <a:off x="7607621" y="3100892"/>
                <a:ext cx="511200" cy="441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14">
            <p14:nvContentPartPr>
              <p14:cNvPr id="9" name="Ink 8">
                <a:extLst>
                  <a:ext uri="{FF2B5EF4-FFF2-40B4-BE49-F238E27FC236}">
                    <a16:creationId xmlns:a16="http://schemas.microsoft.com/office/drawing/2014/main" id="{D773F4FC-5A30-C5B9-5F5C-2F1384DA3600}"/>
                  </a:ext>
                </a:extLst>
              </p14:cNvPr>
              <p14:cNvContentPartPr/>
              <p14:nvPr/>
            </p14:nvContentPartPr>
            <p14:xfrm>
              <a:off x="7452101" y="4244612"/>
              <a:ext cx="697320" cy="531720"/>
            </p14:xfrm>
          </p:contentPart>
        </mc:Choice>
        <mc:Fallback>
          <p:pic>
            <p:nvPicPr>
              <p:cNvPr id="9" name="Ink 8">
                <a:extLst>
                  <a:ext uri="{FF2B5EF4-FFF2-40B4-BE49-F238E27FC236}">
                    <a16:creationId xmlns:a16="http://schemas.microsoft.com/office/drawing/2014/main" id="{D773F4FC-5A30-C5B9-5F5C-2F1384DA3600}"/>
                  </a:ext>
                </a:extLst>
              </p:cNvPr>
              <p:cNvPicPr/>
              <p:nvPr/>
            </p:nvPicPr>
            <p:blipFill>
              <a:blip r:embed="rId215"/>
              <a:stretch>
                <a:fillRect/>
              </a:stretch>
            </p:blipFill>
            <p:spPr>
              <a:xfrm>
                <a:off x="7436621" y="4229492"/>
                <a:ext cx="727560" cy="562320"/>
              </a:xfrm>
              <a:prstGeom prst="rect">
                <a:avLst/>
              </a:prstGeom>
            </p:spPr>
          </p:pic>
        </mc:Fallback>
      </mc:AlternateContent>
      <p:grpSp>
        <p:nvGrpSpPr>
          <p:cNvPr id="34" name="Group 33">
            <a:extLst>
              <a:ext uri="{FF2B5EF4-FFF2-40B4-BE49-F238E27FC236}">
                <a16:creationId xmlns:a16="http://schemas.microsoft.com/office/drawing/2014/main" id="{578B6438-2085-A24C-A685-5A042181E54F}"/>
              </a:ext>
            </a:extLst>
          </p:cNvPr>
          <p:cNvGrpSpPr/>
          <p:nvPr/>
        </p:nvGrpSpPr>
        <p:grpSpPr>
          <a:xfrm>
            <a:off x="6226661" y="3189092"/>
            <a:ext cx="648000" cy="362520"/>
            <a:chOff x="6226661" y="3189092"/>
            <a:chExt cx="648000" cy="3625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16">
              <p14:nvContentPartPr>
                <p14:cNvPr id="10" name="Ink 9">
                  <a:extLst>
                    <a:ext uri="{FF2B5EF4-FFF2-40B4-BE49-F238E27FC236}">
                      <a16:creationId xmlns:a16="http://schemas.microsoft.com/office/drawing/2014/main" id="{A6C833E3-F017-B97D-94D4-F8A704677ED6}"/>
                    </a:ext>
                  </a:extLst>
                </p14:cNvPr>
                <p14:cNvContentPartPr/>
                <p14:nvPr/>
              </p14:nvContentPartPr>
              <p14:xfrm>
                <a:off x="6247181" y="3227972"/>
                <a:ext cx="50400" cy="323640"/>
              </p14:xfrm>
            </p:contentPart>
          </mc:Choice>
          <mc:Fallback>
            <p:pic>
              <p:nvPicPr>
                <p:cNvPr id="10" name="Ink 9">
                  <a:extLst>
                    <a:ext uri="{FF2B5EF4-FFF2-40B4-BE49-F238E27FC236}">
                      <a16:creationId xmlns:a16="http://schemas.microsoft.com/office/drawing/2014/main" id="{A6C833E3-F017-B97D-94D4-F8A704677ED6}"/>
                    </a:ext>
                  </a:extLst>
                </p:cNvPr>
                <p:cNvPicPr/>
                <p:nvPr/>
              </p:nvPicPr>
              <p:blipFill>
                <a:blip r:embed="rId217"/>
                <a:stretch>
                  <a:fillRect/>
                </a:stretch>
              </p:blipFill>
              <p:spPr>
                <a:xfrm>
                  <a:off x="6232061" y="3212852"/>
                  <a:ext cx="81000" cy="354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18">
              <p14:nvContentPartPr>
                <p14:cNvPr id="32" name="Ink 31">
                  <a:extLst>
                    <a:ext uri="{FF2B5EF4-FFF2-40B4-BE49-F238E27FC236}">
                      <a16:creationId xmlns:a16="http://schemas.microsoft.com/office/drawing/2014/main" id="{88C0824C-DE87-31E7-4530-131F119F517F}"/>
                    </a:ext>
                  </a:extLst>
                </p14:cNvPr>
                <p14:cNvContentPartPr/>
                <p14:nvPr/>
              </p14:nvContentPartPr>
              <p14:xfrm>
                <a:off x="6226661" y="3189092"/>
                <a:ext cx="640440" cy="288360"/>
              </p14:xfrm>
            </p:contentPart>
          </mc:Choice>
          <mc:Fallback>
            <p:pic>
              <p:nvPicPr>
                <p:cNvPr id="32" name="Ink 31">
                  <a:extLst>
                    <a:ext uri="{FF2B5EF4-FFF2-40B4-BE49-F238E27FC236}">
                      <a16:creationId xmlns:a16="http://schemas.microsoft.com/office/drawing/2014/main" id="{88C0824C-DE87-31E7-4530-131F119F517F}"/>
                    </a:ext>
                  </a:extLst>
                </p:cNvPr>
                <p:cNvPicPr/>
                <p:nvPr/>
              </p:nvPicPr>
              <p:blipFill>
                <a:blip r:embed="rId219"/>
                <a:stretch>
                  <a:fillRect/>
                </a:stretch>
              </p:blipFill>
              <p:spPr>
                <a:xfrm>
                  <a:off x="6211541" y="3173972"/>
                  <a:ext cx="670680" cy="318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20">
              <p14:nvContentPartPr>
                <p14:cNvPr id="33" name="Ink 32">
                  <a:extLst>
                    <a:ext uri="{FF2B5EF4-FFF2-40B4-BE49-F238E27FC236}">
                      <a16:creationId xmlns:a16="http://schemas.microsoft.com/office/drawing/2014/main" id="{DDAF4FF4-AD6E-8E2B-7945-624D54A862DB}"/>
                    </a:ext>
                  </a:extLst>
                </p14:cNvPr>
                <p14:cNvContentPartPr/>
                <p14:nvPr/>
              </p14:nvContentPartPr>
              <p14:xfrm>
                <a:off x="6328181" y="3488612"/>
                <a:ext cx="546480" cy="32760"/>
              </p14:xfrm>
            </p:contentPart>
          </mc:Choice>
          <mc:Fallback>
            <p:pic>
              <p:nvPicPr>
                <p:cNvPr id="33" name="Ink 32">
                  <a:extLst>
                    <a:ext uri="{FF2B5EF4-FFF2-40B4-BE49-F238E27FC236}">
                      <a16:creationId xmlns:a16="http://schemas.microsoft.com/office/drawing/2014/main" id="{DDAF4FF4-AD6E-8E2B-7945-624D54A862DB}"/>
                    </a:ext>
                  </a:extLst>
                </p:cNvPr>
                <p:cNvPicPr/>
                <p:nvPr/>
              </p:nvPicPr>
              <p:blipFill>
                <a:blip r:embed="rId221"/>
                <a:stretch>
                  <a:fillRect/>
                </a:stretch>
              </p:blipFill>
              <p:spPr>
                <a:xfrm>
                  <a:off x="6313061" y="3473132"/>
                  <a:ext cx="577080" cy="633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FF45C990-31AA-2280-E2CB-50F0697ECF3E}"/>
              </a:ext>
            </a:extLst>
          </p:cNvPr>
          <p:cNvGrpSpPr/>
          <p:nvPr/>
        </p:nvGrpSpPr>
        <p:grpSpPr>
          <a:xfrm>
            <a:off x="7466861" y="4295732"/>
            <a:ext cx="626400" cy="386640"/>
            <a:chOff x="7466861" y="4295732"/>
            <a:chExt cx="626400" cy="3866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22">
              <p14:nvContentPartPr>
                <p14:cNvPr id="35" name="Ink 34">
                  <a:extLst>
                    <a:ext uri="{FF2B5EF4-FFF2-40B4-BE49-F238E27FC236}">
                      <a16:creationId xmlns:a16="http://schemas.microsoft.com/office/drawing/2014/main" id="{E5ED5994-1AB7-5717-B503-AC8952B32C29}"/>
                    </a:ext>
                  </a:extLst>
                </p14:cNvPr>
                <p14:cNvContentPartPr/>
                <p14:nvPr/>
              </p14:nvContentPartPr>
              <p14:xfrm>
                <a:off x="7479461" y="4349012"/>
                <a:ext cx="39240" cy="303480"/>
              </p14:xfrm>
            </p:contentPart>
          </mc:Choice>
          <mc:Fallback>
            <p:pic>
              <p:nvPicPr>
                <p:cNvPr id="35" name="Ink 34">
                  <a:extLst>
                    <a:ext uri="{FF2B5EF4-FFF2-40B4-BE49-F238E27FC236}">
                      <a16:creationId xmlns:a16="http://schemas.microsoft.com/office/drawing/2014/main" id="{E5ED5994-1AB7-5717-B503-AC8952B32C29}"/>
                    </a:ext>
                  </a:extLst>
                </p:cNvPr>
                <p:cNvPicPr/>
                <p:nvPr/>
              </p:nvPicPr>
              <p:blipFill>
                <a:blip r:embed="rId223"/>
                <a:stretch>
                  <a:fillRect/>
                </a:stretch>
              </p:blipFill>
              <p:spPr>
                <a:xfrm>
                  <a:off x="7463981" y="4333532"/>
                  <a:ext cx="69840" cy="334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24">
              <p14:nvContentPartPr>
                <p14:cNvPr id="36" name="Ink 35">
                  <a:extLst>
                    <a:ext uri="{FF2B5EF4-FFF2-40B4-BE49-F238E27FC236}">
                      <a16:creationId xmlns:a16="http://schemas.microsoft.com/office/drawing/2014/main" id="{94C5B897-74A7-08FF-2BAF-29259DD51BAA}"/>
                    </a:ext>
                  </a:extLst>
                </p14:cNvPr>
                <p14:cNvContentPartPr/>
                <p14:nvPr/>
              </p14:nvContentPartPr>
              <p14:xfrm>
                <a:off x="7466861" y="4295732"/>
                <a:ext cx="626400" cy="386640"/>
              </p14:xfrm>
            </p:contentPart>
          </mc:Choice>
          <mc:Fallback>
            <p:pic>
              <p:nvPicPr>
                <p:cNvPr id="36" name="Ink 35">
                  <a:extLst>
                    <a:ext uri="{FF2B5EF4-FFF2-40B4-BE49-F238E27FC236}">
                      <a16:creationId xmlns:a16="http://schemas.microsoft.com/office/drawing/2014/main" id="{94C5B897-74A7-08FF-2BAF-29259DD51BAA}"/>
                    </a:ext>
                  </a:extLst>
                </p:cNvPr>
                <p:cNvPicPr/>
                <p:nvPr/>
              </p:nvPicPr>
              <p:blipFill>
                <a:blip r:embed="rId225"/>
                <a:stretch>
                  <a:fillRect/>
                </a:stretch>
              </p:blipFill>
              <p:spPr>
                <a:xfrm>
                  <a:off x="7451741" y="4280612"/>
                  <a:ext cx="656640" cy="417240"/>
                </a:xfrm>
                <a:prstGeom prst="rect">
                  <a:avLst/>
                </a:prstGeom>
              </p:spPr>
            </p:pic>
          </mc:Fallback>
        </mc:AlternateContent>
      </p:grp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A7F995-9E40-B9C5-7C7C-78762600B4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F80961-B9AD-6A19-D92B-8C90841A411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A668531-77AC-B9C4-9099-38FA7D1B7857}"/>
              </a:ext>
            </a:extLst>
          </p:cNvPr>
          <p:cNvGrpSpPr/>
          <p:nvPr/>
        </p:nvGrpSpPr>
        <p:grpSpPr>
          <a:xfrm>
            <a:off x="2221661" y="2534252"/>
            <a:ext cx="1914480" cy="486720"/>
            <a:chOff x="2221661" y="2534252"/>
            <a:chExt cx="1914480" cy="4867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">
              <p14:nvContentPartPr>
                <p14:cNvPr id="4" name="Ink 3">
                  <a:extLst>
                    <a:ext uri="{FF2B5EF4-FFF2-40B4-BE49-F238E27FC236}">
                      <a16:creationId xmlns:a16="http://schemas.microsoft.com/office/drawing/2014/main" id="{F9A865AD-E5EC-7A52-EDE6-9773DBF9A59F}"/>
                    </a:ext>
                  </a:extLst>
                </p14:cNvPr>
                <p14:cNvContentPartPr/>
                <p14:nvPr/>
              </p14:nvContentPartPr>
              <p14:xfrm>
                <a:off x="2265941" y="2757812"/>
                <a:ext cx="720" cy="6120"/>
              </p14:xfrm>
            </p:contentPart>
          </mc:Choice>
          <mc:Fallback>
            <p:pic>
              <p:nvPicPr>
                <p:cNvPr id="4" name="Ink 3">
                  <a:extLst>
                    <a:ext uri="{FF2B5EF4-FFF2-40B4-BE49-F238E27FC236}">
                      <a16:creationId xmlns:a16="http://schemas.microsoft.com/office/drawing/2014/main" id="{F9A865AD-E5EC-7A52-EDE6-9773DBF9A59F}"/>
                    </a:ext>
                  </a:extLst>
                </p:cNvPr>
                <p:cNvPicPr/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2250461" y="2742332"/>
                  <a:ext cx="31320" cy="36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">
              <p14:nvContentPartPr>
                <p14:cNvPr id="5" name="Ink 4">
                  <a:extLst>
                    <a:ext uri="{FF2B5EF4-FFF2-40B4-BE49-F238E27FC236}">
                      <a16:creationId xmlns:a16="http://schemas.microsoft.com/office/drawing/2014/main" id="{71E4AB61-10EC-9514-327C-C23657B3962D}"/>
                    </a:ext>
                  </a:extLst>
                </p14:cNvPr>
                <p14:cNvContentPartPr/>
                <p14:nvPr/>
              </p14:nvContentPartPr>
              <p14:xfrm>
                <a:off x="2221661" y="2695892"/>
                <a:ext cx="162000" cy="302400"/>
              </p14:xfrm>
            </p:contentPart>
          </mc:Choice>
          <mc:Fallback>
            <p:pic>
              <p:nvPicPr>
                <p:cNvPr id="5" name="Ink 4">
                  <a:extLst>
                    <a:ext uri="{FF2B5EF4-FFF2-40B4-BE49-F238E27FC236}">
                      <a16:creationId xmlns:a16="http://schemas.microsoft.com/office/drawing/2014/main" id="{71E4AB61-10EC-9514-327C-C23657B3962D}"/>
                    </a:ext>
                  </a:extLst>
                </p:cNvPr>
                <p:cNvPicPr/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2206541" y="2680772"/>
                  <a:ext cx="192600" cy="333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">
              <p14:nvContentPartPr>
                <p14:cNvPr id="6" name="Ink 5">
                  <a:extLst>
                    <a:ext uri="{FF2B5EF4-FFF2-40B4-BE49-F238E27FC236}">
                      <a16:creationId xmlns:a16="http://schemas.microsoft.com/office/drawing/2014/main" id="{C651A8C3-251C-A15D-39B6-0C87B2B610B2}"/>
                    </a:ext>
                  </a:extLst>
                </p14:cNvPr>
                <p14:cNvContentPartPr/>
                <p14:nvPr/>
              </p14:nvContentPartPr>
              <p14:xfrm>
                <a:off x="2453861" y="2669252"/>
                <a:ext cx="130320" cy="295560"/>
              </p14:xfrm>
            </p:contentPart>
          </mc:Choice>
          <mc:Fallback>
            <p:pic>
              <p:nvPicPr>
                <p:cNvPr id="6" name="Ink 5">
                  <a:extLst>
                    <a:ext uri="{FF2B5EF4-FFF2-40B4-BE49-F238E27FC236}">
                      <a16:creationId xmlns:a16="http://schemas.microsoft.com/office/drawing/2014/main" id="{C651A8C3-251C-A15D-39B6-0C87B2B610B2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2438741" y="2654132"/>
                  <a:ext cx="160560" cy="326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">
              <p14:nvContentPartPr>
                <p14:cNvPr id="7" name="Ink 6">
                  <a:extLst>
                    <a:ext uri="{FF2B5EF4-FFF2-40B4-BE49-F238E27FC236}">
                      <a16:creationId xmlns:a16="http://schemas.microsoft.com/office/drawing/2014/main" id="{D35422E5-843C-6069-E33E-EFFDFC418CCC}"/>
                    </a:ext>
                  </a:extLst>
                </p14:cNvPr>
                <p14:cNvContentPartPr/>
                <p14:nvPr/>
              </p14:nvContentPartPr>
              <p14:xfrm>
                <a:off x="2713061" y="2709932"/>
                <a:ext cx="172080" cy="200880"/>
              </p14:xfrm>
            </p:contentPart>
          </mc:Choice>
          <mc:Fallback>
            <p:pic>
              <p:nvPicPr>
                <p:cNvPr id="7" name="Ink 6">
                  <a:extLst>
                    <a:ext uri="{FF2B5EF4-FFF2-40B4-BE49-F238E27FC236}">
                      <a16:creationId xmlns:a16="http://schemas.microsoft.com/office/drawing/2014/main" id="{D35422E5-843C-6069-E33E-EFFDFC418CCC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2697581" y="2694812"/>
                  <a:ext cx="202320" cy="231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">
              <p14:nvContentPartPr>
                <p14:cNvPr id="8" name="Ink 7">
                  <a:extLst>
                    <a:ext uri="{FF2B5EF4-FFF2-40B4-BE49-F238E27FC236}">
                      <a16:creationId xmlns:a16="http://schemas.microsoft.com/office/drawing/2014/main" id="{8EABCDE5-00D9-CD12-BDC2-1E606D470A86}"/>
                    </a:ext>
                  </a:extLst>
                </p14:cNvPr>
                <p14:cNvContentPartPr/>
                <p14:nvPr/>
              </p14:nvContentPartPr>
              <p14:xfrm>
                <a:off x="2976221" y="2738372"/>
                <a:ext cx="63360" cy="249480"/>
              </p14:xfrm>
            </p:contentPart>
          </mc:Choice>
          <mc:Fallback>
            <p:pic>
              <p:nvPicPr>
                <p:cNvPr id="8" name="Ink 7">
                  <a:extLst>
                    <a:ext uri="{FF2B5EF4-FFF2-40B4-BE49-F238E27FC236}">
                      <a16:creationId xmlns:a16="http://schemas.microsoft.com/office/drawing/2014/main" id="{8EABCDE5-00D9-CD12-BDC2-1E606D470A86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2961101" y="2723252"/>
                  <a:ext cx="93960" cy="280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">
              <p14:nvContentPartPr>
                <p14:cNvPr id="9" name="Ink 8">
                  <a:extLst>
                    <a:ext uri="{FF2B5EF4-FFF2-40B4-BE49-F238E27FC236}">
                      <a16:creationId xmlns:a16="http://schemas.microsoft.com/office/drawing/2014/main" id="{D3DB4731-C737-5A5D-946C-C1B36BA80E61}"/>
                    </a:ext>
                  </a:extLst>
                </p14:cNvPr>
                <p14:cNvContentPartPr/>
                <p14:nvPr/>
              </p14:nvContentPartPr>
              <p14:xfrm>
                <a:off x="3184301" y="2803172"/>
                <a:ext cx="92520" cy="6840"/>
              </p14:xfrm>
            </p:contentPart>
          </mc:Choice>
          <mc:Fallback>
            <p:pic>
              <p:nvPicPr>
                <p:cNvPr id="9" name="Ink 8">
                  <a:extLst>
                    <a:ext uri="{FF2B5EF4-FFF2-40B4-BE49-F238E27FC236}">
                      <a16:creationId xmlns:a16="http://schemas.microsoft.com/office/drawing/2014/main" id="{D3DB4731-C737-5A5D-946C-C1B36BA80E61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3168821" y="2788052"/>
                  <a:ext cx="123120" cy="37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">
              <p14:nvContentPartPr>
                <p14:cNvPr id="10" name="Ink 9">
                  <a:extLst>
                    <a:ext uri="{FF2B5EF4-FFF2-40B4-BE49-F238E27FC236}">
                      <a16:creationId xmlns:a16="http://schemas.microsoft.com/office/drawing/2014/main" id="{BD47C829-4EA5-1094-646C-6AB4893E6F93}"/>
                    </a:ext>
                  </a:extLst>
                </p14:cNvPr>
                <p14:cNvContentPartPr/>
                <p14:nvPr/>
              </p14:nvContentPartPr>
              <p14:xfrm>
                <a:off x="3226061" y="2904692"/>
                <a:ext cx="94320" cy="22320"/>
              </p14:xfrm>
            </p:contentPart>
          </mc:Choice>
          <mc:Fallback>
            <p:pic>
              <p:nvPicPr>
                <p:cNvPr id="10" name="Ink 9">
                  <a:extLst>
                    <a:ext uri="{FF2B5EF4-FFF2-40B4-BE49-F238E27FC236}">
                      <a16:creationId xmlns:a16="http://schemas.microsoft.com/office/drawing/2014/main" id="{BD47C829-4EA5-1094-646C-6AB4893E6F93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3210581" y="2889212"/>
                  <a:ext cx="124920" cy="52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">
              <p14:nvContentPartPr>
                <p14:cNvPr id="11" name="Ink 10">
                  <a:extLst>
                    <a:ext uri="{FF2B5EF4-FFF2-40B4-BE49-F238E27FC236}">
                      <a16:creationId xmlns:a16="http://schemas.microsoft.com/office/drawing/2014/main" id="{5E164EC9-F5DD-F82B-23F4-FAE3351A12DF}"/>
                    </a:ext>
                  </a:extLst>
                </p14:cNvPr>
                <p14:cNvContentPartPr/>
                <p14:nvPr/>
              </p14:nvContentPartPr>
              <p14:xfrm>
                <a:off x="3642581" y="2534252"/>
                <a:ext cx="126360" cy="312840"/>
              </p14:xfrm>
            </p:contentPart>
          </mc:Choice>
          <mc:Fallback>
            <p:pic>
              <p:nvPicPr>
                <p:cNvPr id="11" name="Ink 10">
                  <a:extLst>
                    <a:ext uri="{FF2B5EF4-FFF2-40B4-BE49-F238E27FC236}">
                      <a16:creationId xmlns:a16="http://schemas.microsoft.com/office/drawing/2014/main" id="{5E164EC9-F5DD-F82B-23F4-FAE3351A12DF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3627101" y="2519132"/>
                  <a:ext cx="156600" cy="343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8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2F0CEBFC-CD83-5602-63AA-12B598AC8C15}"/>
                    </a:ext>
                  </a:extLst>
                </p14:cNvPr>
                <p14:cNvContentPartPr/>
                <p14:nvPr/>
              </p14:nvContentPartPr>
              <p14:xfrm>
                <a:off x="3890261" y="2647652"/>
                <a:ext cx="82440" cy="137160"/>
              </p14:xfrm>
            </p:contentPart>
          </mc:Choice>
          <mc:Fallback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2F0CEBFC-CD83-5602-63AA-12B598AC8C15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3874781" y="2632172"/>
                  <a:ext cx="113040" cy="167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0">
              <p14:nvContentPartPr>
                <p14:cNvPr id="13" name="Ink 12">
                  <a:extLst>
                    <a:ext uri="{FF2B5EF4-FFF2-40B4-BE49-F238E27FC236}">
                      <a16:creationId xmlns:a16="http://schemas.microsoft.com/office/drawing/2014/main" id="{ADA08F15-2C36-1A3D-43FC-148BC08A240A}"/>
                    </a:ext>
                  </a:extLst>
                </p14:cNvPr>
                <p14:cNvContentPartPr/>
                <p14:nvPr/>
              </p14:nvContentPartPr>
              <p14:xfrm>
                <a:off x="3497141" y="2999732"/>
                <a:ext cx="639000" cy="21240"/>
              </p14:xfrm>
            </p:contentPart>
          </mc:Choice>
          <mc:Fallback>
            <p:pic>
              <p:nvPicPr>
                <p:cNvPr id="13" name="Ink 12">
                  <a:extLst>
                    <a:ext uri="{FF2B5EF4-FFF2-40B4-BE49-F238E27FC236}">
                      <a16:creationId xmlns:a16="http://schemas.microsoft.com/office/drawing/2014/main" id="{ADA08F15-2C36-1A3D-43FC-148BC08A240A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3482021" y="2984612"/>
                  <a:ext cx="669600" cy="518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151A850-73FA-715F-1005-E6031D0AAC94}"/>
              </a:ext>
            </a:extLst>
          </p:cNvPr>
          <p:cNvGrpSpPr/>
          <p:nvPr/>
        </p:nvGrpSpPr>
        <p:grpSpPr>
          <a:xfrm>
            <a:off x="3648341" y="3162092"/>
            <a:ext cx="419760" cy="126360"/>
            <a:chOff x="3648341" y="3162092"/>
            <a:chExt cx="419760" cy="1263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2">
              <p14:nvContentPartPr>
                <p14:cNvPr id="14" name="Ink 13">
                  <a:extLst>
                    <a:ext uri="{FF2B5EF4-FFF2-40B4-BE49-F238E27FC236}">
                      <a16:creationId xmlns:a16="http://schemas.microsoft.com/office/drawing/2014/main" id="{C091526C-68F8-1DBB-DD76-5681F37A15E5}"/>
                    </a:ext>
                  </a:extLst>
                </p14:cNvPr>
                <p14:cNvContentPartPr/>
                <p14:nvPr/>
              </p14:nvContentPartPr>
              <p14:xfrm>
                <a:off x="3648341" y="3162092"/>
                <a:ext cx="253800" cy="123120"/>
              </p14:xfrm>
            </p:contentPart>
          </mc:Choice>
          <mc:Fallback>
            <p:pic>
              <p:nvPicPr>
                <p:cNvPr id="14" name="Ink 13">
                  <a:extLst>
                    <a:ext uri="{FF2B5EF4-FFF2-40B4-BE49-F238E27FC236}">
                      <a16:creationId xmlns:a16="http://schemas.microsoft.com/office/drawing/2014/main" id="{C091526C-68F8-1DBB-DD76-5681F37A15E5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3632861" y="3146612"/>
                  <a:ext cx="284040" cy="153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4">
              <p14:nvContentPartPr>
                <p14:cNvPr id="15" name="Ink 14">
                  <a:extLst>
                    <a:ext uri="{FF2B5EF4-FFF2-40B4-BE49-F238E27FC236}">
                      <a16:creationId xmlns:a16="http://schemas.microsoft.com/office/drawing/2014/main" id="{5509986D-5CE8-A3A2-13FF-1D5D5541197F}"/>
                    </a:ext>
                  </a:extLst>
                </p14:cNvPr>
                <p14:cNvContentPartPr/>
                <p14:nvPr/>
              </p14:nvContentPartPr>
              <p14:xfrm>
                <a:off x="3983861" y="3182252"/>
                <a:ext cx="84240" cy="106200"/>
              </p14:xfrm>
            </p:contentPart>
          </mc:Choice>
          <mc:Fallback>
            <p:pic>
              <p:nvPicPr>
                <p:cNvPr id="15" name="Ink 14">
                  <a:extLst>
                    <a:ext uri="{FF2B5EF4-FFF2-40B4-BE49-F238E27FC236}">
                      <a16:creationId xmlns:a16="http://schemas.microsoft.com/office/drawing/2014/main" id="{5509986D-5CE8-A3A2-13FF-1D5D5541197F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3968741" y="3166772"/>
                  <a:ext cx="114480" cy="1368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E3888FBA-E8E2-270C-FEC6-F7CA13465539}"/>
              </a:ext>
            </a:extLst>
          </p:cNvPr>
          <p:cNvGrpSpPr/>
          <p:nvPr/>
        </p:nvGrpSpPr>
        <p:grpSpPr>
          <a:xfrm>
            <a:off x="5105981" y="2570972"/>
            <a:ext cx="2494440" cy="282240"/>
            <a:chOff x="5105981" y="2570972"/>
            <a:chExt cx="2494440" cy="2822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6">
              <p14:nvContentPartPr>
                <p14:cNvPr id="18" name="Ink 17">
                  <a:extLst>
                    <a:ext uri="{FF2B5EF4-FFF2-40B4-BE49-F238E27FC236}">
                      <a16:creationId xmlns:a16="http://schemas.microsoft.com/office/drawing/2014/main" id="{03DCB5AF-02AC-BECC-D52D-EEE50AAE9761}"/>
                    </a:ext>
                  </a:extLst>
                </p14:cNvPr>
                <p14:cNvContentPartPr/>
                <p14:nvPr/>
              </p14:nvContentPartPr>
              <p14:xfrm>
                <a:off x="5105981" y="2570972"/>
                <a:ext cx="147960" cy="282240"/>
              </p14:xfrm>
            </p:contentPart>
          </mc:Choice>
          <mc:Fallback>
            <p:pic>
              <p:nvPicPr>
                <p:cNvPr id="18" name="Ink 17">
                  <a:extLst>
                    <a:ext uri="{FF2B5EF4-FFF2-40B4-BE49-F238E27FC236}">
                      <a16:creationId xmlns:a16="http://schemas.microsoft.com/office/drawing/2014/main" id="{03DCB5AF-02AC-BECC-D52D-EEE50AAE9761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5090501" y="2555492"/>
                  <a:ext cx="178560" cy="312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8">
              <p14:nvContentPartPr>
                <p14:cNvPr id="19" name="Ink 18">
                  <a:extLst>
                    <a:ext uri="{FF2B5EF4-FFF2-40B4-BE49-F238E27FC236}">
                      <a16:creationId xmlns:a16="http://schemas.microsoft.com/office/drawing/2014/main" id="{EE60DAED-AC0B-1834-43E6-8157EF506C33}"/>
                    </a:ext>
                  </a:extLst>
                </p14:cNvPr>
                <p14:cNvContentPartPr/>
                <p14:nvPr/>
              </p14:nvContentPartPr>
              <p14:xfrm>
                <a:off x="5302181" y="2606252"/>
                <a:ext cx="115560" cy="244800"/>
              </p14:xfrm>
            </p:contentPart>
          </mc:Choice>
          <mc:Fallback>
            <p:pic>
              <p:nvPicPr>
                <p:cNvPr id="19" name="Ink 18">
                  <a:extLst>
                    <a:ext uri="{FF2B5EF4-FFF2-40B4-BE49-F238E27FC236}">
                      <a16:creationId xmlns:a16="http://schemas.microsoft.com/office/drawing/2014/main" id="{EE60DAED-AC0B-1834-43E6-8157EF506C33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5286701" y="2591132"/>
                  <a:ext cx="146160" cy="275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0">
              <p14:nvContentPartPr>
                <p14:cNvPr id="20" name="Ink 19">
                  <a:extLst>
                    <a:ext uri="{FF2B5EF4-FFF2-40B4-BE49-F238E27FC236}">
                      <a16:creationId xmlns:a16="http://schemas.microsoft.com/office/drawing/2014/main" id="{ED2DECA6-B1A1-7C86-9774-C19598827C65}"/>
                    </a:ext>
                  </a:extLst>
                </p14:cNvPr>
                <p14:cNvContentPartPr/>
                <p14:nvPr/>
              </p14:nvContentPartPr>
              <p14:xfrm>
                <a:off x="5496221" y="2573492"/>
                <a:ext cx="137520" cy="241560"/>
              </p14:xfrm>
            </p:contentPart>
          </mc:Choice>
          <mc:Fallback>
            <p:pic>
              <p:nvPicPr>
                <p:cNvPr id="20" name="Ink 19">
                  <a:extLst>
                    <a:ext uri="{FF2B5EF4-FFF2-40B4-BE49-F238E27FC236}">
                      <a16:creationId xmlns:a16="http://schemas.microsoft.com/office/drawing/2014/main" id="{ED2DECA6-B1A1-7C86-9774-C19598827C65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5481101" y="2558372"/>
                  <a:ext cx="168120" cy="272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2">
              <p14:nvContentPartPr>
                <p14:cNvPr id="21" name="Ink 20">
                  <a:extLst>
                    <a:ext uri="{FF2B5EF4-FFF2-40B4-BE49-F238E27FC236}">
                      <a16:creationId xmlns:a16="http://schemas.microsoft.com/office/drawing/2014/main" id="{DB549BF3-0EC2-49F4-A80F-7282D989A086}"/>
                    </a:ext>
                  </a:extLst>
                </p14:cNvPr>
                <p14:cNvContentPartPr/>
                <p14:nvPr/>
              </p14:nvContentPartPr>
              <p14:xfrm>
                <a:off x="5469581" y="2753132"/>
                <a:ext cx="190080" cy="73080"/>
              </p14:xfrm>
            </p:contentPart>
          </mc:Choice>
          <mc:Fallback>
            <p:pic>
              <p:nvPicPr>
                <p:cNvPr id="21" name="Ink 20">
                  <a:extLst>
                    <a:ext uri="{FF2B5EF4-FFF2-40B4-BE49-F238E27FC236}">
                      <a16:creationId xmlns:a16="http://schemas.microsoft.com/office/drawing/2014/main" id="{DB549BF3-0EC2-49F4-A80F-7282D989A086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5454461" y="2738012"/>
                  <a:ext cx="220680" cy="103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4">
              <p14:nvContentPartPr>
                <p14:cNvPr id="22" name="Ink 21">
                  <a:extLst>
                    <a:ext uri="{FF2B5EF4-FFF2-40B4-BE49-F238E27FC236}">
                      <a16:creationId xmlns:a16="http://schemas.microsoft.com/office/drawing/2014/main" id="{2AB73685-B966-4756-CC08-590D7FA90655}"/>
                    </a:ext>
                  </a:extLst>
                </p14:cNvPr>
                <p14:cNvContentPartPr/>
                <p14:nvPr/>
              </p14:nvContentPartPr>
              <p14:xfrm>
                <a:off x="5672981" y="2712092"/>
                <a:ext cx="168120" cy="121680"/>
              </p14:xfrm>
            </p:contentPart>
          </mc:Choice>
          <mc:Fallback>
            <p:pic>
              <p:nvPicPr>
                <p:cNvPr id="22" name="Ink 21">
                  <a:extLst>
                    <a:ext uri="{FF2B5EF4-FFF2-40B4-BE49-F238E27FC236}">
                      <a16:creationId xmlns:a16="http://schemas.microsoft.com/office/drawing/2014/main" id="{2AB73685-B966-4756-CC08-590D7FA90655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5657861" y="2696612"/>
                  <a:ext cx="198720" cy="151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6">
              <p14:nvContentPartPr>
                <p14:cNvPr id="23" name="Ink 22">
                  <a:extLst>
                    <a:ext uri="{FF2B5EF4-FFF2-40B4-BE49-F238E27FC236}">
                      <a16:creationId xmlns:a16="http://schemas.microsoft.com/office/drawing/2014/main" id="{C635A3F4-7F93-5177-05E7-9429726EC00B}"/>
                    </a:ext>
                  </a:extLst>
                </p14:cNvPr>
                <p14:cNvContentPartPr/>
                <p14:nvPr/>
              </p14:nvContentPartPr>
              <p14:xfrm>
                <a:off x="5897981" y="2659532"/>
                <a:ext cx="155520" cy="137160"/>
              </p14:xfrm>
            </p:contentPart>
          </mc:Choice>
          <mc:Fallback>
            <p:pic>
              <p:nvPicPr>
                <p:cNvPr id="23" name="Ink 22">
                  <a:extLst>
                    <a:ext uri="{FF2B5EF4-FFF2-40B4-BE49-F238E27FC236}">
                      <a16:creationId xmlns:a16="http://schemas.microsoft.com/office/drawing/2014/main" id="{C635A3F4-7F93-5177-05E7-9429726EC00B}"/>
                    </a:ext>
                  </a:extLst>
                </p:cNvPr>
                <p:cNvPicPr/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5882861" y="2644412"/>
                  <a:ext cx="186120" cy="167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8">
              <p14:nvContentPartPr>
                <p14:cNvPr id="24" name="Ink 23">
                  <a:extLst>
                    <a:ext uri="{FF2B5EF4-FFF2-40B4-BE49-F238E27FC236}">
                      <a16:creationId xmlns:a16="http://schemas.microsoft.com/office/drawing/2014/main" id="{5B62E7DE-B320-BA33-9CFE-75C686B7330A}"/>
                    </a:ext>
                  </a:extLst>
                </p14:cNvPr>
                <p14:cNvContentPartPr/>
                <p14:nvPr/>
              </p14:nvContentPartPr>
              <p14:xfrm>
                <a:off x="6087701" y="2703092"/>
                <a:ext cx="144720" cy="88560"/>
              </p14:xfrm>
            </p:contentPart>
          </mc:Choice>
          <mc:Fallback>
            <p:pic>
              <p:nvPicPr>
                <p:cNvPr id="24" name="Ink 23">
                  <a:extLst>
                    <a:ext uri="{FF2B5EF4-FFF2-40B4-BE49-F238E27FC236}">
                      <a16:creationId xmlns:a16="http://schemas.microsoft.com/office/drawing/2014/main" id="{5B62E7DE-B320-BA33-9CFE-75C686B7330A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6072221" y="2687972"/>
                  <a:ext cx="175320" cy="119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0">
              <p14:nvContentPartPr>
                <p14:cNvPr id="25" name="Ink 24">
                  <a:extLst>
                    <a:ext uri="{FF2B5EF4-FFF2-40B4-BE49-F238E27FC236}">
                      <a16:creationId xmlns:a16="http://schemas.microsoft.com/office/drawing/2014/main" id="{1CB9530C-AF6D-45E4-DF8E-7AD6B17C96DF}"/>
                    </a:ext>
                  </a:extLst>
                </p14:cNvPr>
                <p14:cNvContentPartPr/>
                <p14:nvPr/>
              </p14:nvContentPartPr>
              <p14:xfrm>
                <a:off x="6354461" y="2648012"/>
                <a:ext cx="147240" cy="131040"/>
              </p14:xfrm>
            </p:contentPart>
          </mc:Choice>
          <mc:Fallback>
            <p:pic>
              <p:nvPicPr>
                <p:cNvPr id="25" name="Ink 24">
                  <a:extLst>
                    <a:ext uri="{FF2B5EF4-FFF2-40B4-BE49-F238E27FC236}">
                      <a16:creationId xmlns:a16="http://schemas.microsoft.com/office/drawing/2014/main" id="{1CB9530C-AF6D-45E4-DF8E-7AD6B17C96DF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6339341" y="2632892"/>
                  <a:ext cx="177840" cy="161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2">
              <p14:nvContentPartPr>
                <p14:cNvPr id="26" name="Ink 25">
                  <a:extLst>
                    <a:ext uri="{FF2B5EF4-FFF2-40B4-BE49-F238E27FC236}">
                      <a16:creationId xmlns:a16="http://schemas.microsoft.com/office/drawing/2014/main" id="{F499B9B1-BCAD-F12E-F6C6-4F8B3CB74DD9}"/>
                    </a:ext>
                  </a:extLst>
                </p14:cNvPr>
                <p14:cNvContentPartPr/>
                <p14:nvPr/>
              </p14:nvContentPartPr>
              <p14:xfrm>
                <a:off x="6199301" y="2723252"/>
                <a:ext cx="84240" cy="92520"/>
              </p14:xfrm>
            </p:contentPart>
          </mc:Choice>
          <mc:Fallback>
            <p:pic>
              <p:nvPicPr>
                <p:cNvPr id="26" name="Ink 25">
                  <a:extLst>
                    <a:ext uri="{FF2B5EF4-FFF2-40B4-BE49-F238E27FC236}">
                      <a16:creationId xmlns:a16="http://schemas.microsoft.com/office/drawing/2014/main" id="{F499B9B1-BCAD-F12E-F6C6-4F8B3CB74DD9}"/>
                    </a:ext>
                  </a:extLst>
                </p:cNvPr>
                <p:cNvPicPr/>
                <p:nvPr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6183821" y="2707772"/>
                  <a:ext cx="114480" cy="123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4">
              <p14:nvContentPartPr>
                <p14:cNvPr id="27" name="Ink 26">
                  <a:extLst>
                    <a:ext uri="{FF2B5EF4-FFF2-40B4-BE49-F238E27FC236}">
                      <a16:creationId xmlns:a16="http://schemas.microsoft.com/office/drawing/2014/main" id="{4130E2BA-1611-E9E2-8233-EBBAFC0162BF}"/>
                    </a:ext>
                  </a:extLst>
                </p14:cNvPr>
                <p14:cNvContentPartPr/>
                <p14:nvPr/>
              </p14:nvContentPartPr>
              <p14:xfrm>
                <a:off x="6628421" y="2606252"/>
                <a:ext cx="34920" cy="177480"/>
              </p14:xfrm>
            </p:contentPart>
          </mc:Choice>
          <mc:Fallback>
            <p:pic>
              <p:nvPicPr>
                <p:cNvPr id="27" name="Ink 26">
                  <a:extLst>
                    <a:ext uri="{FF2B5EF4-FFF2-40B4-BE49-F238E27FC236}">
                      <a16:creationId xmlns:a16="http://schemas.microsoft.com/office/drawing/2014/main" id="{4130E2BA-1611-E9E2-8233-EBBAFC0162BF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6613301" y="2591132"/>
                  <a:ext cx="65520" cy="208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6">
              <p14:nvContentPartPr>
                <p14:cNvPr id="28" name="Ink 27">
                  <a:extLst>
                    <a:ext uri="{FF2B5EF4-FFF2-40B4-BE49-F238E27FC236}">
                      <a16:creationId xmlns:a16="http://schemas.microsoft.com/office/drawing/2014/main" id="{4AF15CAC-9D63-72A8-8919-121740583544}"/>
                    </a:ext>
                  </a:extLst>
                </p14:cNvPr>
                <p14:cNvContentPartPr/>
                <p14:nvPr/>
              </p14:nvContentPartPr>
              <p14:xfrm>
                <a:off x="6706901" y="2658812"/>
                <a:ext cx="96120" cy="80280"/>
              </p14:xfrm>
            </p:contentPart>
          </mc:Choice>
          <mc:Fallback>
            <p:pic>
              <p:nvPicPr>
                <p:cNvPr id="28" name="Ink 27">
                  <a:extLst>
                    <a:ext uri="{FF2B5EF4-FFF2-40B4-BE49-F238E27FC236}">
                      <a16:creationId xmlns:a16="http://schemas.microsoft.com/office/drawing/2014/main" id="{4AF15CAC-9D63-72A8-8919-121740583544}"/>
                    </a:ext>
                  </a:extLst>
                </p:cNvPr>
                <p:cNvPicPr/>
                <p:nvPr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6691421" y="2643332"/>
                  <a:ext cx="126720" cy="110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8">
              <p14:nvContentPartPr>
                <p14:cNvPr id="29" name="Ink 28">
                  <a:extLst>
                    <a:ext uri="{FF2B5EF4-FFF2-40B4-BE49-F238E27FC236}">
                      <a16:creationId xmlns:a16="http://schemas.microsoft.com/office/drawing/2014/main" id="{0F33FC7F-6C0E-10F9-BCCC-3BA517F2B233}"/>
                    </a:ext>
                  </a:extLst>
                </p14:cNvPr>
                <p14:cNvContentPartPr/>
                <p14:nvPr/>
              </p14:nvContentPartPr>
              <p14:xfrm>
                <a:off x="6801221" y="2637932"/>
                <a:ext cx="117360" cy="121320"/>
              </p14:xfrm>
            </p:contentPart>
          </mc:Choice>
          <mc:Fallback>
            <p:pic>
              <p:nvPicPr>
                <p:cNvPr id="29" name="Ink 28">
                  <a:extLst>
                    <a:ext uri="{FF2B5EF4-FFF2-40B4-BE49-F238E27FC236}">
                      <a16:creationId xmlns:a16="http://schemas.microsoft.com/office/drawing/2014/main" id="{0F33FC7F-6C0E-10F9-BCCC-3BA517F2B233}"/>
                    </a:ext>
                  </a:extLst>
                </p:cNvPr>
                <p:cNvPicPr/>
                <p:nvPr/>
              </p:nvPicPr>
              <p:blipFill>
                <a:blip r:embed="rId49"/>
                <a:stretch>
                  <a:fillRect/>
                </a:stretch>
              </p:blipFill>
              <p:spPr>
                <a:xfrm>
                  <a:off x="6786101" y="2622452"/>
                  <a:ext cx="147960" cy="151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0">
              <p14:nvContentPartPr>
                <p14:cNvPr id="30" name="Ink 29">
                  <a:extLst>
                    <a:ext uri="{FF2B5EF4-FFF2-40B4-BE49-F238E27FC236}">
                      <a16:creationId xmlns:a16="http://schemas.microsoft.com/office/drawing/2014/main" id="{0750092E-8932-F6EC-2DA1-2F90C82804A4}"/>
                    </a:ext>
                  </a:extLst>
                </p14:cNvPr>
                <p14:cNvContentPartPr/>
                <p14:nvPr/>
              </p14:nvContentPartPr>
              <p14:xfrm>
                <a:off x="6948101" y="2604812"/>
                <a:ext cx="95400" cy="171360"/>
              </p14:xfrm>
            </p:contentPart>
          </mc:Choice>
          <mc:Fallback>
            <p:pic>
              <p:nvPicPr>
                <p:cNvPr id="30" name="Ink 29">
                  <a:extLst>
                    <a:ext uri="{FF2B5EF4-FFF2-40B4-BE49-F238E27FC236}">
                      <a16:creationId xmlns:a16="http://schemas.microsoft.com/office/drawing/2014/main" id="{0750092E-8932-F6EC-2DA1-2F90C82804A4}"/>
                    </a:ext>
                  </a:extLst>
                </p:cNvPr>
                <p:cNvPicPr/>
                <p:nvPr/>
              </p:nvPicPr>
              <p:blipFill>
                <a:blip r:embed="rId51"/>
                <a:stretch>
                  <a:fillRect/>
                </a:stretch>
              </p:blipFill>
              <p:spPr>
                <a:xfrm>
                  <a:off x="6932621" y="2589692"/>
                  <a:ext cx="126000" cy="201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2">
              <p14:nvContentPartPr>
                <p14:cNvPr id="31" name="Ink 30">
                  <a:extLst>
                    <a:ext uri="{FF2B5EF4-FFF2-40B4-BE49-F238E27FC236}">
                      <a16:creationId xmlns:a16="http://schemas.microsoft.com/office/drawing/2014/main" id="{98CE6576-6AB5-8BA3-69C1-C83BCF4F6D55}"/>
                    </a:ext>
                  </a:extLst>
                </p14:cNvPr>
                <p14:cNvContentPartPr/>
                <p14:nvPr/>
              </p14:nvContentPartPr>
              <p14:xfrm>
                <a:off x="7043141" y="2577092"/>
                <a:ext cx="161280" cy="156600"/>
              </p14:xfrm>
            </p:contentPart>
          </mc:Choice>
          <mc:Fallback>
            <p:pic>
              <p:nvPicPr>
                <p:cNvPr id="31" name="Ink 30">
                  <a:extLst>
                    <a:ext uri="{FF2B5EF4-FFF2-40B4-BE49-F238E27FC236}">
                      <a16:creationId xmlns:a16="http://schemas.microsoft.com/office/drawing/2014/main" id="{98CE6576-6AB5-8BA3-69C1-C83BCF4F6D55}"/>
                    </a:ext>
                  </a:extLst>
                </p:cNvPr>
                <p:cNvPicPr/>
                <p:nvPr/>
              </p:nvPicPr>
              <p:blipFill>
                <a:blip r:embed="rId53"/>
                <a:stretch>
                  <a:fillRect/>
                </a:stretch>
              </p:blipFill>
              <p:spPr>
                <a:xfrm>
                  <a:off x="7027661" y="2561972"/>
                  <a:ext cx="191880" cy="187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4">
              <p14:nvContentPartPr>
                <p14:cNvPr id="32" name="Ink 31">
                  <a:extLst>
                    <a:ext uri="{FF2B5EF4-FFF2-40B4-BE49-F238E27FC236}">
                      <a16:creationId xmlns:a16="http://schemas.microsoft.com/office/drawing/2014/main" id="{078A4351-62EB-EBDC-3DE2-F2C55822DCEE}"/>
                    </a:ext>
                  </a:extLst>
                </p14:cNvPr>
                <p14:cNvContentPartPr/>
                <p14:nvPr/>
              </p14:nvContentPartPr>
              <p14:xfrm>
                <a:off x="7101101" y="2635052"/>
                <a:ext cx="99720" cy="60120"/>
              </p14:xfrm>
            </p:contentPart>
          </mc:Choice>
          <mc:Fallback>
            <p:pic>
              <p:nvPicPr>
                <p:cNvPr id="32" name="Ink 31">
                  <a:extLst>
                    <a:ext uri="{FF2B5EF4-FFF2-40B4-BE49-F238E27FC236}">
                      <a16:creationId xmlns:a16="http://schemas.microsoft.com/office/drawing/2014/main" id="{078A4351-62EB-EBDC-3DE2-F2C55822DCEE}"/>
                    </a:ext>
                  </a:extLst>
                </p:cNvPr>
                <p:cNvPicPr/>
                <p:nvPr/>
              </p:nvPicPr>
              <p:blipFill>
                <a:blip r:embed="rId55"/>
                <a:stretch>
                  <a:fillRect/>
                </a:stretch>
              </p:blipFill>
              <p:spPr>
                <a:xfrm>
                  <a:off x="7085981" y="2619932"/>
                  <a:ext cx="129960" cy="90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6">
              <p14:nvContentPartPr>
                <p14:cNvPr id="33" name="Ink 32">
                  <a:extLst>
                    <a:ext uri="{FF2B5EF4-FFF2-40B4-BE49-F238E27FC236}">
                      <a16:creationId xmlns:a16="http://schemas.microsoft.com/office/drawing/2014/main" id="{7DEC2878-7A53-52B7-FAFE-5530028C8717}"/>
                    </a:ext>
                  </a:extLst>
                </p14:cNvPr>
                <p14:cNvContentPartPr/>
                <p14:nvPr/>
              </p14:nvContentPartPr>
              <p14:xfrm>
                <a:off x="7253381" y="2600132"/>
                <a:ext cx="76680" cy="167040"/>
              </p14:xfrm>
            </p:contentPart>
          </mc:Choice>
          <mc:Fallback>
            <p:pic>
              <p:nvPicPr>
                <p:cNvPr id="33" name="Ink 32">
                  <a:extLst>
                    <a:ext uri="{FF2B5EF4-FFF2-40B4-BE49-F238E27FC236}">
                      <a16:creationId xmlns:a16="http://schemas.microsoft.com/office/drawing/2014/main" id="{7DEC2878-7A53-52B7-FAFE-5530028C8717}"/>
                    </a:ext>
                  </a:extLst>
                </p:cNvPr>
                <p:cNvPicPr/>
                <p:nvPr/>
              </p:nvPicPr>
              <p:blipFill>
                <a:blip r:embed="rId57"/>
                <a:stretch>
                  <a:fillRect/>
                </a:stretch>
              </p:blipFill>
              <p:spPr>
                <a:xfrm>
                  <a:off x="7237901" y="2585012"/>
                  <a:ext cx="107280" cy="197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8">
              <p14:nvContentPartPr>
                <p14:cNvPr id="34" name="Ink 33">
                  <a:extLst>
                    <a:ext uri="{FF2B5EF4-FFF2-40B4-BE49-F238E27FC236}">
                      <a16:creationId xmlns:a16="http://schemas.microsoft.com/office/drawing/2014/main" id="{817AA749-782C-C142-5E93-BAB6EB481BF7}"/>
                    </a:ext>
                  </a:extLst>
                </p14:cNvPr>
                <p14:cNvContentPartPr/>
                <p14:nvPr/>
              </p14:nvContentPartPr>
              <p14:xfrm>
                <a:off x="7466501" y="2629652"/>
                <a:ext cx="79560" cy="19800"/>
              </p14:xfrm>
            </p:contentPart>
          </mc:Choice>
          <mc:Fallback>
            <p:pic>
              <p:nvPicPr>
                <p:cNvPr id="34" name="Ink 33">
                  <a:extLst>
                    <a:ext uri="{FF2B5EF4-FFF2-40B4-BE49-F238E27FC236}">
                      <a16:creationId xmlns:a16="http://schemas.microsoft.com/office/drawing/2014/main" id="{817AA749-782C-C142-5E93-BAB6EB481BF7}"/>
                    </a:ext>
                  </a:extLst>
                </p:cNvPr>
                <p:cNvPicPr/>
                <p:nvPr/>
              </p:nvPicPr>
              <p:blipFill>
                <a:blip r:embed="rId59"/>
                <a:stretch>
                  <a:fillRect/>
                </a:stretch>
              </p:blipFill>
              <p:spPr>
                <a:xfrm>
                  <a:off x="7451021" y="2614172"/>
                  <a:ext cx="109800" cy="50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0">
              <p14:nvContentPartPr>
                <p14:cNvPr id="35" name="Ink 34">
                  <a:extLst>
                    <a:ext uri="{FF2B5EF4-FFF2-40B4-BE49-F238E27FC236}">
                      <a16:creationId xmlns:a16="http://schemas.microsoft.com/office/drawing/2014/main" id="{86BD2FD6-4FF5-5C56-491B-7DB692114518}"/>
                    </a:ext>
                  </a:extLst>
                </p14:cNvPr>
                <p14:cNvContentPartPr/>
                <p14:nvPr/>
              </p14:nvContentPartPr>
              <p14:xfrm>
                <a:off x="7477661" y="2729012"/>
                <a:ext cx="122760" cy="25560"/>
              </p14:xfrm>
            </p:contentPart>
          </mc:Choice>
          <mc:Fallback>
            <p:pic>
              <p:nvPicPr>
                <p:cNvPr id="35" name="Ink 34">
                  <a:extLst>
                    <a:ext uri="{FF2B5EF4-FFF2-40B4-BE49-F238E27FC236}">
                      <a16:creationId xmlns:a16="http://schemas.microsoft.com/office/drawing/2014/main" id="{86BD2FD6-4FF5-5C56-491B-7DB692114518}"/>
                    </a:ext>
                  </a:extLst>
                </p:cNvPr>
                <p:cNvPicPr/>
                <p:nvPr/>
              </p:nvPicPr>
              <p:blipFill>
                <a:blip r:embed="rId61"/>
                <a:stretch>
                  <a:fillRect/>
                </a:stretch>
              </p:blipFill>
              <p:spPr>
                <a:xfrm>
                  <a:off x="7462541" y="2713892"/>
                  <a:ext cx="153360" cy="558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0D389D0-C80E-36C5-B425-48B265F1F708}"/>
              </a:ext>
            </a:extLst>
          </p:cNvPr>
          <p:cNvGrpSpPr/>
          <p:nvPr/>
        </p:nvGrpSpPr>
        <p:grpSpPr>
          <a:xfrm>
            <a:off x="7902101" y="2366852"/>
            <a:ext cx="518400" cy="631800"/>
            <a:chOff x="7902101" y="2366852"/>
            <a:chExt cx="518400" cy="6318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62">
              <p14:nvContentPartPr>
                <p14:cNvPr id="37" name="Ink 36">
                  <a:extLst>
                    <a:ext uri="{FF2B5EF4-FFF2-40B4-BE49-F238E27FC236}">
                      <a16:creationId xmlns:a16="http://schemas.microsoft.com/office/drawing/2014/main" id="{AE9874DC-AA05-2760-7BE1-12703592146F}"/>
                    </a:ext>
                  </a:extLst>
                </p14:cNvPr>
                <p14:cNvContentPartPr/>
                <p14:nvPr/>
              </p14:nvContentPartPr>
              <p14:xfrm>
                <a:off x="7912541" y="2366852"/>
                <a:ext cx="180720" cy="294840"/>
              </p14:xfrm>
            </p:contentPart>
          </mc:Choice>
          <mc:Fallback>
            <p:pic>
              <p:nvPicPr>
                <p:cNvPr id="37" name="Ink 36">
                  <a:extLst>
                    <a:ext uri="{FF2B5EF4-FFF2-40B4-BE49-F238E27FC236}">
                      <a16:creationId xmlns:a16="http://schemas.microsoft.com/office/drawing/2014/main" id="{AE9874DC-AA05-2760-7BE1-12703592146F}"/>
                    </a:ext>
                  </a:extLst>
                </p:cNvPr>
                <p:cNvPicPr/>
                <p:nvPr/>
              </p:nvPicPr>
              <p:blipFill>
                <a:blip r:embed="rId63"/>
                <a:stretch>
                  <a:fillRect/>
                </a:stretch>
              </p:blipFill>
              <p:spPr>
                <a:xfrm>
                  <a:off x="7897061" y="2351372"/>
                  <a:ext cx="211320" cy="325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4">
              <p14:nvContentPartPr>
                <p14:cNvPr id="38" name="Ink 37">
                  <a:extLst>
                    <a:ext uri="{FF2B5EF4-FFF2-40B4-BE49-F238E27FC236}">
                      <a16:creationId xmlns:a16="http://schemas.microsoft.com/office/drawing/2014/main" id="{C1578E5D-5564-6C8F-D67F-AF995176C6BE}"/>
                    </a:ext>
                  </a:extLst>
                </p14:cNvPr>
                <p14:cNvContentPartPr/>
                <p14:nvPr/>
              </p14:nvContentPartPr>
              <p14:xfrm>
                <a:off x="8159501" y="2446052"/>
                <a:ext cx="108000" cy="127440"/>
              </p14:xfrm>
            </p:contentPart>
          </mc:Choice>
          <mc:Fallback>
            <p:pic>
              <p:nvPicPr>
                <p:cNvPr id="38" name="Ink 37">
                  <a:extLst>
                    <a:ext uri="{FF2B5EF4-FFF2-40B4-BE49-F238E27FC236}">
                      <a16:creationId xmlns:a16="http://schemas.microsoft.com/office/drawing/2014/main" id="{C1578E5D-5564-6C8F-D67F-AF995176C6BE}"/>
                    </a:ext>
                  </a:extLst>
                </p:cNvPr>
                <p:cNvPicPr/>
                <p:nvPr/>
              </p:nvPicPr>
              <p:blipFill>
                <a:blip r:embed="rId65"/>
                <a:stretch>
                  <a:fillRect/>
                </a:stretch>
              </p:blipFill>
              <p:spPr>
                <a:xfrm>
                  <a:off x="8144381" y="2430932"/>
                  <a:ext cx="138600" cy="158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6">
              <p14:nvContentPartPr>
                <p14:cNvPr id="39" name="Ink 38">
                  <a:extLst>
                    <a:ext uri="{FF2B5EF4-FFF2-40B4-BE49-F238E27FC236}">
                      <a16:creationId xmlns:a16="http://schemas.microsoft.com/office/drawing/2014/main" id="{9543F1F9-DCA8-6F78-9BB6-6A119298F58F}"/>
                    </a:ext>
                  </a:extLst>
                </p14:cNvPr>
                <p14:cNvContentPartPr/>
                <p14:nvPr/>
              </p14:nvContentPartPr>
              <p14:xfrm>
                <a:off x="7902101" y="2710292"/>
                <a:ext cx="474840" cy="49320"/>
              </p14:xfrm>
            </p:contentPart>
          </mc:Choice>
          <mc:Fallback>
            <p:pic>
              <p:nvPicPr>
                <p:cNvPr id="39" name="Ink 38">
                  <a:extLst>
                    <a:ext uri="{FF2B5EF4-FFF2-40B4-BE49-F238E27FC236}">
                      <a16:creationId xmlns:a16="http://schemas.microsoft.com/office/drawing/2014/main" id="{9543F1F9-DCA8-6F78-9BB6-6A119298F58F}"/>
                    </a:ext>
                  </a:extLst>
                </p:cNvPr>
                <p:cNvPicPr/>
                <p:nvPr/>
              </p:nvPicPr>
              <p:blipFill>
                <a:blip r:embed="rId67"/>
                <a:stretch>
                  <a:fillRect/>
                </a:stretch>
              </p:blipFill>
              <p:spPr>
                <a:xfrm>
                  <a:off x="7886621" y="2695172"/>
                  <a:ext cx="505440" cy="79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8">
              <p14:nvContentPartPr>
                <p14:cNvPr id="40" name="Ink 39">
                  <a:extLst>
                    <a:ext uri="{FF2B5EF4-FFF2-40B4-BE49-F238E27FC236}">
                      <a16:creationId xmlns:a16="http://schemas.microsoft.com/office/drawing/2014/main" id="{A4878E3C-E8AB-5622-9B51-5A027F6DA219}"/>
                    </a:ext>
                  </a:extLst>
                </p14:cNvPr>
                <p14:cNvContentPartPr/>
                <p14:nvPr/>
              </p14:nvContentPartPr>
              <p14:xfrm>
                <a:off x="7987421" y="2851052"/>
                <a:ext cx="108360" cy="147600"/>
              </p14:xfrm>
            </p:contentPart>
          </mc:Choice>
          <mc:Fallback>
            <p:pic>
              <p:nvPicPr>
                <p:cNvPr id="40" name="Ink 39">
                  <a:extLst>
                    <a:ext uri="{FF2B5EF4-FFF2-40B4-BE49-F238E27FC236}">
                      <a16:creationId xmlns:a16="http://schemas.microsoft.com/office/drawing/2014/main" id="{A4878E3C-E8AB-5622-9B51-5A027F6DA219}"/>
                    </a:ext>
                  </a:extLst>
                </p:cNvPr>
                <p:cNvPicPr/>
                <p:nvPr/>
              </p:nvPicPr>
              <p:blipFill>
                <a:blip r:embed="rId69"/>
                <a:stretch>
                  <a:fillRect/>
                </a:stretch>
              </p:blipFill>
              <p:spPr>
                <a:xfrm>
                  <a:off x="7972301" y="2835932"/>
                  <a:ext cx="138960" cy="178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0">
              <p14:nvContentPartPr>
                <p14:cNvPr id="41" name="Ink 40">
                  <a:extLst>
                    <a:ext uri="{FF2B5EF4-FFF2-40B4-BE49-F238E27FC236}">
                      <a16:creationId xmlns:a16="http://schemas.microsoft.com/office/drawing/2014/main" id="{B9AEBDFB-811D-15F0-8BD2-38E5FAE0193B}"/>
                    </a:ext>
                  </a:extLst>
                </p14:cNvPr>
                <p14:cNvContentPartPr/>
                <p14:nvPr/>
              </p14:nvContentPartPr>
              <p14:xfrm>
                <a:off x="8134301" y="2837372"/>
                <a:ext cx="125280" cy="87840"/>
              </p14:xfrm>
            </p:contentPart>
          </mc:Choice>
          <mc:Fallback>
            <p:pic>
              <p:nvPicPr>
                <p:cNvPr id="41" name="Ink 40">
                  <a:extLst>
                    <a:ext uri="{FF2B5EF4-FFF2-40B4-BE49-F238E27FC236}">
                      <a16:creationId xmlns:a16="http://schemas.microsoft.com/office/drawing/2014/main" id="{B9AEBDFB-811D-15F0-8BD2-38E5FAE0193B}"/>
                    </a:ext>
                  </a:extLst>
                </p:cNvPr>
                <p:cNvPicPr/>
                <p:nvPr/>
              </p:nvPicPr>
              <p:blipFill>
                <a:blip r:embed="rId71"/>
                <a:stretch>
                  <a:fillRect/>
                </a:stretch>
              </p:blipFill>
              <p:spPr>
                <a:xfrm>
                  <a:off x="8119181" y="2822252"/>
                  <a:ext cx="155520" cy="118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2">
              <p14:nvContentPartPr>
                <p14:cNvPr id="42" name="Ink 41">
                  <a:extLst>
                    <a:ext uri="{FF2B5EF4-FFF2-40B4-BE49-F238E27FC236}">
                      <a16:creationId xmlns:a16="http://schemas.microsoft.com/office/drawing/2014/main" id="{812EB458-FAED-482F-0585-D7246070CB26}"/>
                    </a:ext>
                  </a:extLst>
                </p14:cNvPr>
                <p14:cNvContentPartPr/>
                <p14:nvPr/>
              </p14:nvContentPartPr>
              <p14:xfrm>
                <a:off x="8299901" y="2820092"/>
                <a:ext cx="120600" cy="98280"/>
              </p14:xfrm>
            </p:contentPart>
          </mc:Choice>
          <mc:Fallback>
            <p:pic>
              <p:nvPicPr>
                <p:cNvPr id="42" name="Ink 41">
                  <a:extLst>
                    <a:ext uri="{FF2B5EF4-FFF2-40B4-BE49-F238E27FC236}">
                      <a16:creationId xmlns:a16="http://schemas.microsoft.com/office/drawing/2014/main" id="{812EB458-FAED-482F-0585-D7246070CB26}"/>
                    </a:ext>
                  </a:extLst>
                </p:cNvPr>
                <p:cNvPicPr/>
                <p:nvPr/>
              </p:nvPicPr>
              <p:blipFill>
                <a:blip r:embed="rId73"/>
                <a:stretch>
                  <a:fillRect/>
                </a:stretch>
              </p:blipFill>
              <p:spPr>
                <a:xfrm>
                  <a:off x="8284781" y="2804612"/>
                  <a:ext cx="150840" cy="1285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6990FEFF-47E2-58E3-5FF9-EAF64589A9D3}"/>
              </a:ext>
            </a:extLst>
          </p:cNvPr>
          <p:cNvGrpSpPr/>
          <p:nvPr/>
        </p:nvGrpSpPr>
        <p:grpSpPr>
          <a:xfrm>
            <a:off x="1320941" y="3823052"/>
            <a:ext cx="2143440" cy="312120"/>
            <a:chOff x="1320941" y="3823052"/>
            <a:chExt cx="2143440" cy="3121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74">
              <p14:nvContentPartPr>
                <p14:cNvPr id="44" name="Ink 43">
                  <a:extLst>
                    <a:ext uri="{FF2B5EF4-FFF2-40B4-BE49-F238E27FC236}">
                      <a16:creationId xmlns:a16="http://schemas.microsoft.com/office/drawing/2014/main" id="{03A6059F-1B8A-765C-CFFC-F2B8F8B92954}"/>
                    </a:ext>
                  </a:extLst>
                </p14:cNvPr>
                <p14:cNvContentPartPr/>
                <p14:nvPr/>
              </p14:nvContentPartPr>
              <p14:xfrm>
                <a:off x="1320941" y="3854012"/>
                <a:ext cx="218160" cy="281160"/>
              </p14:xfrm>
            </p:contentPart>
          </mc:Choice>
          <mc:Fallback>
            <p:pic>
              <p:nvPicPr>
                <p:cNvPr id="44" name="Ink 43">
                  <a:extLst>
                    <a:ext uri="{FF2B5EF4-FFF2-40B4-BE49-F238E27FC236}">
                      <a16:creationId xmlns:a16="http://schemas.microsoft.com/office/drawing/2014/main" id="{03A6059F-1B8A-765C-CFFC-F2B8F8B92954}"/>
                    </a:ext>
                  </a:extLst>
                </p:cNvPr>
                <p:cNvPicPr/>
                <p:nvPr/>
              </p:nvPicPr>
              <p:blipFill>
                <a:blip r:embed="rId75"/>
                <a:stretch>
                  <a:fillRect/>
                </a:stretch>
              </p:blipFill>
              <p:spPr>
                <a:xfrm>
                  <a:off x="1305821" y="3838892"/>
                  <a:ext cx="248760" cy="311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6">
              <p14:nvContentPartPr>
                <p14:cNvPr id="45" name="Ink 44">
                  <a:extLst>
                    <a:ext uri="{FF2B5EF4-FFF2-40B4-BE49-F238E27FC236}">
                      <a16:creationId xmlns:a16="http://schemas.microsoft.com/office/drawing/2014/main" id="{4EA4D505-433F-6A1B-61C4-7D67015F7D21}"/>
                    </a:ext>
                  </a:extLst>
                </p14:cNvPr>
                <p14:cNvContentPartPr/>
                <p14:nvPr/>
              </p14:nvContentPartPr>
              <p14:xfrm>
                <a:off x="1612181" y="3877052"/>
                <a:ext cx="74520" cy="219600"/>
              </p14:xfrm>
            </p:contentPart>
          </mc:Choice>
          <mc:Fallback>
            <p:pic>
              <p:nvPicPr>
                <p:cNvPr id="45" name="Ink 44">
                  <a:extLst>
                    <a:ext uri="{FF2B5EF4-FFF2-40B4-BE49-F238E27FC236}">
                      <a16:creationId xmlns:a16="http://schemas.microsoft.com/office/drawing/2014/main" id="{4EA4D505-433F-6A1B-61C4-7D67015F7D21}"/>
                    </a:ext>
                  </a:extLst>
                </p:cNvPr>
                <p:cNvPicPr/>
                <p:nvPr/>
              </p:nvPicPr>
              <p:blipFill>
                <a:blip r:embed="rId77"/>
                <a:stretch>
                  <a:fillRect/>
                </a:stretch>
              </p:blipFill>
              <p:spPr>
                <a:xfrm>
                  <a:off x="1596701" y="3861932"/>
                  <a:ext cx="105120" cy="250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8">
              <p14:nvContentPartPr>
                <p14:cNvPr id="46" name="Ink 45">
                  <a:extLst>
                    <a:ext uri="{FF2B5EF4-FFF2-40B4-BE49-F238E27FC236}">
                      <a16:creationId xmlns:a16="http://schemas.microsoft.com/office/drawing/2014/main" id="{66DAA6AA-9D51-A974-3BBC-2000A573C106}"/>
                    </a:ext>
                  </a:extLst>
                </p14:cNvPr>
                <p14:cNvContentPartPr/>
                <p14:nvPr/>
              </p14:nvContentPartPr>
              <p14:xfrm>
                <a:off x="1804061" y="3872012"/>
                <a:ext cx="142920" cy="216360"/>
              </p14:xfrm>
            </p:contentPart>
          </mc:Choice>
          <mc:Fallback>
            <p:pic>
              <p:nvPicPr>
                <p:cNvPr id="46" name="Ink 45">
                  <a:extLst>
                    <a:ext uri="{FF2B5EF4-FFF2-40B4-BE49-F238E27FC236}">
                      <a16:creationId xmlns:a16="http://schemas.microsoft.com/office/drawing/2014/main" id="{66DAA6AA-9D51-A974-3BBC-2000A573C106}"/>
                    </a:ext>
                  </a:extLst>
                </p:cNvPr>
                <p:cNvPicPr/>
                <p:nvPr/>
              </p:nvPicPr>
              <p:blipFill>
                <a:blip r:embed="rId79"/>
                <a:stretch>
                  <a:fillRect/>
                </a:stretch>
              </p:blipFill>
              <p:spPr>
                <a:xfrm>
                  <a:off x="1788941" y="3856892"/>
                  <a:ext cx="173520" cy="246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0">
              <p14:nvContentPartPr>
                <p14:cNvPr id="47" name="Ink 46">
                  <a:extLst>
                    <a:ext uri="{FF2B5EF4-FFF2-40B4-BE49-F238E27FC236}">
                      <a16:creationId xmlns:a16="http://schemas.microsoft.com/office/drawing/2014/main" id="{BF7004F0-568B-D3C5-4AF1-6EE980E5A1FC}"/>
                    </a:ext>
                  </a:extLst>
                </p14:cNvPr>
                <p14:cNvContentPartPr/>
                <p14:nvPr/>
              </p14:nvContentPartPr>
              <p14:xfrm>
                <a:off x="2089901" y="3867692"/>
                <a:ext cx="173880" cy="239760"/>
              </p14:xfrm>
            </p:contentPart>
          </mc:Choice>
          <mc:Fallback>
            <p:pic>
              <p:nvPicPr>
                <p:cNvPr id="47" name="Ink 46">
                  <a:extLst>
                    <a:ext uri="{FF2B5EF4-FFF2-40B4-BE49-F238E27FC236}">
                      <a16:creationId xmlns:a16="http://schemas.microsoft.com/office/drawing/2014/main" id="{BF7004F0-568B-D3C5-4AF1-6EE980E5A1FC}"/>
                    </a:ext>
                  </a:extLst>
                </p:cNvPr>
                <p:cNvPicPr/>
                <p:nvPr/>
              </p:nvPicPr>
              <p:blipFill>
                <a:blip r:embed="rId81"/>
                <a:stretch>
                  <a:fillRect/>
                </a:stretch>
              </p:blipFill>
              <p:spPr>
                <a:xfrm>
                  <a:off x="2074781" y="3852212"/>
                  <a:ext cx="204120" cy="270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2">
              <p14:nvContentPartPr>
                <p14:cNvPr id="49" name="Ink 48">
                  <a:extLst>
                    <a:ext uri="{FF2B5EF4-FFF2-40B4-BE49-F238E27FC236}">
                      <a16:creationId xmlns:a16="http://schemas.microsoft.com/office/drawing/2014/main" id="{F1052272-098D-7B08-7EB8-255560ECFFAA}"/>
                    </a:ext>
                  </a:extLst>
                </p14:cNvPr>
                <p14:cNvContentPartPr/>
                <p14:nvPr/>
              </p14:nvContentPartPr>
              <p14:xfrm>
                <a:off x="2391581" y="3843212"/>
                <a:ext cx="90000" cy="179640"/>
              </p14:xfrm>
            </p:contentPart>
          </mc:Choice>
          <mc:Fallback>
            <p:pic>
              <p:nvPicPr>
                <p:cNvPr id="49" name="Ink 48">
                  <a:extLst>
                    <a:ext uri="{FF2B5EF4-FFF2-40B4-BE49-F238E27FC236}">
                      <a16:creationId xmlns:a16="http://schemas.microsoft.com/office/drawing/2014/main" id="{F1052272-098D-7B08-7EB8-255560ECFFAA}"/>
                    </a:ext>
                  </a:extLst>
                </p:cNvPr>
                <p:cNvPicPr/>
                <p:nvPr/>
              </p:nvPicPr>
              <p:blipFill>
                <a:blip r:embed="rId83"/>
                <a:stretch>
                  <a:fillRect/>
                </a:stretch>
              </p:blipFill>
              <p:spPr>
                <a:xfrm>
                  <a:off x="2376101" y="3827732"/>
                  <a:ext cx="120240" cy="210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4">
              <p14:nvContentPartPr>
                <p14:cNvPr id="50" name="Ink 49">
                  <a:extLst>
                    <a:ext uri="{FF2B5EF4-FFF2-40B4-BE49-F238E27FC236}">
                      <a16:creationId xmlns:a16="http://schemas.microsoft.com/office/drawing/2014/main" id="{2C129E67-35BD-4A7A-06DE-22BF89A8F27E}"/>
                    </a:ext>
                  </a:extLst>
                </p14:cNvPr>
                <p14:cNvContentPartPr/>
                <p14:nvPr/>
              </p14:nvContentPartPr>
              <p14:xfrm>
                <a:off x="2362421" y="3836732"/>
                <a:ext cx="76320" cy="57960"/>
              </p14:xfrm>
            </p:contentPart>
          </mc:Choice>
          <mc:Fallback>
            <p:pic>
              <p:nvPicPr>
                <p:cNvPr id="50" name="Ink 49">
                  <a:extLst>
                    <a:ext uri="{FF2B5EF4-FFF2-40B4-BE49-F238E27FC236}">
                      <a16:creationId xmlns:a16="http://schemas.microsoft.com/office/drawing/2014/main" id="{2C129E67-35BD-4A7A-06DE-22BF89A8F27E}"/>
                    </a:ext>
                  </a:extLst>
                </p:cNvPr>
                <p:cNvPicPr/>
                <p:nvPr/>
              </p:nvPicPr>
              <p:blipFill>
                <a:blip r:embed="rId85"/>
                <a:stretch>
                  <a:fillRect/>
                </a:stretch>
              </p:blipFill>
              <p:spPr>
                <a:xfrm>
                  <a:off x="2346941" y="3821252"/>
                  <a:ext cx="106920" cy="88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6">
              <p14:nvContentPartPr>
                <p14:cNvPr id="51" name="Ink 50">
                  <a:extLst>
                    <a:ext uri="{FF2B5EF4-FFF2-40B4-BE49-F238E27FC236}">
                      <a16:creationId xmlns:a16="http://schemas.microsoft.com/office/drawing/2014/main" id="{39601967-E306-E214-FDEC-49BEF4488DC3}"/>
                    </a:ext>
                  </a:extLst>
                </p14:cNvPr>
                <p14:cNvContentPartPr/>
                <p14:nvPr/>
              </p14:nvContentPartPr>
              <p14:xfrm>
                <a:off x="2315261" y="3932132"/>
                <a:ext cx="431280" cy="121320"/>
              </p14:xfrm>
            </p:contentPart>
          </mc:Choice>
          <mc:Fallback>
            <p:pic>
              <p:nvPicPr>
                <p:cNvPr id="51" name="Ink 50">
                  <a:extLst>
                    <a:ext uri="{FF2B5EF4-FFF2-40B4-BE49-F238E27FC236}">
                      <a16:creationId xmlns:a16="http://schemas.microsoft.com/office/drawing/2014/main" id="{39601967-E306-E214-FDEC-49BEF4488DC3}"/>
                    </a:ext>
                  </a:extLst>
                </p:cNvPr>
                <p:cNvPicPr/>
                <p:nvPr/>
              </p:nvPicPr>
              <p:blipFill>
                <a:blip r:embed="rId87"/>
                <a:stretch>
                  <a:fillRect/>
                </a:stretch>
              </p:blipFill>
              <p:spPr>
                <a:xfrm>
                  <a:off x="2299781" y="3917012"/>
                  <a:ext cx="461880" cy="151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8">
              <p14:nvContentPartPr>
                <p14:cNvPr id="52" name="Ink 51">
                  <a:extLst>
                    <a:ext uri="{FF2B5EF4-FFF2-40B4-BE49-F238E27FC236}">
                      <a16:creationId xmlns:a16="http://schemas.microsoft.com/office/drawing/2014/main" id="{972A8667-6C0F-3D3D-264C-71DF14DFC067}"/>
                    </a:ext>
                  </a:extLst>
                </p14:cNvPr>
                <p14:cNvContentPartPr/>
                <p14:nvPr/>
              </p14:nvContentPartPr>
              <p14:xfrm>
                <a:off x="2834021" y="3900092"/>
                <a:ext cx="158760" cy="132840"/>
              </p14:xfrm>
            </p:contentPart>
          </mc:Choice>
          <mc:Fallback>
            <p:pic>
              <p:nvPicPr>
                <p:cNvPr id="52" name="Ink 51">
                  <a:extLst>
                    <a:ext uri="{FF2B5EF4-FFF2-40B4-BE49-F238E27FC236}">
                      <a16:creationId xmlns:a16="http://schemas.microsoft.com/office/drawing/2014/main" id="{972A8667-6C0F-3D3D-264C-71DF14DFC067}"/>
                    </a:ext>
                  </a:extLst>
                </p:cNvPr>
                <p:cNvPicPr/>
                <p:nvPr/>
              </p:nvPicPr>
              <p:blipFill>
                <a:blip r:embed="rId89"/>
                <a:stretch>
                  <a:fillRect/>
                </a:stretch>
              </p:blipFill>
              <p:spPr>
                <a:xfrm>
                  <a:off x="2818901" y="3884972"/>
                  <a:ext cx="189360" cy="163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0">
              <p14:nvContentPartPr>
                <p14:cNvPr id="53" name="Ink 52">
                  <a:extLst>
                    <a:ext uri="{FF2B5EF4-FFF2-40B4-BE49-F238E27FC236}">
                      <a16:creationId xmlns:a16="http://schemas.microsoft.com/office/drawing/2014/main" id="{196F4B98-C253-922B-7715-2ED4FFC429F0}"/>
                    </a:ext>
                  </a:extLst>
                </p14:cNvPr>
                <p14:cNvContentPartPr/>
                <p14:nvPr/>
              </p14:nvContentPartPr>
              <p14:xfrm>
                <a:off x="2996741" y="3954812"/>
                <a:ext cx="212400" cy="101160"/>
              </p14:xfrm>
            </p:contentPart>
          </mc:Choice>
          <mc:Fallback>
            <p:pic>
              <p:nvPicPr>
                <p:cNvPr id="53" name="Ink 52">
                  <a:extLst>
                    <a:ext uri="{FF2B5EF4-FFF2-40B4-BE49-F238E27FC236}">
                      <a16:creationId xmlns:a16="http://schemas.microsoft.com/office/drawing/2014/main" id="{196F4B98-C253-922B-7715-2ED4FFC429F0}"/>
                    </a:ext>
                  </a:extLst>
                </p:cNvPr>
                <p:cNvPicPr/>
                <p:nvPr/>
              </p:nvPicPr>
              <p:blipFill>
                <a:blip r:embed="rId91"/>
                <a:stretch>
                  <a:fillRect/>
                </a:stretch>
              </p:blipFill>
              <p:spPr>
                <a:xfrm>
                  <a:off x="2981261" y="3939692"/>
                  <a:ext cx="243000" cy="131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2">
              <p14:nvContentPartPr>
                <p14:cNvPr id="54" name="Ink 53">
                  <a:extLst>
                    <a:ext uri="{FF2B5EF4-FFF2-40B4-BE49-F238E27FC236}">
                      <a16:creationId xmlns:a16="http://schemas.microsoft.com/office/drawing/2014/main" id="{F83CA2E0-0383-F08D-AC50-45E3A0A81D48}"/>
                    </a:ext>
                  </a:extLst>
                </p14:cNvPr>
                <p14:cNvContentPartPr/>
                <p14:nvPr/>
              </p14:nvContentPartPr>
              <p14:xfrm>
                <a:off x="3258101" y="3928532"/>
                <a:ext cx="69480" cy="114120"/>
              </p14:xfrm>
            </p:contentPart>
          </mc:Choice>
          <mc:Fallback>
            <p:pic>
              <p:nvPicPr>
                <p:cNvPr id="54" name="Ink 53">
                  <a:extLst>
                    <a:ext uri="{FF2B5EF4-FFF2-40B4-BE49-F238E27FC236}">
                      <a16:creationId xmlns:a16="http://schemas.microsoft.com/office/drawing/2014/main" id="{F83CA2E0-0383-F08D-AC50-45E3A0A81D48}"/>
                    </a:ext>
                  </a:extLst>
                </p:cNvPr>
                <p:cNvPicPr/>
                <p:nvPr/>
              </p:nvPicPr>
              <p:blipFill>
                <a:blip r:embed="rId93"/>
                <a:stretch>
                  <a:fillRect/>
                </a:stretch>
              </p:blipFill>
              <p:spPr>
                <a:xfrm>
                  <a:off x="3242981" y="3913412"/>
                  <a:ext cx="100080" cy="144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4">
              <p14:nvContentPartPr>
                <p14:cNvPr id="55" name="Ink 54">
                  <a:extLst>
                    <a:ext uri="{FF2B5EF4-FFF2-40B4-BE49-F238E27FC236}">
                      <a16:creationId xmlns:a16="http://schemas.microsoft.com/office/drawing/2014/main" id="{A6408841-C6FE-ECDF-2B9F-AE562B0F7628}"/>
                    </a:ext>
                  </a:extLst>
                </p14:cNvPr>
                <p14:cNvContentPartPr/>
                <p14:nvPr/>
              </p14:nvContentPartPr>
              <p14:xfrm>
                <a:off x="3420461" y="3823052"/>
                <a:ext cx="43920" cy="259560"/>
              </p14:xfrm>
            </p:contentPart>
          </mc:Choice>
          <mc:Fallback>
            <p:pic>
              <p:nvPicPr>
                <p:cNvPr id="55" name="Ink 54">
                  <a:extLst>
                    <a:ext uri="{FF2B5EF4-FFF2-40B4-BE49-F238E27FC236}">
                      <a16:creationId xmlns:a16="http://schemas.microsoft.com/office/drawing/2014/main" id="{A6408841-C6FE-ECDF-2B9F-AE562B0F7628}"/>
                    </a:ext>
                  </a:extLst>
                </p:cNvPr>
                <p:cNvPicPr/>
                <p:nvPr/>
              </p:nvPicPr>
              <p:blipFill>
                <a:blip r:embed="rId95"/>
                <a:stretch>
                  <a:fillRect/>
                </a:stretch>
              </p:blipFill>
              <p:spPr>
                <a:xfrm>
                  <a:off x="3405341" y="3807932"/>
                  <a:ext cx="74520" cy="2901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87BDB267-8E2D-278D-DA76-251F5EFD6EEA}"/>
              </a:ext>
            </a:extLst>
          </p:cNvPr>
          <p:cNvGrpSpPr/>
          <p:nvPr/>
        </p:nvGrpSpPr>
        <p:grpSpPr>
          <a:xfrm>
            <a:off x="3529541" y="3895772"/>
            <a:ext cx="873000" cy="219240"/>
            <a:chOff x="3529541" y="3895772"/>
            <a:chExt cx="873000" cy="2192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96">
              <p14:nvContentPartPr>
                <p14:cNvPr id="57" name="Ink 56">
                  <a:extLst>
                    <a:ext uri="{FF2B5EF4-FFF2-40B4-BE49-F238E27FC236}">
                      <a16:creationId xmlns:a16="http://schemas.microsoft.com/office/drawing/2014/main" id="{023BE85E-E952-20D7-6226-AEF8349777EB}"/>
                    </a:ext>
                  </a:extLst>
                </p14:cNvPr>
                <p14:cNvContentPartPr/>
                <p14:nvPr/>
              </p14:nvContentPartPr>
              <p14:xfrm>
                <a:off x="3529541" y="3895772"/>
                <a:ext cx="27720" cy="219240"/>
              </p14:xfrm>
            </p:contentPart>
          </mc:Choice>
          <mc:Fallback>
            <p:pic>
              <p:nvPicPr>
                <p:cNvPr id="57" name="Ink 56">
                  <a:extLst>
                    <a:ext uri="{FF2B5EF4-FFF2-40B4-BE49-F238E27FC236}">
                      <a16:creationId xmlns:a16="http://schemas.microsoft.com/office/drawing/2014/main" id="{023BE85E-E952-20D7-6226-AEF8349777EB}"/>
                    </a:ext>
                  </a:extLst>
                </p:cNvPr>
                <p:cNvPicPr/>
                <p:nvPr/>
              </p:nvPicPr>
              <p:blipFill>
                <a:blip r:embed="rId97"/>
                <a:stretch>
                  <a:fillRect/>
                </a:stretch>
              </p:blipFill>
              <p:spPr>
                <a:xfrm>
                  <a:off x="3514421" y="3880652"/>
                  <a:ext cx="58320" cy="249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8">
              <p14:nvContentPartPr>
                <p14:cNvPr id="58" name="Ink 57">
                  <a:extLst>
                    <a:ext uri="{FF2B5EF4-FFF2-40B4-BE49-F238E27FC236}">
                      <a16:creationId xmlns:a16="http://schemas.microsoft.com/office/drawing/2014/main" id="{1A7D02B5-97BB-ECBB-0578-66852E931987}"/>
                    </a:ext>
                  </a:extLst>
                </p14:cNvPr>
                <p14:cNvContentPartPr/>
                <p14:nvPr/>
              </p14:nvContentPartPr>
              <p14:xfrm>
                <a:off x="3630701" y="3978572"/>
                <a:ext cx="56160" cy="114840"/>
              </p14:xfrm>
            </p:contentPart>
          </mc:Choice>
          <mc:Fallback>
            <p:pic>
              <p:nvPicPr>
                <p:cNvPr id="58" name="Ink 57">
                  <a:extLst>
                    <a:ext uri="{FF2B5EF4-FFF2-40B4-BE49-F238E27FC236}">
                      <a16:creationId xmlns:a16="http://schemas.microsoft.com/office/drawing/2014/main" id="{1A7D02B5-97BB-ECBB-0578-66852E931987}"/>
                    </a:ext>
                  </a:extLst>
                </p:cNvPr>
                <p:cNvPicPr/>
                <p:nvPr/>
              </p:nvPicPr>
              <p:blipFill>
                <a:blip r:embed="rId99"/>
                <a:stretch>
                  <a:fillRect/>
                </a:stretch>
              </p:blipFill>
              <p:spPr>
                <a:xfrm>
                  <a:off x="3615581" y="3963452"/>
                  <a:ext cx="86760" cy="145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0">
              <p14:nvContentPartPr>
                <p14:cNvPr id="59" name="Ink 58">
                  <a:extLst>
                    <a:ext uri="{FF2B5EF4-FFF2-40B4-BE49-F238E27FC236}">
                      <a16:creationId xmlns:a16="http://schemas.microsoft.com/office/drawing/2014/main" id="{7C6C3420-4F4B-2CE4-5EAD-3AEA3C813E40}"/>
                    </a:ext>
                  </a:extLst>
                </p14:cNvPr>
                <p14:cNvContentPartPr/>
                <p14:nvPr/>
              </p14:nvContentPartPr>
              <p14:xfrm>
                <a:off x="3734021" y="3942212"/>
                <a:ext cx="201600" cy="142560"/>
              </p14:xfrm>
            </p:contentPart>
          </mc:Choice>
          <mc:Fallback>
            <p:pic>
              <p:nvPicPr>
                <p:cNvPr id="59" name="Ink 58">
                  <a:extLst>
                    <a:ext uri="{FF2B5EF4-FFF2-40B4-BE49-F238E27FC236}">
                      <a16:creationId xmlns:a16="http://schemas.microsoft.com/office/drawing/2014/main" id="{7C6C3420-4F4B-2CE4-5EAD-3AEA3C813E40}"/>
                    </a:ext>
                  </a:extLst>
                </p:cNvPr>
                <p:cNvPicPr/>
                <p:nvPr/>
              </p:nvPicPr>
              <p:blipFill>
                <a:blip r:embed="rId101"/>
                <a:stretch>
                  <a:fillRect/>
                </a:stretch>
              </p:blipFill>
              <p:spPr>
                <a:xfrm>
                  <a:off x="3718901" y="3927092"/>
                  <a:ext cx="232200" cy="172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2">
              <p14:nvContentPartPr>
                <p14:cNvPr id="60" name="Ink 59">
                  <a:extLst>
                    <a:ext uri="{FF2B5EF4-FFF2-40B4-BE49-F238E27FC236}">
                      <a16:creationId xmlns:a16="http://schemas.microsoft.com/office/drawing/2014/main" id="{60D3FB7E-2736-5D5B-A2FD-D5D9D636B64B}"/>
                    </a:ext>
                  </a:extLst>
                </p14:cNvPr>
                <p14:cNvContentPartPr/>
                <p14:nvPr/>
              </p14:nvContentPartPr>
              <p14:xfrm>
                <a:off x="3978461" y="3931772"/>
                <a:ext cx="149400" cy="176760"/>
              </p14:xfrm>
            </p:contentPart>
          </mc:Choice>
          <mc:Fallback>
            <p:pic>
              <p:nvPicPr>
                <p:cNvPr id="60" name="Ink 59">
                  <a:extLst>
                    <a:ext uri="{FF2B5EF4-FFF2-40B4-BE49-F238E27FC236}">
                      <a16:creationId xmlns:a16="http://schemas.microsoft.com/office/drawing/2014/main" id="{60D3FB7E-2736-5D5B-A2FD-D5D9D636B64B}"/>
                    </a:ext>
                  </a:extLst>
                </p:cNvPr>
                <p:cNvPicPr/>
                <p:nvPr/>
              </p:nvPicPr>
              <p:blipFill>
                <a:blip r:embed="rId103"/>
                <a:stretch>
                  <a:fillRect/>
                </a:stretch>
              </p:blipFill>
              <p:spPr>
                <a:xfrm>
                  <a:off x="3963341" y="3916652"/>
                  <a:ext cx="180000" cy="207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4">
              <p14:nvContentPartPr>
                <p14:cNvPr id="61" name="Ink 60">
                  <a:extLst>
                    <a:ext uri="{FF2B5EF4-FFF2-40B4-BE49-F238E27FC236}">
                      <a16:creationId xmlns:a16="http://schemas.microsoft.com/office/drawing/2014/main" id="{E03FE21E-8CD8-94F3-E41E-D57BA10D09E9}"/>
                    </a:ext>
                  </a:extLst>
                </p14:cNvPr>
                <p14:cNvContentPartPr/>
                <p14:nvPr/>
              </p14:nvContentPartPr>
              <p14:xfrm>
                <a:off x="4027061" y="4008452"/>
                <a:ext cx="29160" cy="21600"/>
              </p14:xfrm>
            </p:contentPart>
          </mc:Choice>
          <mc:Fallback>
            <p:pic>
              <p:nvPicPr>
                <p:cNvPr id="61" name="Ink 60">
                  <a:extLst>
                    <a:ext uri="{FF2B5EF4-FFF2-40B4-BE49-F238E27FC236}">
                      <a16:creationId xmlns:a16="http://schemas.microsoft.com/office/drawing/2014/main" id="{E03FE21E-8CD8-94F3-E41E-D57BA10D09E9}"/>
                    </a:ext>
                  </a:extLst>
                </p:cNvPr>
                <p:cNvPicPr/>
                <p:nvPr/>
              </p:nvPicPr>
              <p:blipFill>
                <a:blip r:embed="rId105"/>
                <a:stretch>
                  <a:fillRect/>
                </a:stretch>
              </p:blipFill>
              <p:spPr>
                <a:xfrm>
                  <a:off x="4011581" y="3992972"/>
                  <a:ext cx="59400" cy="52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6">
              <p14:nvContentPartPr>
                <p14:cNvPr id="62" name="Ink 61">
                  <a:extLst>
                    <a:ext uri="{FF2B5EF4-FFF2-40B4-BE49-F238E27FC236}">
                      <a16:creationId xmlns:a16="http://schemas.microsoft.com/office/drawing/2014/main" id="{F31D50F2-B555-8EF7-75EA-7439F38E2405}"/>
                    </a:ext>
                  </a:extLst>
                </p14:cNvPr>
                <p14:cNvContentPartPr/>
                <p14:nvPr/>
              </p14:nvContentPartPr>
              <p14:xfrm>
                <a:off x="4161341" y="3951212"/>
                <a:ext cx="102960" cy="151920"/>
              </p14:xfrm>
            </p:contentPart>
          </mc:Choice>
          <mc:Fallback>
            <p:pic>
              <p:nvPicPr>
                <p:cNvPr id="62" name="Ink 61">
                  <a:extLst>
                    <a:ext uri="{FF2B5EF4-FFF2-40B4-BE49-F238E27FC236}">
                      <a16:creationId xmlns:a16="http://schemas.microsoft.com/office/drawing/2014/main" id="{F31D50F2-B555-8EF7-75EA-7439F38E2405}"/>
                    </a:ext>
                  </a:extLst>
                </p:cNvPr>
                <p:cNvPicPr/>
                <p:nvPr/>
              </p:nvPicPr>
              <p:blipFill>
                <a:blip r:embed="rId107"/>
                <a:stretch>
                  <a:fillRect/>
                </a:stretch>
              </p:blipFill>
              <p:spPr>
                <a:xfrm>
                  <a:off x="4145861" y="3935732"/>
                  <a:ext cx="133560" cy="182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8">
              <p14:nvContentPartPr>
                <p14:cNvPr id="63" name="Ink 62">
                  <a:extLst>
                    <a:ext uri="{FF2B5EF4-FFF2-40B4-BE49-F238E27FC236}">
                      <a16:creationId xmlns:a16="http://schemas.microsoft.com/office/drawing/2014/main" id="{C7B0CE74-4CF6-C483-A95F-BA7A36D62E65}"/>
                    </a:ext>
                  </a:extLst>
                </p14:cNvPr>
                <p14:cNvContentPartPr/>
                <p14:nvPr/>
              </p14:nvContentPartPr>
              <p14:xfrm>
                <a:off x="4271141" y="4009532"/>
                <a:ext cx="54360" cy="3240"/>
              </p14:xfrm>
            </p:contentPart>
          </mc:Choice>
          <mc:Fallback>
            <p:pic>
              <p:nvPicPr>
                <p:cNvPr id="63" name="Ink 62">
                  <a:extLst>
                    <a:ext uri="{FF2B5EF4-FFF2-40B4-BE49-F238E27FC236}">
                      <a16:creationId xmlns:a16="http://schemas.microsoft.com/office/drawing/2014/main" id="{C7B0CE74-4CF6-C483-A95F-BA7A36D62E65}"/>
                    </a:ext>
                  </a:extLst>
                </p:cNvPr>
                <p:cNvPicPr/>
                <p:nvPr/>
              </p:nvPicPr>
              <p:blipFill>
                <a:blip r:embed="rId109"/>
                <a:stretch>
                  <a:fillRect/>
                </a:stretch>
              </p:blipFill>
              <p:spPr>
                <a:xfrm>
                  <a:off x="4255661" y="3994412"/>
                  <a:ext cx="84960" cy="33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0">
              <p14:nvContentPartPr>
                <p14:cNvPr id="64" name="Ink 63">
                  <a:extLst>
                    <a:ext uri="{FF2B5EF4-FFF2-40B4-BE49-F238E27FC236}">
                      <a16:creationId xmlns:a16="http://schemas.microsoft.com/office/drawing/2014/main" id="{0FD7CF21-2B77-F84F-7A3D-B31C2920246A}"/>
                    </a:ext>
                  </a:extLst>
                </p14:cNvPr>
                <p14:cNvContentPartPr/>
                <p14:nvPr/>
              </p14:nvContentPartPr>
              <p14:xfrm>
                <a:off x="4253861" y="4074332"/>
                <a:ext cx="148680" cy="21600"/>
              </p14:xfrm>
            </p:contentPart>
          </mc:Choice>
          <mc:Fallback>
            <p:pic>
              <p:nvPicPr>
                <p:cNvPr id="64" name="Ink 63">
                  <a:extLst>
                    <a:ext uri="{FF2B5EF4-FFF2-40B4-BE49-F238E27FC236}">
                      <a16:creationId xmlns:a16="http://schemas.microsoft.com/office/drawing/2014/main" id="{0FD7CF21-2B77-F84F-7A3D-B31C2920246A}"/>
                    </a:ext>
                  </a:extLst>
                </p:cNvPr>
                <p:cNvPicPr/>
                <p:nvPr/>
              </p:nvPicPr>
              <p:blipFill>
                <a:blip r:embed="rId111"/>
                <a:stretch>
                  <a:fillRect/>
                </a:stretch>
              </p:blipFill>
              <p:spPr>
                <a:xfrm>
                  <a:off x="4238741" y="4059212"/>
                  <a:ext cx="179280" cy="522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27B29F1B-180C-851D-220B-C5D90871B0A7}"/>
              </a:ext>
            </a:extLst>
          </p:cNvPr>
          <p:cNvGrpSpPr/>
          <p:nvPr/>
        </p:nvGrpSpPr>
        <p:grpSpPr>
          <a:xfrm>
            <a:off x="1126181" y="4757612"/>
            <a:ext cx="1381680" cy="401400"/>
            <a:chOff x="1126181" y="4757612"/>
            <a:chExt cx="1381680" cy="4014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12">
              <p14:nvContentPartPr>
                <p14:cNvPr id="66" name="Ink 65">
                  <a:extLst>
                    <a:ext uri="{FF2B5EF4-FFF2-40B4-BE49-F238E27FC236}">
                      <a16:creationId xmlns:a16="http://schemas.microsoft.com/office/drawing/2014/main" id="{51945474-16EF-7EEE-BEF6-7EB80E63971D}"/>
                    </a:ext>
                  </a:extLst>
                </p14:cNvPr>
                <p14:cNvContentPartPr/>
                <p14:nvPr/>
              </p14:nvContentPartPr>
              <p14:xfrm>
                <a:off x="1126181" y="4926812"/>
                <a:ext cx="164160" cy="232200"/>
              </p14:xfrm>
            </p:contentPart>
          </mc:Choice>
          <mc:Fallback>
            <p:pic>
              <p:nvPicPr>
                <p:cNvPr id="66" name="Ink 65">
                  <a:extLst>
                    <a:ext uri="{FF2B5EF4-FFF2-40B4-BE49-F238E27FC236}">
                      <a16:creationId xmlns:a16="http://schemas.microsoft.com/office/drawing/2014/main" id="{51945474-16EF-7EEE-BEF6-7EB80E63971D}"/>
                    </a:ext>
                  </a:extLst>
                </p:cNvPr>
                <p:cNvPicPr/>
                <p:nvPr/>
              </p:nvPicPr>
              <p:blipFill>
                <a:blip r:embed="rId113"/>
                <a:stretch>
                  <a:fillRect/>
                </a:stretch>
              </p:blipFill>
              <p:spPr>
                <a:xfrm>
                  <a:off x="1111061" y="4911692"/>
                  <a:ext cx="194400" cy="262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4">
              <p14:nvContentPartPr>
                <p14:cNvPr id="67" name="Ink 66">
                  <a:extLst>
                    <a:ext uri="{FF2B5EF4-FFF2-40B4-BE49-F238E27FC236}">
                      <a16:creationId xmlns:a16="http://schemas.microsoft.com/office/drawing/2014/main" id="{A28FC889-7E88-7CC0-893C-B7AADDAFF74B}"/>
                    </a:ext>
                  </a:extLst>
                </p14:cNvPr>
                <p14:cNvContentPartPr/>
                <p14:nvPr/>
              </p14:nvContentPartPr>
              <p14:xfrm>
                <a:off x="1369901" y="4897652"/>
                <a:ext cx="122040" cy="179280"/>
              </p14:xfrm>
            </p:contentPart>
          </mc:Choice>
          <mc:Fallback>
            <p:pic>
              <p:nvPicPr>
                <p:cNvPr id="67" name="Ink 66">
                  <a:extLst>
                    <a:ext uri="{FF2B5EF4-FFF2-40B4-BE49-F238E27FC236}">
                      <a16:creationId xmlns:a16="http://schemas.microsoft.com/office/drawing/2014/main" id="{A28FC889-7E88-7CC0-893C-B7AADDAFF74B}"/>
                    </a:ext>
                  </a:extLst>
                </p:cNvPr>
                <p:cNvPicPr/>
                <p:nvPr/>
              </p:nvPicPr>
              <p:blipFill>
                <a:blip r:embed="rId115"/>
                <a:stretch>
                  <a:fillRect/>
                </a:stretch>
              </p:blipFill>
              <p:spPr>
                <a:xfrm>
                  <a:off x="1354421" y="4882532"/>
                  <a:ext cx="152640" cy="209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6">
              <p14:nvContentPartPr>
                <p14:cNvPr id="68" name="Ink 67">
                  <a:extLst>
                    <a:ext uri="{FF2B5EF4-FFF2-40B4-BE49-F238E27FC236}">
                      <a16:creationId xmlns:a16="http://schemas.microsoft.com/office/drawing/2014/main" id="{BCB4187D-D57A-7ABF-5780-5FDC931133AE}"/>
                    </a:ext>
                  </a:extLst>
                </p14:cNvPr>
                <p14:cNvContentPartPr/>
                <p14:nvPr/>
              </p14:nvContentPartPr>
              <p14:xfrm>
                <a:off x="1571141" y="4884332"/>
                <a:ext cx="121320" cy="181800"/>
              </p14:xfrm>
            </p:contentPart>
          </mc:Choice>
          <mc:Fallback>
            <p:pic>
              <p:nvPicPr>
                <p:cNvPr id="68" name="Ink 67">
                  <a:extLst>
                    <a:ext uri="{FF2B5EF4-FFF2-40B4-BE49-F238E27FC236}">
                      <a16:creationId xmlns:a16="http://schemas.microsoft.com/office/drawing/2014/main" id="{BCB4187D-D57A-7ABF-5780-5FDC931133AE}"/>
                    </a:ext>
                  </a:extLst>
                </p:cNvPr>
                <p:cNvPicPr/>
                <p:nvPr/>
              </p:nvPicPr>
              <p:blipFill>
                <a:blip r:embed="rId117"/>
                <a:stretch>
                  <a:fillRect/>
                </a:stretch>
              </p:blipFill>
              <p:spPr>
                <a:xfrm>
                  <a:off x="1556021" y="4868852"/>
                  <a:ext cx="151560" cy="212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8">
              <p14:nvContentPartPr>
                <p14:cNvPr id="69" name="Ink 68">
                  <a:extLst>
                    <a:ext uri="{FF2B5EF4-FFF2-40B4-BE49-F238E27FC236}">
                      <a16:creationId xmlns:a16="http://schemas.microsoft.com/office/drawing/2014/main" id="{B0AC2C75-90A0-24EE-BD5F-E24946706F27}"/>
                    </a:ext>
                  </a:extLst>
                </p14:cNvPr>
                <p14:cNvContentPartPr/>
                <p14:nvPr/>
              </p14:nvContentPartPr>
              <p14:xfrm>
                <a:off x="1778861" y="4782812"/>
                <a:ext cx="24120" cy="278280"/>
              </p14:xfrm>
            </p:contentPart>
          </mc:Choice>
          <mc:Fallback>
            <p:pic>
              <p:nvPicPr>
                <p:cNvPr id="69" name="Ink 68">
                  <a:extLst>
                    <a:ext uri="{FF2B5EF4-FFF2-40B4-BE49-F238E27FC236}">
                      <a16:creationId xmlns:a16="http://schemas.microsoft.com/office/drawing/2014/main" id="{B0AC2C75-90A0-24EE-BD5F-E24946706F27}"/>
                    </a:ext>
                  </a:extLst>
                </p:cNvPr>
                <p:cNvPicPr/>
                <p:nvPr/>
              </p:nvPicPr>
              <p:blipFill>
                <a:blip r:embed="rId119"/>
                <a:stretch>
                  <a:fillRect/>
                </a:stretch>
              </p:blipFill>
              <p:spPr>
                <a:xfrm>
                  <a:off x="1763381" y="4767692"/>
                  <a:ext cx="54720" cy="308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0">
              <p14:nvContentPartPr>
                <p14:cNvPr id="70" name="Ink 69">
                  <a:extLst>
                    <a:ext uri="{FF2B5EF4-FFF2-40B4-BE49-F238E27FC236}">
                      <a16:creationId xmlns:a16="http://schemas.microsoft.com/office/drawing/2014/main" id="{A9DA7C0B-244B-911A-45C4-2FC8EED57BEC}"/>
                    </a:ext>
                  </a:extLst>
                </p14:cNvPr>
                <p14:cNvContentPartPr/>
                <p14:nvPr/>
              </p14:nvContentPartPr>
              <p14:xfrm>
                <a:off x="1955261" y="4757612"/>
                <a:ext cx="127440" cy="248400"/>
              </p14:xfrm>
            </p:contentPart>
          </mc:Choice>
          <mc:Fallback>
            <p:pic>
              <p:nvPicPr>
                <p:cNvPr id="70" name="Ink 69">
                  <a:extLst>
                    <a:ext uri="{FF2B5EF4-FFF2-40B4-BE49-F238E27FC236}">
                      <a16:creationId xmlns:a16="http://schemas.microsoft.com/office/drawing/2014/main" id="{A9DA7C0B-244B-911A-45C4-2FC8EED57BEC}"/>
                    </a:ext>
                  </a:extLst>
                </p:cNvPr>
                <p:cNvPicPr/>
                <p:nvPr/>
              </p:nvPicPr>
              <p:blipFill>
                <a:blip r:embed="rId121"/>
                <a:stretch>
                  <a:fillRect/>
                </a:stretch>
              </p:blipFill>
              <p:spPr>
                <a:xfrm>
                  <a:off x="1939781" y="4742492"/>
                  <a:ext cx="158040" cy="279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2">
              <p14:nvContentPartPr>
                <p14:cNvPr id="71" name="Ink 70">
                  <a:extLst>
                    <a:ext uri="{FF2B5EF4-FFF2-40B4-BE49-F238E27FC236}">
                      <a16:creationId xmlns:a16="http://schemas.microsoft.com/office/drawing/2014/main" id="{F88E84D6-D73E-17A1-0A61-32B3B3710B5C}"/>
                    </a:ext>
                  </a:extLst>
                </p14:cNvPr>
                <p14:cNvContentPartPr/>
                <p14:nvPr/>
              </p14:nvContentPartPr>
              <p14:xfrm>
                <a:off x="1947341" y="4895852"/>
                <a:ext cx="493200" cy="127440"/>
              </p14:xfrm>
            </p:contentPart>
          </mc:Choice>
          <mc:Fallback>
            <p:pic>
              <p:nvPicPr>
                <p:cNvPr id="71" name="Ink 70">
                  <a:extLst>
                    <a:ext uri="{FF2B5EF4-FFF2-40B4-BE49-F238E27FC236}">
                      <a16:creationId xmlns:a16="http://schemas.microsoft.com/office/drawing/2014/main" id="{F88E84D6-D73E-17A1-0A61-32B3B3710B5C}"/>
                    </a:ext>
                  </a:extLst>
                </p:cNvPr>
                <p:cNvPicPr/>
                <p:nvPr/>
              </p:nvPicPr>
              <p:blipFill>
                <a:blip r:embed="rId123"/>
                <a:stretch>
                  <a:fillRect/>
                </a:stretch>
              </p:blipFill>
              <p:spPr>
                <a:xfrm>
                  <a:off x="1932221" y="4880372"/>
                  <a:ext cx="523440" cy="158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4">
              <p14:nvContentPartPr>
                <p14:cNvPr id="72" name="Ink 71">
                  <a:extLst>
                    <a:ext uri="{FF2B5EF4-FFF2-40B4-BE49-F238E27FC236}">
                      <a16:creationId xmlns:a16="http://schemas.microsoft.com/office/drawing/2014/main" id="{273808A4-ADB0-74A0-CC8C-57C600D9C3E4}"/>
                    </a:ext>
                  </a:extLst>
                </p14:cNvPr>
                <p14:cNvContentPartPr/>
                <p14:nvPr/>
              </p14:nvContentPartPr>
              <p14:xfrm>
                <a:off x="2478701" y="4908092"/>
                <a:ext cx="29160" cy="48960"/>
              </p14:xfrm>
            </p:contentPart>
          </mc:Choice>
          <mc:Fallback>
            <p:pic>
              <p:nvPicPr>
                <p:cNvPr id="72" name="Ink 71">
                  <a:extLst>
                    <a:ext uri="{FF2B5EF4-FFF2-40B4-BE49-F238E27FC236}">
                      <a16:creationId xmlns:a16="http://schemas.microsoft.com/office/drawing/2014/main" id="{273808A4-ADB0-74A0-CC8C-57C600D9C3E4}"/>
                    </a:ext>
                  </a:extLst>
                </p:cNvPr>
                <p:cNvPicPr/>
                <p:nvPr/>
              </p:nvPicPr>
              <p:blipFill>
                <a:blip r:embed="rId125"/>
                <a:stretch>
                  <a:fillRect/>
                </a:stretch>
              </p:blipFill>
              <p:spPr>
                <a:xfrm>
                  <a:off x="2463221" y="4892972"/>
                  <a:ext cx="59400" cy="79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6">
              <p14:nvContentPartPr>
                <p14:cNvPr id="73" name="Ink 72">
                  <a:extLst>
                    <a:ext uri="{FF2B5EF4-FFF2-40B4-BE49-F238E27FC236}">
                      <a16:creationId xmlns:a16="http://schemas.microsoft.com/office/drawing/2014/main" id="{9E972A6F-24B2-BA6B-E8A9-5A5946DAB685}"/>
                    </a:ext>
                  </a:extLst>
                </p14:cNvPr>
                <p14:cNvContentPartPr/>
                <p14:nvPr/>
              </p14:nvContentPartPr>
              <p14:xfrm>
                <a:off x="1226261" y="5007452"/>
                <a:ext cx="1083960" cy="50040"/>
              </p14:xfrm>
            </p:contentPart>
          </mc:Choice>
          <mc:Fallback>
            <p:pic>
              <p:nvPicPr>
                <p:cNvPr id="73" name="Ink 72">
                  <a:extLst>
                    <a:ext uri="{FF2B5EF4-FFF2-40B4-BE49-F238E27FC236}">
                      <a16:creationId xmlns:a16="http://schemas.microsoft.com/office/drawing/2014/main" id="{9E972A6F-24B2-BA6B-E8A9-5A5946DAB685}"/>
                    </a:ext>
                  </a:extLst>
                </p:cNvPr>
                <p:cNvPicPr/>
                <p:nvPr/>
              </p:nvPicPr>
              <p:blipFill>
                <a:blip r:embed="rId127"/>
                <a:stretch>
                  <a:fillRect/>
                </a:stretch>
              </p:blipFill>
              <p:spPr>
                <a:xfrm>
                  <a:off x="1210781" y="4991972"/>
                  <a:ext cx="1114560" cy="80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8">
              <p14:nvContentPartPr>
                <p14:cNvPr id="74" name="Ink 73">
                  <a:extLst>
                    <a:ext uri="{FF2B5EF4-FFF2-40B4-BE49-F238E27FC236}">
                      <a16:creationId xmlns:a16="http://schemas.microsoft.com/office/drawing/2014/main" id="{4A69FBDA-15DF-5CC4-A131-E8773C7AF654}"/>
                    </a:ext>
                  </a:extLst>
                </p14:cNvPr>
                <p14:cNvContentPartPr/>
                <p14:nvPr/>
              </p14:nvContentPartPr>
              <p14:xfrm>
                <a:off x="1228061" y="5090252"/>
                <a:ext cx="898200" cy="26640"/>
              </p14:xfrm>
            </p:contentPart>
          </mc:Choice>
          <mc:Fallback>
            <p:pic>
              <p:nvPicPr>
                <p:cNvPr id="74" name="Ink 73">
                  <a:extLst>
                    <a:ext uri="{FF2B5EF4-FFF2-40B4-BE49-F238E27FC236}">
                      <a16:creationId xmlns:a16="http://schemas.microsoft.com/office/drawing/2014/main" id="{4A69FBDA-15DF-5CC4-A131-E8773C7AF654}"/>
                    </a:ext>
                  </a:extLst>
                </p:cNvPr>
                <p:cNvPicPr/>
                <p:nvPr/>
              </p:nvPicPr>
              <p:blipFill>
                <a:blip r:embed="rId129"/>
                <a:stretch>
                  <a:fillRect/>
                </a:stretch>
              </p:blipFill>
              <p:spPr>
                <a:xfrm>
                  <a:off x="1212941" y="5075132"/>
                  <a:ext cx="928800" cy="572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02B873DC-C296-6FC6-E766-35A82A1FDD6A}"/>
              </a:ext>
            </a:extLst>
          </p:cNvPr>
          <p:cNvGrpSpPr/>
          <p:nvPr/>
        </p:nvGrpSpPr>
        <p:grpSpPr>
          <a:xfrm>
            <a:off x="1445501" y="5250452"/>
            <a:ext cx="2827800" cy="335160"/>
            <a:chOff x="1445501" y="5250452"/>
            <a:chExt cx="2827800" cy="3351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30">
              <p14:nvContentPartPr>
                <p14:cNvPr id="75" name="Ink 74">
                  <a:extLst>
                    <a:ext uri="{FF2B5EF4-FFF2-40B4-BE49-F238E27FC236}">
                      <a16:creationId xmlns:a16="http://schemas.microsoft.com/office/drawing/2014/main" id="{C90BA558-0ADF-6E99-AAB1-FA6A979DA451}"/>
                    </a:ext>
                  </a:extLst>
                </p14:cNvPr>
                <p14:cNvContentPartPr/>
                <p14:nvPr/>
              </p14:nvContentPartPr>
              <p14:xfrm>
                <a:off x="1445501" y="5328932"/>
                <a:ext cx="197280" cy="256680"/>
              </p14:xfrm>
            </p:contentPart>
          </mc:Choice>
          <mc:Fallback>
            <p:pic>
              <p:nvPicPr>
                <p:cNvPr id="75" name="Ink 74">
                  <a:extLst>
                    <a:ext uri="{FF2B5EF4-FFF2-40B4-BE49-F238E27FC236}">
                      <a16:creationId xmlns:a16="http://schemas.microsoft.com/office/drawing/2014/main" id="{C90BA558-0ADF-6E99-AAB1-FA6A979DA451}"/>
                    </a:ext>
                  </a:extLst>
                </p:cNvPr>
                <p:cNvPicPr/>
                <p:nvPr/>
              </p:nvPicPr>
              <p:blipFill>
                <a:blip r:embed="rId131"/>
                <a:stretch>
                  <a:fillRect/>
                </a:stretch>
              </p:blipFill>
              <p:spPr>
                <a:xfrm>
                  <a:off x="1430021" y="5313812"/>
                  <a:ext cx="227880" cy="287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32">
              <p14:nvContentPartPr>
                <p14:cNvPr id="76" name="Ink 75">
                  <a:extLst>
                    <a:ext uri="{FF2B5EF4-FFF2-40B4-BE49-F238E27FC236}">
                      <a16:creationId xmlns:a16="http://schemas.microsoft.com/office/drawing/2014/main" id="{314F8DD9-256E-25CD-9FFC-54E0A309E4A1}"/>
                    </a:ext>
                  </a:extLst>
                </p14:cNvPr>
                <p14:cNvContentPartPr/>
                <p14:nvPr/>
              </p14:nvContentPartPr>
              <p14:xfrm>
                <a:off x="1710101" y="5378972"/>
                <a:ext cx="88200" cy="162720"/>
              </p14:xfrm>
            </p:contentPart>
          </mc:Choice>
          <mc:Fallback>
            <p:pic>
              <p:nvPicPr>
                <p:cNvPr id="76" name="Ink 75">
                  <a:extLst>
                    <a:ext uri="{FF2B5EF4-FFF2-40B4-BE49-F238E27FC236}">
                      <a16:creationId xmlns:a16="http://schemas.microsoft.com/office/drawing/2014/main" id="{314F8DD9-256E-25CD-9FFC-54E0A309E4A1}"/>
                    </a:ext>
                  </a:extLst>
                </p:cNvPr>
                <p:cNvPicPr/>
                <p:nvPr/>
              </p:nvPicPr>
              <p:blipFill>
                <a:blip r:embed="rId133"/>
                <a:stretch>
                  <a:fillRect/>
                </a:stretch>
              </p:blipFill>
              <p:spPr>
                <a:xfrm>
                  <a:off x="1694981" y="5363492"/>
                  <a:ext cx="118440" cy="193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34">
              <p14:nvContentPartPr>
                <p14:cNvPr id="77" name="Ink 76">
                  <a:extLst>
                    <a:ext uri="{FF2B5EF4-FFF2-40B4-BE49-F238E27FC236}">
                      <a16:creationId xmlns:a16="http://schemas.microsoft.com/office/drawing/2014/main" id="{A4657D16-AA67-EF67-88B2-BF77EF769AE3}"/>
                    </a:ext>
                  </a:extLst>
                </p14:cNvPr>
                <p14:cNvContentPartPr/>
                <p14:nvPr/>
              </p14:nvContentPartPr>
              <p14:xfrm>
                <a:off x="1903781" y="5367812"/>
                <a:ext cx="161640" cy="156960"/>
              </p14:xfrm>
            </p:contentPart>
          </mc:Choice>
          <mc:Fallback>
            <p:pic>
              <p:nvPicPr>
                <p:cNvPr id="77" name="Ink 76">
                  <a:extLst>
                    <a:ext uri="{FF2B5EF4-FFF2-40B4-BE49-F238E27FC236}">
                      <a16:creationId xmlns:a16="http://schemas.microsoft.com/office/drawing/2014/main" id="{A4657D16-AA67-EF67-88B2-BF77EF769AE3}"/>
                    </a:ext>
                  </a:extLst>
                </p:cNvPr>
                <p:cNvPicPr/>
                <p:nvPr/>
              </p:nvPicPr>
              <p:blipFill>
                <a:blip r:embed="rId135"/>
                <a:stretch>
                  <a:fillRect/>
                </a:stretch>
              </p:blipFill>
              <p:spPr>
                <a:xfrm>
                  <a:off x="1888661" y="5352692"/>
                  <a:ext cx="192240" cy="187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36">
              <p14:nvContentPartPr>
                <p14:cNvPr id="78" name="Ink 77">
                  <a:extLst>
                    <a:ext uri="{FF2B5EF4-FFF2-40B4-BE49-F238E27FC236}">
                      <a16:creationId xmlns:a16="http://schemas.microsoft.com/office/drawing/2014/main" id="{A1DD70FA-F24B-EFBC-B35E-6AC04B79AF48}"/>
                    </a:ext>
                  </a:extLst>
                </p14:cNvPr>
                <p14:cNvContentPartPr/>
                <p14:nvPr/>
              </p14:nvContentPartPr>
              <p14:xfrm>
                <a:off x="1895141" y="5517212"/>
                <a:ext cx="152280" cy="42120"/>
              </p14:xfrm>
            </p:contentPart>
          </mc:Choice>
          <mc:Fallback>
            <p:pic>
              <p:nvPicPr>
                <p:cNvPr id="78" name="Ink 77">
                  <a:extLst>
                    <a:ext uri="{FF2B5EF4-FFF2-40B4-BE49-F238E27FC236}">
                      <a16:creationId xmlns:a16="http://schemas.microsoft.com/office/drawing/2014/main" id="{A1DD70FA-F24B-EFBC-B35E-6AC04B79AF48}"/>
                    </a:ext>
                  </a:extLst>
                </p:cNvPr>
                <p:cNvPicPr/>
                <p:nvPr/>
              </p:nvPicPr>
              <p:blipFill>
                <a:blip r:embed="rId137"/>
                <a:stretch>
                  <a:fillRect/>
                </a:stretch>
              </p:blipFill>
              <p:spPr>
                <a:xfrm>
                  <a:off x="1880021" y="5502092"/>
                  <a:ext cx="182880" cy="72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38">
              <p14:nvContentPartPr>
                <p14:cNvPr id="79" name="Ink 78">
                  <a:extLst>
                    <a:ext uri="{FF2B5EF4-FFF2-40B4-BE49-F238E27FC236}">
                      <a16:creationId xmlns:a16="http://schemas.microsoft.com/office/drawing/2014/main" id="{352B17E3-6A06-7BD0-5372-0EBEC1E0268D}"/>
                    </a:ext>
                  </a:extLst>
                </p14:cNvPr>
                <p14:cNvContentPartPr/>
                <p14:nvPr/>
              </p14:nvContentPartPr>
              <p14:xfrm>
                <a:off x="2125901" y="5426132"/>
                <a:ext cx="126720" cy="101520"/>
              </p14:xfrm>
            </p:contentPart>
          </mc:Choice>
          <mc:Fallback>
            <p:pic>
              <p:nvPicPr>
                <p:cNvPr id="79" name="Ink 78">
                  <a:extLst>
                    <a:ext uri="{FF2B5EF4-FFF2-40B4-BE49-F238E27FC236}">
                      <a16:creationId xmlns:a16="http://schemas.microsoft.com/office/drawing/2014/main" id="{352B17E3-6A06-7BD0-5372-0EBEC1E0268D}"/>
                    </a:ext>
                  </a:extLst>
                </p:cNvPr>
                <p:cNvPicPr/>
                <p:nvPr/>
              </p:nvPicPr>
              <p:blipFill>
                <a:blip r:embed="rId139"/>
                <a:stretch>
                  <a:fillRect/>
                </a:stretch>
              </p:blipFill>
              <p:spPr>
                <a:xfrm>
                  <a:off x="2110781" y="5411012"/>
                  <a:ext cx="157320" cy="132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0">
              <p14:nvContentPartPr>
                <p14:cNvPr id="80" name="Ink 79">
                  <a:extLst>
                    <a:ext uri="{FF2B5EF4-FFF2-40B4-BE49-F238E27FC236}">
                      <a16:creationId xmlns:a16="http://schemas.microsoft.com/office/drawing/2014/main" id="{06267B7B-E8E6-BE92-4E90-A2D96495883E}"/>
                    </a:ext>
                  </a:extLst>
                </p14:cNvPr>
                <p14:cNvContentPartPr/>
                <p14:nvPr/>
              </p14:nvContentPartPr>
              <p14:xfrm>
                <a:off x="2304101" y="5398052"/>
                <a:ext cx="168120" cy="111240"/>
              </p14:xfrm>
            </p:contentPart>
          </mc:Choice>
          <mc:Fallback>
            <p:pic>
              <p:nvPicPr>
                <p:cNvPr id="80" name="Ink 79">
                  <a:extLst>
                    <a:ext uri="{FF2B5EF4-FFF2-40B4-BE49-F238E27FC236}">
                      <a16:creationId xmlns:a16="http://schemas.microsoft.com/office/drawing/2014/main" id="{06267B7B-E8E6-BE92-4E90-A2D96495883E}"/>
                    </a:ext>
                  </a:extLst>
                </p:cNvPr>
                <p:cNvPicPr/>
                <p:nvPr/>
              </p:nvPicPr>
              <p:blipFill>
                <a:blip r:embed="rId141"/>
                <a:stretch>
                  <a:fillRect/>
                </a:stretch>
              </p:blipFill>
              <p:spPr>
                <a:xfrm>
                  <a:off x="2288621" y="5382932"/>
                  <a:ext cx="198720" cy="141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2">
              <p14:nvContentPartPr>
                <p14:cNvPr id="81" name="Ink 80">
                  <a:extLst>
                    <a:ext uri="{FF2B5EF4-FFF2-40B4-BE49-F238E27FC236}">
                      <a16:creationId xmlns:a16="http://schemas.microsoft.com/office/drawing/2014/main" id="{A3826AE4-F073-BA1D-8102-5276628425F2}"/>
                    </a:ext>
                  </a:extLst>
                </p14:cNvPr>
                <p14:cNvContentPartPr/>
                <p14:nvPr/>
              </p14:nvContentPartPr>
              <p14:xfrm>
                <a:off x="2503541" y="5357732"/>
                <a:ext cx="360720" cy="125280"/>
              </p14:xfrm>
            </p:contentPart>
          </mc:Choice>
          <mc:Fallback>
            <p:pic>
              <p:nvPicPr>
                <p:cNvPr id="81" name="Ink 80">
                  <a:extLst>
                    <a:ext uri="{FF2B5EF4-FFF2-40B4-BE49-F238E27FC236}">
                      <a16:creationId xmlns:a16="http://schemas.microsoft.com/office/drawing/2014/main" id="{A3826AE4-F073-BA1D-8102-5276628425F2}"/>
                    </a:ext>
                  </a:extLst>
                </p:cNvPr>
                <p:cNvPicPr/>
                <p:nvPr/>
              </p:nvPicPr>
              <p:blipFill>
                <a:blip r:embed="rId143"/>
                <a:stretch>
                  <a:fillRect/>
                </a:stretch>
              </p:blipFill>
              <p:spPr>
                <a:xfrm>
                  <a:off x="2488421" y="5342612"/>
                  <a:ext cx="391320" cy="155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4">
              <p14:nvContentPartPr>
                <p14:cNvPr id="82" name="Ink 81">
                  <a:extLst>
                    <a:ext uri="{FF2B5EF4-FFF2-40B4-BE49-F238E27FC236}">
                      <a16:creationId xmlns:a16="http://schemas.microsoft.com/office/drawing/2014/main" id="{16DB2437-3A52-BF39-458E-D3D651942390}"/>
                    </a:ext>
                  </a:extLst>
                </p14:cNvPr>
                <p14:cNvContentPartPr/>
                <p14:nvPr/>
              </p14:nvContentPartPr>
              <p14:xfrm>
                <a:off x="2975861" y="5326052"/>
                <a:ext cx="19080" cy="189000"/>
              </p14:xfrm>
            </p:contentPart>
          </mc:Choice>
          <mc:Fallback>
            <p:pic>
              <p:nvPicPr>
                <p:cNvPr id="82" name="Ink 81">
                  <a:extLst>
                    <a:ext uri="{FF2B5EF4-FFF2-40B4-BE49-F238E27FC236}">
                      <a16:creationId xmlns:a16="http://schemas.microsoft.com/office/drawing/2014/main" id="{16DB2437-3A52-BF39-458E-D3D651942390}"/>
                    </a:ext>
                  </a:extLst>
                </p:cNvPr>
                <p:cNvPicPr/>
                <p:nvPr/>
              </p:nvPicPr>
              <p:blipFill>
                <a:blip r:embed="rId145"/>
                <a:stretch>
                  <a:fillRect/>
                </a:stretch>
              </p:blipFill>
              <p:spPr>
                <a:xfrm>
                  <a:off x="2960381" y="5310932"/>
                  <a:ext cx="49680" cy="219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6">
              <p14:nvContentPartPr>
                <p14:cNvPr id="83" name="Ink 82">
                  <a:extLst>
                    <a:ext uri="{FF2B5EF4-FFF2-40B4-BE49-F238E27FC236}">
                      <a16:creationId xmlns:a16="http://schemas.microsoft.com/office/drawing/2014/main" id="{261D0A40-3309-028A-9ED9-F6A2BD4260CF}"/>
                    </a:ext>
                  </a:extLst>
                </p14:cNvPr>
                <p14:cNvContentPartPr/>
                <p14:nvPr/>
              </p14:nvContentPartPr>
              <p14:xfrm>
                <a:off x="3088901" y="5378252"/>
                <a:ext cx="56160" cy="95400"/>
              </p14:xfrm>
            </p:contentPart>
          </mc:Choice>
          <mc:Fallback>
            <p:pic>
              <p:nvPicPr>
                <p:cNvPr id="83" name="Ink 82">
                  <a:extLst>
                    <a:ext uri="{FF2B5EF4-FFF2-40B4-BE49-F238E27FC236}">
                      <a16:creationId xmlns:a16="http://schemas.microsoft.com/office/drawing/2014/main" id="{261D0A40-3309-028A-9ED9-F6A2BD4260CF}"/>
                    </a:ext>
                  </a:extLst>
                </p:cNvPr>
                <p:cNvPicPr/>
                <p:nvPr/>
              </p:nvPicPr>
              <p:blipFill>
                <a:blip r:embed="rId147"/>
                <a:stretch>
                  <a:fillRect/>
                </a:stretch>
              </p:blipFill>
              <p:spPr>
                <a:xfrm>
                  <a:off x="3073421" y="5363132"/>
                  <a:ext cx="86760" cy="12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8">
              <p14:nvContentPartPr>
                <p14:cNvPr id="84" name="Ink 83">
                  <a:extLst>
                    <a:ext uri="{FF2B5EF4-FFF2-40B4-BE49-F238E27FC236}">
                      <a16:creationId xmlns:a16="http://schemas.microsoft.com/office/drawing/2014/main" id="{987CAF5F-8001-7816-F87D-A47A07AFABB2}"/>
                    </a:ext>
                  </a:extLst>
                </p14:cNvPr>
                <p14:cNvContentPartPr/>
                <p14:nvPr/>
              </p14:nvContentPartPr>
              <p14:xfrm>
                <a:off x="3169901" y="5355932"/>
                <a:ext cx="144720" cy="141120"/>
              </p14:xfrm>
            </p:contentPart>
          </mc:Choice>
          <mc:Fallback>
            <p:pic>
              <p:nvPicPr>
                <p:cNvPr id="84" name="Ink 83">
                  <a:extLst>
                    <a:ext uri="{FF2B5EF4-FFF2-40B4-BE49-F238E27FC236}">
                      <a16:creationId xmlns:a16="http://schemas.microsoft.com/office/drawing/2014/main" id="{987CAF5F-8001-7816-F87D-A47A07AFABB2}"/>
                    </a:ext>
                  </a:extLst>
                </p:cNvPr>
                <p:cNvPicPr/>
                <p:nvPr/>
              </p:nvPicPr>
              <p:blipFill>
                <a:blip r:embed="rId149"/>
                <a:stretch>
                  <a:fillRect/>
                </a:stretch>
              </p:blipFill>
              <p:spPr>
                <a:xfrm>
                  <a:off x="3154781" y="5340812"/>
                  <a:ext cx="175320" cy="171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0">
              <p14:nvContentPartPr>
                <p14:cNvPr id="85" name="Ink 84">
                  <a:extLst>
                    <a:ext uri="{FF2B5EF4-FFF2-40B4-BE49-F238E27FC236}">
                      <a16:creationId xmlns:a16="http://schemas.microsoft.com/office/drawing/2014/main" id="{67530088-EB23-C01E-13C0-4265260378E6}"/>
                    </a:ext>
                  </a:extLst>
                </p14:cNvPr>
                <p14:cNvContentPartPr/>
                <p14:nvPr/>
              </p14:nvContentPartPr>
              <p14:xfrm>
                <a:off x="3287261" y="5304452"/>
                <a:ext cx="306360" cy="186480"/>
              </p14:xfrm>
            </p:contentPart>
          </mc:Choice>
          <mc:Fallback>
            <p:pic>
              <p:nvPicPr>
                <p:cNvPr id="85" name="Ink 84">
                  <a:extLst>
                    <a:ext uri="{FF2B5EF4-FFF2-40B4-BE49-F238E27FC236}">
                      <a16:creationId xmlns:a16="http://schemas.microsoft.com/office/drawing/2014/main" id="{67530088-EB23-C01E-13C0-4265260378E6}"/>
                    </a:ext>
                  </a:extLst>
                </p:cNvPr>
                <p:cNvPicPr/>
                <p:nvPr/>
              </p:nvPicPr>
              <p:blipFill>
                <a:blip r:embed="rId151"/>
                <a:stretch>
                  <a:fillRect/>
                </a:stretch>
              </p:blipFill>
              <p:spPr>
                <a:xfrm>
                  <a:off x="3272141" y="5289332"/>
                  <a:ext cx="336960" cy="217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2">
              <p14:nvContentPartPr>
                <p14:cNvPr id="86" name="Ink 85">
                  <a:extLst>
                    <a:ext uri="{FF2B5EF4-FFF2-40B4-BE49-F238E27FC236}">
                      <a16:creationId xmlns:a16="http://schemas.microsoft.com/office/drawing/2014/main" id="{D3D6610C-1CAE-A4CB-7FDA-5949EC4B48EC}"/>
                    </a:ext>
                  </a:extLst>
                </p14:cNvPr>
                <p14:cNvContentPartPr/>
                <p14:nvPr/>
              </p14:nvContentPartPr>
              <p14:xfrm>
                <a:off x="3609461" y="5260532"/>
                <a:ext cx="51840" cy="237240"/>
              </p14:xfrm>
            </p:contentPart>
          </mc:Choice>
          <mc:Fallback>
            <p:pic>
              <p:nvPicPr>
                <p:cNvPr id="86" name="Ink 85">
                  <a:extLst>
                    <a:ext uri="{FF2B5EF4-FFF2-40B4-BE49-F238E27FC236}">
                      <a16:creationId xmlns:a16="http://schemas.microsoft.com/office/drawing/2014/main" id="{D3D6610C-1CAE-A4CB-7FDA-5949EC4B48EC}"/>
                    </a:ext>
                  </a:extLst>
                </p:cNvPr>
                <p:cNvPicPr/>
                <p:nvPr/>
              </p:nvPicPr>
              <p:blipFill>
                <a:blip r:embed="rId153"/>
                <a:stretch>
                  <a:fillRect/>
                </a:stretch>
              </p:blipFill>
              <p:spPr>
                <a:xfrm>
                  <a:off x="3594341" y="5245412"/>
                  <a:ext cx="82080" cy="267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4">
              <p14:nvContentPartPr>
                <p14:cNvPr id="87" name="Ink 86">
                  <a:extLst>
                    <a:ext uri="{FF2B5EF4-FFF2-40B4-BE49-F238E27FC236}">
                      <a16:creationId xmlns:a16="http://schemas.microsoft.com/office/drawing/2014/main" id="{9EA501AC-F2AC-2BD6-E8FB-25204FD75F85}"/>
                    </a:ext>
                  </a:extLst>
                </p14:cNvPr>
                <p14:cNvContentPartPr/>
                <p14:nvPr/>
              </p14:nvContentPartPr>
              <p14:xfrm>
                <a:off x="3788741" y="5250452"/>
                <a:ext cx="148680" cy="191160"/>
              </p14:xfrm>
            </p:contentPart>
          </mc:Choice>
          <mc:Fallback>
            <p:pic>
              <p:nvPicPr>
                <p:cNvPr id="87" name="Ink 86">
                  <a:extLst>
                    <a:ext uri="{FF2B5EF4-FFF2-40B4-BE49-F238E27FC236}">
                      <a16:creationId xmlns:a16="http://schemas.microsoft.com/office/drawing/2014/main" id="{9EA501AC-F2AC-2BD6-E8FB-25204FD75F85}"/>
                    </a:ext>
                  </a:extLst>
                </p:cNvPr>
                <p:cNvPicPr/>
                <p:nvPr/>
              </p:nvPicPr>
              <p:blipFill>
                <a:blip r:embed="rId155"/>
                <a:stretch>
                  <a:fillRect/>
                </a:stretch>
              </p:blipFill>
              <p:spPr>
                <a:xfrm>
                  <a:off x="3773621" y="5235332"/>
                  <a:ext cx="179280" cy="221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6">
              <p14:nvContentPartPr>
                <p14:cNvPr id="88" name="Ink 87">
                  <a:extLst>
                    <a:ext uri="{FF2B5EF4-FFF2-40B4-BE49-F238E27FC236}">
                      <a16:creationId xmlns:a16="http://schemas.microsoft.com/office/drawing/2014/main" id="{CC2FD764-34DE-DF52-396E-2299B07DC9D6}"/>
                    </a:ext>
                  </a:extLst>
                </p14:cNvPr>
                <p14:cNvContentPartPr/>
                <p14:nvPr/>
              </p14:nvContentPartPr>
              <p14:xfrm>
                <a:off x="3856781" y="5305892"/>
                <a:ext cx="205560" cy="134640"/>
              </p14:xfrm>
            </p:contentPart>
          </mc:Choice>
          <mc:Fallback>
            <p:pic>
              <p:nvPicPr>
                <p:cNvPr id="88" name="Ink 87">
                  <a:extLst>
                    <a:ext uri="{FF2B5EF4-FFF2-40B4-BE49-F238E27FC236}">
                      <a16:creationId xmlns:a16="http://schemas.microsoft.com/office/drawing/2014/main" id="{CC2FD764-34DE-DF52-396E-2299B07DC9D6}"/>
                    </a:ext>
                  </a:extLst>
                </p:cNvPr>
                <p:cNvPicPr/>
                <p:nvPr/>
              </p:nvPicPr>
              <p:blipFill>
                <a:blip r:embed="rId157"/>
                <a:stretch>
                  <a:fillRect/>
                </a:stretch>
              </p:blipFill>
              <p:spPr>
                <a:xfrm>
                  <a:off x="3841661" y="5290772"/>
                  <a:ext cx="236160" cy="165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8">
              <p14:nvContentPartPr>
                <p14:cNvPr id="89" name="Ink 88">
                  <a:extLst>
                    <a:ext uri="{FF2B5EF4-FFF2-40B4-BE49-F238E27FC236}">
                      <a16:creationId xmlns:a16="http://schemas.microsoft.com/office/drawing/2014/main" id="{53052D60-1FCD-4368-3DFD-4CAD7A5F96C4}"/>
                    </a:ext>
                  </a:extLst>
                </p14:cNvPr>
                <p14:cNvContentPartPr/>
                <p14:nvPr/>
              </p14:nvContentPartPr>
              <p14:xfrm>
                <a:off x="4160261" y="5312012"/>
                <a:ext cx="95040" cy="48960"/>
              </p14:xfrm>
            </p:contentPart>
          </mc:Choice>
          <mc:Fallback>
            <p:pic>
              <p:nvPicPr>
                <p:cNvPr id="89" name="Ink 88">
                  <a:extLst>
                    <a:ext uri="{FF2B5EF4-FFF2-40B4-BE49-F238E27FC236}">
                      <a16:creationId xmlns:a16="http://schemas.microsoft.com/office/drawing/2014/main" id="{53052D60-1FCD-4368-3DFD-4CAD7A5F96C4}"/>
                    </a:ext>
                  </a:extLst>
                </p:cNvPr>
                <p:cNvPicPr/>
                <p:nvPr/>
              </p:nvPicPr>
              <p:blipFill>
                <a:blip r:embed="rId159"/>
                <a:stretch>
                  <a:fillRect/>
                </a:stretch>
              </p:blipFill>
              <p:spPr>
                <a:xfrm>
                  <a:off x="4145141" y="5296892"/>
                  <a:ext cx="125640" cy="79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0">
              <p14:nvContentPartPr>
                <p14:cNvPr id="90" name="Ink 89">
                  <a:extLst>
                    <a:ext uri="{FF2B5EF4-FFF2-40B4-BE49-F238E27FC236}">
                      <a16:creationId xmlns:a16="http://schemas.microsoft.com/office/drawing/2014/main" id="{E2BC2665-B714-1A39-18F1-711864ECB46D}"/>
                    </a:ext>
                  </a:extLst>
                </p14:cNvPr>
                <p14:cNvContentPartPr/>
                <p14:nvPr/>
              </p14:nvContentPartPr>
              <p14:xfrm>
                <a:off x="4159901" y="5390492"/>
                <a:ext cx="113400" cy="39240"/>
              </p14:xfrm>
            </p:contentPart>
          </mc:Choice>
          <mc:Fallback>
            <p:pic>
              <p:nvPicPr>
                <p:cNvPr id="90" name="Ink 89">
                  <a:extLst>
                    <a:ext uri="{FF2B5EF4-FFF2-40B4-BE49-F238E27FC236}">
                      <a16:creationId xmlns:a16="http://schemas.microsoft.com/office/drawing/2014/main" id="{E2BC2665-B714-1A39-18F1-711864ECB46D}"/>
                    </a:ext>
                  </a:extLst>
                </p:cNvPr>
                <p:cNvPicPr/>
                <p:nvPr/>
              </p:nvPicPr>
              <p:blipFill>
                <a:blip r:embed="rId161"/>
                <a:stretch>
                  <a:fillRect/>
                </a:stretch>
              </p:blipFill>
              <p:spPr>
                <a:xfrm>
                  <a:off x="4144781" y="5375012"/>
                  <a:ext cx="144000" cy="698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44BAE6B2-38D4-DBF6-6E21-B2B869E348E2}"/>
              </a:ext>
            </a:extLst>
          </p:cNvPr>
          <p:cNvGrpSpPr/>
          <p:nvPr/>
        </p:nvGrpSpPr>
        <p:grpSpPr>
          <a:xfrm>
            <a:off x="4583981" y="5045612"/>
            <a:ext cx="480240" cy="253440"/>
            <a:chOff x="4583981" y="5045612"/>
            <a:chExt cx="480240" cy="2534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62">
              <p14:nvContentPartPr>
                <p14:cNvPr id="93" name="Ink 92">
                  <a:extLst>
                    <a:ext uri="{FF2B5EF4-FFF2-40B4-BE49-F238E27FC236}">
                      <a16:creationId xmlns:a16="http://schemas.microsoft.com/office/drawing/2014/main" id="{618E3DD9-5086-FBAA-9723-1A7184057DA8}"/>
                    </a:ext>
                  </a:extLst>
                </p14:cNvPr>
                <p14:cNvContentPartPr/>
                <p14:nvPr/>
              </p14:nvContentPartPr>
              <p14:xfrm>
                <a:off x="4583981" y="5045612"/>
                <a:ext cx="195840" cy="253440"/>
              </p14:xfrm>
            </p:contentPart>
          </mc:Choice>
          <mc:Fallback>
            <p:pic>
              <p:nvPicPr>
                <p:cNvPr id="93" name="Ink 92">
                  <a:extLst>
                    <a:ext uri="{FF2B5EF4-FFF2-40B4-BE49-F238E27FC236}">
                      <a16:creationId xmlns:a16="http://schemas.microsoft.com/office/drawing/2014/main" id="{618E3DD9-5086-FBAA-9723-1A7184057DA8}"/>
                    </a:ext>
                  </a:extLst>
                </p:cNvPr>
                <p:cNvPicPr/>
                <p:nvPr/>
              </p:nvPicPr>
              <p:blipFill>
                <a:blip r:embed="rId163"/>
                <a:stretch>
                  <a:fillRect/>
                </a:stretch>
              </p:blipFill>
              <p:spPr>
                <a:xfrm>
                  <a:off x="4568861" y="5030132"/>
                  <a:ext cx="226080" cy="283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4">
              <p14:nvContentPartPr>
                <p14:cNvPr id="94" name="Ink 93">
                  <a:extLst>
                    <a:ext uri="{FF2B5EF4-FFF2-40B4-BE49-F238E27FC236}">
                      <a16:creationId xmlns:a16="http://schemas.microsoft.com/office/drawing/2014/main" id="{770D34FE-7598-540B-AE09-2DFE6F225C35}"/>
                    </a:ext>
                  </a:extLst>
                </p14:cNvPr>
                <p14:cNvContentPartPr/>
                <p14:nvPr/>
              </p14:nvContentPartPr>
              <p14:xfrm>
                <a:off x="4860101" y="5052812"/>
                <a:ext cx="204120" cy="132480"/>
              </p14:xfrm>
            </p:contentPart>
          </mc:Choice>
          <mc:Fallback>
            <p:pic>
              <p:nvPicPr>
                <p:cNvPr id="94" name="Ink 93">
                  <a:extLst>
                    <a:ext uri="{FF2B5EF4-FFF2-40B4-BE49-F238E27FC236}">
                      <a16:creationId xmlns:a16="http://schemas.microsoft.com/office/drawing/2014/main" id="{770D34FE-7598-540B-AE09-2DFE6F225C35}"/>
                    </a:ext>
                  </a:extLst>
                </p:cNvPr>
                <p:cNvPicPr/>
                <p:nvPr/>
              </p:nvPicPr>
              <p:blipFill>
                <a:blip r:embed="rId165"/>
                <a:stretch>
                  <a:fillRect/>
                </a:stretch>
              </p:blipFill>
              <p:spPr>
                <a:xfrm>
                  <a:off x="4844981" y="5037332"/>
                  <a:ext cx="234720" cy="1627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5FDB578F-DA98-B85F-C7FF-664D2CE84246}"/>
              </a:ext>
            </a:extLst>
          </p:cNvPr>
          <p:cNvGrpSpPr/>
          <p:nvPr/>
        </p:nvGrpSpPr>
        <p:grpSpPr>
          <a:xfrm>
            <a:off x="4616741" y="5428292"/>
            <a:ext cx="419760" cy="391320"/>
            <a:chOff x="4616741" y="5428292"/>
            <a:chExt cx="419760" cy="3913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66">
              <p14:nvContentPartPr>
                <p14:cNvPr id="95" name="Ink 94">
                  <a:extLst>
                    <a:ext uri="{FF2B5EF4-FFF2-40B4-BE49-F238E27FC236}">
                      <a16:creationId xmlns:a16="http://schemas.microsoft.com/office/drawing/2014/main" id="{23D02526-FEE2-8EC1-70E7-9C7D9B24849C}"/>
                    </a:ext>
                  </a:extLst>
                </p14:cNvPr>
                <p14:cNvContentPartPr/>
                <p14:nvPr/>
              </p14:nvContentPartPr>
              <p14:xfrm>
                <a:off x="4616741" y="5428292"/>
                <a:ext cx="419760" cy="22320"/>
              </p14:xfrm>
            </p:contentPart>
          </mc:Choice>
          <mc:Fallback>
            <p:pic>
              <p:nvPicPr>
                <p:cNvPr id="95" name="Ink 94">
                  <a:extLst>
                    <a:ext uri="{FF2B5EF4-FFF2-40B4-BE49-F238E27FC236}">
                      <a16:creationId xmlns:a16="http://schemas.microsoft.com/office/drawing/2014/main" id="{23D02526-FEE2-8EC1-70E7-9C7D9B24849C}"/>
                    </a:ext>
                  </a:extLst>
                </p:cNvPr>
                <p:cNvPicPr/>
                <p:nvPr/>
              </p:nvPicPr>
              <p:blipFill>
                <a:blip r:embed="rId167"/>
                <a:stretch>
                  <a:fillRect/>
                </a:stretch>
              </p:blipFill>
              <p:spPr>
                <a:xfrm>
                  <a:off x="4601621" y="5413172"/>
                  <a:ext cx="450360" cy="52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8">
              <p14:nvContentPartPr>
                <p14:cNvPr id="96" name="Ink 95">
                  <a:extLst>
                    <a:ext uri="{FF2B5EF4-FFF2-40B4-BE49-F238E27FC236}">
                      <a16:creationId xmlns:a16="http://schemas.microsoft.com/office/drawing/2014/main" id="{B4243ABD-CCAB-B775-6786-FA40F650EE30}"/>
                    </a:ext>
                  </a:extLst>
                </p14:cNvPr>
                <p14:cNvContentPartPr/>
                <p14:nvPr/>
              </p14:nvContentPartPr>
              <p14:xfrm>
                <a:off x="4717901" y="5514332"/>
                <a:ext cx="96480" cy="305280"/>
              </p14:xfrm>
            </p:contentPart>
          </mc:Choice>
          <mc:Fallback>
            <p:pic>
              <p:nvPicPr>
                <p:cNvPr id="96" name="Ink 95">
                  <a:extLst>
                    <a:ext uri="{FF2B5EF4-FFF2-40B4-BE49-F238E27FC236}">
                      <a16:creationId xmlns:a16="http://schemas.microsoft.com/office/drawing/2014/main" id="{B4243ABD-CCAB-B775-6786-FA40F650EE30}"/>
                    </a:ext>
                  </a:extLst>
                </p:cNvPr>
                <p:cNvPicPr/>
                <p:nvPr/>
              </p:nvPicPr>
              <p:blipFill>
                <a:blip r:embed="rId169"/>
                <a:stretch>
                  <a:fillRect/>
                </a:stretch>
              </p:blipFill>
              <p:spPr>
                <a:xfrm>
                  <a:off x="4702781" y="5499212"/>
                  <a:ext cx="127080" cy="335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70">
              <p14:nvContentPartPr>
                <p14:cNvPr id="97" name="Ink 96">
                  <a:extLst>
                    <a:ext uri="{FF2B5EF4-FFF2-40B4-BE49-F238E27FC236}">
                      <a16:creationId xmlns:a16="http://schemas.microsoft.com/office/drawing/2014/main" id="{FFA6ECC8-60B4-BF5D-BE3F-2B6161DFCB1A}"/>
                    </a:ext>
                  </a:extLst>
                </p14:cNvPr>
                <p14:cNvContentPartPr/>
                <p14:nvPr/>
              </p14:nvContentPartPr>
              <p14:xfrm>
                <a:off x="4848221" y="5498492"/>
                <a:ext cx="167760" cy="171000"/>
              </p14:xfrm>
            </p:contentPart>
          </mc:Choice>
          <mc:Fallback>
            <p:pic>
              <p:nvPicPr>
                <p:cNvPr id="97" name="Ink 96">
                  <a:extLst>
                    <a:ext uri="{FF2B5EF4-FFF2-40B4-BE49-F238E27FC236}">
                      <a16:creationId xmlns:a16="http://schemas.microsoft.com/office/drawing/2014/main" id="{FFA6ECC8-60B4-BF5D-BE3F-2B6161DFCB1A}"/>
                    </a:ext>
                  </a:extLst>
                </p:cNvPr>
                <p:cNvPicPr/>
                <p:nvPr/>
              </p:nvPicPr>
              <p:blipFill>
                <a:blip r:embed="rId171"/>
                <a:stretch>
                  <a:fillRect/>
                </a:stretch>
              </p:blipFill>
              <p:spPr>
                <a:xfrm>
                  <a:off x="4832741" y="5483372"/>
                  <a:ext cx="198360" cy="2016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75C1A1C9-5C47-8E75-DCCF-778A91D4ECBA}"/>
              </a:ext>
            </a:extLst>
          </p:cNvPr>
          <p:cNvGrpSpPr/>
          <p:nvPr/>
        </p:nvGrpSpPr>
        <p:grpSpPr>
          <a:xfrm>
            <a:off x="3000701" y="4243172"/>
            <a:ext cx="464760" cy="649800"/>
            <a:chOff x="3000701" y="4243172"/>
            <a:chExt cx="464760" cy="6498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72">
              <p14:nvContentPartPr>
                <p14:cNvPr id="100" name="Ink 99">
                  <a:extLst>
                    <a:ext uri="{FF2B5EF4-FFF2-40B4-BE49-F238E27FC236}">
                      <a16:creationId xmlns:a16="http://schemas.microsoft.com/office/drawing/2014/main" id="{7989AC15-7EB4-9EF9-ACE6-39440ED5CEC1}"/>
                    </a:ext>
                  </a:extLst>
                </p14:cNvPr>
                <p14:cNvContentPartPr/>
                <p14:nvPr/>
              </p14:nvContentPartPr>
              <p14:xfrm>
                <a:off x="3109421" y="4243172"/>
                <a:ext cx="28440" cy="649800"/>
              </p14:xfrm>
            </p:contentPart>
          </mc:Choice>
          <mc:Fallback>
            <p:pic>
              <p:nvPicPr>
                <p:cNvPr id="100" name="Ink 99">
                  <a:extLst>
                    <a:ext uri="{FF2B5EF4-FFF2-40B4-BE49-F238E27FC236}">
                      <a16:creationId xmlns:a16="http://schemas.microsoft.com/office/drawing/2014/main" id="{7989AC15-7EB4-9EF9-ACE6-39440ED5CEC1}"/>
                    </a:ext>
                  </a:extLst>
                </p:cNvPr>
                <p:cNvPicPr/>
                <p:nvPr/>
              </p:nvPicPr>
              <p:blipFill>
                <a:blip r:embed="rId173"/>
                <a:stretch>
                  <a:fillRect/>
                </a:stretch>
              </p:blipFill>
              <p:spPr>
                <a:xfrm>
                  <a:off x="3093941" y="4227692"/>
                  <a:ext cx="59040" cy="680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74">
              <p14:nvContentPartPr>
                <p14:cNvPr id="101" name="Ink 100">
                  <a:extLst>
                    <a:ext uri="{FF2B5EF4-FFF2-40B4-BE49-F238E27FC236}">
                      <a16:creationId xmlns:a16="http://schemas.microsoft.com/office/drawing/2014/main" id="{81A56B8B-ACD4-D874-8E65-0869A64678F9}"/>
                    </a:ext>
                  </a:extLst>
                </p14:cNvPr>
                <p14:cNvContentPartPr/>
                <p14:nvPr/>
              </p14:nvContentPartPr>
              <p14:xfrm>
                <a:off x="3000701" y="4314092"/>
                <a:ext cx="464760" cy="214920"/>
              </p14:xfrm>
            </p:contentPart>
          </mc:Choice>
          <mc:Fallback>
            <p:pic>
              <p:nvPicPr>
                <p:cNvPr id="101" name="Ink 100">
                  <a:extLst>
                    <a:ext uri="{FF2B5EF4-FFF2-40B4-BE49-F238E27FC236}">
                      <a16:creationId xmlns:a16="http://schemas.microsoft.com/office/drawing/2014/main" id="{81A56B8B-ACD4-D874-8E65-0869A64678F9}"/>
                    </a:ext>
                  </a:extLst>
                </p:cNvPr>
                <p:cNvPicPr/>
                <p:nvPr/>
              </p:nvPicPr>
              <p:blipFill>
                <a:blip r:embed="rId175"/>
                <a:stretch>
                  <a:fillRect/>
                </a:stretch>
              </p:blipFill>
              <p:spPr>
                <a:xfrm>
                  <a:off x="2985581" y="4298612"/>
                  <a:ext cx="495360" cy="2451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CE9A3694-937C-0FD4-BDDA-7F54236DAA3A}"/>
              </a:ext>
            </a:extLst>
          </p:cNvPr>
          <p:cNvGrpSpPr/>
          <p:nvPr/>
        </p:nvGrpSpPr>
        <p:grpSpPr>
          <a:xfrm>
            <a:off x="5422061" y="4018172"/>
            <a:ext cx="812520" cy="304560"/>
            <a:chOff x="5422061" y="4018172"/>
            <a:chExt cx="812520" cy="3045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76">
              <p14:nvContentPartPr>
                <p14:cNvPr id="102" name="Ink 101">
                  <a:extLst>
                    <a:ext uri="{FF2B5EF4-FFF2-40B4-BE49-F238E27FC236}">
                      <a16:creationId xmlns:a16="http://schemas.microsoft.com/office/drawing/2014/main" id="{9C43B1DD-C759-17CD-872F-39B56C0971B9}"/>
                    </a:ext>
                  </a:extLst>
                </p14:cNvPr>
                <p14:cNvContentPartPr/>
                <p14:nvPr/>
              </p14:nvContentPartPr>
              <p14:xfrm>
                <a:off x="5422061" y="4021412"/>
                <a:ext cx="204840" cy="301320"/>
              </p14:xfrm>
            </p:contentPart>
          </mc:Choice>
          <mc:Fallback>
            <p:pic>
              <p:nvPicPr>
                <p:cNvPr id="102" name="Ink 101">
                  <a:extLst>
                    <a:ext uri="{FF2B5EF4-FFF2-40B4-BE49-F238E27FC236}">
                      <a16:creationId xmlns:a16="http://schemas.microsoft.com/office/drawing/2014/main" id="{9C43B1DD-C759-17CD-872F-39B56C0971B9}"/>
                    </a:ext>
                  </a:extLst>
                </p:cNvPr>
                <p:cNvPicPr/>
                <p:nvPr/>
              </p:nvPicPr>
              <p:blipFill>
                <a:blip r:embed="rId177"/>
                <a:stretch>
                  <a:fillRect/>
                </a:stretch>
              </p:blipFill>
              <p:spPr>
                <a:xfrm>
                  <a:off x="5406581" y="4006292"/>
                  <a:ext cx="235440" cy="331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78">
              <p14:nvContentPartPr>
                <p14:cNvPr id="103" name="Ink 102">
                  <a:extLst>
                    <a:ext uri="{FF2B5EF4-FFF2-40B4-BE49-F238E27FC236}">
                      <a16:creationId xmlns:a16="http://schemas.microsoft.com/office/drawing/2014/main" id="{9350F4DD-6CD6-E83E-4DD4-7038A1DF344B}"/>
                    </a:ext>
                  </a:extLst>
                </p14:cNvPr>
                <p14:cNvContentPartPr/>
                <p14:nvPr/>
              </p14:nvContentPartPr>
              <p14:xfrm>
                <a:off x="5720141" y="4035452"/>
                <a:ext cx="82080" cy="205560"/>
              </p14:xfrm>
            </p:contentPart>
          </mc:Choice>
          <mc:Fallback>
            <p:pic>
              <p:nvPicPr>
                <p:cNvPr id="103" name="Ink 102">
                  <a:extLst>
                    <a:ext uri="{FF2B5EF4-FFF2-40B4-BE49-F238E27FC236}">
                      <a16:creationId xmlns:a16="http://schemas.microsoft.com/office/drawing/2014/main" id="{9350F4DD-6CD6-E83E-4DD4-7038A1DF344B}"/>
                    </a:ext>
                  </a:extLst>
                </p:cNvPr>
                <p:cNvPicPr/>
                <p:nvPr/>
              </p:nvPicPr>
              <p:blipFill>
                <a:blip r:embed="rId179"/>
                <a:stretch>
                  <a:fillRect/>
                </a:stretch>
              </p:blipFill>
              <p:spPr>
                <a:xfrm>
                  <a:off x="5705021" y="4020332"/>
                  <a:ext cx="112680" cy="236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80">
              <p14:nvContentPartPr>
                <p14:cNvPr id="104" name="Ink 103">
                  <a:extLst>
                    <a:ext uri="{FF2B5EF4-FFF2-40B4-BE49-F238E27FC236}">
                      <a16:creationId xmlns:a16="http://schemas.microsoft.com/office/drawing/2014/main" id="{29611756-94C2-6687-3876-D9731A0FB9AD}"/>
                    </a:ext>
                  </a:extLst>
                </p14:cNvPr>
                <p14:cNvContentPartPr/>
                <p14:nvPr/>
              </p14:nvContentPartPr>
              <p14:xfrm>
                <a:off x="5912381" y="4019252"/>
                <a:ext cx="168480" cy="192240"/>
              </p14:xfrm>
            </p:contentPart>
          </mc:Choice>
          <mc:Fallback>
            <p:pic>
              <p:nvPicPr>
                <p:cNvPr id="104" name="Ink 103">
                  <a:extLst>
                    <a:ext uri="{FF2B5EF4-FFF2-40B4-BE49-F238E27FC236}">
                      <a16:creationId xmlns:a16="http://schemas.microsoft.com/office/drawing/2014/main" id="{29611756-94C2-6687-3876-D9731A0FB9AD}"/>
                    </a:ext>
                  </a:extLst>
                </p:cNvPr>
                <p:cNvPicPr/>
                <p:nvPr/>
              </p:nvPicPr>
              <p:blipFill>
                <a:blip r:embed="rId181"/>
                <a:stretch>
                  <a:fillRect/>
                </a:stretch>
              </p:blipFill>
              <p:spPr>
                <a:xfrm>
                  <a:off x="5896901" y="4004132"/>
                  <a:ext cx="199080" cy="222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82">
              <p14:nvContentPartPr>
                <p14:cNvPr id="105" name="Ink 104">
                  <a:extLst>
                    <a:ext uri="{FF2B5EF4-FFF2-40B4-BE49-F238E27FC236}">
                      <a16:creationId xmlns:a16="http://schemas.microsoft.com/office/drawing/2014/main" id="{B63C5B6D-48F3-B156-28B1-C91463BFFBFD}"/>
                    </a:ext>
                  </a:extLst>
                </p14:cNvPr>
                <p14:cNvContentPartPr/>
                <p14:nvPr/>
              </p14:nvContentPartPr>
              <p14:xfrm>
                <a:off x="6176981" y="4018172"/>
                <a:ext cx="57600" cy="201240"/>
              </p14:xfrm>
            </p:contentPart>
          </mc:Choice>
          <mc:Fallback>
            <p:pic>
              <p:nvPicPr>
                <p:cNvPr id="105" name="Ink 104">
                  <a:extLst>
                    <a:ext uri="{FF2B5EF4-FFF2-40B4-BE49-F238E27FC236}">
                      <a16:creationId xmlns:a16="http://schemas.microsoft.com/office/drawing/2014/main" id="{B63C5B6D-48F3-B156-28B1-C91463BFFBFD}"/>
                    </a:ext>
                  </a:extLst>
                </p:cNvPr>
                <p:cNvPicPr/>
                <p:nvPr/>
              </p:nvPicPr>
              <p:blipFill>
                <a:blip r:embed="rId183"/>
                <a:stretch>
                  <a:fillRect/>
                </a:stretch>
              </p:blipFill>
              <p:spPr>
                <a:xfrm>
                  <a:off x="6161501" y="4003052"/>
                  <a:ext cx="87840" cy="2318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5223E521-B58F-B928-3811-4A8EB4C0BEDF}"/>
              </a:ext>
            </a:extLst>
          </p:cNvPr>
          <p:cNvGrpSpPr/>
          <p:nvPr/>
        </p:nvGrpSpPr>
        <p:grpSpPr>
          <a:xfrm>
            <a:off x="6520781" y="4005212"/>
            <a:ext cx="186480" cy="208080"/>
            <a:chOff x="6520781" y="4005212"/>
            <a:chExt cx="186480" cy="20808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84">
              <p14:nvContentPartPr>
                <p14:cNvPr id="106" name="Ink 105">
                  <a:extLst>
                    <a:ext uri="{FF2B5EF4-FFF2-40B4-BE49-F238E27FC236}">
                      <a16:creationId xmlns:a16="http://schemas.microsoft.com/office/drawing/2014/main" id="{32E892E6-71F3-7BAB-7F9E-CFB7088400BD}"/>
                    </a:ext>
                  </a:extLst>
                </p14:cNvPr>
                <p14:cNvContentPartPr/>
                <p14:nvPr/>
              </p14:nvContentPartPr>
              <p14:xfrm>
                <a:off x="6520781" y="4005212"/>
                <a:ext cx="186480" cy="208080"/>
              </p14:xfrm>
            </p:contentPart>
          </mc:Choice>
          <mc:Fallback>
            <p:pic>
              <p:nvPicPr>
                <p:cNvPr id="106" name="Ink 105">
                  <a:extLst>
                    <a:ext uri="{FF2B5EF4-FFF2-40B4-BE49-F238E27FC236}">
                      <a16:creationId xmlns:a16="http://schemas.microsoft.com/office/drawing/2014/main" id="{32E892E6-71F3-7BAB-7F9E-CFB7088400BD}"/>
                    </a:ext>
                  </a:extLst>
                </p:cNvPr>
                <p:cNvPicPr/>
                <p:nvPr/>
              </p:nvPicPr>
              <p:blipFill>
                <a:blip r:embed="rId185"/>
                <a:stretch>
                  <a:fillRect/>
                </a:stretch>
              </p:blipFill>
              <p:spPr>
                <a:xfrm>
                  <a:off x="6505301" y="3989732"/>
                  <a:ext cx="216720" cy="238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86">
              <p14:nvContentPartPr>
                <p14:cNvPr id="107" name="Ink 106">
                  <a:extLst>
                    <a:ext uri="{FF2B5EF4-FFF2-40B4-BE49-F238E27FC236}">
                      <a16:creationId xmlns:a16="http://schemas.microsoft.com/office/drawing/2014/main" id="{75269EA8-B8DF-090A-2A2B-EA9D838E306D}"/>
                    </a:ext>
                  </a:extLst>
                </p14:cNvPr>
                <p14:cNvContentPartPr/>
                <p14:nvPr/>
              </p14:nvContentPartPr>
              <p14:xfrm>
                <a:off x="6623741" y="4119692"/>
                <a:ext cx="45720" cy="28440"/>
              </p14:xfrm>
            </p:contentPart>
          </mc:Choice>
          <mc:Fallback>
            <p:pic>
              <p:nvPicPr>
                <p:cNvPr id="107" name="Ink 106">
                  <a:extLst>
                    <a:ext uri="{FF2B5EF4-FFF2-40B4-BE49-F238E27FC236}">
                      <a16:creationId xmlns:a16="http://schemas.microsoft.com/office/drawing/2014/main" id="{75269EA8-B8DF-090A-2A2B-EA9D838E306D}"/>
                    </a:ext>
                  </a:extLst>
                </p:cNvPr>
                <p:cNvPicPr/>
                <p:nvPr/>
              </p:nvPicPr>
              <p:blipFill>
                <a:blip r:embed="rId187"/>
                <a:stretch>
                  <a:fillRect/>
                </a:stretch>
              </p:blipFill>
              <p:spPr>
                <a:xfrm>
                  <a:off x="6608261" y="4104572"/>
                  <a:ext cx="76320" cy="590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C794A21F-D3EB-F9B0-CB43-27022C63D74B}"/>
              </a:ext>
            </a:extLst>
          </p:cNvPr>
          <p:cNvGrpSpPr/>
          <p:nvPr/>
        </p:nvGrpSpPr>
        <p:grpSpPr>
          <a:xfrm>
            <a:off x="6942701" y="3582212"/>
            <a:ext cx="3727800" cy="786240"/>
            <a:chOff x="6942701" y="3582212"/>
            <a:chExt cx="3727800" cy="7862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88">
              <p14:nvContentPartPr>
                <p14:cNvPr id="108" name="Ink 107">
                  <a:extLst>
                    <a:ext uri="{FF2B5EF4-FFF2-40B4-BE49-F238E27FC236}">
                      <a16:creationId xmlns:a16="http://schemas.microsoft.com/office/drawing/2014/main" id="{F930F740-85DA-4EF8-04D8-E67BA310E3CA}"/>
                    </a:ext>
                  </a:extLst>
                </p14:cNvPr>
                <p14:cNvContentPartPr/>
                <p14:nvPr/>
              </p14:nvContentPartPr>
              <p14:xfrm>
                <a:off x="6942701" y="3972812"/>
                <a:ext cx="95400" cy="239040"/>
              </p14:xfrm>
            </p:contentPart>
          </mc:Choice>
          <mc:Fallback>
            <p:pic>
              <p:nvPicPr>
                <p:cNvPr id="108" name="Ink 107">
                  <a:extLst>
                    <a:ext uri="{FF2B5EF4-FFF2-40B4-BE49-F238E27FC236}">
                      <a16:creationId xmlns:a16="http://schemas.microsoft.com/office/drawing/2014/main" id="{F930F740-85DA-4EF8-04D8-E67BA310E3CA}"/>
                    </a:ext>
                  </a:extLst>
                </p:cNvPr>
                <p:cNvPicPr/>
                <p:nvPr/>
              </p:nvPicPr>
              <p:blipFill>
                <a:blip r:embed="rId189"/>
                <a:stretch>
                  <a:fillRect/>
                </a:stretch>
              </p:blipFill>
              <p:spPr>
                <a:xfrm>
                  <a:off x="6927581" y="3957692"/>
                  <a:ext cx="126000" cy="269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90">
              <p14:nvContentPartPr>
                <p14:cNvPr id="109" name="Ink 108">
                  <a:extLst>
                    <a:ext uri="{FF2B5EF4-FFF2-40B4-BE49-F238E27FC236}">
                      <a16:creationId xmlns:a16="http://schemas.microsoft.com/office/drawing/2014/main" id="{3FDD49CC-290B-30EF-62B6-7AB2FD198CD3}"/>
                    </a:ext>
                  </a:extLst>
                </p14:cNvPr>
                <p14:cNvContentPartPr/>
                <p14:nvPr/>
              </p14:nvContentPartPr>
              <p14:xfrm>
                <a:off x="7141781" y="3965252"/>
                <a:ext cx="158040" cy="195840"/>
              </p14:xfrm>
            </p:contentPart>
          </mc:Choice>
          <mc:Fallback>
            <p:pic>
              <p:nvPicPr>
                <p:cNvPr id="109" name="Ink 108">
                  <a:extLst>
                    <a:ext uri="{FF2B5EF4-FFF2-40B4-BE49-F238E27FC236}">
                      <a16:creationId xmlns:a16="http://schemas.microsoft.com/office/drawing/2014/main" id="{3FDD49CC-290B-30EF-62B6-7AB2FD198CD3}"/>
                    </a:ext>
                  </a:extLst>
                </p:cNvPr>
                <p:cNvPicPr/>
                <p:nvPr/>
              </p:nvPicPr>
              <p:blipFill>
                <a:blip r:embed="rId191"/>
                <a:stretch>
                  <a:fillRect/>
                </a:stretch>
              </p:blipFill>
              <p:spPr>
                <a:xfrm>
                  <a:off x="7126661" y="3949772"/>
                  <a:ext cx="188280" cy="226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92">
              <p14:nvContentPartPr>
                <p14:cNvPr id="110" name="Ink 109">
                  <a:extLst>
                    <a:ext uri="{FF2B5EF4-FFF2-40B4-BE49-F238E27FC236}">
                      <a16:creationId xmlns:a16="http://schemas.microsoft.com/office/drawing/2014/main" id="{7327AB35-AFCF-A77C-47D5-614FCEECB6A0}"/>
                    </a:ext>
                  </a:extLst>
                </p14:cNvPr>
                <p14:cNvContentPartPr/>
                <p14:nvPr/>
              </p14:nvContentPartPr>
              <p14:xfrm>
                <a:off x="7394501" y="3920972"/>
                <a:ext cx="87840" cy="270720"/>
              </p14:xfrm>
            </p:contentPart>
          </mc:Choice>
          <mc:Fallback>
            <p:pic>
              <p:nvPicPr>
                <p:cNvPr id="110" name="Ink 109">
                  <a:extLst>
                    <a:ext uri="{FF2B5EF4-FFF2-40B4-BE49-F238E27FC236}">
                      <a16:creationId xmlns:a16="http://schemas.microsoft.com/office/drawing/2014/main" id="{7327AB35-AFCF-A77C-47D5-614FCEECB6A0}"/>
                    </a:ext>
                  </a:extLst>
                </p:cNvPr>
                <p:cNvPicPr/>
                <p:nvPr/>
              </p:nvPicPr>
              <p:blipFill>
                <a:blip r:embed="rId193"/>
                <a:stretch>
                  <a:fillRect/>
                </a:stretch>
              </p:blipFill>
              <p:spPr>
                <a:xfrm>
                  <a:off x="7379381" y="3905852"/>
                  <a:ext cx="118440" cy="300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94">
              <p14:nvContentPartPr>
                <p14:cNvPr id="111" name="Ink 110">
                  <a:extLst>
                    <a:ext uri="{FF2B5EF4-FFF2-40B4-BE49-F238E27FC236}">
                      <a16:creationId xmlns:a16="http://schemas.microsoft.com/office/drawing/2014/main" id="{1E443D61-35E4-911C-C130-8CE067F7889B}"/>
                    </a:ext>
                  </a:extLst>
                </p14:cNvPr>
                <p14:cNvContentPartPr/>
                <p14:nvPr/>
              </p14:nvContentPartPr>
              <p14:xfrm>
                <a:off x="7628861" y="3883532"/>
                <a:ext cx="141840" cy="212760"/>
              </p14:xfrm>
            </p:contentPart>
          </mc:Choice>
          <mc:Fallback>
            <p:pic>
              <p:nvPicPr>
                <p:cNvPr id="111" name="Ink 110">
                  <a:extLst>
                    <a:ext uri="{FF2B5EF4-FFF2-40B4-BE49-F238E27FC236}">
                      <a16:creationId xmlns:a16="http://schemas.microsoft.com/office/drawing/2014/main" id="{1E443D61-35E4-911C-C130-8CE067F7889B}"/>
                    </a:ext>
                  </a:extLst>
                </p:cNvPr>
                <p:cNvPicPr/>
                <p:nvPr/>
              </p:nvPicPr>
              <p:blipFill>
                <a:blip r:embed="rId195"/>
                <a:stretch>
                  <a:fillRect/>
                </a:stretch>
              </p:blipFill>
              <p:spPr>
                <a:xfrm>
                  <a:off x="7613381" y="3868412"/>
                  <a:ext cx="172080" cy="243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96">
              <p14:nvContentPartPr>
                <p14:cNvPr id="112" name="Ink 111">
                  <a:extLst>
                    <a:ext uri="{FF2B5EF4-FFF2-40B4-BE49-F238E27FC236}">
                      <a16:creationId xmlns:a16="http://schemas.microsoft.com/office/drawing/2014/main" id="{6D5CC7BC-BD02-A879-6896-C29757DF2715}"/>
                    </a:ext>
                  </a:extLst>
                </p14:cNvPr>
                <p14:cNvContentPartPr/>
                <p14:nvPr/>
              </p14:nvContentPartPr>
              <p14:xfrm>
                <a:off x="7584581" y="4052012"/>
                <a:ext cx="215640" cy="86760"/>
              </p14:xfrm>
            </p:contentPart>
          </mc:Choice>
          <mc:Fallback>
            <p:pic>
              <p:nvPicPr>
                <p:cNvPr id="112" name="Ink 111">
                  <a:extLst>
                    <a:ext uri="{FF2B5EF4-FFF2-40B4-BE49-F238E27FC236}">
                      <a16:creationId xmlns:a16="http://schemas.microsoft.com/office/drawing/2014/main" id="{6D5CC7BC-BD02-A879-6896-C29757DF2715}"/>
                    </a:ext>
                  </a:extLst>
                </p:cNvPr>
                <p:cNvPicPr/>
                <p:nvPr/>
              </p:nvPicPr>
              <p:blipFill>
                <a:blip r:embed="rId197"/>
                <a:stretch>
                  <a:fillRect/>
                </a:stretch>
              </p:blipFill>
              <p:spPr>
                <a:xfrm>
                  <a:off x="7569461" y="4036892"/>
                  <a:ext cx="246240" cy="117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98">
              <p14:nvContentPartPr>
                <p14:cNvPr id="113" name="Ink 112">
                  <a:extLst>
                    <a:ext uri="{FF2B5EF4-FFF2-40B4-BE49-F238E27FC236}">
                      <a16:creationId xmlns:a16="http://schemas.microsoft.com/office/drawing/2014/main" id="{018BAF61-9D63-E2ED-2E2D-5BF74A173241}"/>
                    </a:ext>
                  </a:extLst>
                </p14:cNvPr>
                <p14:cNvContentPartPr/>
                <p14:nvPr/>
              </p14:nvContentPartPr>
              <p14:xfrm>
                <a:off x="7872941" y="3956612"/>
                <a:ext cx="187200" cy="173520"/>
              </p14:xfrm>
            </p:contentPart>
          </mc:Choice>
          <mc:Fallback>
            <p:pic>
              <p:nvPicPr>
                <p:cNvPr id="113" name="Ink 112">
                  <a:extLst>
                    <a:ext uri="{FF2B5EF4-FFF2-40B4-BE49-F238E27FC236}">
                      <a16:creationId xmlns:a16="http://schemas.microsoft.com/office/drawing/2014/main" id="{018BAF61-9D63-E2ED-2E2D-5BF74A173241}"/>
                    </a:ext>
                  </a:extLst>
                </p:cNvPr>
                <p:cNvPicPr/>
                <p:nvPr/>
              </p:nvPicPr>
              <p:blipFill>
                <a:blip r:embed="rId199"/>
                <a:stretch>
                  <a:fillRect/>
                </a:stretch>
              </p:blipFill>
              <p:spPr>
                <a:xfrm>
                  <a:off x="7857821" y="3941132"/>
                  <a:ext cx="217800" cy="204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00">
              <p14:nvContentPartPr>
                <p14:cNvPr id="114" name="Ink 113">
                  <a:extLst>
                    <a:ext uri="{FF2B5EF4-FFF2-40B4-BE49-F238E27FC236}">
                      <a16:creationId xmlns:a16="http://schemas.microsoft.com/office/drawing/2014/main" id="{D1958F79-291F-4288-43AB-4C80A3276118}"/>
                    </a:ext>
                  </a:extLst>
                </p14:cNvPr>
                <p14:cNvContentPartPr/>
                <p14:nvPr/>
              </p14:nvContentPartPr>
              <p14:xfrm>
                <a:off x="8061221" y="4000172"/>
                <a:ext cx="154800" cy="127080"/>
              </p14:xfrm>
            </p:contentPart>
          </mc:Choice>
          <mc:Fallback>
            <p:pic>
              <p:nvPicPr>
                <p:cNvPr id="114" name="Ink 113">
                  <a:extLst>
                    <a:ext uri="{FF2B5EF4-FFF2-40B4-BE49-F238E27FC236}">
                      <a16:creationId xmlns:a16="http://schemas.microsoft.com/office/drawing/2014/main" id="{D1958F79-291F-4288-43AB-4C80A3276118}"/>
                    </a:ext>
                  </a:extLst>
                </p:cNvPr>
                <p:cNvPicPr/>
                <p:nvPr/>
              </p:nvPicPr>
              <p:blipFill>
                <a:blip r:embed="rId201"/>
                <a:stretch>
                  <a:fillRect/>
                </a:stretch>
              </p:blipFill>
              <p:spPr>
                <a:xfrm>
                  <a:off x="8045741" y="3985052"/>
                  <a:ext cx="185400" cy="157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02">
              <p14:nvContentPartPr>
                <p14:cNvPr id="115" name="Ink 114">
                  <a:extLst>
                    <a:ext uri="{FF2B5EF4-FFF2-40B4-BE49-F238E27FC236}">
                      <a16:creationId xmlns:a16="http://schemas.microsoft.com/office/drawing/2014/main" id="{7EBC05CD-7BB0-58BC-BB4A-C964D52C559A}"/>
                    </a:ext>
                  </a:extLst>
                </p14:cNvPr>
                <p14:cNvContentPartPr/>
                <p14:nvPr/>
              </p14:nvContentPartPr>
              <p14:xfrm>
                <a:off x="8191901" y="4026812"/>
                <a:ext cx="119160" cy="114480"/>
              </p14:xfrm>
            </p:contentPart>
          </mc:Choice>
          <mc:Fallback>
            <p:pic>
              <p:nvPicPr>
                <p:cNvPr id="115" name="Ink 114">
                  <a:extLst>
                    <a:ext uri="{FF2B5EF4-FFF2-40B4-BE49-F238E27FC236}">
                      <a16:creationId xmlns:a16="http://schemas.microsoft.com/office/drawing/2014/main" id="{7EBC05CD-7BB0-58BC-BB4A-C964D52C559A}"/>
                    </a:ext>
                  </a:extLst>
                </p:cNvPr>
                <p:cNvPicPr/>
                <p:nvPr/>
              </p:nvPicPr>
              <p:blipFill>
                <a:blip r:embed="rId203"/>
                <a:stretch>
                  <a:fillRect/>
                </a:stretch>
              </p:blipFill>
              <p:spPr>
                <a:xfrm>
                  <a:off x="8176781" y="4011692"/>
                  <a:ext cx="149760" cy="145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04">
              <p14:nvContentPartPr>
                <p14:cNvPr id="116" name="Ink 115">
                  <a:extLst>
                    <a:ext uri="{FF2B5EF4-FFF2-40B4-BE49-F238E27FC236}">
                      <a16:creationId xmlns:a16="http://schemas.microsoft.com/office/drawing/2014/main" id="{AC8347B7-4E88-3869-95D3-B5BF0FAB8F88}"/>
                    </a:ext>
                  </a:extLst>
                </p14:cNvPr>
                <p14:cNvContentPartPr/>
                <p14:nvPr/>
              </p14:nvContentPartPr>
              <p14:xfrm>
                <a:off x="8388101" y="3880292"/>
                <a:ext cx="18720" cy="324000"/>
              </p14:xfrm>
            </p:contentPart>
          </mc:Choice>
          <mc:Fallback>
            <p:pic>
              <p:nvPicPr>
                <p:cNvPr id="116" name="Ink 115">
                  <a:extLst>
                    <a:ext uri="{FF2B5EF4-FFF2-40B4-BE49-F238E27FC236}">
                      <a16:creationId xmlns:a16="http://schemas.microsoft.com/office/drawing/2014/main" id="{AC8347B7-4E88-3869-95D3-B5BF0FAB8F88}"/>
                    </a:ext>
                  </a:extLst>
                </p:cNvPr>
                <p:cNvPicPr/>
                <p:nvPr/>
              </p:nvPicPr>
              <p:blipFill>
                <a:blip r:embed="rId205"/>
                <a:stretch>
                  <a:fillRect/>
                </a:stretch>
              </p:blipFill>
              <p:spPr>
                <a:xfrm>
                  <a:off x="8372981" y="3865172"/>
                  <a:ext cx="48960" cy="354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06">
              <p14:nvContentPartPr>
                <p14:cNvPr id="117" name="Ink 116">
                  <a:extLst>
                    <a:ext uri="{FF2B5EF4-FFF2-40B4-BE49-F238E27FC236}">
                      <a16:creationId xmlns:a16="http://schemas.microsoft.com/office/drawing/2014/main" id="{FCA54A51-3140-E367-0F41-79FCA4CB1B91}"/>
                    </a:ext>
                  </a:extLst>
                </p14:cNvPr>
                <p14:cNvContentPartPr/>
                <p14:nvPr/>
              </p14:nvContentPartPr>
              <p14:xfrm>
                <a:off x="8560181" y="3912332"/>
                <a:ext cx="108000" cy="183240"/>
              </p14:xfrm>
            </p:contentPart>
          </mc:Choice>
          <mc:Fallback>
            <p:pic>
              <p:nvPicPr>
                <p:cNvPr id="117" name="Ink 116">
                  <a:extLst>
                    <a:ext uri="{FF2B5EF4-FFF2-40B4-BE49-F238E27FC236}">
                      <a16:creationId xmlns:a16="http://schemas.microsoft.com/office/drawing/2014/main" id="{FCA54A51-3140-E367-0F41-79FCA4CB1B91}"/>
                    </a:ext>
                  </a:extLst>
                </p:cNvPr>
                <p:cNvPicPr/>
                <p:nvPr/>
              </p:nvPicPr>
              <p:blipFill>
                <a:blip r:embed="rId207"/>
                <a:stretch>
                  <a:fillRect/>
                </a:stretch>
              </p:blipFill>
              <p:spPr>
                <a:xfrm>
                  <a:off x="8545061" y="3897212"/>
                  <a:ext cx="138600" cy="213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08">
              <p14:nvContentPartPr>
                <p14:cNvPr id="118" name="Ink 117">
                  <a:extLst>
                    <a:ext uri="{FF2B5EF4-FFF2-40B4-BE49-F238E27FC236}">
                      <a16:creationId xmlns:a16="http://schemas.microsoft.com/office/drawing/2014/main" id="{3500F847-6F24-5390-10F0-A7F611F907AC}"/>
                    </a:ext>
                  </a:extLst>
                </p14:cNvPr>
                <p14:cNvContentPartPr/>
                <p14:nvPr/>
              </p14:nvContentPartPr>
              <p14:xfrm>
                <a:off x="8754221" y="3882092"/>
                <a:ext cx="54720" cy="214200"/>
              </p14:xfrm>
            </p:contentPart>
          </mc:Choice>
          <mc:Fallback>
            <p:pic>
              <p:nvPicPr>
                <p:cNvPr id="118" name="Ink 117">
                  <a:extLst>
                    <a:ext uri="{FF2B5EF4-FFF2-40B4-BE49-F238E27FC236}">
                      <a16:creationId xmlns:a16="http://schemas.microsoft.com/office/drawing/2014/main" id="{3500F847-6F24-5390-10F0-A7F611F907AC}"/>
                    </a:ext>
                  </a:extLst>
                </p:cNvPr>
                <p:cNvPicPr/>
                <p:nvPr/>
              </p:nvPicPr>
              <p:blipFill>
                <a:blip r:embed="rId209"/>
                <a:stretch>
                  <a:fillRect/>
                </a:stretch>
              </p:blipFill>
              <p:spPr>
                <a:xfrm>
                  <a:off x="8738741" y="3866612"/>
                  <a:ext cx="84960" cy="244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10">
              <p14:nvContentPartPr>
                <p14:cNvPr id="119" name="Ink 118">
                  <a:extLst>
                    <a:ext uri="{FF2B5EF4-FFF2-40B4-BE49-F238E27FC236}">
                      <a16:creationId xmlns:a16="http://schemas.microsoft.com/office/drawing/2014/main" id="{325674F7-928E-D290-8443-E0E38A7F43C4}"/>
                    </a:ext>
                  </a:extLst>
                </p14:cNvPr>
                <p14:cNvContentPartPr/>
                <p14:nvPr/>
              </p14:nvContentPartPr>
              <p14:xfrm>
                <a:off x="8923421" y="3954452"/>
                <a:ext cx="71640" cy="2160"/>
              </p14:xfrm>
            </p:contentPart>
          </mc:Choice>
          <mc:Fallback>
            <p:pic>
              <p:nvPicPr>
                <p:cNvPr id="119" name="Ink 118">
                  <a:extLst>
                    <a:ext uri="{FF2B5EF4-FFF2-40B4-BE49-F238E27FC236}">
                      <a16:creationId xmlns:a16="http://schemas.microsoft.com/office/drawing/2014/main" id="{325674F7-928E-D290-8443-E0E38A7F43C4}"/>
                    </a:ext>
                  </a:extLst>
                </p:cNvPr>
                <p:cNvPicPr/>
                <p:nvPr/>
              </p:nvPicPr>
              <p:blipFill>
                <a:blip r:embed="rId211"/>
                <a:stretch>
                  <a:fillRect/>
                </a:stretch>
              </p:blipFill>
              <p:spPr>
                <a:xfrm>
                  <a:off x="8908301" y="3939332"/>
                  <a:ext cx="102240" cy="32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12">
              <p14:nvContentPartPr>
                <p14:cNvPr id="120" name="Ink 119">
                  <a:extLst>
                    <a:ext uri="{FF2B5EF4-FFF2-40B4-BE49-F238E27FC236}">
                      <a16:creationId xmlns:a16="http://schemas.microsoft.com/office/drawing/2014/main" id="{B66F14A7-7D11-465F-4298-6B1A7E456CA2}"/>
                    </a:ext>
                  </a:extLst>
                </p14:cNvPr>
                <p14:cNvContentPartPr/>
                <p14:nvPr/>
              </p14:nvContentPartPr>
              <p14:xfrm>
                <a:off x="8873741" y="4025732"/>
                <a:ext cx="160920" cy="14040"/>
              </p14:xfrm>
            </p:contentPart>
          </mc:Choice>
          <mc:Fallback>
            <p:pic>
              <p:nvPicPr>
                <p:cNvPr id="120" name="Ink 119">
                  <a:extLst>
                    <a:ext uri="{FF2B5EF4-FFF2-40B4-BE49-F238E27FC236}">
                      <a16:creationId xmlns:a16="http://schemas.microsoft.com/office/drawing/2014/main" id="{B66F14A7-7D11-465F-4298-6B1A7E456CA2}"/>
                    </a:ext>
                  </a:extLst>
                </p:cNvPr>
                <p:cNvPicPr/>
                <p:nvPr/>
              </p:nvPicPr>
              <p:blipFill>
                <a:blip r:embed="rId213"/>
                <a:stretch>
                  <a:fillRect/>
                </a:stretch>
              </p:blipFill>
              <p:spPr>
                <a:xfrm>
                  <a:off x="8858261" y="4010612"/>
                  <a:ext cx="191160" cy="44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14">
              <p14:nvContentPartPr>
                <p14:cNvPr id="125" name="Ink 124">
                  <a:extLst>
                    <a:ext uri="{FF2B5EF4-FFF2-40B4-BE49-F238E27FC236}">
                      <a16:creationId xmlns:a16="http://schemas.microsoft.com/office/drawing/2014/main" id="{E40233EC-EA09-A4AD-5901-AB35515D99F3}"/>
                    </a:ext>
                  </a:extLst>
                </p14:cNvPr>
                <p14:cNvContentPartPr/>
                <p14:nvPr/>
              </p14:nvContentPartPr>
              <p14:xfrm>
                <a:off x="9450101" y="3670412"/>
                <a:ext cx="116640" cy="281520"/>
              </p14:xfrm>
            </p:contentPart>
          </mc:Choice>
          <mc:Fallback>
            <p:pic>
              <p:nvPicPr>
                <p:cNvPr id="125" name="Ink 124">
                  <a:extLst>
                    <a:ext uri="{FF2B5EF4-FFF2-40B4-BE49-F238E27FC236}">
                      <a16:creationId xmlns:a16="http://schemas.microsoft.com/office/drawing/2014/main" id="{E40233EC-EA09-A4AD-5901-AB35515D99F3}"/>
                    </a:ext>
                  </a:extLst>
                </p:cNvPr>
                <p:cNvPicPr/>
                <p:nvPr/>
              </p:nvPicPr>
              <p:blipFill>
                <a:blip r:embed="rId215"/>
                <a:stretch>
                  <a:fillRect/>
                </a:stretch>
              </p:blipFill>
              <p:spPr>
                <a:xfrm>
                  <a:off x="9434981" y="3654932"/>
                  <a:ext cx="147240" cy="312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16">
              <p14:nvContentPartPr>
                <p14:cNvPr id="126" name="Ink 125">
                  <a:extLst>
                    <a:ext uri="{FF2B5EF4-FFF2-40B4-BE49-F238E27FC236}">
                      <a16:creationId xmlns:a16="http://schemas.microsoft.com/office/drawing/2014/main" id="{3A9AD0D9-A208-321A-8E0A-0B7BB320D9F0}"/>
                    </a:ext>
                  </a:extLst>
                </p14:cNvPr>
                <p14:cNvContentPartPr/>
                <p14:nvPr/>
              </p14:nvContentPartPr>
              <p14:xfrm>
                <a:off x="9623981" y="3758612"/>
                <a:ext cx="125280" cy="98640"/>
              </p14:xfrm>
            </p:contentPart>
          </mc:Choice>
          <mc:Fallback>
            <p:pic>
              <p:nvPicPr>
                <p:cNvPr id="126" name="Ink 125">
                  <a:extLst>
                    <a:ext uri="{FF2B5EF4-FFF2-40B4-BE49-F238E27FC236}">
                      <a16:creationId xmlns:a16="http://schemas.microsoft.com/office/drawing/2014/main" id="{3A9AD0D9-A208-321A-8E0A-0B7BB320D9F0}"/>
                    </a:ext>
                  </a:extLst>
                </p:cNvPr>
                <p:cNvPicPr/>
                <p:nvPr/>
              </p:nvPicPr>
              <p:blipFill>
                <a:blip r:embed="rId217"/>
                <a:stretch>
                  <a:fillRect/>
                </a:stretch>
              </p:blipFill>
              <p:spPr>
                <a:xfrm>
                  <a:off x="9608501" y="3743132"/>
                  <a:ext cx="155880" cy="129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18">
              <p14:nvContentPartPr>
                <p14:cNvPr id="127" name="Ink 126">
                  <a:extLst>
                    <a:ext uri="{FF2B5EF4-FFF2-40B4-BE49-F238E27FC236}">
                      <a16:creationId xmlns:a16="http://schemas.microsoft.com/office/drawing/2014/main" id="{B643797B-B480-EAB0-CE93-DEF4D9533937}"/>
                    </a:ext>
                  </a:extLst>
                </p14:cNvPr>
                <p14:cNvContentPartPr/>
                <p14:nvPr/>
              </p14:nvContentPartPr>
              <p14:xfrm>
                <a:off x="9262901" y="4089092"/>
                <a:ext cx="399960" cy="49680"/>
              </p14:xfrm>
            </p:contentPart>
          </mc:Choice>
          <mc:Fallback>
            <p:pic>
              <p:nvPicPr>
                <p:cNvPr id="127" name="Ink 126">
                  <a:extLst>
                    <a:ext uri="{FF2B5EF4-FFF2-40B4-BE49-F238E27FC236}">
                      <a16:creationId xmlns:a16="http://schemas.microsoft.com/office/drawing/2014/main" id="{B643797B-B480-EAB0-CE93-DEF4D9533937}"/>
                    </a:ext>
                  </a:extLst>
                </p:cNvPr>
                <p:cNvPicPr/>
                <p:nvPr/>
              </p:nvPicPr>
              <p:blipFill>
                <a:blip r:embed="rId219"/>
                <a:stretch>
                  <a:fillRect/>
                </a:stretch>
              </p:blipFill>
              <p:spPr>
                <a:xfrm>
                  <a:off x="9247421" y="4073612"/>
                  <a:ext cx="430200" cy="80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20">
              <p14:nvContentPartPr>
                <p14:cNvPr id="128" name="Ink 127">
                  <a:extLst>
                    <a:ext uri="{FF2B5EF4-FFF2-40B4-BE49-F238E27FC236}">
                      <a16:creationId xmlns:a16="http://schemas.microsoft.com/office/drawing/2014/main" id="{EE3167B8-555F-81E3-8AC2-4D4DD08BB831}"/>
                    </a:ext>
                  </a:extLst>
                </p14:cNvPr>
                <p14:cNvContentPartPr/>
                <p14:nvPr/>
              </p14:nvContentPartPr>
              <p14:xfrm>
                <a:off x="9419141" y="4192412"/>
                <a:ext cx="39240" cy="78480"/>
              </p14:xfrm>
            </p:contentPart>
          </mc:Choice>
          <mc:Fallback>
            <p:pic>
              <p:nvPicPr>
                <p:cNvPr id="128" name="Ink 127">
                  <a:extLst>
                    <a:ext uri="{FF2B5EF4-FFF2-40B4-BE49-F238E27FC236}">
                      <a16:creationId xmlns:a16="http://schemas.microsoft.com/office/drawing/2014/main" id="{EE3167B8-555F-81E3-8AC2-4D4DD08BB831}"/>
                    </a:ext>
                  </a:extLst>
                </p:cNvPr>
                <p:cNvPicPr/>
                <p:nvPr/>
              </p:nvPicPr>
              <p:blipFill>
                <a:blip r:embed="rId221"/>
                <a:stretch>
                  <a:fillRect/>
                </a:stretch>
              </p:blipFill>
              <p:spPr>
                <a:xfrm>
                  <a:off x="9404021" y="4177292"/>
                  <a:ext cx="69840" cy="109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22">
              <p14:nvContentPartPr>
                <p14:cNvPr id="129" name="Ink 128">
                  <a:extLst>
                    <a:ext uri="{FF2B5EF4-FFF2-40B4-BE49-F238E27FC236}">
                      <a16:creationId xmlns:a16="http://schemas.microsoft.com/office/drawing/2014/main" id="{59BE7E14-89DF-AA2B-447E-8FD7AAFE92A8}"/>
                    </a:ext>
                  </a:extLst>
                </p14:cNvPr>
                <p14:cNvContentPartPr/>
                <p14:nvPr/>
              </p14:nvContentPartPr>
              <p14:xfrm>
                <a:off x="9350741" y="4193492"/>
                <a:ext cx="312120" cy="174960"/>
              </p14:xfrm>
            </p:contentPart>
          </mc:Choice>
          <mc:Fallback>
            <p:pic>
              <p:nvPicPr>
                <p:cNvPr id="129" name="Ink 128">
                  <a:extLst>
                    <a:ext uri="{FF2B5EF4-FFF2-40B4-BE49-F238E27FC236}">
                      <a16:creationId xmlns:a16="http://schemas.microsoft.com/office/drawing/2014/main" id="{59BE7E14-89DF-AA2B-447E-8FD7AAFE92A8}"/>
                    </a:ext>
                  </a:extLst>
                </p:cNvPr>
                <p:cNvPicPr/>
                <p:nvPr/>
              </p:nvPicPr>
              <p:blipFill>
                <a:blip r:embed="rId223"/>
                <a:stretch>
                  <a:fillRect/>
                </a:stretch>
              </p:blipFill>
              <p:spPr>
                <a:xfrm>
                  <a:off x="9335621" y="4178012"/>
                  <a:ext cx="342720" cy="205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24">
              <p14:nvContentPartPr>
                <p14:cNvPr id="130" name="Ink 129">
                  <a:extLst>
                    <a:ext uri="{FF2B5EF4-FFF2-40B4-BE49-F238E27FC236}">
                      <a16:creationId xmlns:a16="http://schemas.microsoft.com/office/drawing/2014/main" id="{C60D1096-59FE-B062-6AD6-7CB46024357B}"/>
                    </a:ext>
                  </a:extLst>
                </p14:cNvPr>
                <p14:cNvContentPartPr/>
                <p14:nvPr/>
              </p14:nvContentPartPr>
              <p14:xfrm>
                <a:off x="9725141" y="4229492"/>
                <a:ext cx="69480" cy="79200"/>
              </p14:xfrm>
            </p:contentPart>
          </mc:Choice>
          <mc:Fallback>
            <p:pic>
              <p:nvPicPr>
                <p:cNvPr id="130" name="Ink 129">
                  <a:extLst>
                    <a:ext uri="{FF2B5EF4-FFF2-40B4-BE49-F238E27FC236}">
                      <a16:creationId xmlns:a16="http://schemas.microsoft.com/office/drawing/2014/main" id="{C60D1096-59FE-B062-6AD6-7CB46024357B}"/>
                    </a:ext>
                  </a:extLst>
                </p:cNvPr>
                <p:cNvPicPr/>
                <p:nvPr/>
              </p:nvPicPr>
              <p:blipFill>
                <a:blip r:embed="rId225"/>
                <a:stretch>
                  <a:fillRect/>
                </a:stretch>
              </p:blipFill>
              <p:spPr>
                <a:xfrm>
                  <a:off x="9709661" y="4214372"/>
                  <a:ext cx="100080" cy="109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26">
              <p14:nvContentPartPr>
                <p14:cNvPr id="131" name="Ink 130">
                  <a:extLst>
                    <a:ext uri="{FF2B5EF4-FFF2-40B4-BE49-F238E27FC236}">
                      <a16:creationId xmlns:a16="http://schemas.microsoft.com/office/drawing/2014/main" id="{5C2C33B2-832D-0121-90C0-2F821FE271B0}"/>
                    </a:ext>
                  </a:extLst>
                </p14:cNvPr>
                <p14:cNvContentPartPr/>
                <p14:nvPr/>
              </p14:nvContentPartPr>
              <p14:xfrm>
                <a:off x="9880661" y="3937532"/>
                <a:ext cx="117000" cy="169560"/>
              </p14:xfrm>
            </p:contentPart>
          </mc:Choice>
          <mc:Fallback>
            <p:pic>
              <p:nvPicPr>
                <p:cNvPr id="131" name="Ink 130">
                  <a:extLst>
                    <a:ext uri="{FF2B5EF4-FFF2-40B4-BE49-F238E27FC236}">
                      <a16:creationId xmlns:a16="http://schemas.microsoft.com/office/drawing/2014/main" id="{5C2C33B2-832D-0121-90C0-2F821FE271B0}"/>
                    </a:ext>
                  </a:extLst>
                </p:cNvPr>
                <p:cNvPicPr/>
                <p:nvPr/>
              </p:nvPicPr>
              <p:blipFill>
                <a:blip r:embed="rId227"/>
                <a:stretch>
                  <a:fillRect/>
                </a:stretch>
              </p:blipFill>
              <p:spPr>
                <a:xfrm>
                  <a:off x="9865541" y="3922412"/>
                  <a:ext cx="147600" cy="200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28">
              <p14:nvContentPartPr>
                <p14:cNvPr id="132" name="Ink 131">
                  <a:extLst>
                    <a:ext uri="{FF2B5EF4-FFF2-40B4-BE49-F238E27FC236}">
                      <a16:creationId xmlns:a16="http://schemas.microsoft.com/office/drawing/2014/main" id="{6CEE8808-2DA7-EDB0-6878-7F3CFA3063A0}"/>
                    </a:ext>
                  </a:extLst>
                </p14:cNvPr>
                <p14:cNvContentPartPr/>
                <p14:nvPr/>
              </p14:nvContentPartPr>
              <p14:xfrm>
                <a:off x="9846461" y="3989732"/>
                <a:ext cx="192240" cy="125280"/>
              </p14:xfrm>
            </p:contentPart>
          </mc:Choice>
          <mc:Fallback>
            <p:pic>
              <p:nvPicPr>
                <p:cNvPr id="132" name="Ink 131">
                  <a:extLst>
                    <a:ext uri="{FF2B5EF4-FFF2-40B4-BE49-F238E27FC236}">
                      <a16:creationId xmlns:a16="http://schemas.microsoft.com/office/drawing/2014/main" id="{6CEE8808-2DA7-EDB0-6878-7F3CFA3063A0}"/>
                    </a:ext>
                  </a:extLst>
                </p:cNvPr>
                <p:cNvPicPr/>
                <p:nvPr/>
              </p:nvPicPr>
              <p:blipFill>
                <a:blip r:embed="rId229"/>
                <a:stretch>
                  <a:fillRect/>
                </a:stretch>
              </p:blipFill>
              <p:spPr>
                <a:xfrm>
                  <a:off x="9831341" y="3974612"/>
                  <a:ext cx="222840" cy="155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30">
              <p14:nvContentPartPr>
                <p14:cNvPr id="133" name="Ink 132">
                  <a:extLst>
                    <a:ext uri="{FF2B5EF4-FFF2-40B4-BE49-F238E27FC236}">
                      <a16:creationId xmlns:a16="http://schemas.microsoft.com/office/drawing/2014/main" id="{028F1B3B-147A-2DA7-E6B3-DC02040C59E0}"/>
                    </a:ext>
                  </a:extLst>
                </p14:cNvPr>
                <p14:cNvContentPartPr/>
                <p14:nvPr/>
              </p14:nvContentPartPr>
              <p14:xfrm>
                <a:off x="10267661" y="3738092"/>
                <a:ext cx="138600" cy="198360"/>
              </p14:xfrm>
            </p:contentPart>
          </mc:Choice>
          <mc:Fallback>
            <p:pic>
              <p:nvPicPr>
                <p:cNvPr id="133" name="Ink 132">
                  <a:extLst>
                    <a:ext uri="{FF2B5EF4-FFF2-40B4-BE49-F238E27FC236}">
                      <a16:creationId xmlns:a16="http://schemas.microsoft.com/office/drawing/2014/main" id="{028F1B3B-147A-2DA7-E6B3-DC02040C59E0}"/>
                    </a:ext>
                  </a:extLst>
                </p:cNvPr>
                <p:cNvPicPr/>
                <p:nvPr/>
              </p:nvPicPr>
              <p:blipFill>
                <a:blip r:embed="rId231"/>
                <a:stretch>
                  <a:fillRect/>
                </a:stretch>
              </p:blipFill>
              <p:spPr>
                <a:xfrm>
                  <a:off x="10252181" y="3722972"/>
                  <a:ext cx="168840" cy="228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32">
              <p14:nvContentPartPr>
                <p14:cNvPr id="134" name="Ink 133">
                  <a:extLst>
                    <a:ext uri="{FF2B5EF4-FFF2-40B4-BE49-F238E27FC236}">
                      <a16:creationId xmlns:a16="http://schemas.microsoft.com/office/drawing/2014/main" id="{AC8CA3ED-536A-F259-7268-0D677C91E07D}"/>
                    </a:ext>
                  </a:extLst>
                </p14:cNvPr>
                <p14:cNvContentPartPr/>
                <p14:nvPr/>
              </p14:nvContentPartPr>
              <p14:xfrm>
                <a:off x="10509221" y="3780572"/>
                <a:ext cx="113760" cy="135360"/>
              </p14:xfrm>
            </p:contentPart>
          </mc:Choice>
          <mc:Fallback>
            <p:pic>
              <p:nvPicPr>
                <p:cNvPr id="134" name="Ink 133">
                  <a:extLst>
                    <a:ext uri="{FF2B5EF4-FFF2-40B4-BE49-F238E27FC236}">
                      <a16:creationId xmlns:a16="http://schemas.microsoft.com/office/drawing/2014/main" id="{AC8CA3ED-536A-F259-7268-0D677C91E07D}"/>
                    </a:ext>
                  </a:extLst>
                </p:cNvPr>
                <p:cNvPicPr/>
                <p:nvPr/>
              </p:nvPicPr>
              <p:blipFill>
                <a:blip r:embed="rId233"/>
                <a:stretch>
                  <a:fillRect/>
                </a:stretch>
              </p:blipFill>
              <p:spPr>
                <a:xfrm>
                  <a:off x="10494101" y="3765092"/>
                  <a:ext cx="144360" cy="165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34">
              <p14:nvContentPartPr>
                <p14:cNvPr id="135" name="Ink 134">
                  <a:extLst>
                    <a:ext uri="{FF2B5EF4-FFF2-40B4-BE49-F238E27FC236}">
                      <a16:creationId xmlns:a16="http://schemas.microsoft.com/office/drawing/2014/main" id="{B6EF3407-4AD9-5C86-FCD7-986A2F445FE9}"/>
                    </a:ext>
                  </a:extLst>
                </p14:cNvPr>
                <p14:cNvContentPartPr/>
                <p14:nvPr/>
              </p14:nvContentPartPr>
              <p14:xfrm>
                <a:off x="10171541" y="4049852"/>
                <a:ext cx="462600" cy="27360"/>
              </p14:xfrm>
            </p:contentPart>
          </mc:Choice>
          <mc:Fallback>
            <p:pic>
              <p:nvPicPr>
                <p:cNvPr id="135" name="Ink 134">
                  <a:extLst>
                    <a:ext uri="{FF2B5EF4-FFF2-40B4-BE49-F238E27FC236}">
                      <a16:creationId xmlns:a16="http://schemas.microsoft.com/office/drawing/2014/main" id="{B6EF3407-4AD9-5C86-FCD7-986A2F445FE9}"/>
                    </a:ext>
                  </a:extLst>
                </p:cNvPr>
                <p:cNvPicPr/>
                <p:nvPr/>
              </p:nvPicPr>
              <p:blipFill>
                <a:blip r:embed="rId235"/>
                <a:stretch>
                  <a:fillRect/>
                </a:stretch>
              </p:blipFill>
              <p:spPr>
                <a:xfrm>
                  <a:off x="10156421" y="4034732"/>
                  <a:ext cx="493200" cy="57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36">
              <p14:nvContentPartPr>
                <p14:cNvPr id="137" name="Ink 136">
                  <a:extLst>
                    <a:ext uri="{FF2B5EF4-FFF2-40B4-BE49-F238E27FC236}">
                      <a16:creationId xmlns:a16="http://schemas.microsoft.com/office/drawing/2014/main" id="{F444FE09-E9BD-7DE2-427E-A4DF83414300}"/>
                    </a:ext>
                  </a:extLst>
                </p14:cNvPr>
                <p14:cNvContentPartPr/>
                <p14:nvPr/>
              </p14:nvContentPartPr>
              <p14:xfrm>
                <a:off x="10270541" y="4111052"/>
                <a:ext cx="124920" cy="199080"/>
              </p14:xfrm>
            </p:contentPart>
          </mc:Choice>
          <mc:Fallback>
            <p:pic>
              <p:nvPicPr>
                <p:cNvPr id="137" name="Ink 136">
                  <a:extLst>
                    <a:ext uri="{FF2B5EF4-FFF2-40B4-BE49-F238E27FC236}">
                      <a16:creationId xmlns:a16="http://schemas.microsoft.com/office/drawing/2014/main" id="{F444FE09-E9BD-7DE2-427E-A4DF83414300}"/>
                    </a:ext>
                  </a:extLst>
                </p:cNvPr>
                <p:cNvPicPr/>
                <p:nvPr/>
              </p:nvPicPr>
              <p:blipFill>
                <a:blip r:embed="rId237"/>
                <a:stretch>
                  <a:fillRect/>
                </a:stretch>
              </p:blipFill>
              <p:spPr>
                <a:xfrm>
                  <a:off x="10255061" y="4095572"/>
                  <a:ext cx="155520" cy="229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38">
              <p14:nvContentPartPr>
                <p14:cNvPr id="138" name="Ink 137">
                  <a:extLst>
                    <a:ext uri="{FF2B5EF4-FFF2-40B4-BE49-F238E27FC236}">
                      <a16:creationId xmlns:a16="http://schemas.microsoft.com/office/drawing/2014/main" id="{C6465412-AB6E-248A-8577-D36702F46B4F}"/>
                    </a:ext>
                  </a:extLst>
                </p14:cNvPr>
                <p14:cNvContentPartPr/>
                <p14:nvPr/>
              </p14:nvContentPartPr>
              <p14:xfrm>
                <a:off x="10444781" y="4193852"/>
                <a:ext cx="102240" cy="102960"/>
              </p14:xfrm>
            </p:contentPart>
          </mc:Choice>
          <mc:Fallback>
            <p:pic>
              <p:nvPicPr>
                <p:cNvPr id="138" name="Ink 137">
                  <a:extLst>
                    <a:ext uri="{FF2B5EF4-FFF2-40B4-BE49-F238E27FC236}">
                      <a16:creationId xmlns:a16="http://schemas.microsoft.com/office/drawing/2014/main" id="{C6465412-AB6E-248A-8577-D36702F46B4F}"/>
                    </a:ext>
                  </a:extLst>
                </p:cNvPr>
                <p:cNvPicPr/>
                <p:nvPr/>
              </p:nvPicPr>
              <p:blipFill>
                <a:blip r:embed="rId239"/>
                <a:stretch>
                  <a:fillRect/>
                </a:stretch>
              </p:blipFill>
              <p:spPr>
                <a:xfrm>
                  <a:off x="10429661" y="4178732"/>
                  <a:ext cx="132480" cy="133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40">
              <p14:nvContentPartPr>
                <p14:cNvPr id="139" name="Ink 138">
                  <a:extLst>
                    <a:ext uri="{FF2B5EF4-FFF2-40B4-BE49-F238E27FC236}">
                      <a16:creationId xmlns:a16="http://schemas.microsoft.com/office/drawing/2014/main" id="{C1820070-2047-38D5-6303-0E902C15F572}"/>
                    </a:ext>
                  </a:extLst>
                </p14:cNvPr>
                <p14:cNvContentPartPr/>
                <p14:nvPr/>
              </p14:nvContentPartPr>
              <p14:xfrm>
                <a:off x="10074341" y="4149572"/>
                <a:ext cx="596160" cy="150120"/>
              </p14:xfrm>
            </p:contentPart>
          </mc:Choice>
          <mc:Fallback>
            <p:pic>
              <p:nvPicPr>
                <p:cNvPr id="139" name="Ink 138">
                  <a:extLst>
                    <a:ext uri="{FF2B5EF4-FFF2-40B4-BE49-F238E27FC236}">
                      <a16:creationId xmlns:a16="http://schemas.microsoft.com/office/drawing/2014/main" id="{C1820070-2047-38D5-6303-0E902C15F572}"/>
                    </a:ext>
                  </a:extLst>
                </p:cNvPr>
                <p:cNvPicPr/>
                <p:nvPr/>
              </p:nvPicPr>
              <p:blipFill>
                <a:blip r:embed="rId241"/>
                <a:stretch>
                  <a:fillRect/>
                </a:stretch>
              </p:blipFill>
              <p:spPr>
                <a:xfrm>
                  <a:off x="10059221" y="4134452"/>
                  <a:ext cx="626400" cy="180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42">
              <p14:nvContentPartPr>
                <p14:cNvPr id="140" name="Ink 139">
                  <a:extLst>
                    <a:ext uri="{FF2B5EF4-FFF2-40B4-BE49-F238E27FC236}">
                      <a16:creationId xmlns:a16="http://schemas.microsoft.com/office/drawing/2014/main" id="{789F7CC7-E16B-6A2A-0D35-DB2AD883A917}"/>
                    </a:ext>
                  </a:extLst>
                </p14:cNvPr>
                <p14:cNvContentPartPr/>
                <p14:nvPr/>
              </p14:nvContentPartPr>
              <p14:xfrm>
                <a:off x="9214301" y="3582212"/>
                <a:ext cx="644760" cy="356040"/>
              </p14:xfrm>
            </p:contentPart>
          </mc:Choice>
          <mc:Fallback>
            <p:pic>
              <p:nvPicPr>
                <p:cNvPr id="140" name="Ink 139">
                  <a:extLst>
                    <a:ext uri="{FF2B5EF4-FFF2-40B4-BE49-F238E27FC236}">
                      <a16:creationId xmlns:a16="http://schemas.microsoft.com/office/drawing/2014/main" id="{789F7CC7-E16B-6A2A-0D35-DB2AD883A917}"/>
                    </a:ext>
                  </a:extLst>
                </p:cNvPr>
                <p:cNvPicPr/>
                <p:nvPr/>
              </p:nvPicPr>
              <p:blipFill>
                <a:blip r:embed="rId243"/>
                <a:stretch>
                  <a:fillRect/>
                </a:stretch>
              </p:blipFill>
              <p:spPr>
                <a:xfrm>
                  <a:off x="9198821" y="3567092"/>
                  <a:ext cx="675360" cy="3866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9A48F647-1117-E723-0CCA-FE42F9512FCE}"/>
              </a:ext>
            </a:extLst>
          </p:cNvPr>
          <p:cNvGrpSpPr/>
          <p:nvPr/>
        </p:nvGrpSpPr>
        <p:grpSpPr>
          <a:xfrm>
            <a:off x="8565221" y="4773452"/>
            <a:ext cx="998640" cy="649800"/>
            <a:chOff x="8565221" y="4773452"/>
            <a:chExt cx="998640" cy="6498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44">
              <p14:nvContentPartPr>
                <p14:cNvPr id="141" name="Ink 140">
                  <a:extLst>
                    <a:ext uri="{FF2B5EF4-FFF2-40B4-BE49-F238E27FC236}">
                      <a16:creationId xmlns:a16="http://schemas.microsoft.com/office/drawing/2014/main" id="{5430ECB6-010A-C73E-B894-A67147846E52}"/>
                    </a:ext>
                  </a:extLst>
                </p14:cNvPr>
                <p14:cNvContentPartPr/>
                <p14:nvPr/>
              </p14:nvContentPartPr>
              <p14:xfrm>
                <a:off x="8565221" y="4877852"/>
                <a:ext cx="315360" cy="27000"/>
              </p14:xfrm>
            </p:contentPart>
          </mc:Choice>
          <mc:Fallback>
            <p:pic>
              <p:nvPicPr>
                <p:cNvPr id="141" name="Ink 140">
                  <a:extLst>
                    <a:ext uri="{FF2B5EF4-FFF2-40B4-BE49-F238E27FC236}">
                      <a16:creationId xmlns:a16="http://schemas.microsoft.com/office/drawing/2014/main" id="{5430ECB6-010A-C73E-B894-A67147846E52}"/>
                    </a:ext>
                  </a:extLst>
                </p:cNvPr>
                <p:cNvPicPr/>
                <p:nvPr/>
              </p:nvPicPr>
              <p:blipFill>
                <a:blip r:embed="rId245"/>
                <a:stretch>
                  <a:fillRect/>
                </a:stretch>
              </p:blipFill>
              <p:spPr>
                <a:xfrm>
                  <a:off x="8549741" y="4862732"/>
                  <a:ext cx="345960" cy="57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46">
              <p14:nvContentPartPr>
                <p14:cNvPr id="142" name="Ink 141">
                  <a:extLst>
                    <a:ext uri="{FF2B5EF4-FFF2-40B4-BE49-F238E27FC236}">
                      <a16:creationId xmlns:a16="http://schemas.microsoft.com/office/drawing/2014/main" id="{7534EAB1-63B8-C0A6-A58C-1DF8C513050A}"/>
                    </a:ext>
                  </a:extLst>
                </p14:cNvPr>
                <p14:cNvContentPartPr/>
                <p14:nvPr/>
              </p14:nvContentPartPr>
              <p14:xfrm>
                <a:off x="8641181" y="5003852"/>
                <a:ext cx="237240" cy="14040"/>
              </p14:xfrm>
            </p:contentPart>
          </mc:Choice>
          <mc:Fallback>
            <p:pic>
              <p:nvPicPr>
                <p:cNvPr id="142" name="Ink 141">
                  <a:extLst>
                    <a:ext uri="{FF2B5EF4-FFF2-40B4-BE49-F238E27FC236}">
                      <a16:creationId xmlns:a16="http://schemas.microsoft.com/office/drawing/2014/main" id="{7534EAB1-63B8-C0A6-A58C-1DF8C513050A}"/>
                    </a:ext>
                  </a:extLst>
                </p:cNvPr>
                <p:cNvPicPr/>
                <p:nvPr/>
              </p:nvPicPr>
              <p:blipFill>
                <a:blip r:embed="rId247"/>
                <a:stretch>
                  <a:fillRect/>
                </a:stretch>
              </p:blipFill>
              <p:spPr>
                <a:xfrm>
                  <a:off x="8626061" y="4988372"/>
                  <a:ext cx="267480" cy="44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48">
              <p14:nvContentPartPr>
                <p14:cNvPr id="143" name="Ink 142">
                  <a:extLst>
                    <a:ext uri="{FF2B5EF4-FFF2-40B4-BE49-F238E27FC236}">
                      <a16:creationId xmlns:a16="http://schemas.microsoft.com/office/drawing/2014/main" id="{31BEE4B5-13C1-70DA-649E-D9F43E364263}"/>
                    </a:ext>
                  </a:extLst>
                </p14:cNvPr>
                <p14:cNvContentPartPr/>
                <p14:nvPr/>
              </p14:nvContentPartPr>
              <p14:xfrm>
                <a:off x="9068141" y="4773452"/>
                <a:ext cx="120600" cy="285840"/>
              </p14:xfrm>
            </p:contentPart>
          </mc:Choice>
          <mc:Fallback>
            <p:pic>
              <p:nvPicPr>
                <p:cNvPr id="143" name="Ink 142">
                  <a:extLst>
                    <a:ext uri="{FF2B5EF4-FFF2-40B4-BE49-F238E27FC236}">
                      <a16:creationId xmlns:a16="http://schemas.microsoft.com/office/drawing/2014/main" id="{31BEE4B5-13C1-70DA-649E-D9F43E364263}"/>
                    </a:ext>
                  </a:extLst>
                </p:cNvPr>
                <p:cNvPicPr/>
                <p:nvPr/>
              </p:nvPicPr>
              <p:blipFill>
                <a:blip r:embed="rId249"/>
                <a:stretch>
                  <a:fillRect/>
                </a:stretch>
              </p:blipFill>
              <p:spPr>
                <a:xfrm>
                  <a:off x="9053021" y="4758332"/>
                  <a:ext cx="151200" cy="316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50">
              <p14:nvContentPartPr>
                <p14:cNvPr id="144" name="Ink 143">
                  <a:extLst>
                    <a:ext uri="{FF2B5EF4-FFF2-40B4-BE49-F238E27FC236}">
                      <a16:creationId xmlns:a16="http://schemas.microsoft.com/office/drawing/2014/main" id="{F61E72A8-913C-CE79-7AD1-DF02A047766B}"/>
                    </a:ext>
                  </a:extLst>
                </p14:cNvPr>
                <p14:cNvContentPartPr/>
                <p14:nvPr/>
              </p14:nvContentPartPr>
              <p14:xfrm>
                <a:off x="9239141" y="4909532"/>
                <a:ext cx="183600" cy="120600"/>
              </p14:xfrm>
            </p:contentPart>
          </mc:Choice>
          <mc:Fallback>
            <p:pic>
              <p:nvPicPr>
                <p:cNvPr id="144" name="Ink 143">
                  <a:extLst>
                    <a:ext uri="{FF2B5EF4-FFF2-40B4-BE49-F238E27FC236}">
                      <a16:creationId xmlns:a16="http://schemas.microsoft.com/office/drawing/2014/main" id="{F61E72A8-913C-CE79-7AD1-DF02A047766B}"/>
                    </a:ext>
                  </a:extLst>
                </p:cNvPr>
                <p:cNvPicPr/>
                <p:nvPr/>
              </p:nvPicPr>
              <p:blipFill>
                <a:blip r:embed="rId251"/>
                <a:stretch>
                  <a:fillRect/>
                </a:stretch>
              </p:blipFill>
              <p:spPr>
                <a:xfrm>
                  <a:off x="9224021" y="4894412"/>
                  <a:ext cx="213840" cy="150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52">
              <p14:nvContentPartPr>
                <p14:cNvPr id="145" name="Ink 144">
                  <a:extLst>
                    <a:ext uri="{FF2B5EF4-FFF2-40B4-BE49-F238E27FC236}">
                      <a16:creationId xmlns:a16="http://schemas.microsoft.com/office/drawing/2014/main" id="{67EE3E47-A571-61A0-E8F2-AF9521E47B12}"/>
                    </a:ext>
                  </a:extLst>
                </p14:cNvPr>
                <p14:cNvContentPartPr/>
                <p14:nvPr/>
              </p14:nvContentPartPr>
              <p14:xfrm>
                <a:off x="9027821" y="5115452"/>
                <a:ext cx="429120" cy="27000"/>
              </p14:xfrm>
            </p:contentPart>
          </mc:Choice>
          <mc:Fallback>
            <p:pic>
              <p:nvPicPr>
                <p:cNvPr id="145" name="Ink 144">
                  <a:extLst>
                    <a:ext uri="{FF2B5EF4-FFF2-40B4-BE49-F238E27FC236}">
                      <a16:creationId xmlns:a16="http://schemas.microsoft.com/office/drawing/2014/main" id="{67EE3E47-A571-61A0-E8F2-AF9521E47B12}"/>
                    </a:ext>
                  </a:extLst>
                </p:cNvPr>
                <p:cNvPicPr/>
                <p:nvPr/>
              </p:nvPicPr>
              <p:blipFill>
                <a:blip r:embed="rId253"/>
                <a:stretch>
                  <a:fillRect/>
                </a:stretch>
              </p:blipFill>
              <p:spPr>
                <a:xfrm>
                  <a:off x="9012701" y="5100332"/>
                  <a:ext cx="459720" cy="57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54">
              <p14:nvContentPartPr>
                <p14:cNvPr id="146" name="Ink 145">
                  <a:extLst>
                    <a:ext uri="{FF2B5EF4-FFF2-40B4-BE49-F238E27FC236}">
                      <a16:creationId xmlns:a16="http://schemas.microsoft.com/office/drawing/2014/main" id="{FB54C667-F820-4C2D-403B-92F1B70FA2C3}"/>
                    </a:ext>
                  </a:extLst>
                </p14:cNvPr>
                <p14:cNvContentPartPr/>
                <p14:nvPr/>
              </p14:nvContentPartPr>
              <p14:xfrm>
                <a:off x="9137981" y="5186012"/>
                <a:ext cx="36360" cy="222480"/>
              </p14:xfrm>
            </p:contentPart>
          </mc:Choice>
          <mc:Fallback>
            <p:pic>
              <p:nvPicPr>
                <p:cNvPr id="146" name="Ink 145">
                  <a:extLst>
                    <a:ext uri="{FF2B5EF4-FFF2-40B4-BE49-F238E27FC236}">
                      <a16:creationId xmlns:a16="http://schemas.microsoft.com/office/drawing/2014/main" id="{FB54C667-F820-4C2D-403B-92F1B70FA2C3}"/>
                    </a:ext>
                  </a:extLst>
                </p:cNvPr>
                <p:cNvPicPr/>
                <p:nvPr/>
              </p:nvPicPr>
              <p:blipFill>
                <a:blip r:embed="rId255"/>
                <a:stretch>
                  <a:fillRect/>
                </a:stretch>
              </p:blipFill>
              <p:spPr>
                <a:xfrm>
                  <a:off x="9122861" y="5170532"/>
                  <a:ext cx="66960" cy="252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56">
              <p14:nvContentPartPr>
                <p14:cNvPr id="147" name="Ink 146">
                  <a:extLst>
                    <a:ext uri="{FF2B5EF4-FFF2-40B4-BE49-F238E27FC236}">
                      <a16:creationId xmlns:a16="http://schemas.microsoft.com/office/drawing/2014/main" id="{38B1524F-39F7-B42C-9AEC-159DEE3F36A8}"/>
                    </a:ext>
                  </a:extLst>
                </p14:cNvPr>
                <p14:cNvContentPartPr/>
                <p14:nvPr/>
              </p14:nvContentPartPr>
              <p14:xfrm>
                <a:off x="9290621" y="5255492"/>
                <a:ext cx="90720" cy="145440"/>
              </p14:xfrm>
            </p:contentPart>
          </mc:Choice>
          <mc:Fallback>
            <p:pic>
              <p:nvPicPr>
                <p:cNvPr id="147" name="Ink 146">
                  <a:extLst>
                    <a:ext uri="{FF2B5EF4-FFF2-40B4-BE49-F238E27FC236}">
                      <a16:creationId xmlns:a16="http://schemas.microsoft.com/office/drawing/2014/main" id="{38B1524F-39F7-B42C-9AEC-159DEE3F36A8}"/>
                    </a:ext>
                  </a:extLst>
                </p:cNvPr>
                <p:cNvPicPr/>
                <p:nvPr/>
              </p:nvPicPr>
              <p:blipFill>
                <a:blip r:embed="rId257"/>
                <a:stretch>
                  <a:fillRect/>
                </a:stretch>
              </p:blipFill>
              <p:spPr>
                <a:xfrm>
                  <a:off x="9275141" y="5240372"/>
                  <a:ext cx="121320" cy="176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58">
              <p14:nvContentPartPr>
                <p14:cNvPr id="148" name="Ink 147">
                  <a:extLst>
                    <a:ext uri="{FF2B5EF4-FFF2-40B4-BE49-F238E27FC236}">
                      <a16:creationId xmlns:a16="http://schemas.microsoft.com/office/drawing/2014/main" id="{3F2A1570-D099-EB27-2F40-8E765CF1EE9F}"/>
                    </a:ext>
                  </a:extLst>
                </p14:cNvPr>
                <p14:cNvContentPartPr/>
                <p14:nvPr/>
              </p14:nvContentPartPr>
              <p14:xfrm>
                <a:off x="9403301" y="5249732"/>
                <a:ext cx="160560" cy="118080"/>
              </p14:xfrm>
            </p:contentPart>
          </mc:Choice>
          <mc:Fallback>
            <p:pic>
              <p:nvPicPr>
                <p:cNvPr id="148" name="Ink 147">
                  <a:extLst>
                    <a:ext uri="{FF2B5EF4-FFF2-40B4-BE49-F238E27FC236}">
                      <a16:creationId xmlns:a16="http://schemas.microsoft.com/office/drawing/2014/main" id="{3F2A1570-D099-EB27-2F40-8E765CF1EE9F}"/>
                    </a:ext>
                  </a:extLst>
                </p:cNvPr>
                <p:cNvPicPr/>
                <p:nvPr/>
              </p:nvPicPr>
              <p:blipFill>
                <a:blip r:embed="rId259"/>
                <a:stretch>
                  <a:fillRect/>
                </a:stretch>
              </p:blipFill>
              <p:spPr>
                <a:xfrm>
                  <a:off x="9387821" y="5234252"/>
                  <a:ext cx="191160" cy="148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60">
              <p14:nvContentPartPr>
                <p14:cNvPr id="149" name="Ink 148">
                  <a:extLst>
                    <a:ext uri="{FF2B5EF4-FFF2-40B4-BE49-F238E27FC236}">
                      <a16:creationId xmlns:a16="http://schemas.microsoft.com/office/drawing/2014/main" id="{4D6F6772-E91A-E16C-D2E2-71078232D4D5}"/>
                    </a:ext>
                  </a:extLst>
                </p14:cNvPr>
                <p14:cNvContentPartPr/>
                <p14:nvPr/>
              </p14:nvContentPartPr>
              <p14:xfrm>
                <a:off x="9086861" y="5182772"/>
                <a:ext cx="176040" cy="240480"/>
              </p14:xfrm>
            </p:contentPart>
          </mc:Choice>
          <mc:Fallback>
            <p:pic>
              <p:nvPicPr>
                <p:cNvPr id="149" name="Ink 148">
                  <a:extLst>
                    <a:ext uri="{FF2B5EF4-FFF2-40B4-BE49-F238E27FC236}">
                      <a16:creationId xmlns:a16="http://schemas.microsoft.com/office/drawing/2014/main" id="{4D6F6772-E91A-E16C-D2E2-71078232D4D5}"/>
                    </a:ext>
                  </a:extLst>
                </p:cNvPr>
                <p:cNvPicPr/>
                <p:nvPr/>
              </p:nvPicPr>
              <p:blipFill>
                <a:blip r:embed="rId261"/>
                <a:stretch>
                  <a:fillRect/>
                </a:stretch>
              </p:blipFill>
              <p:spPr>
                <a:xfrm>
                  <a:off x="9071741" y="5167292"/>
                  <a:ext cx="206280" cy="271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62">
              <p14:nvContentPartPr>
                <p14:cNvPr id="152" name="Ink 151">
                  <a:extLst>
                    <a:ext uri="{FF2B5EF4-FFF2-40B4-BE49-F238E27FC236}">
                      <a16:creationId xmlns:a16="http://schemas.microsoft.com/office/drawing/2014/main" id="{C3068C86-52A5-8784-0056-AD1972FD74E4}"/>
                    </a:ext>
                  </a:extLst>
                </p14:cNvPr>
                <p14:cNvContentPartPr/>
                <p14:nvPr/>
              </p14:nvContentPartPr>
              <p14:xfrm>
                <a:off x="9011261" y="5384012"/>
                <a:ext cx="95760" cy="10800"/>
              </p14:xfrm>
            </p:contentPart>
          </mc:Choice>
          <mc:Fallback>
            <p:pic>
              <p:nvPicPr>
                <p:cNvPr id="152" name="Ink 151">
                  <a:extLst>
                    <a:ext uri="{FF2B5EF4-FFF2-40B4-BE49-F238E27FC236}">
                      <a16:creationId xmlns:a16="http://schemas.microsoft.com/office/drawing/2014/main" id="{C3068C86-52A5-8784-0056-AD1972FD74E4}"/>
                    </a:ext>
                  </a:extLst>
                </p:cNvPr>
                <p:cNvPicPr/>
                <p:nvPr/>
              </p:nvPicPr>
              <p:blipFill>
                <a:blip r:embed="rId263"/>
                <a:stretch>
                  <a:fillRect/>
                </a:stretch>
              </p:blipFill>
              <p:spPr>
                <a:xfrm>
                  <a:off x="9002621" y="5375012"/>
                  <a:ext cx="113400" cy="2844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264">
            <p14:nvContentPartPr>
              <p14:cNvPr id="154" name="Ink 153">
                <a:extLst>
                  <a:ext uri="{FF2B5EF4-FFF2-40B4-BE49-F238E27FC236}">
                    <a16:creationId xmlns:a16="http://schemas.microsoft.com/office/drawing/2014/main" id="{05F000F5-3DE8-57A4-4051-B19BC1DCF79A}"/>
                  </a:ext>
                </a:extLst>
              </p14:cNvPr>
              <p14:cNvContentPartPr/>
              <p14:nvPr/>
            </p14:nvContentPartPr>
            <p14:xfrm>
              <a:off x="2044541" y="985532"/>
              <a:ext cx="48240" cy="1440"/>
            </p14:xfrm>
          </p:contentPart>
        </mc:Choice>
        <mc:Fallback>
          <p:pic>
            <p:nvPicPr>
              <p:cNvPr id="154" name="Ink 153">
                <a:extLst>
                  <a:ext uri="{FF2B5EF4-FFF2-40B4-BE49-F238E27FC236}">
                    <a16:creationId xmlns:a16="http://schemas.microsoft.com/office/drawing/2014/main" id="{05F000F5-3DE8-57A4-4051-B19BC1DCF79A}"/>
                  </a:ext>
                </a:extLst>
              </p:cNvPr>
              <p:cNvPicPr/>
              <p:nvPr/>
            </p:nvPicPr>
            <p:blipFill>
              <a:blip r:embed="rId265"/>
              <a:stretch>
                <a:fillRect/>
              </a:stretch>
            </p:blipFill>
            <p:spPr>
              <a:xfrm>
                <a:off x="2035901" y="976892"/>
                <a:ext cx="65880" cy="1908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76808877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23B7B4-90A4-76BF-D712-3D2B5A0543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6EDB67-BFC2-4AB1-66F5-2778ED3D434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9632F40-0F2A-535C-2D63-6874C84AAD55}"/>
              </a:ext>
            </a:extLst>
          </p:cNvPr>
          <p:cNvGrpSpPr/>
          <p:nvPr/>
        </p:nvGrpSpPr>
        <p:grpSpPr>
          <a:xfrm>
            <a:off x="2111501" y="2695892"/>
            <a:ext cx="481680" cy="502200"/>
            <a:chOff x="2111501" y="2695892"/>
            <a:chExt cx="481680" cy="5022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">
              <p14:nvContentPartPr>
                <p14:cNvPr id="4" name="Ink 3">
                  <a:extLst>
                    <a:ext uri="{FF2B5EF4-FFF2-40B4-BE49-F238E27FC236}">
                      <a16:creationId xmlns:a16="http://schemas.microsoft.com/office/drawing/2014/main" id="{D84F8638-911F-4E83-3FA1-3000277338E4}"/>
                    </a:ext>
                  </a:extLst>
                </p14:cNvPr>
                <p14:cNvContentPartPr/>
                <p14:nvPr/>
              </p14:nvContentPartPr>
              <p14:xfrm>
                <a:off x="2111501" y="2769692"/>
                <a:ext cx="158760" cy="316080"/>
              </p14:xfrm>
            </p:contentPart>
          </mc:Choice>
          <mc:Fallback>
            <p:pic>
              <p:nvPicPr>
                <p:cNvPr id="4" name="Ink 3">
                  <a:extLst>
                    <a:ext uri="{FF2B5EF4-FFF2-40B4-BE49-F238E27FC236}">
                      <a16:creationId xmlns:a16="http://schemas.microsoft.com/office/drawing/2014/main" id="{D84F8638-911F-4E83-3FA1-3000277338E4}"/>
                    </a:ext>
                  </a:extLst>
                </p:cNvPr>
                <p:cNvPicPr/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2096021" y="2754572"/>
                  <a:ext cx="189360" cy="346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">
              <p14:nvContentPartPr>
                <p14:cNvPr id="5" name="Ink 4">
                  <a:extLst>
                    <a:ext uri="{FF2B5EF4-FFF2-40B4-BE49-F238E27FC236}">
                      <a16:creationId xmlns:a16="http://schemas.microsoft.com/office/drawing/2014/main" id="{DEF7C356-80D5-D3C5-C443-C0DBF45FE7C4}"/>
                    </a:ext>
                  </a:extLst>
                </p14:cNvPr>
                <p14:cNvContentPartPr/>
                <p14:nvPr/>
              </p14:nvContentPartPr>
              <p14:xfrm>
                <a:off x="2359901" y="2695892"/>
                <a:ext cx="233280" cy="502200"/>
              </p14:xfrm>
            </p:contentPart>
          </mc:Choice>
          <mc:Fallback>
            <p:pic>
              <p:nvPicPr>
                <p:cNvPr id="5" name="Ink 4">
                  <a:extLst>
                    <a:ext uri="{FF2B5EF4-FFF2-40B4-BE49-F238E27FC236}">
                      <a16:creationId xmlns:a16="http://schemas.microsoft.com/office/drawing/2014/main" id="{DEF7C356-80D5-D3C5-C443-C0DBF45FE7C4}"/>
                    </a:ext>
                  </a:extLst>
                </p:cNvPr>
                <p:cNvPicPr/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2344421" y="2680772"/>
                  <a:ext cx="263880" cy="53280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6">
            <p14:nvContentPartPr>
              <p14:cNvPr id="6" name="Ink 5">
                <a:extLst>
                  <a:ext uri="{FF2B5EF4-FFF2-40B4-BE49-F238E27FC236}">
                    <a16:creationId xmlns:a16="http://schemas.microsoft.com/office/drawing/2014/main" id="{F37B994B-FDBC-5204-7468-C82C9681F7BA}"/>
                  </a:ext>
                </a:extLst>
              </p14:cNvPr>
              <p14:cNvContentPartPr/>
              <p14:nvPr/>
            </p14:nvContentPartPr>
            <p14:xfrm>
              <a:off x="3325781" y="2627492"/>
              <a:ext cx="12960" cy="451080"/>
            </p14:xfrm>
          </p:contentPart>
        </mc:Choice>
        <mc:Fallback>
          <p:pic>
            <p:nvPicPr>
              <p:cNvPr id="6" name="Ink 5">
                <a:extLst>
                  <a:ext uri="{FF2B5EF4-FFF2-40B4-BE49-F238E27FC236}">
                    <a16:creationId xmlns:a16="http://schemas.microsoft.com/office/drawing/2014/main" id="{F37B994B-FDBC-5204-7468-C82C9681F7BA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3310301" y="2612372"/>
                <a:ext cx="43200" cy="481680"/>
              </a:xfrm>
              <a:prstGeom prst="rect">
                <a:avLst/>
              </a:prstGeom>
            </p:spPr>
          </p:pic>
        </mc:Fallback>
      </mc:AlternateContent>
      <p:grpSp>
        <p:nvGrpSpPr>
          <p:cNvPr id="25" name="Group 24">
            <a:extLst>
              <a:ext uri="{FF2B5EF4-FFF2-40B4-BE49-F238E27FC236}">
                <a16:creationId xmlns:a16="http://schemas.microsoft.com/office/drawing/2014/main" id="{649E4CFA-BBFC-AA09-15DC-ED53B3288217}"/>
              </a:ext>
            </a:extLst>
          </p:cNvPr>
          <p:cNvGrpSpPr/>
          <p:nvPr/>
        </p:nvGrpSpPr>
        <p:grpSpPr>
          <a:xfrm>
            <a:off x="3507581" y="2644772"/>
            <a:ext cx="2040120" cy="348120"/>
            <a:chOff x="3507581" y="2644772"/>
            <a:chExt cx="2040120" cy="3481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8">
              <p14:nvContentPartPr>
                <p14:cNvPr id="7" name="Ink 6">
                  <a:extLst>
                    <a:ext uri="{FF2B5EF4-FFF2-40B4-BE49-F238E27FC236}">
                      <a16:creationId xmlns:a16="http://schemas.microsoft.com/office/drawing/2014/main" id="{CF2010B0-B9E2-B33B-4651-F96CC1398F2F}"/>
                    </a:ext>
                  </a:extLst>
                </p14:cNvPr>
                <p14:cNvContentPartPr/>
                <p14:nvPr/>
              </p14:nvContentPartPr>
              <p14:xfrm>
                <a:off x="3557981" y="2694452"/>
                <a:ext cx="19800" cy="249120"/>
              </p14:xfrm>
            </p:contentPart>
          </mc:Choice>
          <mc:Fallback>
            <p:pic>
              <p:nvPicPr>
                <p:cNvPr id="7" name="Ink 6">
                  <a:extLst>
                    <a:ext uri="{FF2B5EF4-FFF2-40B4-BE49-F238E27FC236}">
                      <a16:creationId xmlns:a16="http://schemas.microsoft.com/office/drawing/2014/main" id="{CF2010B0-B9E2-B33B-4651-F96CC1398F2F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3542501" y="2679332"/>
                  <a:ext cx="50040" cy="279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">
              <p14:nvContentPartPr>
                <p14:cNvPr id="8" name="Ink 7">
                  <a:extLst>
                    <a:ext uri="{FF2B5EF4-FFF2-40B4-BE49-F238E27FC236}">
                      <a16:creationId xmlns:a16="http://schemas.microsoft.com/office/drawing/2014/main" id="{0760D588-41B0-796C-0290-A3ACFDB7F99B}"/>
                    </a:ext>
                  </a:extLst>
                </p14:cNvPr>
                <p14:cNvContentPartPr/>
                <p14:nvPr/>
              </p14:nvContentPartPr>
              <p14:xfrm>
                <a:off x="3529541" y="2644772"/>
                <a:ext cx="85320" cy="105840"/>
              </p14:xfrm>
            </p:contentPart>
          </mc:Choice>
          <mc:Fallback>
            <p:pic>
              <p:nvPicPr>
                <p:cNvPr id="8" name="Ink 7">
                  <a:extLst>
                    <a:ext uri="{FF2B5EF4-FFF2-40B4-BE49-F238E27FC236}">
                      <a16:creationId xmlns:a16="http://schemas.microsoft.com/office/drawing/2014/main" id="{0760D588-41B0-796C-0290-A3ACFDB7F99B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3514421" y="2629292"/>
                  <a:ext cx="115560" cy="136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">
              <p14:nvContentPartPr>
                <p14:cNvPr id="9" name="Ink 8">
                  <a:extLst>
                    <a:ext uri="{FF2B5EF4-FFF2-40B4-BE49-F238E27FC236}">
                      <a16:creationId xmlns:a16="http://schemas.microsoft.com/office/drawing/2014/main" id="{EF1E53A6-3D0E-C6D8-3E7E-DB6E05B2769E}"/>
                    </a:ext>
                  </a:extLst>
                </p14:cNvPr>
                <p14:cNvContentPartPr/>
                <p14:nvPr/>
              </p14:nvContentPartPr>
              <p14:xfrm>
                <a:off x="3507581" y="2924492"/>
                <a:ext cx="136080" cy="43920"/>
              </p14:xfrm>
            </p:contentPart>
          </mc:Choice>
          <mc:Fallback>
            <p:pic>
              <p:nvPicPr>
                <p:cNvPr id="9" name="Ink 8">
                  <a:extLst>
                    <a:ext uri="{FF2B5EF4-FFF2-40B4-BE49-F238E27FC236}">
                      <a16:creationId xmlns:a16="http://schemas.microsoft.com/office/drawing/2014/main" id="{EF1E53A6-3D0E-C6D8-3E7E-DB6E05B2769E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3492101" y="2909372"/>
                  <a:ext cx="166320" cy="74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">
              <p14:nvContentPartPr>
                <p14:cNvPr id="10" name="Ink 9">
                  <a:extLst>
                    <a:ext uri="{FF2B5EF4-FFF2-40B4-BE49-F238E27FC236}">
                      <a16:creationId xmlns:a16="http://schemas.microsoft.com/office/drawing/2014/main" id="{787CB62E-B61E-7A22-DFDA-6CB7BE919B7F}"/>
                    </a:ext>
                  </a:extLst>
                </p14:cNvPr>
                <p14:cNvContentPartPr/>
                <p14:nvPr/>
              </p14:nvContentPartPr>
              <p14:xfrm>
                <a:off x="3706661" y="2816852"/>
                <a:ext cx="155520" cy="159120"/>
              </p14:xfrm>
            </p:contentPart>
          </mc:Choice>
          <mc:Fallback>
            <p:pic>
              <p:nvPicPr>
                <p:cNvPr id="10" name="Ink 9">
                  <a:extLst>
                    <a:ext uri="{FF2B5EF4-FFF2-40B4-BE49-F238E27FC236}">
                      <a16:creationId xmlns:a16="http://schemas.microsoft.com/office/drawing/2014/main" id="{787CB62E-B61E-7A22-DFDA-6CB7BE919B7F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3691541" y="2801732"/>
                  <a:ext cx="186120" cy="189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">
              <p14:nvContentPartPr>
                <p14:cNvPr id="11" name="Ink 10">
                  <a:extLst>
                    <a:ext uri="{FF2B5EF4-FFF2-40B4-BE49-F238E27FC236}">
                      <a16:creationId xmlns:a16="http://schemas.microsoft.com/office/drawing/2014/main" id="{A086FA45-F93A-B2D8-11F7-F4D288F1DB73}"/>
                    </a:ext>
                  </a:extLst>
                </p14:cNvPr>
                <p14:cNvContentPartPr/>
                <p14:nvPr/>
              </p14:nvContentPartPr>
              <p14:xfrm>
                <a:off x="3958301" y="2824772"/>
                <a:ext cx="112680" cy="144360"/>
              </p14:xfrm>
            </p:contentPart>
          </mc:Choice>
          <mc:Fallback>
            <p:pic>
              <p:nvPicPr>
                <p:cNvPr id="11" name="Ink 10">
                  <a:extLst>
                    <a:ext uri="{FF2B5EF4-FFF2-40B4-BE49-F238E27FC236}">
                      <a16:creationId xmlns:a16="http://schemas.microsoft.com/office/drawing/2014/main" id="{A086FA45-F93A-B2D8-11F7-F4D288F1DB73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3942821" y="2809292"/>
                  <a:ext cx="142920" cy="174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8">
              <p14:nvContentPartPr>
                <p14:cNvPr id="14" name="Ink 13">
                  <a:extLst>
                    <a:ext uri="{FF2B5EF4-FFF2-40B4-BE49-F238E27FC236}">
                      <a16:creationId xmlns:a16="http://schemas.microsoft.com/office/drawing/2014/main" id="{B4FD2366-505F-E00A-EEF7-BBDAF00D4BEF}"/>
                    </a:ext>
                  </a:extLst>
                </p14:cNvPr>
                <p14:cNvContentPartPr/>
                <p14:nvPr/>
              </p14:nvContentPartPr>
              <p14:xfrm>
                <a:off x="3902861" y="2761772"/>
                <a:ext cx="42480" cy="150480"/>
              </p14:xfrm>
            </p:contentPart>
          </mc:Choice>
          <mc:Fallback>
            <p:pic>
              <p:nvPicPr>
                <p:cNvPr id="14" name="Ink 13">
                  <a:extLst>
                    <a:ext uri="{FF2B5EF4-FFF2-40B4-BE49-F238E27FC236}">
                      <a16:creationId xmlns:a16="http://schemas.microsoft.com/office/drawing/2014/main" id="{B4FD2366-505F-E00A-EEF7-BBDAF00D4BEF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3887741" y="2746652"/>
                  <a:ext cx="73080" cy="181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0">
              <p14:nvContentPartPr>
                <p14:cNvPr id="15" name="Ink 14">
                  <a:extLst>
                    <a:ext uri="{FF2B5EF4-FFF2-40B4-BE49-F238E27FC236}">
                      <a16:creationId xmlns:a16="http://schemas.microsoft.com/office/drawing/2014/main" id="{1B9CBDE8-8155-30C0-E8A8-CAAE2FC54D06}"/>
                    </a:ext>
                  </a:extLst>
                </p14:cNvPr>
                <p14:cNvContentPartPr/>
                <p14:nvPr/>
              </p14:nvContentPartPr>
              <p14:xfrm>
                <a:off x="4123541" y="2801372"/>
                <a:ext cx="311400" cy="153360"/>
              </p14:xfrm>
            </p:contentPart>
          </mc:Choice>
          <mc:Fallback>
            <p:pic>
              <p:nvPicPr>
                <p:cNvPr id="15" name="Ink 14">
                  <a:extLst>
                    <a:ext uri="{FF2B5EF4-FFF2-40B4-BE49-F238E27FC236}">
                      <a16:creationId xmlns:a16="http://schemas.microsoft.com/office/drawing/2014/main" id="{1B9CBDE8-8155-30C0-E8A8-CAAE2FC54D06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4108061" y="2786252"/>
                  <a:ext cx="342000" cy="183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2">
              <p14:nvContentPartPr>
                <p14:cNvPr id="16" name="Ink 15">
                  <a:extLst>
                    <a:ext uri="{FF2B5EF4-FFF2-40B4-BE49-F238E27FC236}">
                      <a16:creationId xmlns:a16="http://schemas.microsoft.com/office/drawing/2014/main" id="{913B9134-946D-5E9A-BDEB-1F63D3513FF9}"/>
                    </a:ext>
                  </a:extLst>
                </p14:cNvPr>
                <p14:cNvContentPartPr/>
                <p14:nvPr/>
              </p14:nvContentPartPr>
              <p14:xfrm>
                <a:off x="4529261" y="2770772"/>
                <a:ext cx="108000" cy="184680"/>
              </p14:xfrm>
            </p:contentPart>
          </mc:Choice>
          <mc:Fallback>
            <p:pic>
              <p:nvPicPr>
                <p:cNvPr id="16" name="Ink 15">
                  <a:extLst>
                    <a:ext uri="{FF2B5EF4-FFF2-40B4-BE49-F238E27FC236}">
                      <a16:creationId xmlns:a16="http://schemas.microsoft.com/office/drawing/2014/main" id="{913B9134-946D-5E9A-BDEB-1F63D3513FF9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4514141" y="2755292"/>
                  <a:ext cx="138600" cy="215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4">
              <p14:nvContentPartPr>
                <p14:cNvPr id="17" name="Ink 16">
                  <a:extLst>
                    <a:ext uri="{FF2B5EF4-FFF2-40B4-BE49-F238E27FC236}">
                      <a16:creationId xmlns:a16="http://schemas.microsoft.com/office/drawing/2014/main" id="{2840743D-8B8E-AD8D-9C3F-246A5FF3A695}"/>
                    </a:ext>
                  </a:extLst>
                </p14:cNvPr>
                <p14:cNvContentPartPr/>
                <p14:nvPr/>
              </p14:nvContentPartPr>
              <p14:xfrm>
                <a:off x="4693061" y="2761772"/>
                <a:ext cx="34920" cy="192240"/>
              </p14:xfrm>
            </p:contentPart>
          </mc:Choice>
          <mc:Fallback>
            <p:pic>
              <p:nvPicPr>
                <p:cNvPr id="17" name="Ink 16">
                  <a:extLst>
                    <a:ext uri="{FF2B5EF4-FFF2-40B4-BE49-F238E27FC236}">
                      <a16:creationId xmlns:a16="http://schemas.microsoft.com/office/drawing/2014/main" id="{2840743D-8B8E-AD8D-9C3F-246A5FF3A695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4677941" y="2746652"/>
                  <a:ext cx="65520" cy="222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6">
              <p14:nvContentPartPr>
                <p14:cNvPr id="18" name="Ink 17">
                  <a:extLst>
                    <a:ext uri="{FF2B5EF4-FFF2-40B4-BE49-F238E27FC236}">
                      <a16:creationId xmlns:a16="http://schemas.microsoft.com/office/drawing/2014/main" id="{4522B628-83FE-3777-5296-5FEC65C9796A}"/>
                    </a:ext>
                  </a:extLst>
                </p14:cNvPr>
                <p14:cNvContentPartPr/>
                <p14:nvPr/>
              </p14:nvContentPartPr>
              <p14:xfrm>
                <a:off x="4794941" y="2807132"/>
                <a:ext cx="114120" cy="98640"/>
              </p14:xfrm>
            </p:contentPart>
          </mc:Choice>
          <mc:Fallback>
            <p:pic>
              <p:nvPicPr>
                <p:cNvPr id="18" name="Ink 17">
                  <a:extLst>
                    <a:ext uri="{FF2B5EF4-FFF2-40B4-BE49-F238E27FC236}">
                      <a16:creationId xmlns:a16="http://schemas.microsoft.com/office/drawing/2014/main" id="{4522B628-83FE-3777-5296-5FEC65C9796A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4779461" y="2792012"/>
                  <a:ext cx="144720" cy="129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8">
              <p14:nvContentPartPr>
                <p14:cNvPr id="19" name="Ink 18">
                  <a:extLst>
                    <a:ext uri="{FF2B5EF4-FFF2-40B4-BE49-F238E27FC236}">
                      <a16:creationId xmlns:a16="http://schemas.microsoft.com/office/drawing/2014/main" id="{B9B1CDB5-1782-3694-E2D5-D6A1BFF79B13}"/>
                    </a:ext>
                  </a:extLst>
                </p14:cNvPr>
                <p14:cNvContentPartPr/>
                <p14:nvPr/>
              </p14:nvContentPartPr>
              <p14:xfrm>
                <a:off x="4961261" y="2791292"/>
                <a:ext cx="135360" cy="158760"/>
              </p14:xfrm>
            </p:contentPart>
          </mc:Choice>
          <mc:Fallback>
            <p:pic>
              <p:nvPicPr>
                <p:cNvPr id="19" name="Ink 18">
                  <a:extLst>
                    <a:ext uri="{FF2B5EF4-FFF2-40B4-BE49-F238E27FC236}">
                      <a16:creationId xmlns:a16="http://schemas.microsoft.com/office/drawing/2014/main" id="{B9B1CDB5-1782-3694-E2D5-D6A1BFF79B13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4945781" y="2775812"/>
                  <a:ext cx="165960" cy="189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0">
              <p14:nvContentPartPr>
                <p14:cNvPr id="20" name="Ink 19">
                  <a:extLst>
                    <a:ext uri="{FF2B5EF4-FFF2-40B4-BE49-F238E27FC236}">
                      <a16:creationId xmlns:a16="http://schemas.microsoft.com/office/drawing/2014/main" id="{CE0E2EE0-187E-C27C-121E-D3D3D7D7AB0F}"/>
                    </a:ext>
                  </a:extLst>
                </p14:cNvPr>
                <p14:cNvContentPartPr/>
                <p14:nvPr/>
              </p14:nvContentPartPr>
              <p14:xfrm>
                <a:off x="5136221" y="2756372"/>
                <a:ext cx="128160" cy="177480"/>
              </p14:xfrm>
            </p:contentPart>
          </mc:Choice>
          <mc:Fallback>
            <p:pic>
              <p:nvPicPr>
                <p:cNvPr id="20" name="Ink 19">
                  <a:extLst>
                    <a:ext uri="{FF2B5EF4-FFF2-40B4-BE49-F238E27FC236}">
                      <a16:creationId xmlns:a16="http://schemas.microsoft.com/office/drawing/2014/main" id="{CE0E2EE0-187E-C27C-121E-D3D3D7D7AB0F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5120741" y="2741252"/>
                  <a:ext cx="158760" cy="207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2">
              <p14:nvContentPartPr>
                <p14:cNvPr id="21" name="Ink 20">
                  <a:extLst>
                    <a:ext uri="{FF2B5EF4-FFF2-40B4-BE49-F238E27FC236}">
                      <a16:creationId xmlns:a16="http://schemas.microsoft.com/office/drawing/2014/main" id="{AE0F3AC2-1FEF-4B22-975F-C46C58B344A0}"/>
                    </a:ext>
                  </a:extLst>
                </p14:cNvPr>
                <p14:cNvContentPartPr/>
                <p14:nvPr/>
              </p14:nvContentPartPr>
              <p14:xfrm>
                <a:off x="5336741" y="2743052"/>
                <a:ext cx="6120" cy="239760"/>
              </p14:xfrm>
            </p:contentPart>
          </mc:Choice>
          <mc:Fallback>
            <p:pic>
              <p:nvPicPr>
                <p:cNvPr id="21" name="Ink 20">
                  <a:extLst>
                    <a:ext uri="{FF2B5EF4-FFF2-40B4-BE49-F238E27FC236}">
                      <a16:creationId xmlns:a16="http://schemas.microsoft.com/office/drawing/2014/main" id="{AE0F3AC2-1FEF-4B22-975F-C46C58B344A0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5321621" y="2727932"/>
                  <a:ext cx="36720" cy="270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4">
              <p14:nvContentPartPr>
                <p14:cNvPr id="22" name="Ink 21">
                  <a:extLst>
                    <a:ext uri="{FF2B5EF4-FFF2-40B4-BE49-F238E27FC236}">
                      <a16:creationId xmlns:a16="http://schemas.microsoft.com/office/drawing/2014/main" id="{52C2BD51-4DA9-6833-2F8D-9BBF87407A73}"/>
                    </a:ext>
                  </a:extLst>
                </p14:cNvPr>
                <p14:cNvContentPartPr/>
                <p14:nvPr/>
              </p14:nvContentPartPr>
              <p14:xfrm>
                <a:off x="5329181" y="2782292"/>
                <a:ext cx="77040" cy="201600"/>
              </p14:xfrm>
            </p:contentPart>
          </mc:Choice>
          <mc:Fallback>
            <p:pic>
              <p:nvPicPr>
                <p:cNvPr id="22" name="Ink 21">
                  <a:extLst>
                    <a:ext uri="{FF2B5EF4-FFF2-40B4-BE49-F238E27FC236}">
                      <a16:creationId xmlns:a16="http://schemas.microsoft.com/office/drawing/2014/main" id="{52C2BD51-4DA9-6833-2F8D-9BBF87407A73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5314061" y="2766812"/>
                  <a:ext cx="107640" cy="231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6">
              <p14:nvContentPartPr>
                <p14:cNvPr id="23" name="Ink 22">
                  <a:extLst>
                    <a:ext uri="{FF2B5EF4-FFF2-40B4-BE49-F238E27FC236}">
                      <a16:creationId xmlns:a16="http://schemas.microsoft.com/office/drawing/2014/main" id="{3933CCB8-69B0-5673-1B31-F78712FABBB1}"/>
                    </a:ext>
                  </a:extLst>
                </p14:cNvPr>
                <p14:cNvContentPartPr/>
                <p14:nvPr/>
              </p14:nvContentPartPr>
              <p14:xfrm>
                <a:off x="5346101" y="2852492"/>
                <a:ext cx="74520" cy="56880"/>
              </p14:xfrm>
            </p:contentPart>
          </mc:Choice>
          <mc:Fallback>
            <p:pic>
              <p:nvPicPr>
                <p:cNvPr id="23" name="Ink 22">
                  <a:extLst>
                    <a:ext uri="{FF2B5EF4-FFF2-40B4-BE49-F238E27FC236}">
                      <a16:creationId xmlns:a16="http://schemas.microsoft.com/office/drawing/2014/main" id="{3933CCB8-69B0-5673-1B31-F78712FABBB1}"/>
                    </a:ext>
                  </a:extLst>
                </p:cNvPr>
                <p:cNvPicPr/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5330981" y="2837012"/>
                  <a:ext cx="105120" cy="87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8">
              <p14:nvContentPartPr>
                <p14:cNvPr id="24" name="Ink 23">
                  <a:extLst>
                    <a:ext uri="{FF2B5EF4-FFF2-40B4-BE49-F238E27FC236}">
                      <a16:creationId xmlns:a16="http://schemas.microsoft.com/office/drawing/2014/main" id="{14873AEC-3C4E-8D80-BC2C-0DA299EA7A45}"/>
                    </a:ext>
                  </a:extLst>
                </p14:cNvPr>
                <p14:cNvContentPartPr/>
                <p14:nvPr/>
              </p14:nvContentPartPr>
              <p14:xfrm>
                <a:off x="5442221" y="2707412"/>
                <a:ext cx="105480" cy="285480"/>
              </p14:xfrm>
            </p:contentPart>
          </mc:Choice>
          <mc:Fallback>
            <p:pic>
              <p:nvPicPr>
                <p:cNvPr id="24" name="Ink 23">
                  <a:extLst>
                    <a:ext uri="{FF2B5EF4-FFF2-40B4-BE49-F238E27FC236}">
                      <a16:creationId xmlns:a16="http://schemas.microsoft.com/office/drawing/2014/main" id="{14873AEC-3C4E-8D80-BC2C-0DA299EA7A45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5427101" y="2691932"/>
                  <a:ext cx="136080" cy="3157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73FB1A43-D7B9-9D8D-CA2A-E9150B54BF32}"/>
              </a:ext>
            </a:extLst>
          </p:cNvPr>
          <p:cNvGrpSpPr/>
          <p:nvPr/>
        </p:nvGrpSpPr>
        <p:grpSpPr>
          <a:xfrm>
            <a:off x="6894101" y="899492"/>
            <a:ext cx="1705320" cy="333360"/>
            <a:chOff x="6894101" y="899492"/>
            <a:chExt cx="1705320" cy="3333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40">
              <p14:nvContentPartPr>
                <p14:cNvPr id="26" name="Ink 25">
                  <a:extLst>
                    <a:ext uri="{FF2B5EF4-FFF2-40B4-BE49-F238E27FC236}">
                      <a16:creationId xmlns:a16="http://schemas.microsoft.com/office/drawing/2014/main" id="{4AD4646E-AEF1-2C7E-8E32-D5A2275C6439}"/>
                    </a:ext>
                  </a:extLst>
                </p14:cNvPr>
                <p14:cNvContentPartPr/>
                <p14:nvPr/>
              </p14:nvContentPartPr>
              <p14:xfrm>
                <a:off x="6894101" y="899492"/>
                <a:ext cx="163800" cy="325440"/>
              </p14:xfrm>
            </p:contentPart>
          </mc:Choice>
          <mc:Fallback>
            <p:pic>
              <p:nvPicPr>
                <p:cNvPr id="26" name="Ink 25">
                  <a:extLst>
                    <a:ext uri="{FF2B5EF4-FFF2-40B4-BE49-F238E27FC236}">
                      <a16:creationId xmlns:a16="http://schemas.microsoft.com/office/drawing/2014/main" id="{4AD4646E-AEF1-2C7E-8E32-D5A2275C6439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6878981" y="884372"/>
                  <a:ext cx="194400" cy="355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2">
              <p14:nvContentPartPr>
                <p14:cNvPr id="27" name="Ink 26">
                  <a:extLst>
                    <a:ext uri="{FF2B5EF4-FFF2-40B4-BE49-F238E27FC236}">
                      <a16:creationId xmlns:a16="http://schemas.microsoft.com/office/drawing/2014/main" id="{646BE577-EFF8-1870-631D-268252454AF8}"/>
                    </a:ext>
                  </a:extLst>
                </p14:cNvPr>
                <p14:cNvContentPartPr/>
                <p14:nvPr/>
              </p14:nvContentPartPr>
              <p14:xfrm>
                <a:off x="7084181" y="941252"/>
                <a:ext cx="148320" cy="237240"/>
              </p14:xfrm>
            </p:contentPart>
          </mc:Choice>
          <mc:Fallback>
            <p:pic>
              <p:nvPicPr>
                <p:cNvPr id="27" name="Ink 26">
                  <a:extLst>
                    <a:ext uri="{FF2B5EF4-FFF2-40B4-BE49-F238E27FC236}">
                      <a16:creationId xmlns:a16="http://schemas.microsoft.com/office/drawing/2014/main" id="{646BE577-EFF8-1870-631D-268252454AF8}"/>
                    </a:ext>
                  </a:extLst>
                </p:cNvPr>
                <p:cNvPicPr/>
                <p:nvPr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7069061" y="925772"/>
                  <a:ext cx="178920" cy="267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4">
              <p14:nvContentPartPr>
                <p14:cNvPr id="28" name="Ink 27">
                  <a:extLst>
                    <a:ext uri="{FF2B5EF4-FFF2-40B4-BE49-F238E27FC236}">
                      <a16:creationId xmlns:a16="http://schemas.microsoft.com/office/drawing/2014/main" id="{823A7F3B-D3F2-D828-C38B-79244888C61E}"/>
                    </a:ext>
                  </a:extLst>
                </p14:cNvPr>
                <p14:cNvContentPartPr/>
                <p14:nvPr/>
              </p14:nvContentPartPr>
              <p14:xfrm>
                <a:off x="7361381" y="909212"/>
                <a:ext cx="142200" cy="228240"/>
              </p14:xfrm>
            </p:contentPart>
          </mc:Choice>
          <mc:Fallback>
            <p:pic>
              <p:nvPicPr>
                <p:cNvPr id="28" name="Ink 27">
                  <a:extLst>
                    <a:ext uri="{FF2B5EF4-FFF2-40B4-BE49-F238E27FC236}">
                      <a16:creationId xmlns:a16="http://schemas.microsoft.com/office/drawing/2014/main" id="{823A7F3B-D3F2-D828-C38B-79244888C61E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7346261" y="893732"/>
                  <a:ext cx="172800" cy="258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6">
              <p14:nvContentPartPr>
                <p14:cNvPr id="29" name="Ink 28">
                  <a:extLst>
                    <a:ext uri="{FF2B5EF4-FFF2-40B4-BE49-F238E27FC236}">
                      <a16:creationId xmlns:a16="http://schemas.microsoft.com/office/drawing/2014/main" id="{B64CB206-9CDE-E683-B9B9-643AA48F0B38}"/>
                    </a:ext>
                  </a:extLst>
                </p14:cNvPr>
                <p14:cNvContentPartPr/>
                <p14:nvPr/>
              </p14:nvContentPartPr>
              <p14:xfrm>
                <a:off x="7301621" y="1074092"/>
                <a:ext cx="447840" cy="107640"/>
              </p14:xfrm>
            </p:contentPart>
          </mc:Choice>
          <mc:Fallback>
            <p:pic>
              <p:nvPicPr>
                <p:cNvPr id="29" name="Ink 28">
                  <a:extLst>
                    <a:ext uri="{FF2B5EF4-FFF2-40B4-BE49-F238E27FC236}">
                      <a16:creationId xmlns:a16="http://schemas.microsoft.com/office/drawing/2014/main" id="{B64CB206-9CDE-E683-B9B9-643AA48F0B38}"/>
                    </a:ext>
                  </a:extLst>
                </p:cNvPr>
                <p:cNvPicPr/>
                <p:nvPr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7286141" y="1058612"/>
                  <a:ext cx="478440" cy="138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8">
              <p14:nvContentPartPr>
                <p14:cNvPr id="30" name="Ink 29">
                  <a:extLst>
                    <a:ext uri="{FF2B5EF4-FFF2-40B4-BE49-F238E27FC236}">
                      <a16:creationId xmlns:a16="http://schemas.microsoft.com/office/drawing/2014/main" id="{3AA51D9E-CF2A-0A94-6D39-C5A1FC92C2BA}"/>
                    </a:ext>
                  </a:extLst>
                </p14:cNvPr>
                <p14:cNvContentPartPr/>
                <p14:nvPr/>
              </p14:nvContentPartPr>
              <p14:xfrm>
                <a:off x="7787261" y="1058252"/>
                <a:ext cx="435960" cy="105120"/>
              </p14:xfrm>
            </p:contentPart>
          </mc:Choice>
          <mc:Fallback>
            <p:pic>
              <p:nvPicPr>
                <p:cNvPr id="30" name="Ink 29">
                  <a:extLst>
                    <a:ext uri="{FF2B5EF4-FFF2-40B4-BE49-F238E27FC236}">
                      <a16:creationId xmlns:a16="http://schemas.microsoft.com/office/drawing/2014/main" id="{3AA51D9E-CF2A-0A94-6D39-C5A1FC92C2BA}"/>
                    </a:ext>
                  </a:extLst>
                </p:cNvPr>
                <p:cNvPicPr/>
                <p:nvPr/>
              </p:nvPicPr>
              <p:blipFill>
                <a:blip r:embed="rId49"/>
                <a:stretch>
                  <a:fillRect/>
                </a:stretch>
              </p:blipFill>
              <p:spPr>
                <a:xfrm>
                  <a:off x="7772141" y="1043132"/>
                  <a:ext cx="466560" cy="135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0">
              <p14:nvContentPartPr>
                <p14:cNvPr id="31" name="Ink 30">
                  <a:extLst>
                    <a:ext uri="{FF2B5EF4-FFF2-40B4-BE49-F238E27FC236}">
                      <a16:creationId xmlns:a16="http://schemas.microsoft.com/office/drawing/2014/main" id="{DC7FFDB8-18E6-C88B-70D3-A18725C9C9B5}"/>
                    </a:ext>
                  </a:extLst>
                </p14:cNvPr>
                <p14:cNvContentPartPr/>
                <p14:nvPr/>
              </p14:nvContentPartPr>
              <p14:xfrm>
                <a:off x="8301341" y="1042412"/>
                <a:ext cx="83880" cy="95760"/>
              </p14:xfrm>
            </p:contentPart>
          </mc:Choice>
          <mc:Fallback>
            <p:pic>
              <p:nvPicPr>
                <p:cNvPr id="31" name="Ink 30">
                  <a:extLst>
                    <a:ext uri="{FF2B5EF4-FFF2-40B4-BE49-F238E27FC236}">
                      <a16:creationId xmlns:a16="http://schemas.microsoft.com/office/drawing/2014/main" id="{DC7FFDB8-18E6-C88B-70D3-A18725C9C9B5}"/>
                    </a:ext>
                  </a:extLst>
                </p:cNvPr>
                <p:cNvPicPr/>
                <p:nvPr/>
              </p:nvPicPr>
              <p:blipFill>
                <a:blip r:embed="rId51"/>
                <a:stretch>
                  <a:fillRect/>
                </a:stretch>
              </p:blipFill>
              <p:spPr>
                <a:xfrm>
                  <a:off x="8286221" y="1027292"/>
                  <a:ext cx="114120" cy="12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2">
              <p14:nvContentPartPr>
                <p14:cNvPr id="32" name="Ink 31">
                  <a:extLst>
                    <a:ext uri="{FF2B5EF4-FFF2-40B4-BE49-F238E27FC236}">
                      <a16:creationId xmlns:a16="http://schemas.microsoft.com/office/drawing/2014/main" id="{A947C31D-61F8-13FC-B8E2-A89E3BE44CC8}"/>
                    </a:ext>
                  </a:extLst>
                </p14:cNvPr>
                <p14:cNvContentPartPr/>
                <p14:nvPr/>
              </p14:nvContentPartPr>
              <p14:xfrm>
                <a:off x="8503301" y="901652"/>
                <a:ext cx="96120" cy="331200"/>
              </p14:xfrm>
            </p:contentPart>
          </mc:Choice>
          <mc:Fallback>
            <p:pic>
              <p:nvPicPr>
                <p:cNvPr id="32" name="Ink 31">
                  <a:extLst>
                    <a:ext uri="{FF2B5EF4-FFF2-40B4-BE49-F238E27FC236}">
                      <a16:creationId xmlns:a16="http://schemas.microsoft.com/office/drawing/2014/main" id="{A947C31D-61F8-13FC-B8E2-A89E3BE44CC8}"/>
                    </a:ext>
                  </a:extLst>
                </p:cNvPr>
                <p:cNvPicPr/>
                <p:nvPr/>
              </p:nvPicPr>
              <p:blipFill>
                <a:blip r:embed="rId53"/>
                <a:stretch>
                  <a:fillRect/>
                </a:stretch>
              </p:blipFill>
              <p:spPr>
                <a:xfrm>
                  <a:off x="8487821" y="886532"/>
                  <a:ext cx="126720" cy="3618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FBC49B3D-5A6A-6A8B-8946-823C2DEC7BF1}"/>
              </a:ext>
            </a:extLst>
          </p:cNvPr>
          <p:cNvGrpSpPr/>
          <p:nvPr/>
        </p:nvGrpSpPr>
        <p:grpSpPr>
          <a:xfrm>
            <a:off x="8738381" y="819572"/>
            <a:ext cx="759960" cy="590040"/>
            <a:chOff x="8738381" y="819572"/>
            <a:chExt cx="759960" cy="5900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54">
              <p14:nvContentPartPr>
                <p14:cNvPr id="34" name="Ink 33">
                  <a:extLst>
                    <a:ext uri="{FF2B5EF4-FFF2-40B4-BE49-F238E27FC236}">
                      <a16:creationId xmlns:a16="http://schemas.microsoft.com/office/drawing/2014/main" id="{6965CAA7-E09E-6B51-CEA1-7E80414F1AE7}"/>
                    </a:ext>
                  </a:extLst>
                </p14:cNvPr>
                <p14:cNvContentPartPr/>
                <p14:nvPr/>
              </p14:nvContentPartPr>
              <p14:xfrm>
                <a:off x="8753861" y="1015412"/>
                <a:ext cx="135360" cy="27360"/>
              </p14:xfrm>
            </p:contentPart>
          </mc:Choice>
          <mc:Fallback>
            <p:pic>
              <p:nvPicPr>
                <p:cNvPr id="34" name="Ink 33">
                  <a:extLst>
                    <a:ext uri="{FF2B5EF4-FFF2-40B4-BE49-F238E27FC236}">
                      <a16:creationId xmlns:a16="http://schemas.microsoft.com/office/drawing/2014/main" id="{6965CAA7-E09E-6B51-CEA1-7E80414F1AE7}"/>
                    </a:ext>
                  </a:extLst>
                </p:cNvPr>
                <p:cNvPicPr/>
                <p:nvPr/>
              </p:nvPicPr>
              <p:blipFill>
                <a:blip r:embed="rId55"/>
                <a:stretch>
                  <a:fillRect/>
                </a:stretch>
              </p:blipFill>
              <p:spPr>
                <a:xfrm>
                  <a:off x="8738381" y="1000292"/>
                  <a:ext cx="165960" cy="57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6">
              <p14:nvContentPartPr>
                <p14:cNvPr id="35" name="Ink 34">
                  <a:extLst>
                    <a:ext uri="{FF2B5EF4-FFF2-40B4-BE49-F238E27FC236}">
                      <a16:creationId xmlns:a16="http://schemas.microsoft.com/office/drawing/2014/main" id="{A9834FE4-2726-7BDC-EE68-E0170E647B5D}"/>
                    </a:ext>
                  </a:extLst>
                </p14:cNvPr>
                <p14:cNvContentPartPr/>
                <p14:nvPr/>
              </p14:nvContentPartPr>
              <p14:xfrm>
                <a:off x="8738381" y="1070492"/>
                <a:ext cx="159120" cy="34920"/>
              </p14:xfrm>
            </p:contentPart>
          </mc:Choice>
          <mc:Fallback>
            <p:pic>
              <p:nvPicPr>
                <p:cNvPr id="35" name="Ink 34">
                  <a:extLst>
                    <a:ext uri="{FF2B5EF4-FFF2-40B4-BE49-F238E27FC236}">
                      <a16:creationId xmlns:a16="http://schemas.microsoft.com/office/drawing/2014/main" id="{A9834FE4-2726-7BDC-EE68-E0170E647B5D}"/>
                    </a:ext>
                  </a:extLst>
                </p:cNvPr>
                <p:cNvPicPr/>
                <p:nvPr/>
              </p:nvPicPr>
              <p:blipFill>
                <a:blip r:embed="rId57"/>
                <a:stretch>
                  <a:fillRect/>
                </a:stretch>
              </p:blipFill>
              <p:spPr>
                <a:xfrm>
                  <a:off x="8723261" y="1055372"/>
                  <a:ext cx="189360" cy="65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8">
              <p14:nvContentPartPr>
                <p14:cNvPr id="36" name="Ink 35">
                  <a:extLst>
                    <a:ext uri="{FF2B5EF4-FFF2-40B4-BE49-F238E27FC236}">
                      <a16:creationId xmlns:a16="http://schemas.microsoft.com/office/drawing/2014/main" id="{3B44FE74-BF17-7C7A-643D-F49AB420154E}"/>
                    </a:ext>
                  </a:extLst>
                </p14:cNvPr>
                <p14:cNvContentPartPr/>
                <p14:nvPr/>
              </p14:nvContentPartPr>
              <p14:xfrm>
                <a:off x="9054101" y="819572"/>
                <a:ext cx="87840" cy="233640"/>
              </p14:xfrm>
            </p:contentPart>
          </mc:Choice>
          <mc:Fallback>
            <p:pic>
              <p:nvPicPr>
                <p:cNvPr id="36" name="Ink 35">
                  <a:extLst>
                    <a:ext uri="{FF2B5EF4-FFF2-40B4-BE49-F238E27FC236}">
                      <a16:creationId xmlns:a16="http://schemas.microsoft.com/office/drawing/2014/main" id="{3B44FE74-BF17-7C7A-643D-F49AB420154E}"/>
                    </a:ext>
                  </a:extLst>
                </p:cNvPr>
                <p:cNvPicPr/>
                <p:nvPr/>
              </p:nvPicPr>
              <p:blipFill>
                <a:blip r:embed="rId59"/>
                <a:stretch>
                  <a:fillRect/>
                </a:stretch>
              </p:blipFill>
              <p:spPr>
                <a:xfrm>
                  <a:off x="9038981" y="804452"/>
                  <a:ext cx="118440" cy="264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0">
              <p14:nvContentPartPr>
                <p14:cNvPr id="37" name="Ink 36">
                  <a:extLst>
                    <a:ext uri="{FF2B5EF4-FFF2-40B4-BE49-F238E27FC236}">
                      <a16:creationId xmlns:a16="http://schemas.microsoft.com/office/drawing/2014/main" id="{FC1BF512-2D77-5FF4-CCBB-E5840758054E}"/>
                    </a:ext>
                  </a:extLst>
                </p14:cNvPr>
                <p14:cNvContentPartPr/>
                <p14:nvPr/>
              </p14:nvContentPartPr>
              <p14:xfrm>
                <a:off x="9215021" y="891572"/>
                <a:ext cx="105120" cy="82080"/>
              </p14:xfrm>
            </p:contentPart>
          </mc:Choice>
          <mc:Fallback>
            <p:pic>
              <p:nvPicPr>
                <p:cNvPr id="37" name="Ink 36">
                  <a:extLst>
                    <a:ext uri="{FF2B5EF4-FFF2-40B4-BE49-F238E27FC236}">
                      <a16:creationId xmlns:a16="http://schemas.microsoft.com/office/drawing/2014/main" id="{FC1BF512-2D77-5FF4-CCBB-E5840758054E}"/>
                    </a:ext>
                  </a:extLst>
                </p:cNvPr>
                <p:cNvPicPr/>
                <p:nvPr/>
              </p:nvPicPr>
              <p:blipFill>
                <a:blip r:embed="rId61"/>
                <a:stretch>
                  <a:fillRect/>
                </a:stretch>
              </p:blipFill>
              <p:spPr>
                <a:xfrm>
                  <a:off x="9199901" y="876092"/>
                  <a:ext cx="135360" cy="112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2">
              <p14:nvContentPartPr>
                <p14:cNvPr id="38" name="Ink 37">
                  <a:extLst>
                    <a:ext uri="{FF2B5EF4-FFF2-40B4-BE49-F238E27FC236}">
                      <a16:creationId xmlns:a16="http://schemas.microsoft.com/office/drawing/2014/main" id="{2D42DE3E-9A32-6747-E1AB-78CF45213A52}"/>
                    </a:ext>
                  </a:extLst>
                </p14:cNvPr>
                <p14:cNvContentPartPr/>
                <p14:nvPr/>
              </p14:nvContentPartPr>
              <p14:xfrm>
                <a:off x="8905061" y="1150412"/>
                <a:ext cx="381960" cy="45000"/>
              </p14:xfrm>
            </p:contentPart>
          </mc:Choice>
          <mc:Fallback>
            <p:pic>
              <p:nvPicPr>
                <p:cNvPr id="38" name="Ink 37">
                  <a:extLst>
                    <a:ext uri="{FF2B5EF4-FFF2-40B4-BE49-F238E27FC236}">
                      <a16:creationId xmlns:a16="http://schemas.microsoft.com/office/drawing/2014/main" id="{2D42DE3E-9A32-6747-E1AB-78CF45213A52}"/>
                    </a:ext>
                  </a:extLst>
                </p:cNvPr>
                <p:cNvPicPr/>
                <p:nvPr/>
              </p:nvPicPr>
              <p:blipFill>
                <a:blip r:embed="rId63"/>
                <a:stretch>
                  <a:fillRect/>
                </a:stretch>
              </p:blipFill>
              <p:spPr>
                <a:xfrm>
                  <a:off x="8889941" y="1135292"/>
                  <a:ext cx="412200" cy="75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4">
              <p14:nvContentPartPr>
                <p14:cNvPr id="39" name="Ink 38">
                  <a:extLst>
                    <a:ext uri="{FF2B5EF4-FFF2-40B4-BE49-F238E27FC236}">
                      <a16:creationId xmlns:a16="http://schemas.microsoft.com/office/drawing/2014/main" id="{6692D25E-8352-0C1B-C5CA-06443ED1CF21}"/>
                    </a:ext>
                  </a:extLst>
                </p14:cNvPr>
                <p14:cNvContentPartPr/>
                <p14:nvPr/>
              </p14:nvContentPartPr>
              <p14:xfrm>
                <a:off x="9082901" y="1207292"/>
                <a:ext cx="293040" cy="202320"/>
              </p14:xfrm>
            </p:contentPart>
          </mc:Choice>
          <mc:Fallback>
            <p:pic>
              <p:nvPicPr>
                <p:cNvPr id="39" name="Ink 38">
                  <a:extLst>
                    <a:ext uri="{FF2B5EF4-FFF2-40B4-BE49-F238E27FC236}">
                      <a16:creationId xmlns:a16="http://schemas.microsoft.com/office/drawing/2014/main" id="{6692D25E-8352-0C1B-C5CA-06443ED1CF21}"/>
                    </a:ext>
                  </a:extLst>
                </p:cNvPr>
                <p:cNvPicPr/>
                <p:nvPr/>
              </p:nvPicPr>
              <p:blipFill>
                <a:blip r:embed="rId65"/>
                <a:stretch>
                  <a:fillRect/>
                </a:stretch>
              </p:blipFill>
              <p:spPr>
                <a:xfrm>
                  <a:off x="9067421" y="1191812"/>
                  <a:ext cx="323640" cy="232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6">
              <p14:nvContentPartPr>
                <p14:cNvPr id="40" name="Ink 39">
                  <a:extLst>
                    <a:ext uri="{FF2B5EF4-FFF2-40B4-BE49-F238E27FC236}">
                      <a16:creationId xmlns:a16="http://schemas.microsoft.com/office/drawing/2014/main" id="{DABD2AD1-0735-A431-455E-8949594C1697}"/>
                    </a:ext>
                  </a:extLst>
                </p14:cNvPr>
                <p14:cNvContentPartPr/>
                <p14:nvPr/>
              </p14:nvContentPartPr>
              <p14:xfrm>
                <a:off x="9408341" y="1256972"/>
                <a:ext cx="90000" cy="101880"/>
              </p14:xfrm>
            </p:contentPart>
          </mc:Choice>
          <mc:Fallback>
            <p:pic>
              <p:nvPicPr>
                <p:cNvPr id="40" name="Ink 39">
                  <a:extLst>
                    <a:ext uri="{FF2B5EF4-FFF2-40B4-BE49-F238E27FC236}">
                      <a16:creationId xmlns:a16="http://schemas.microsoft.com/office/drawing/2014/main" id="{DABD2AD1-0735-A431-455E-8949594C1697}"/>
                    </a:ext>
                  </a:extLst>
                </p:cNvPr>
                <p:cNvPicPr/>
                <p:nvPr/>
              </p:nvPicPr>
              <p:blipFill>
                <a:blip r:embed="rId67"/>
                <a:stretch>
                  <a:fillRect/>
                </a:stretch>
              </p:blipFill>
              <p:spPr>
                <a:xfrm>
                  <a:off x="9393221" y="1241852"/>
                  <a:ext cx="120600" cy="1324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452115CC-5486-598D-43A7-4F8010C56834}"/>
              </a:ext>
            </a:extLst>
          </p:cNvPr>
          <p:cNvGrpSpPr/>
          <p:nvPr/>
        </p:nvGrpSpPr>
        <p:grpSpPr>
          <a:xfrm>
            <a:off x="5188421" y="276332"/>
            <a:ext cx="1570680" cy="612360"/>
            <a:chOff x="5188421" y="276332"/>
            <a:chExt cx="1570680" cy="6123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68">
              <p14:nvContentPartPr>
                <p14:cNvPr id="42" name="Ink 41">
                  <a:extLst>
                    <a:ext uri="{FF2B5EF4-FFF2-40B4-BE49-F238E27FC236}">
                      <a16:creationId xmlns:a16="http://schemas.microsoft.com/office/drawing/2014/main" id="{D349931D-6B9A-6076-E10D-2B3D1342F659}"/>
                    </a:ext>
                  </a:extLst>
                </p14:cNvPr>
                <p14:cNvContentPartPr/>
                <p14:nvPr/>
              </p14:nvContentPartPr>
              <p14:xfrm>
                <a:off x="5188421" y="600692"/>
                <a:ext cx="122400" cy="288000"/>
              </p14:xfrm>
            </p:contentPart>
          </mc:Choice>
          <mc:Fallback>
            <p:pic>
              <p:nvPicPr>
                <p:cNvPr id="42" name="Ink 41">
                  <a:extLst>
                    <a:ext uri="{FF2B5EF4-FFF2-40B4-BE49-F238E27FC236}">
                      <a16:creationId xmlns:a16="http://schemas.microsoft.com/office/drawing/2014/main" id="{D349931D-6B9A-6076-E10D-2B3D1342F659}"/>
                    </a:ext>
                  </a:extLst>
                </p:cNvPr>
                <p:cNvPicPr/>
                <p:nvPr/>
              </p:nvPicPr>
              <p:blipFill>
                <a:blip r:embed="rId69"/>
                <a:stretch>
                  <a:fillRect/>
                </a:stretch>
              </p:blipFill>
              <p:spPr>
                <a:xfrm>
                  <a:off x="5173301" y="585212"/>
                  <a:ext cx="153000" cy="318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0">
              <p14:nvContentPartPr>
                <p14:cNvPr id="43" name="Ink 42">
                  <a:extLst>
                    <a:ext uri="{FF2B5EF4-FFF2-40B4-BE49-F238E27FC236}">
                      <a16:creationId xmlns:a16="http://schemas.microsoft.com/office/drawing/2014/main" id="{3697DF8B-FE03-C460-13AE-7F2E6773BF93}"/>
                    </a:ext>
                  </a:extLst>
                </p14:cNvPr>
                <p14:cNvContentPartPr/>
                <p14:nvPr/>
              </p14:nvContentPartPr>
              <p14:xfrm>
                <a:off x="5375261" y="588092"/>
                <a:ext cx="65520" cy="201240"/>
              </p14:xfrm>
            </p:contentPart>
          </mc:Choice>
          <mc:Fallback>
            <p:pic>
              <p:nvPicPr>
                <p:cNvPr id="43" name="Ink 42">
                  <a:extLst>
                    <a:ext uri="{FF2B5EF4-FFF2-40B4-BE49-F238E27FC236}">
                      <a16:creationId xmlns:a16="http://schemas.microsoft.com/office/drawing/2014/main" id="{3697DF8B-FE03-C460-13AE-7F2E6773BF93}"/>
                    </a:ext>
                  </a:extLst>
                </p:cNvPr>
                <p:cNvPicPr/>
                <p:nvPr/>
              </p:nvPicPr>
              <p:blipFill>
                <a:blip r:embed="rId71"/>
                <a:stretch>
                  <a:fillRect/>
                </a:stretch>
              </p:blipFill>
              <p:spPr>
                <a:xfrm>
                  <a:off x="5359781" y="572612"/>
                  <a:ext cx="96120" cy="231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2">
              <p14:nvContentPartPr>
                <p14:cNvPr id="44" name="Ink 43">
                  <a:extLst>
                    <a:ext uri="{FF2B5EF4-FFF2-40B4-BE49-F238E27FC236}">
                      <a16:creationId xmlns:a16="http://schemas.microsoft.com/office/drawing/2014/main" id="{1407C921-844B-E060-E79A-5CCA73A178B6}"/>
                    </a:ext>
                  </a:extLst>
                </p14:cNvPr>
                <p14:cNvContentPartPr/>
                <p14:nvPr/>
              </p14:nvContentPartPr>
              <p14:xfrm>
                <a:off x="5494421" y="546332"/>
                <a:ext cx="164520" cy="165240"/>
              </p14:xfrm>
            </p:contentPart>
          </mc:Choice>
          <mc:Fallback>
            <p:pic>
              <p:nvPicPr>
                <p:cNvPr id="44" name="Ink 43">
                  <a:extLst>
                    <a:ext uri="{FF2B5EF4-FFF2-40B4-BE49-F238E27FC236}">
                      <a16:creationId xmlns:a16="http://schemas.microsoft.com/office/drawing/2014/main" id="{1407C921-844B-E060-E79A-5CCA73A178B6}"/>
                    </a:ext>
                  </a:extLst>
                </p:cNvPr>
                <p:cNvPicPr/>
                <p:nvPr/>
              </p:nvPicPr>
              <p:blipFill>
                <a:blip r:embed="rId73"/>
                <a:stretch>
                  <a:fillRect/>
                </a:stretch>
              </p:blipFill>
              <p:spPr>
                <a:xfrm>
                  <a:off x="5478941" y="530852"/>
                  <a:ext cx="195120" cy="195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4">
              <p14:nvContentPartPr>
                <p14:cNvPr id="45" name="Ink 44">
                  <a:extLst>
                    <a:ext uri="{FF2B5EF4-FFF2-40B4-BE49-F238E27FC236}">
                      <a16:creationId xmlns:a16="http://schemas.microsoft.com/office/drawing/2014/main" id="{9942EDF2-74A7-107D-3593-1301E732D4FF}"/>
                    </a:ext>
                  </a:extLst>
                </p14:cNvPr>
                <p14:cNvContentPartPr/>
                <p14:nvPr/>
              </p14:nvContentPartPr>
              <p14:xfrm>
                <a:off x="5758301" y="495212"/>
                <a:ext cx="70560" cy="21600"/>
              </p14:xfrm>
            </p:contentPart>
          </mc:Choice>
          <mc:Fallback>
            <p:pic>
              <p:nvPicPr>
                <p:cNvPr id="45" name="Ink 44">
                  <a:extLst>
                    <a:ext uri="{FF2B5EF4-FFF2-40B4-BE49-F238E27FC236}">
                      <a16:creationId xmlns:a16="http://schemas.microsoft.com/office/drawing/2014/main" id="{9942EDF2-74A7-107D-3593-1301E732D4FF}"/>
                    </a:ext>
                  </a:extLst>
                </p:cNvPr>
                <p:cNvPicPr/>
                <p:nvPr/>
              </p:nvPicPr>
              <p:blipFill>
                <a:blip r:embed="rId75"/>
                <a:stretch>
                  <a:fillRect/>
                </a:stretch>
              </p:blipFill>
              <p:spPr>
                <a:xfrm>
                  <a:off x="5742821" y="480092"/>
                  <a:ext cx="100800" cy="52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6">
              <p14:nvContentPartPr>
                <p14:cNvPr id="46" name="Ink 45">
                  <a:extLst>
                    <a:ext uri="{FF2B5EF4-FFF2-40B4-BE49-F238E27FC236}">
                      <a16:creationId xmlns:a16="http://schemas.microsoft.com/office/drawing/2014/main" id="{D47CAF42-9923-B793-6A94-B1D31297B57D}"/>
                    </a:ext>
                  </a:extLst>
                </p14:cNvPr>
                <p14:cNvContentPartPr/>
                <p14:nvPr/>
              </p14:nvContentPartPr>
              <p14:xfrm>
                <a:off x="5782061" y="512492"/>
                <a:ext cx="46080" cy="220320"/>
              </p14:xfrm>
            </p:contentPart>
          </mc:Choice>
          <mc:Fallback>
            <p:pic>
              <p:nvPicPr>
                <p:cNvPr id="46" name="Ink 45">
                  <a:extLst>
                    <a:ext uri="{FF2B5EF4-FFF2-40B4-BE49-F238E27FC236}">
                      <a16:creationId xmlns:a16="http://schemas.microsoft.com/office/drawing/2014/main" id="{D47CAF42-9923-B793-6A94-B1D31297B57D}"/>
                    </a:ext>
                  </a:extLst>
                </p:cNvPr>
                <p:cNvPicPr/>
                <p:nvPr/>
              </p:nvPicPr>
              <p:blipFill>
                <a:blip r:embed="rId77"/>
                <a:stretch>
                  <a:fillRect/>
                </a:stretch>
              </p:blipFill>
              <p:spPr>
                <a:xfrm>
                  <a:off x="5766941" y="497372"/>
                  <a:ext cx="76680" cy="250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8">
              <p14:nvContentPartPr>
                <p14:cNvPr id="47" name="Ink 46">
                  <a:extLst>
                    <a:ext uri="{FF2B5EF4-FFF2-40B4-BE49-F238E27FC236}">
                      <a16:creationId xmlns:a16="http://schemas.microsoft.com/office/drawing/2014/main" id="{9FAC544E-BEA1-572E-945B-4D12392A7513}"/>
                    </a:ext>
                  </a:extLst>
                </p14:cNvPr>
                <p14:cNvContentPartPr/>
                <p14:nvPr/>
              </p14:nvContentPartPr>
              <p14:xfrm>
                <a:off x="5920301" y="570092"/>
                <a:ext cx="59760" cy="13680"/>
              </p14:xfrm>
            </p:contentPart>
          </mc:Choice>
          <mc:Fallback>
            <p:pic>
              <p:nvPicPr>
                <p:cNvPr id="47" name="Ink 46">
                  <a:extLst>
                    <a:ext uri="{FF2B5EF4-FFF2-40B4-BE49-F238E27FC236}">
                      <a16:creationId xmlns:a16="http://schemas.microsoft.com/office/drawing/2014/main" id="{9FAC544E-BEA1-572E-945B-4D12392A7513}"/>
                    </a:ext>
                  </a:extLst>
                </p:cNvPr>
                <p:cNvPicPr/>
                <p:nvPr/>
              </p:nvPicPr>
              <p:blipFill>
                <a:blip r:embed="rId79"/>
                <a:stretch>
                  <a:fillRect/>
                </a:stretch>
              </p:blipFill>
              <p:spPr>
                <a:xfrm>
                  <a:off x="5904821" y="554972"/>
                  <a:ext cx="90000" cy="44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0">
              <p14:nvContentPartPr>
                <p14:cNvPr id="48" name="Ink 47">
                  <a:extLst>
                    <a:ext uri="{FF2B5EF4-FFF2-40B4-BE49-F238E27FC236}">
                      <a16:creationId xmlns:a16="http://schemas.microsoft.com/office/drawing/2014/main" id="{651401A5-9E54-872D-2D86-9C0102594675}"/>
                    </a:ext>
                  </a:extLst>
                </p14:cNvPr>
                <p14:cNvContentPartPr/>
                <p14:nvPr/>
              </p14:nvContentPartPr>
              <p14:xfrm>
                <a:off x="5912021" y="669812"/>
                <a:ext cx="108000" cy="13320"/>
              </p14:xfrm>
            </p:contentPart>
          </mc:Choice>
          <mc:Fallback>
            <p:pic>
              <p:nvPicPr>
                <p:cNvPr id="48" name="Ink 47">
                  <a:extLst>
                    <a:ext uri="{FF2B5EF4-FFF2-40B4-BE49-F238E27FC236}">
                      <a16:creationId xmlns:a16="http://schemas.microsoft.com/office/drawing/2014/main" id="{651401A5-9E54-872D-2D86-9C0102594675}"/>
                    </a:ext>
                  </a:extLst>
                </p:cNvPr>
                <p:cNvPicPr/>
                <p:nvPr/>
              </p:nvPicPr>
              <p:blipFill>
                <a:blip r:embed="rId81"/>
                <a:stretch>
                  <a:fillRect/>
                </a:stretch>
              </p:blipFill>
              <p:spPr>
                <a:xfrm>
                  <a:off x="5896901" y="654692"/>
                  <a:ext cx="138240" cy="43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2">
              <p14:nvContentPartPr>
                <p14:cNvPr id="50" name="Ink 49">
                  <a:extLst>
                    <a:ext uri="{FF2B5EF4-FFF2-40B4-BE49-F238E27FC236}">
                      <a16:creationId xmlns:a16="http://schemas.microsoft.com/office/drawing/2014/main" id="{395D3850-3401-28DF-454A-186B0A38A595}"/>
                    </a:ext>
                  </a:extLst>
                </p14:cNvPr>
                <p14:cNvContentPartPr/>
                <p14:nvPr/>
              </p14:nvContentPartPr>
              <p14:xfrm>
                <a:off x="6207581" y="276332"/>
                <a:ext cx="124200" cy="225360"/>
              </p14:xfrm>
            </p:contentPart>
          </mc:Choice>
          <mc:Fallback>
            <p:pic>
              <p:nvPicPr>
                <p:cNvPr id="50" name="Ink 49">
                  <a:extLst>
                    <a:ext uri="{FF2B5EF4-FFF2-40B4-BE49-F238E27FC236}">
                      <a16:creationId xmlns:a16="http://schemas.microsoft.com/office/drawing/2014/main" id="{395D3850-3401-28DF-454A-186B0A38A595}"/>
                    </a:ext>
                  </a:extLst>
                </p:cNvPr>
                <p:cNvPicPr/>
                <p:nvPr/>
              </p:nvPicPr>
              <p:blipFill>
                <a:blip r:embed="rId83"/>
                <a:stretch>
                  <a:fillRect/>
                </a:stretch>
              </p:blipFill>
              <p:spPr>
                <a:xfrm>
                  <a:off x="6192461" y="260852"/>
                  <a:ext cx="154800" cy="255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4">
              <p14:nvContentPartPr>
                <p14:cNvPr id="51" name="Ink 50">
                  <a:extLst>
                    <a:ext uri="{FF2B5EF4-FFF2-40B4-BE49-F238E27FC236}">
                      <a16:creationId xmlns:a16="http://schemas.microsoft.com/office/drawing/2014/main" id="{00C7733A-9DD9-A229-DA4B-55AADD4E9E8B}"/>
                    </a:ext>
                  </a:extLst>
                </p14:cNvPr>
                <p14:cNvContentPartPr/>
                <p14:nvPr/>
              </p14:nvContentPartPr>
              <p14:xfrm>
                <a:off x="6426821" y="323852"/>
                <a:ext cx="85680" cy="52200"/>
              </p14:xfrm>
            </p:contentPart>
          </mc:Choice>
          <mc:Fallback>
            <p:pic>
              <p:nvPicPr>
                <p:cNvPr id="51" name="Ink 50">
                  <a:extLst>
                    <a:ext uri="{FF2B5EF4-FFF2-40B4-BE49-F238E27FC236}">
                      <a16:creationId xmlns:a16="http://schemas.microsoft.com/office/drawing/2014/main" id="{00C7733A-9DD9-A229-DA4B-55AADD4E9E8B}"/>
                    </a:ext>
                  </a:extLst>
                </p:cNvPr>
                <p:cNvPicPr/>
                <p:nvPr/>
              </p:nvPicPr>
              <p:blipFill>
                <a:blip r:embed="rId85"/>
                <a:stretch>
                  <a:fillRect/>
                </a:stretch>
              </p:blipFill>
              <p:spPr>
                <a:xfrm>
                  <a:off x="6411701" y="308732"/>
                  <a:ext cx="116280" cy="82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6">
              <p14:nvContentPartPr>
                <p14:cNvPr id="52" name="Ink 51">
                  <a:extLst>
                    <a:ext uri="{FF2B5EF4-FFF2-40B4-BE49-F238E27FC236}">
                      <a16:creationId xmlns:a16="http://schemas.microsoft.com/office/drawing/2014/main" id="{1D8C8050-9E1F-A11C-19A3-DDCE005DB6D4}"/>
                    </a:ext>
                  </a:extLst>
                </p14:cNvPr>
                <p14:cNvContentPartPr/>
                <p14:nvPr/>
              </p14:nvContentPartPr>
              <p14:xfrm>
                <a:off x="6217661" y="553172"/>
                <a:ext cx="313200" cy="96480"/>
              </p14:xfrm>
            </p:contentPart>
          </mc:Choice>
          <mc:Fallback>
            <p:pic>
              <p:nvPicPr>
                <p:cNvPr id="52" name="Ink 51">
                  <a:extLst>
                    <a:ext uri="{FF2B5EF4-FFF2-40B4-BE49-F238E27FC236}">
                      <a16:creationId xmlns:a16="http://schemas.microsoft.com/office/drawing/2014/main" id="{1D8C8050-9E1F-A11C-19A3-DDCE005DB6D4}"/>
                    </a:ext>
                  </a:extLst>
                </p:cNvPr>
                <p:cNvPicPr/>
                <p:nvPr/>
              </p:nvPicPr>
              <p:blipFill>
                <a:blip r:embed="rId87"/>
                <a:stretch>
                  <a:fillRect/>
                </a:stretch>
              </p:blipFill>
              <p:spPr>
                <a:xfrm>
                  <a:off x="6202541" y="538052"/>
                  <a:ext cx="343800" cy="127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8">
              <p14:nvContentPartPr>
                <p14:cNvPr id="53" name="Ink 52">
                  <a:extLst>
                    <a:ext uri="{FF2B5EF4-FFF2-40B4-BE49-F238E27FC236}">
                      <a16:creationId xmlns:a16="http://schemas.microsoft.com/office/drawing/2014/main" id="{4C91DCB7-C231-168F-EFDC-17E7CF7B4C14}"/>
                    </a:ext>
                  </a:extLst>
                </p14:cNvPr>
                <p14:cNvContentPartPr/>
                <p14:nvPr/>
              </p14:nvContentPartPr>
              <p14:xfrm>
                <a:off x="6364181" y="608252"/>
                <a:ext cx="268920" cy="171720"/>
              </p14:xfrm>
            </p:contentPart>
          </mc:Choice>
          <mc:Fallback>
            <p:pic>
              <p:nvPicPr>
                <p:cNvPr id="53" name="Ink 52">
                  <a:extLst>
                    <a:ext uri="{FF2B5EF4-FFF2-40B4-BE49-F238E27FC236}">
                      <a16:creationId xmlns:a16="http://schemas.microsoft.com/office/drawing/2014/main" id="{4C91DCB7-C231-168F-EFDC-17E7CF7B4C14}"/>
                    </a:ext>
                  </a:extLst>
                </p:cNvPr>
                <p:cNvPicPr/>
                <p:nvPr/>
              </p:nvPicPr>
              <p:blipFill>
                <a:blip r:embed="rId89"/>
                <a:stretch>
                  <a:fillRect/>
                </a:stretch>
              </p:blipFill>
              <p:spPr>
                <a:xfrm>
                  <a:off x="6349061" y="593132"/>
                  <a:ext cx="299520" cy="201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0">
              <p14:nvContentPartPr>
                <p14:cNvPr id="54" name="Ink 53">
                  <a:extLst>
                    <a:ext uri="{FF2B5EF4-FFF2-40B4-BE49-F238E27FC236}">
                      <a16:creationId xmlns:a16="http://schemas.microsoft.com/office/drawing/2014/main" id="{C350FA94-6C00-7ED8-256E-C6E9C8A89E58}"/>
                    </a:ext>
                  </a:extLst>
                </p14:cNvPr>
                <p14:cNvContentPartPr/>
                <p14:nvPr/>
              </p14:nvContentPartPr>
              <p14:xfrm>
                <a:off x="6635621" y="559652"/>
                <a:ext cx="123480" cy="93600"/>
              </p14:xfrm>
            </p:contentPart>
          </mc:Choice>
          <mc:Fallback>
            <p:pic>
              <p:nvPicPr>
                <p:cNvPr id="54" name="Ink 53">
                  <a:extLst>
                    <a:ext uri="{FF2B5EF4-FFF2-40B4-BE49-F238E27FC236}">
                      <a16:creationId xmlns:a16="http://schemas.microsoft.com/office/drawing/2014/main" id="{C350FA94-6C00-7ED8-256E-C6E9C8A89E58}"/>
                    </a:ext>
                  </a:extLst>
                </p:cNvPr>
                <p:cNvPicPr/>
                <p:nvPr/>
              </p:nvPicPr>
              <p:blipFill>
                <a:blip r:embed="rId91"/>
                <a:stretch>
                  <a:fillRect/>
                </a:stretch>
              </p:blipFill>
              <p:spPr>
                <a:xfrm>
                  <a:off x="6620141" y="544172"/>
                  <a:ext cx="154080" cy="12384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92">
            <p14:nvContentPartPr>
              <p14:cNvPr id="56" name="Ink 55">
                <a:extLst>
                  <a:ext uri="{FF2B5EF4-FFF2-40B4-BE49-F238E27FC236}">
                    <a16:creationId xmlns:a16="http://schemas.microsoft.com/office/drawing/2014/main" id="{FA04F859-C7BE-4E7C-D973-6D8643C5AD55}"/>
                  </a:ext>
                </a:extLst>
              </p14:cNvPr>
              <p14:cNvContentPartPr/>
              <p14:nvPr/>
            </p14:nvContentPartPr>
            <p14:xfrm>
              <a:off x="6744341" y="2412572"/>
              <a:ext cx="138240" cy="17640"/>
            </p14:xfrm>
          </p:contentPart>
        </mc:Choice>
        <mc:Fallback>
          <p:pic>
            <p:nvPicPr>
              <p:cNvPr id="56" name="Ink 55">
                <a:extLst>
                  <a:ext uri="{FF2B5EF4-FFF2-40B4-BE49-F238E27FC236}">
                    <a16:creationId xmlns:a16="http://schemas.microsoft.com/office/drawing/2014/main" id="{FA04F859-C7BE-4E7C-D973-6D8643C5AD55}"/>
                  </a:ext>
                </a:extLst>
              </p:cNvPr>
              <p:cNvPicPr/>
              <p:nvPr/>
            </p:nvPicPr>
            <p:blipFill>
              <a:blip r:embed="rId93"/>
              <a:stretch>
                <a:fillRect/>
              </a:stretch>
            </p:blipFill>
            <p:spPr>
              <a:xfrm>
                <a:off x="6728861" y="2397452"/>
                <a:ext cx="168480" cy="478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94">
            <p14:nvContentPartPr>
              <p14:cNvPr id="57" name="Ink 56">
                <a:extLst>
                  <a:ext uri="{FF2B5EF4-FFF2-40B4-BE49-F238E27FC236}">
                    <a16:creationId xmlns:a16="http://schemas.microsoft.com/office/drawing/2014/main" id="{44A5E1AD-F07E-7DFE-D5FD-C419FEBF4658}"/>
                  </a:ext>
                </a:extLst>
              </p14:cNvPr>
              <p14:cNvContentPartPr/>
              <p14:nvPr/>
            </p14:nvContentPartPr>
            <p14:xfrm>
              <a:off x="6720581" y="2535332"/>
              <a:ext cx="222480" cy="45720"/>
            </p14:xfrm>
          </p:contentPart>
        </mc:Choice>
        <mc:Fallback>
          <p:pic>
            <p:nvPicPr>
              <p:cNvPr id="57" name="Ink 56">
                <a:extLst>
                  <a:ext uri="{FF2B5EF4-FFF2-40B4-BE49-F238E27FC236}">
                    <a16:creationId xmlns:a16="http://schemas.microsoft.com/office/drawing/2014/main" id="{44A5E1AD-F07E-7DFE-D5FD-C419FEBF4658}"/>
                  </a:ext>
                </a:extLst>
              </p:cNvPr>
              <p:cNvPicPr/>
              <p:nvPr/>
            </p:nvPicPr>
            <p:blipFill>
              <a:blip r:embed="rId95"/>
              <a:stretch>
                <a:fillRect/>
              </a:stretch>
            </p:blipFill>
            <p:spPr>
              <a:xfrm>
                <a:off x="6705461" y="2520212"/>
                <a:ext cx="253080" cy="76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96">
            <p14:nvContentPartPr>
              <p14:cNvPr id="58" name="Ink 57">
                <a:extLst>
                  <a:ext uri="{FF2B5EF4-FFF2-40B4-BE49-F238E27FC236}">
                    <a16:creationId xmlns:a16="http://schemas.microsoft.com/office/drawing/2014/main" id="{49FDA784-0236-C11B-90EE-2BBD0CCFCAEE}"/>
                  </a:ext>
                </a:extLst>
              </p14:cNvPr>
              <p14:cNvContentPartPr/>
              <p14:nvPr/>
            </p14:nvContentPartPr>
            <p14:xfrm>
              <a:off x="2788661" y="2692292"/>
              <a:ext cx="123840" cy="199080"/>
            </p14:xfrm>
          </p:contentPart>
        </mc:Choice>
        <mc:Fallback>
          <p:pic>
            <p:nvPicPr>
              <p:cNvPr id="58" name="Ink 57">
                <a:extLst>
                  <a:ext uri="{FF2B5EF4-FFF2-40B4-BE49-F238E27FC236}">
                    <a16:creationId xmlns:a16="http://schemas.microsoft.com/office/drawing/2014/main" id="{49FDA784-0236-C11B-90EE-2BBD0CCFCAEE}"/>
                  </a:ext>
                </a:extLst>
              </p:cNvPr>
              <p:cNvPicPr/>
              <p:nvPr/>
            </p:nvPicPr>
            <p:blipFill>
              <a:blip r:embed="rId97"/>
              <a:stretch>
                <a:fillRect/>
              </a:stretch>
            </p:blipFill>
            <p:spPr>
              <a:xfrm>
                <a:off x="2773541" y="2677172"/>
                <a:ext cx="154440" cy="229680"/>
              </a:xfrm>
              <a:prstGeom prst="rect">
                <a:avLst/>
              </a:prstGeom>
            </p:spPr>
          </p:pic>
        </mc:Fallback>
      </mc:AlternateContent>
      <p:grpSp>
        <p:nvGrpSpPr>
          <p:cNvPr id="65" name="Group 64">
            <a:extLst>
              <a:ext uri="{FF2B5EF4-FFF2-40B4-BE49-F238E27FC236}">
                <a16:creationId xmlns:a16="http://schemas.microsoft.com/office/drawing/2014/main" id="{7775834E-0CA2-F877-02FB-280BA4AD6B5C}"/>
              </a:ext>
            </a:extLst>
          </p:cNvPr>
          <p:cNvGrpSpPr/>
          <p:nvPr/>
        </p:nvGrpSpPr>
        <p:grpSpPr>
          <a:xfrm>
            <a:off x="7950701" y="2087132"/>
            <a:ext cx="1065960" cy="271440"/>
            <a:chOff x="7950701" y="2087132"/>
            <a:chExt cx="1065960" cy="2714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98">
              <p14:nvContentPartPr>
                <p14:cNvPr id="59" name="Ink 58">
                  <a:extLst>
                    <a:ext uri="{FF2B5EF4-FFF2-40B4-BE49-F238E27FC236}">
                      <a16:creationId xmlns:a16="http://schemas.microsoft.com/office/drawing/2014/main" id="{AE7E3094-8D0B-66F4-DC5F-53CE7032F325}"/>
                    </a:ext>
                  </a:extLst>
                </p14:cNvPr>
                <p14:cNvContentPartPr/>
                <p14:nvPr/>
              </p14:nvContentPartPr>
              <p14:xfrm>
                <a:off x="7950701" y="2087132"/>
                <a:ext cx="126360" cy="248760"/>
              </p14:xfrm>
            </p:contentPart>
          </mc:Choice>
          <mc:Fallback>
            <p:pic>
              <p:nvPicPr>
                <p:cNvPr id="59" name="Ink 58">
                  <a:extLst>
                    <a:ext uri="{FF2B5EF4-FFF2-40B4-BE49-F238E27FC236}">
                      <a16:creationId xmlns:a16="http://schemas.microsoft.com/office/drawing/2014/main" id="{AE7E3094-8D0B-66F4-DC5F-53CE7032F325}"/>
                    </a:ext>
                  </a:extLst>
                </p:cNvPr>
                <p:cNvPicPr/>
                <p:nvPr/>
              </p:nvPicPr>
              <p:blipFill>
                <a:blip r:embed="rId99"/>
                <a:stretch>
                  <a:fillRect/>
                </a:stretch>
              </p:blipFill>
              <p:spPr>
                <a:xfrm>
                  <a:off x="7935581" y="2071652"/>
                  <a:ext cx="156960" cy="279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0">
              <p14:nvContentPartPr>
                <p14:cNvPr id="60" name="Ink 59">
                  <a:extLst>
                    <a:ext uri="{FF2B5EF4-FFF2-40B4-BE49-F238E27FC236}">
                      <a16:creationId xmlns:a16="http://schemas.microsoft.com/office/drawing/2014/main" id="{C65C0328-1593-61A1-4CE4-CF0675A1E0A5}"/>
                    </a:ext>
                  </a:extLst>
                </p14:cNvPr>
                <p14:cNvContentPartPr/>
                <p14:nvPr/>
              </p14:nvContentPartPr>
              <p14:xfrm>
                <a:off x="8156981" y="2136452"/>
                <a:ext cx="78120" cy="202320"/>
              </p14:xfrm>
            </p:contentPart>
          </mc:Choice>
          <mc:Fallback>
            <p:pic>
              <p:nvPicPr>
                <p:cNvPr id="60" name="Ink 59">
                  <a:extLst>
                    <a:ext uri="{FF2B5EF4-FFF2-40B4-BE49-F238E27FC236}">
                      <a16:creationId xmlns:a16="http://schemas.microsoft.com/office/drawing/2014/main" id="{C65C0328-1593-61A1-4CE4-CF0675A1E0A5}"/>
                    </a:ext>
                  </a:extLst>
                </p:cNvPr>
                <p:cNvPicPr/>
                <p:nvPr/>
              </p:nvPicPr>
              <p:blipFill>
                <a:blip r:embed="rId101"/>
                <a:stretch>
                  <a:fillRect/>
                </a:stretch>
              </p:blipFill>
              <p:spPr>
                <a:xfrm>
                  <a:off x="8141861" y="2120972"/>
                  <a:ext cx="108720" cy="232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2">
              <p14:nvContentPartPr>
                <p14:cNvPr id="61" name="Ink 60">
                  <a:extLst>
                    <a:ext uri="{FF2B5EF4-FFF2-40B4-BE49-F238E27FC236}">
                      <a16:creationId xmlns:a16="http://schemas.microsoft.com/office/drawing/2014/main" id="{12028F2A-91AD-2B4B-6D59-081DA8A0440B}"/>
                    </a:ext>
                  </a:extLst>
                </p14:cNvPr>
                <p14:cNvContentPartPr/>
                <p14:nvPr/>
              </p14:nvContentPartPr>
              <p14:xfrm>
                <a:off x="8330141" y="2136452"/>
                <a:ext cx="198360" cy="206280"/>
              </p14:xfrm>
            </p:contentPart>
          </mc:Choice>
          <mc:Fallback>
            <p:pic>
              <p:nvPicPr>
                <p:cNvPr id="61" name="Ink 60">
                  <a:extLst>
                    <a:ext uri="{FF2B5EF4-FFF2-40B4-BE49-F238E27FC236}">
                      <a16:creationId xmlns:a16="http://schemas.microsoft.com/office/drawing/2014/main" id="{12028F2A-91AD-2B4B-6D59-081DA8A0440B}"/>
                    </a:ext>
                  </a:extLst>
                </p:cNvPr>
                <p:cNvPicPr/>
                <p:nvPr/>
              </p:nvPicPr>
              <p:blipFill>
                <a:blip r:embed="rId103"/>
                <a:stretch>
                  <a:fillRect/>
                </a:stretch>
              </p:blipFill>
              <p:spPr>
                <a:xfrm>
                  <a:off x="8314661" y="2121332"/>
                  <a:ext cx="228960" cy="236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4">
              <p14:nvContentPartPr>
                <p14:cNvPr id="62" name="Ink 61">
                  <a:extLst>
                    <a:ext uri="{FF2B5EF4-FFF2-40B4-BE49-F238E27FC236}">
                      <a16:creationId xmlns:a16="http://schemas.microsoft.com/office/drawing/2014/main" id="{E45407BC-B67D-C904-4026-2FB4847982A9}"/>
                    </a:ext>
                  </a:extLst>
                </p14:cNvPr>
                <p14:cNvContentPartPr/>
                <p14:nvPr/>
              </p14:nvContentPartPr>
              <p14:xfrm>
                <a:off x="8421221" y="2239412"/>
                <a:ext cx="99360" cy="47880"/>
              </p14:xfrm>
            </p:contentPart>
          </mc:Choice>
          <mc:Fallback>
            <p:pic>
              <p:nvPicPr>
                <p:cNvPr id="62" name="Ink 61">
                  <a:extLst>
                    <a:ext uri="{FF2B5EF4-FFF2-40B4-BE49-F238E27FC236}">
                      <a16:creationId xmlns:a16="http://schemas.microsoft.com/office/drawing/2014/main" id="{E45407BC-B67D-C904-4026-2FB4847982A9}"/>
                    </a:ext>
                  </a:extLst>
                </p:cNvPr>
                <p:cNvPicPr/>
                <p:nvPr/>
              </p:nvPicPr>
              <p:blipFill>
                <a:blip r:embed="rId105"/>
                <a:stretch>
                  <a:fillRect/>
                </a:stretch>
              </p:blipFill>
              <p:spPr>
                <a:xfrm>
                  <a:off x="8406101" y="2224292"/>
                  <a:ext cx="129960" cy="78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6">
              <p14:nvContentPartPr>
                <p14:cNvPr id="63" name="Ink 62">
                  <a:extLst>
                    <a:ext uri="{FF2B5EF4-FFF2-40B4-BE49-F238E27FC236}">
                      <a16:creationId xmlns:a16="http://schemas.microsoft.com/office/drawing/2014/main" id="{291A7CB3-8067-3763-FE09-DD557A52256F}"/>
                    </a:ext>
                  </a:extLst>
                </p14:cNvPr>
                <p14:cNvContentPartPr/>
                <p14:nvPr/>
              </p14:nvContentPartPr>
              <p14:xfrm>
                <a:off x="8631821" y="2157332"/>
                <a:ext cx="155160" cy="201240"/>
              </p14:xfrm>
            </p:contentPart>
          </mc:Choice>
          <mc:Fallback>
            <p:pic>
              <p:nvPicPr>
                <p:cNvPr id="63" name="Ink 62">
                  <a:extLst>
                    <a:ext uri="{FF2B5EF4-FFF2-40B4-BE49-F238E27FC236}">
                      <a16:creationId xmlns:a16="http://schemas.microsoft.com/office/drawing/2014/main" id="{291A7CB3-8067-3763-FE09-DD557A52256F}"/>
                    </a:ext>
                  </a:extLst>
                </p:cNvPr>
                <p:cNvPicPr/>
                <p:nvPr/>
              </p:nvPicPr>
              <p:blipFill>
                <a:blip r:embed="rId107"/>
                <a:stretch>
                  <a:fillRect/>
                </a:stretch>
              </p:blipFill>
              <p:spPr>
                <a:xfrm>
                  <a:off x="8616341" y="2142212"/>
                  <a:ext cx="185760" cy="231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8">
              <p14:nvContentPartPr>
                <p14:cNvPr id="64" name="Ink 63">
                  <a:extLst>
                    <a:ext uri="{FF2B5EF4-FFF2-40B4-BE49-F238E27FC236}">
                      <a16:creationId xmlns:a16="http://schemas.microsoft.com/office/drawing/2014/main" id="{3C7767EC-7390-21FE-7B40-C33E2B07AB8B}"/>
                    </a:ext>
                  </a:extLst>
                </p14:cNvPr>
                <p14:cNvContentPartPr/>
                <p14:nvPr/>
              </p14:nvContentPartPr>
              <p14:xfrm>
                <a:off x="8884541" y="2129612"/>
                <a:ext cx="132120" cy="215640"/>
              </p14:xfrm>
            </p:contentPart>
          </mc:Choice>
          <mc:Fallback>
            <p:pic>
              <p:nvPicPr>
                <p:cNvPr id="64" name="Ink 63">
                  <a:extLst>
                    <a:ext uri="{FF2B5EF4-FFF2-40B4-BE49-F238E27FC236}">
                      <a16:creationId xmlns:a16="http://schemas.microsoft.com/office/drawing/2014/main" id="{3C7767EC-7390-21FE-7B40-C33E2B07AB8B}"/>
                    </a:ext>
                  </a:extLst>
                </p:cNvPr>
                <p:cNvPicPr/>
                <p:nvPr/>
              </p:nvPicPr>
              <p:blipFill>
                <a:blip r:embed="rId109"/>
                <a:stretch>
                  <a:fillRect/>
                </a:stretch>
              </p:blipFill>
              <p:spPr>
                <a:xfrm>
                  <a:off x="8869061" y="2114492"/>
                  <a:ext cx="162360" cy="24624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110">
            <p14:nvContentPartPr>
              <p14:cNvPr id="92" name="Ink 91">
                <a:extLst>
                  <a:ext uri="{FF2B5EF4-FFF2-40B4-BE49-F238E27FC236}">
                    <a16:creationId xmlns:a16="http://schemas.microsoft.com/office/drawing/2014/main" id="{E22D5F85-CD51-3E0D-ABF5-E5CE4D5F4D7A}"/>
                  </a:ext>
                </a:extLst>
              </p14:cNvPr>
              <p14:cNvContentPartPr/>
              <p14:nvPr/>
            </p14:nvContentPartPr>
            <p14:xfrm>
              <a:off x="9071021" y="2113412"/>
              <a:ext cx="95400" cy="316800"/>
            </p14:xfrm>
          </p:contentPart>
        </mc:Choice>
        <mc:Fallback>
          <p:pic>
            <p:nvPicPr>
              <p:cNvPr id="92" name="Ink 91">
                <a:extLst>
                  <a:ext uri="{FF2B5EF4-FFF2-40B4-BE49-F238E27FC236}">
                    <a16:creationId xmlns:a16="http://schemas.microsoft.com/office/drawing/2014/main" id="{E22D5F85-CD51-3E0D-ABF5-E5CE4D5F4D7A}"/>
                  </a:ext>
                </a:extLst>
              </p:cNvPr>
              <p:cNvPicPr/>
              <p:nvPr/>
            </p:nvPicPr>
            <p:blipFill>
              <a:blip r:embed="rId111"/>
              <a:stretch>
                <a:fillRect/>
              </a:stretch>
            </p:blipFill>
            <p:spPr>
              <a:xfrm>
                <a:off x="9055541" y="2098292"/>
                <a:ext cx="126000" cy="3474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12">
            <p14:nvContentPartPr>
              <p14:cNvPr id="100" name="Ink 99">
                <a:extLst>
                  <a:ext uri="{FF2B5EF4-FFF2-40B4-BE49-F238E27FC236}">
                    <a16:creationId xmlns:a16="http://schemas.microsoft.com/office/drawing/2014/main" id="{DE689F03-E2DE-E556-4DD4-B9E007C535ED}"/>
                  </a:ext>
                </a:extLst>
              </p14:cNvPr>
              <p14:cNvContentPartPr/>
              <p14:nvPr/>
            </p14:nvContentPartPr>
            <p14:xfrm>
              <a:off x="6212261" y="878612"/>
              <a:ext cx="209520" cy="45720"/>
            </p14:xfrm>
          </p:contentPart>
        </mc:Choice>
        <mc:Fallback>
          <p:pic>
            <p:nvPicPr>
              <p:cNvPr id="100" name="Ink 99">
                <a:extLst>
                  <a:ext uri="{FF2B5EF4-FFF2-40B4-BE49-F238E27FC236}">
                    <a16:creationId xmlns:a16="http://schemas.microsoft.com/office/drawing/2014/main" id="{DE689F03-E2DE-E556-4DD4-B9E007C535ED}"/>
                  </a:ext>
                </a:extLst>
              </p:cNvPr>
              <p:cNvPicPr/>
              <p:nvPr/>
            </p:nvPicPr>
            <p:blipFill>
              <a:blip r:embed="rId113"/>
              <a:stretch>
                <a:fillRect/>
              </a:stretch>
            </p:blipFill>
            <p:spPr>
              <a:xfrm>
                <a:off x="6197141" y="863132"/>
                <a:ext cx="240120" cy="76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14">
            <p14:nvContentPartPr>
              <p14:cNvPr id="101" name="Ink 100">
                <a:extLst>
                  <a:ext uri="{FF2B5EF4-FFF2-40B4-BE49-F238E27FC236}">
                    <a16:creationId xmlns:a16="http://schemas.microsoft.com/office/drawing/2014/main" id="{485683F7-8DED-3418-FB7B-00B549F5474F}"/>
                  </a:ext>
                </a:extLst>
              </p14:cNvPr>
              <p14:cNvContentPartPr/>
              <p14:nvPr/>
            </p14:nvContentPartPr>
            <p14:xfrm>
              <a:off x="6300101" y="1063652"/>
              <a:ext cx="205560" cy="30960"/>
            </p14:xfrm>
          </p:contentPart>
        </mc:Choice>
        <mc:Fallback>
          <p:pic>
            <p:nvPicPr>
              <p:cNvPr id="101" name="Ink 100">
                <a:extLst>
                  <a:ext uri="{FF2B5EF4-FFF2-40B4-BE49-F238E27FC236}">
                    <a16:creationId xmlns:a16="http://schemas.microsoft.com/office/drawing/2014/main" id="{485683F7-8DED-3418-FB7B-00B549F5474F}"/>
                  </a:ext>
                </a:extLst>
              </p:cNvPr>
              <p:cNvPicPr/>
              <p:nvPr/>
            </p:nvPicPr>
            <p:blipFill>
              <a:blip r:embed="rId115"/>
              <a:stretch>
                <a:fillRect/>
              </a:stretch>
            </p:blipFill>
            <p:spPr>
              <a:xfrm>
                <a:off x="6284981" y="1048172"/>
                <a:ext cx="236160" cy="61560"/>
              </a:xfrm>
              <a:prstGeom prst="rect">
                <a:avLst/>
              </a:prstGeom>
            </p:spPr>
          </p:pic>
        </mc:Fallback>
      </mc:AlternateContent>
      <p:grpSp>
        <p:nvGrpSpPr>
          <p:cNvPr id="107" name="Group 106">
            <a:extLst>
              <a:ext uri="{FF2B5EF4-FFF2-40B4-BE49-F238E27FC236}">
                <a16:creationId xmlns:a16="http://schemas.microsoft.com/office/drawing/2014/main" id="{C38CC138-0409-28B9-1A43-F73CCB965630}"/>
              </a:ext>
            </a:extLst>
          </p:cNvPr>
          <p:cNvGrpSpPr/>
          <p:nvPr/>
        </p:nvGrpSpPr>
        <p:grpSpPr>
          <a:xfrm>
            <a:off x="7219901" y="3948692"/>
            <a:ext cx="702360" cy="596520"/>
            <a:chOff x="7219901" y="3948692"/>
            <a:chExt cx="702360" cy="5965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16">
              <p14:nvContentPartPr>
                <p14:cNvPr id="102" name="Ink 101">
                  <a:extLst>
                    <a:ext uri="{FF2B5EF4-FFF2-40B4-BE49-F238E27FC236}">
                      <a16:creationId xmlns:a16="http://schemas.microsoft.com/office/drawing/2014/main" id="{63F28414-4AFD-D5B9-7917-08FB1F74BFA4}"/>
                    </a:ext>
                  </a:extLst>
                </p14:cNvPr>
                <p14:cNvContentPartPr/>
                <p14:nvPr/>
              </p14:nvContentPartPr>
              <p14:xfrm>
                <a:off x="7472261" y="3948692"/>
                <a:ext cx="115200" cy="261720"/>
              </p14:xfrm>
            </p:contentPart>
          </mc:Choice>
          <mc:Fallback>
            <p:pic>
              <p:nvPicPr>
                <p:cNvPr id="102" name="Ink 101">
                  <a:extLst>
                    <a:ext uri="{FF2B5EF4-FFF2-40B4-BE49-F238E27FC236}">
                      <a16:creationId xmlns:a16="http://schemas.microsoft.com/office/drawing/2014/main" id="{63F28414-4AFD-D5B9-7917-08FB1F74BFA4}"/>
                    </a:ext>
                  </a:extLst>
                </p:cNvPr>
                <p:cNvPicPr/>
                <p:nvPr/>
              </p:nvPicPr>
              <p:blipFill>
                <a:blip r:embed="rId117"/>
                <a:stretch>
                  <a:fillRect/>
                </a:stretch>
              </p:blipFill>
              <p:spPr>
                <a:xfrm>
                  <a:off x="7457141" y="3933212"/>
                  <a:ext cx="145800" cy="292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8">
              <p14:nvContentPartPr>
                <p14:cNvPr id="103" name="Ink 102">
                  <a:extLst>
                    <a:ext uri="{FF2B5EF4-FFF2-40B4-BE49-F238E27FC236}">
                      <a16:creationId xmlns:a16="http://schemas.microsoft.com/office/drawing/2014/main" id="{167C9C49-BE92-A69D-1CBB-434C31068FCD}"/>
                    </a:ext>
                  </a:extLst>
                </p14:cNvPr>
                <p14:cNvContentPartPr/>
                <p14:nvPr/>
              </p14:nvContentPartPr>
              <p14:xfrm>
                <a:off x="7737221" y="3992612"/>
                <a:ext cx="98280" cy="135360"/>
              </p14:xfrm>
            </p:contentPart>
          </mc:Choice>
          <mc:Fallback>
            <p:pic>
              <p:nvPicPr>
                <p:cNvPr id="103" name="Ink 102">
                  <a:extLst>
                    <a:ext uri="{FF2B5EF4-FFF2-40B4-BE49-F238E27FC236}">
                      <a16:creationId xmlns:a16="http://schemas.microsoft.com/office/drawing/2014/main" id="{167C9C49-BE92-A69D-1CBB-434C31068FCD}"/>
                    </a:ext>
                  </a:extLst>
                </p:cNvPr>
                <p:cNvPicPr/>
                <p:nvPr/>
              </p:nvPicPr>
              <p:blipFill>
                <a:blip r:embed="rId119"/>
                <a:stretch>
                  <a:fillRect/>
                </a:stretch>
              </p:blipFill>
              <p:spPr>
                <a:xfrm>
                  <a:off x="7722101" y="3977492"/>
                  <a:ext cx="128880" cy="165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0">
              <p14:nvContentPartPr>
                <p14:cNvPr id="104" name="Ink 103">
                  <a:extLst>
                    <a:ext uri="{FF2B5EF4-FFF2-40B4-BE49-F238E27FC236}">
                      <a16:creationId xmlns:a16="http://schemas.microsoft.com/office/drawing/2014/main" id="{D8330FEB-FF58-BD32-D011-9E5C5A1FCBCA}"/>
                    </a:ext>
                  </a:extLst>
                </p14:cNvPr>
                <p14:cNvContentPartPr/>
                <p14:nvPr/>
              </p14:nvContentPartPr>
              <p14:xfrm>
                <a:off x="7219901" y="4302932"/>
                <a:ext cx="635040" cy="38520"/>
              </p14:xfrm>
            </p:contentPart>
          </mc:Choice>
          <mc:Fallback>
            <p:pic>
              <p:nvPicPr>
                <p:cNvPr id="104" name="Ink 103">
                  <a:extLst>
                    <a:ext uri="{FF2B5EF4-FFF2-40B4-BE49-F238E27FC236}">
                      <a16:creationId xmlns:a16="http://schemas.microsoft.com/office/drawing/2014/main" id="{D8330FEB-FF58-BD32-D011-9E5C5A1FCBCA}"/>
                    </a:ext>
                  </a:extLst>
                </p:cNvPr>
                <p:cNvPicPr/>
                <p:nvPr/>
              </p:nvPicPr>
              <p:blipFill>
                <a:blip r:embed="rId121"/>
                <a:stretch>
                  <a:fillRect/>
                </a:stretch>
              </p:blipFill>
              <p:spPr>
                <a:xfrm>
                  <a:off x="7204781" y="4287812"/>
                  <a:ext cx="665640" cy="69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2">
              <p14:nvContentPartPr>
                <p14:cNvPr id="105" name="Ink 104">
                  <a:extLst>
                    <a:ext uri="{FF2B5EF4-FFF2-40B4-BE49-F238E27FC236}">
                      <a16:creationId xmlns:a16="http://schemas.microsoft.com/office/drawing/2014/main" id="{C7BA201D-9586-CD91-9AFB-B39B5CA6129B}"/>
                    </a:ext>
                  </a:extLst>
                </p14:cNvPr>
                <p14:cNvContentPartPr/>
                <p14:nvPr/>
              </p14:nvContentPartPr>
              <p14:xfrm>
                <a:off x="7433021" y="4396172"/>
                <a:ext cx="337320" cy="149040"/>
              </p14:xfrm>
            </p:contentPart>
          </mc:Choice>
          <mc:Fallback>
            <p:pic>
              <p:nvPicPr>
                <p:cNvPr id="105" name="Ink 104">
                  <a:extLst>
                    <a:ext uri="{FF2B5EF4-FFF2-40B4-BE49-F238E27FC236}">
                      <a16:creationId xmlns:a16="http://schemas.microsoft.com/office/drawing/2014/main" id="{C7BA201D-9586-CD91-9AFB-B39B5CA6129B}"/>
                    </a:ext>
                  </a:extLst>
                </p:cNvPr>
                <p:cNvPicPr/>
                <p:nvPr/>
              </p:nvPicPr>
              <p:blipFill>
                <a:blip r:embed="rId123"/>
                <a:stretch>
                  <a:fillRect/>
                </a:stretch>
              </p:blipFill>
              <p:spPr>
                <a:xfrm>
                  <a:off x="7417901" y="4381052"/>
                  <a:ext cx="367560" cy="179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4">
              <p14:nvContentPartPr>
                <p14:cNvPr id="106" name="Ink 105">
                  <a:extLst>
                    <a:ext uri="{FF2B5EF4-FFF2-40B4-BE49-F238E27FC236}">
                      <a16:creationId xmlns:a16="http://schemas.microsoft.com/office/drawing/2014/main" id="{E00CBBAE-FB9E-EBE9-549F-5DC245ECB956}"/>
                    </a:ext>
                  </a:extLst>
                </p14:cNvPr>
                <p14:cNvContentPartPr/>
                <p14:nvPr/>
              </p14:nvContentPartPr>
              <p14:xfrm>
                <a:off x="7838741" y="4401932"/>
                <a:ext cx="83520" cy="114480"/>
              </p14:xfrm>
            </p:contentPart>
          </mc:Choice>
          <mc:Fallback>
            <p:pic>
              <p:nvPicPr>
                <p:cNvPr id="106" name="Ink 105">
                  <a:extLst>
                    <a:ext uri="{FF2B5EF4-FFF2-40B4-BE49-F238E27FC236}">
                      <a16:creationId xmlns:a16="http://schemas.microsoft.com/office/drawing/2014/main" id="{E00CBBAE-FB9E-EBE9-549F-5DC245ECB956}"/>
                    </a:ext>
                  </a:extLst>
                </p:cNvPr>
                <p:cNvPicPr/>
                <p:nvPr/>
              </p:nvPicPr>
              <p:blipFill>
                <a:blip r:embed="rId125"/>
                <a:stretch>
                  <a:fillRect/>
                </a:stretch>
              </p:blipFill>
              <p:spPr>
                <a:xfrm>
                  <a:off x="7823621" y="4386812"/>
                  <a:ext cx="114120" cy="14472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126">
            <p14:nvContentPartPr>
              <p14:cNvPr id="111" name="Ink 110">
                <a:extLst>
                  <a:ext uri="{FF2B5EF4-FFF2-40B4-BE49-F238E27FC236}">
                    <a16:creationId xmlns:a16="http://schemas.microsoft.com/office/drawing/2014/main" id="{E815ABC1-1E62-DE82-3A8F-50120A00915E}"/>
                  </a:ext>
                </a:extLst>
              </p14:cNvPr>
              <p14:cNvContentPartPr/>
              <p14:nvPr/>
            </p14:nvContentPartPr>
            <p14:xfrm>
              <a:off x="3934901" y="3181532"/>
              <a:ext cx="1505160" cy="799560"/>
            </p14:xfrm>
          </p:contentPart>
        </mc:Choice>
        <mc:Fallback>
          <p:pic>
            <p:nvPicPr>
              <p:cNvPr id="111" name="Ink 110">
                <a:extLst>
                  <a:ext uri="{FF2B5EF4-FFF2-40B4-BE49-F238E27FC236}">
                    <a16:creationId xmlns:a16="http://schemas.microsoft.com/office/drawing/2014/main" id="{E815ABC1-1E62-DE82-3A8F-50120A00915E}"/>
                  </a:ext>
                </a:extLst>
              </p:cNvPr>
              <p:cNvPicPr/>
              <p:nvPr/>
            </p:nvPicPr>
            <p:blipFill>
              <a:blip r:embed="rId127"/>
              <a:stretch>
                <a:fillRect/>
              </a:stretch>
            </p:blipFill>
            <p:spPr>
              <a:xfrm>
                <a:off x="3919421" y="3166412"/>
                <a:ext cx="1535760" cy="8301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28">
            <p14:nvContentPartPr>
              <p14:cNvPr id="93" name="Ink 92">
                <a:extLst>
                  <a:ext uri="{FF2B5EF4-FFF2-40B4-BE49-F238E27FC236}">
                    <a16:creationId xmlns:a16="http://schemas.microsoft.com/office/drawing/2014/main" id="{CA3F346D-133F-23CC-863B-594A875EAB03}"/>
                  </a:ext>
                </a:extLst>
              </p14:cNvPr>
              <p14:cNvContentPartPr/>
              <p14:nvPr/>
            </p14:nvContentPartPr>
            <p14:xfrm>
              <a:off x="7388381" y="3160292"/>
              <a:ext cx="129600" cy="252000"/>
            </p14:xfrm>
          </p:contentPart>
        </mc:Choice>
        <mc:Fallback>
          <p:pic>
            <p:nvPicPr>
              <p:cNvPr id="93" name="Ink 92">
                <a:extLst>
                  <a:ext uri="{FF2B5EF4-FFF2-40B4-BE49-F238E27FC236}">
                    <a16:creationId xmlns:a16="http://schemas.microsoft.com/office/drawing/2014/main" id="{CA3F346D-133F-23CC-863B-594A875EAB03}"/>
                  </a:ext>
                </a:extLst>
              </p:cNvPr>
              <p:cNvPicPr/>
              <p:nvPr/>
            </p:nvPicPr>
            <p:blipFill>
              <a:blip r:embed="rId129"/>
              <a:stretch>
                <a:fillRect/>
              </a:stretch>
            </p:blipFill>
            <p:spPr>
              <a:xfrm>
                <a:off x="7372901" y="3145172"/>
                <a:ext cx="160200" cy="282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30">
            <p14:nvContentPartPr>
              <p14:cNvPr id="94" name="Ink 93">
                <a:extLst>
                  <a:ext uri="{FF2B5EF4-FFF2-40B4-BE49-F238E27FC236}">
                    <a16:creationId xmlns:a16="http://schemas.microsoft.com/office/drawing/2014/main" id="{3348726B-71DD-C11D-3CD4-AAC2FB80ED3F}"/>
                  </a:ext>
                </a:extLst>
              </p14:cNvPr>
              <p14:cNvContentPartPr/>
              <p14:nvPr/>
            </p14:nvContentPartPr>
            <p14:xfrm>
              <a:off x="7599341" y="3265052"/>
              <a:ext cx="144720" cy="114480"/>
            </p14:xfrm>
          </p:contentPart>
        </mc:Choice>
        <mc:Fallback>
          <p:pic>
            <p:nvPicPr>
              <p:cNvPr id="94" name="Ink 93">
                <a:extLst>
                  <a:ext uri="{FF2B5EF4-FFF2-40B4-BE49-F238E27FC236}">
                    <a16:creationId xmlns:a16="http://schemas.microsoft.com/office/drawing/2014/main" id="{3348726B-71DD-C11D-3CD4-AAC2FB80ED3F}"/>
                  </a:ext>
                </a:extLst>
              </p:cNvPr>
              <p:cNvPicPr/>
              <p:nvPr/>
            </p:nvPicPr>
            <p:blipFill>
              <a:blip r:embed="rId131"/>
              <a:stretch>
                <a:fillRect/>
              </a:stretch>
            </p:blipFill>
            <p:spPr>
              <a:xfrm>
                <a:off x="7583861" y="3249572"/>
                <a:ext cx="174960" cy="1450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32">
            <p14:nvContentPartPr>
              <p14:cNvPr id="95" name="Ink 94">
                <a:extLst>
                  <a:ext uri="{FF2B5EF4-FFF2-40B4-BE49-F238E27FC236}">
                    <a16:creationId xmlns:a16="http://schemas.microsoft.com/office/drawing/2014/main" id="{8E3F8B7C-6D41-ED8A-19D7-D2BCB34440A8}"/>
                  </a:ext>
                </a:extLst>
              </p14:cNvPr>
              <p14:cNvContentPartPr/>
              <p14:nvPr/>
            </p14:nvContentPartPr>
            <p14:xfrm>
              <a:off x="7591781" y="3353252"/>
              <a:ext cx="221040" cy="267840"/>
            </p14:xfrm>
          </p:contentPart>
        </mc:Choice>
        <mc:Fallback>
          <p:pic>
            <p:nvPicPr>
              <p:cNvPr id="95" name="Ink 94">
                <a:extLst>
                  <a:ext uri="{FF2B5EF4-FFF2-40B4-BE49-F238E27FC236}">
                    <a16:creationId xmlns:a16="http://schemas.microsoft.com/office/drawing/2014/main" id="{8E3F8B7C-6D41-ED8A-19D7-D2BCB34440A8}"/>
                  </a:ext>
                </a:extLst>
              </p:cNvPr>
              <p:cNvPicPr/>
              <p:nvPr/>
            </p:nvPicPr>
            <p:blipFill>
              <a:blip r:embed="rId133"/>
              <a:stretch>
                <a:fillRect/>
              </a:stretch>
            </p:blipFill>
            <p:spPr>
              <a:xfrm>
                <a:off x="7576301" y="3338132"/>
                <a:ext cx="251640" cy="2984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34">
            <p14:nvContentPartPr>
              <p14:cNvPr id="96" name="Ink 95">
                <a:extLst>
                  <a:ext uri="{FF2B5EF4-FFF2-40B4-BE49-F238E27FC236}">
                    <a16:creationId xmlns:a16="http://schemas.microsoft.com/office/drawing/2014/main" id="{7B88346E-EF8A-6B67-E79D-0DD60335D050}"/>
                  </a:ext>
                </a:extLst>
              </p14:cNvPr>
              <p14:cNvContentPartPr/>
              <p14:nvPr/>
            </p14:nvContentPartPr>
            <p14:xfrm>
              <a:off x="7805261" y="3441452"/>
              <a:ext cx="84240" cy="165600"/>
            </p14:xfrm>
          </p:contentPart>
        </mc:Choice>
        <mc:Fallback>
          <p:pic>
            <p:nvPicPr>
              <p:cNvPr id="96" name="Ink 95">
                <a:extLst>
                  <a:ext uri="{FF2B5EF4-FFF2-40B4-BE49-F238E27FC236}">
                    <a16:creationId xmlns:a16="http://schemas.microsoft.com/office/drawing/2014/main" id="{7B88346E-EF8A-6B67-E79D-0DD60335D050}"/>
                  </a:ext>
                </a:extLst>
              </p:cNvPr>
              <p:cNvPicPr/>
              <p:nvPr/>
            </p:nvPicPr>
            <p:blipFill>
              <a:blip r:embed="rId135"/>
              <a:stretch>
                <a:fillRect/>
              </a:stretch>
            </p:blipFill>
            <p:spPr>
              <a:xfrm>
                <a:off x="7790141" y="3426332"/>
                <a:ext cx="114480" cy="1962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36">
            <p14:nvContentPartPr>
              <p14:cNvPr id="97" name="Ink 96">
                <a:extLst>
                  <a:ext uri="{FF2B5EF4-FFF2-40B4-BE49-F238E27FC236}">
                    <a16:creationId xmlns:a16="http://schemas.microsoft.com/office/drawing/2014/main" id="{8237876D-A919-C498-DA90-7F985CA6B87F}"/>
                  </a:ext>
                </a:extLst>
              </p14:cNvPr>
              <p14:cNvContentPartPr/>
              <p14:nvPr/>
            </p14:nvContentPartPr>
            <p14:xfrm>
              <a:off x="7931261" y="3450812"/>
              <a:ext cx="125280" cy="89640"/>
            </p14:xfrm>
          </p:contentPart>
        </mc:Choice>
        <mc:Fallback>
          <p:pic>
            <p:nvPicPr>
              <p:cNvPr id="97" name="Ink 96">
                <a:extLst>
                  <a:ext uri="{FF2B5EF4-FFF2-40B4-BE49-F238E27FC236}">
                    <a16:creationId xmlns:a16="http://schemas.microsoft.com/office/drawing/2014/main" id="{8237876D-A919-C498-DA90-7F985CA6B87F}"/>
                  </a:ext>
                </a:extLst>
              </p:cNvPr>
              <p:cNvPicPr/>
              <p:nvPr/>
            </p:nvPicPr>
            <p:blipFill>
              <a:blip r:embed="rId137"/>
              <a:stretch>
                <a:fillRect/>
              </a:stretch>
            </p:blipFill>
            <p:spPr>
              <a:xfrm>
                <a:off x="7916141" y="3435692"/>
                <a:ext cx="155880" cy="1202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38">
            <p14:nvContentPartPr>
              <p14:cNvPr id="98" name="Ink 97">
                <a:extLst>
                  <a:ext uri="{FF2B5EF4-FFF2-40B4-BE49-F238E27FC236}">
                    <a16:creationId xmlns:a16="http://schemas.microsoft.com/office/drawing/2014/main" id="{3A5EFF38-C845-F26B-FA1C-A6242AD9CEC4}"/>
                  </a:ext>
                </a:extLst>
              </p14:cNvPr>
              <p14:cNvContentPartPr/>
              <p14:nvPr/>
            </p14:nvContentPartPr>
            <p14:xfrm>
              <a:off x="7186061" y="3791372"/>
              <a:ext cx="1071360" cy="37800"/>
            </p14:xfrm>
          </p:contentPart>
        </mc:Choice>
        <mc:Fallback>
          <p:pic>
            <p:nvPicPr>
              <p:cNvPr id="98" name="Ink 97">
                <a:extLst>
                  <a:ext uri="{FF2B5EF4-FFF2-40B4-BE49-F238E27FC236}">
                    <a16:creationId xmlns:a16="http://schemas.microsoft.com/office/drawing/2014/main" id="{3A5EFF38-C845-F26B-FA1C-A6242AD9CEC4}"/>
                  </a:ext>
                </a:extLst>
              </p:cNvPr>
              <p:cNvPicPr/>
              <p:nvPr/>
            </p:nvPicPr>
            <p:blipFill>
              <a:blip r:embed="rId139"/>
              <a:stretch>
                <a:fillRect/>
              </a:stretch>
            </p:blipFill>
            <p:spPr>
              <a:xfrm>
                <a:off x="7170941" y="3776252"/>
                <a:ext cx="1101960" cy="684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40">
            <p14:nvContentPartPr>
              <p14:cNvPr id="113" name="Ink 112">
                <a:extLst>
                  <a:ext uri="{FF2B5EF4-FFF2-40B4-BE49-F238E27FC236}">
                    <a16:creationId xmlns:a16="http://schemas.microsoft.com/office/drawing/2014/main" id="{EBD9E70C-F8A5-9B05-969A-5FE5DD6757DE}"/>
                  </a:ext>
                </a:extLst>
              </p14:cNvPr>
              <p14:cNvContentPartPr/>
              <p14:nvPr/>
            </p14:nvContentPartPr>
            <p14:xfrm>
              <a:off x="7199021" y="2903612"/>
              <a:ext cx="1030320" cy="901080"/>
            </p14:xfrm>
          </p:contentPart>
        </mc:Choice>
        <mc:Fallback>
          <p:pic>
            <p:nvPicPr>
              <p:cNvPr id="113" name="Ink 112">
                <a:extLst>
                  <a:ext uri="{FF2B5EF4-FFF2-40B4-BE49-F238E27FC236}">
                    <a16:creationId xmlns:a16="http://schemas.microsoft.com/office/drawing/2014/main" id="{EBD9E70C-F8A5-9B05-969A-5FE5DD6757DE}"/>
                  </a:ext>
                </a:extLst>
              </p:cNvPr>
              <p:cNvPicPr/>
              <p:nvPr/>
            </p:nvPicPr>
            <p:blipFill>
              <a:blip r:embed="rId141"/>
              <a:stretch>
                <a:fillRect/>
              </a:stretch>
            </p:blipFill>
            <p:spPr>
              <a:xfrm>
                <a:off x="7183901" y="2888492"/>
                <a:ext cx="1060920" cy="9316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42">
            <p14:nvContentPartPr>
              <p14:cNvPr id="87" name="Ink 86">
                <a:extLst>
                  <a:ext uri="{FF2B5EF4-FFF2-40B4-BE49-F238E27FC236}">
                    <a16:creationId xmlns:a16="http://schemas.microsoft.com/office/drawing/2014/main" id="{21C59DFE-9AA0-6392-FBE4-44D178A8441D}"/>
                  </a:ext>
                </a:extLst>
              </p14:cNvPr>
              <p14:cNvContentPartPr/>
              <p14:nvPr/>
            </p14:nvContentPartPr>
            <p14:xfrm>
              <a:off x="5547341" y="3808292"/>
              <a:ext cx="140040" cy="5400"/>
            </p14:xfrm>
          </p:contentPart>
        </mc:Choice>
        <mc:Fallback>
          <p:pic>
            <p:nvPicPr>
              <p:cNvPr id="87" name="Ink 86">
                <a:extLst>
                  <a:ext uri="{FF2B5EF4-FFF2-40B4-BE49-F238E27FC236}">
                    <a16:creationId xmlns:a16="http://schemas.microsoft.com/office/drawing/2014/main" id="{21C59DFE-9AA0-6392-FBE4-44D178A8441D}"/>
                  </a:ext>
                </a:extLst>
              </p:cNvPr>
              <p:cNvPicPr/>
              <p:nvPr/>
            </p:nvPicPr>
            <p:blipFill>
              <a:blip r:embed="rId143"/>
              <a:stretch>
                <a:fillRect/>
              </a:stretch>
            </p:blipFill>
            <p:spPr>
              <a:xfrm>
                <a:off x="5532221" y="3793172"/>
                <a:ext cx="170640" cy="3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44">
            <p14:nvContentPartPr>
              <p14:cNvPr id="88" name="Ink 87">
                <a:extLst>
                  <a:ext uri="{FF2B5EF4-FFF2-40B4-BE49-F238E27FC236}">
                    <a16:creationId xmlns:a16="http://schemas.microsoft.com/office/drawing/2014/main" id="{22D37EB2-B81F-CF2B-E3FF-EE6CF0FF3895}"/>
                  </a:ext>
                </a:extLst>
              </p14:cNvPr>
              <p14:cNvContentPartPr/>
              <p14:nvPr/>
            </p14:nvContentPartPr>
            <p14:xfrm>
              <a:off x="5639141" y="3875972"/>
              <a:ext cx="174600" cy="16920"/>
            </p14:xfrm>
          </p:contentPart>
        </mc:Choice>
        <mc:Fallback>
          <p:pic>
            <p:nvPicPr>
              <p:cNvPr id="88" name="Ink 87">
                <a:extLst>
                  <a:ext uri="{FF2B5EF4-FFF2-40B4-BE49-F238E27FC236}">
                    <a16:creationId xmlns:a16="http://schemas.microsoft.com/office/drawing/2014/main" id="{22D37EB2-B81F-CF2B-E3FF-EE6CF0FF3895}"/>
                  </a:ext>
                </a:extLst>
              </p:cNvPr>
              <p:cNvPicPr/>
              <p:nvPr/>
            </p:nvPicPr>
            <p:blipFill>
              <a:blip r:embed="rId145"/>
              <a:stretch>
                <a:fillRect/>
              </a:stretch>
            </p:blipFill>
            <p:spPr>
              <a:xfrm>
                <a:off x="5623661" y="3860852"/>
                <a:ext cx="204840" cy="475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46">
            <p14:nvContentPartPr>
              <p14:cNvPr id="75" name="Ink 74">
                <a:extLst>
                  <a:ext uri="{FF2B5EF4-FFF2-40B4-BE49-F238E27FC236}">
                    <a16:creationId xmlns:a16="http://schemas.microsoft.com/office/drawing/2014/main" id="{6852F68F-BAF7-7C30-25D2-1ED174F9CB44}"/>
                  </a:ext>
                </a:extLst>
              </p14:cNvPr>
              <p14:cNvContentPartPr/>
              <p14:nvPr/>
            </p14:nvContentPartPr>
            <p14:xfrm>
              <a:off x="4128221" y="3578252"/>
              <a:ext cx="131040" cy="214560"/>
            </p14:xfrm>
          </p:contentPart>
        </mc:Choice>
        <mc:Fallback>
          <p:pic>
            <p:nvPicPr>
              <p:cNvPr id="75" name="Ink 74">
                <a:extLst>
                  <a:ext uri="{FF2B5EF4-FFF2-40B4-BE49-F238E27FC236}">
                    <a16:creationId xmlns:a16="http://schemas.microsoft.com/office/drawing/2014/main" id="{6852F68F-BAF7-7C30-25D2-1ED174F9CB44}"/>
                  </a:ext>
                </a:extLst>
              </p:cNvPr>
              <p:cNvPicPr/>
              <p:nvPr/>
            </p:nvPicPr>
            <p:blipFill>
              <a:blip r:embed="rId147"/>
              <a:stretch>
                <a:fillRect/>
              </a:stretch>
            </p:blipFill>
            <p:spPr>
              <a:xfrm>
                <a:off x="4113101" y="3562772"/>
                <a:ext cx="161280" cy="2451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48">
            <p14:nvContentPartPr>
              <p14:cNvPr id="76" name="Ink 75">
                <a:extLst>
                  <a:ext uri="{FF2B5EF4-FFF2-40B4-BE49-F238E27FC236}">
                    <a16:creationId xmlns:a16="http://schemas.microsoft.com/office/drawing/2014/main" id="{76F15C61-84EE-702E-BD96-B90B43F37B8F}"/>
                  </a:ext>
                </a:extLst>
              </p14:cNvPr>
              <p14:cNvContentPartPr/>
              <p14:nvPr/>
            </p14:nvContentPartPr>
            <p14:xfrm>
              <a:off x="4348541" y="3581852"/>
              <a:ext cx="105480" cy="177840"/>
            </p14:xfrm>
          </p:contentPart>
        </mc:Choice>
        <mc:Fallback>
          <p:pic>
            <p:nvPicPr>
              <p:cNvPr id="76" name="Ink 75">
                <a:extLst>
                  <a:ext uri="{FF2B5EF4-FFF2-40B4-BE49-F238E27FC236}">
                    <a16:creationId xmlns:a16="http://schemas.microsoft.com/office/drawing/2014/main" id="{76F15C61-84EE-702E-BD96-B90B43F37B8F}"/>
                  </a:ext>
                </a:extLst>
              </p:cNvPr>
              <p:cNvPicPr/>
              <p:nvPr/>
            </p:nvPicPr>
            <p:blipFill>
              <a:blip r:embed="rId149"/>
              <a:stretch>
                <a:fillRect/>
              </a:stretch>
            </p:blipFill>
            <p:spPr>
              <a:xfrm>
                <a:off x="4333421" y="3566732"/>
                <a:ext cx="136080" cy="2084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50">
            <p14:nvContentPartPr>
              <p14:cNvPr id="77" name="Ink 76">
                <a:extLst>
                  <a:ext uri="{FF2B5EF4-FFF2-40B4-BE49-F238E27FC236}">
                    <a16:creationId xmlns:a16="http://schemas.microsoft.com/office/drawing/2014/main" id="{0A91B79B-6321-107B-72F9-12A6F77DAC91}"/>
                  </a:ext>
                </a:extLst>
              </p14:cNvPr>
              <p14:cNvContentPartPr/>
              <p14:nvPr/>
            </p14:nvContentPartPr>
            <p14:xfrm>
              <a:off x="4555541" y="3579692"/>
              <a:ext cx="198000" cy="198360"/>
            </p14:xfrm>
          </p:contentPart>
        </mc:Choice>
        <mc:Fallback>
          <p:pic>
            <p:nvPicPr>
              <p:cNvPr id="77" name="Ink 76">
                <a:extLst>
                  <a:ext uri="{FF2B5EF4-FFF2-40B4-BE49-F238E27FC236}">
                    <a16:creationId xmlns:a16="http://schemas.microsoft.com/office/drawing/2014/main" id="{0A91B79B-6321-107B-72F9-12A6F77DAC91}"/>
                  </a:ext>
                </a:extLst>
              </p:cNvPr>
              <p:cNvPicPr/>
              <p:nvPr/>
            </p:nvPicPr>
            <p:blipFill>
              <a:blip r:embed="rId151"/>
              <a:stretch>
                <a:fillRect/>
              </a:stretch>
            </p:blipFill>
            <p:spPr>
              <a:xfrm>
                <a:off x="4540421" y="3564212"/>
                <a:ext cx="228600" cy="2289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52">
            <p14:nvContentPartPr>
              <p14:cNvPr id="78" name="Ink 77">
                <a:extLst>
                  <a:ext uri="{FF2B5EF4-FFF2-40B4-BE49-F238E27FC236}">
                    <a16:creationId xmlns:a16="http://schemas.microsoft.com/office/drawing/2014/main" id="{378DCB5E-7C30-FE5E-CC52-730AD0B86B64}"/>
                  </a:ext>
                </a:extLst>
              </p14:cNvPr>
              <p14:cNvContentPartPr/>
              <p14:nvPr/>
            </p14:nvContentPartPr>
            <p14:xfrm>
              <a:off x="4637621" y="3686972"/>
              <a:ext cx="103680" cy="63000"/>
            </p14:xfrm>
          </p:contentPart>
        </mc:Choice>
        <mc:Fallback>
          <p:pic>
            <p:nvPicPr>
              <p:cNvPr id="78" name="Ink 77">
                <a:extLst>
                  <a:ext uri="{FF2B5EF4-FFF2-40B4-BE49-F238E27FC236}">
                    <a16:creationId xmlns:a16="http://schemas.microsoft.com/office/drawing/2014/main" id="{378DCB5E-7C30-FE5E-CC52-730AD0B86B64}"/>
                  </a:ext>
                </a:extLst>
              </p:cNvPr>
              <p:cNvPicPr/>
              <p:nvPr/>
            </p:nvPicPr>
            <p:blipFill>
              <a:blip r:embed="rId153"/>
              <a:stretch>
                <a:fillRect/>
              </a:stretch>
            </p:blipFill>
            <p:spPr>
              <a:xfrm>
                <a:off x="4622141" y="3671492"/>
                <a:ext cx="134280" cy="93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54">
            <p14:nvContentPartPr>
              <p14:cNvPr id="79" name="Ink 78">
                <a:extLst>
                  <a:ext uri="{FF2B5EF4-FFF2-40B4-BE49-F238E27FC236}">
                    <a16:creationId xmlns:a16="http://schemas.microsoft.com/office/drawing/2014/main" id="{37111E56-0091-EA02-858B-9928583C9155}"/>
                  </a:ext>
                </a:extLst>
              </p14:cNvPr>
              <p14:cNvContentPartPr/>
              <p14:nvPr/>
            </p14:nvContentPartPr>
            <p14:xfrm>
              <a:off x="4861181" y="3591932"/>
              <a:ext cx="151200" cy="158760"/>
            </p14:xfrm>
          </p:contentPart>
        </mc:Choice>
        <mc:Fallback>
          <p:pic>
            <p:nvPicPr>
              <p:cNvPr id="79" name="Ink 78">
                <a:extLst>
                  <a:ext uri="{FF2B5EF4-FFF2-40B4-BE49-F238E27FC236}">
                    <a16:creationId xmlns:a16="http://schemas.microsoft.com/office/drawing/2014/main" id="{37111E56-0091-EA02-858B-9928583C9155}"/>
                  </a:ext>
                </a:extLst>
              </p:cNvPr>
              <p:cNvPicPr/>
              <p:nvPr/>
            </p:nvPicPr>
            <p:blipFill>
              <a:blip r:embed="rId155"/>
              <a:stretch>
                <a:fillRect/>
              </a:stretch>
            </p:blipFill>
            <p:spPr>
              <a:xfrm>
                <a:off x="4846061" y="3576452"/>
                <a:ext cx="181440" cy="1893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56">
            <p14:nvContentPartPr>
              <p14:cNvPr id="80" name="Ink 79">
                <a:extLst>
                  <a:ext uri="{FF2B5EF4-FFF2-40B4-BE49-F238E27FC236}">
                    <a16:creationId xmlns:a16="http://schemas.microsoft.com/office/drawing/2014/main" id="{99A95631-1D5E-EC95-8370-F97AC4795E72}"/>
                  </a:ext>
                </a:extLst>
              </p14:cNvPr>
              <p14:cNvContentPartPr/>
              <p14:nvPr/>
            </p14:nvContentPartPr>
            <p14:xfrm>
              <a:off x="5072141" y="3588692"/>
              <a:ext cx="104040" cy="188280"/>
            </p14:xfrm>
          </p:contentPart>
        </mc:Choice>
        <mc:Fallback>
          <p:pic>
            <p:nvPicPr>
              <p:cNvPr id="80" name="Ink 79">
                <a:extLst>
                  <a:ext uri="{FF2B5EF4-FFF2-40B4-BE49-F238E27FC236}">
                    <a16:creationId xmlns:a16="http://schemas.microsoft.com/office/drawing/2014/main" id="{99A95631-1D5E-EC95-8370-F97AC4795E72}"/>
                  </a:ext>
                </a:extLst>
              </p:cNvPr>
              <p:cNvPicPr/>
              <p:nvPr/>
            </p:nvPicPr>
            <p:blipFill>
              <a:blip r:embed="rId157"/>
              <a:stretch>
                <a:fillRect/>
              </a:stretch>
            </p:blipFill>
            <p:spPr>
              <a:xfrm>
                <a:off x="5057021" y="3573212"/>
                <a:ext cx="134640" cy="2188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58">
            <p14:nvContentPartPr>
              <p14:cNvPr id="81" name="Ink 80">
                <a:extLst>
                  <a:ext uri="{FF2B5EF4-FFF2-40B4-BE49-F238E27FC236}">
                    <a16:creationId xmlns:a16="http://schemas.microsoft.com/office/drawing/2014/main" id="{8084DAE4-2479-2AC1-48A3-A9FC3E49E146}"/>
                  </a:ext>
                </a:extLst>
              </p14:cNvPr>
              <p14:cNvContentPartPr/>
              <p14:nvPr/>
            </p14:nvContentPartPr>
            <p14:xfrm>
              <a:off x="5204621" y="3586892"/>
              <a:ext cx="78840" cy="243000"/>
            </p14:xfrm>
          </p:contentPart>
        </mc:Choice>
        <mc:Fallback>
          <p:pic>
            <p:nvPicPr>
              <p:cNvPr id="81" name="Ink 80">
                <a:extLst>
                  <a:ext uri="{FF2B5EF4-FFF2-40B4-BE49-F238E27FC236}">
                    <a16:creationId xmlns:a16="http://schemas.microsoft.com/office/drawing/2014/main" id="{8084DAE4-2479-2AC1-48A3-A9FC3E49E146}"/>
                  </a:ext>
                </a:extLst>
              </p:cNvPr>
              <p:cNvPicPr/>
              <p:nvPr/>
            </p:nvPicPr>
            <p:blipFill>
              <a:blip r:embed="rId159"/>
              <a:stretch>
                <a:fillRect/>
              </a:stretch>
            </p:blipFill>
            <p:spPr>
              <a:xfrm>
                <a:off x="5189141" y="3571412"/>
                <a:ext cx="109440" cy="2732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60">
            <p14:nvContentPartPr>
              <p14:cNvPr id="82" name="Ink 81">
                <a:extLst>
                  <a:ext uri="{FF2B5EF4-FFF2-40B4-BE49-F238E27FC236}">
                    <a16:creationId xmlns:a16="http://schemas.microsoft.com/office/drawing/2014/main" id="{38F285A3-ECA9-D2D2-D9AC-8C1FE89946C3}"/>
                  </a:ext>
                </a:extLst>
              </p14:cNvPr>
              <p14:cNvContentPartPr/>
              <p14:nvPr/>
            </p14:nvContentPartPr>
            <p14:xfrm>
              <a:off x="4168901" y="3875252"/>
              <a:ext cx="1046520" cy="83880"/>
            </p14:xfrm>
          </p:contentPart>
        </mc:Choice>
        <mc:Fallback>
          <p:pic>
            <p:nvPicPr>
              <p:cNvPr id="82" name="Ink 81">
                <a:extLst>
                  <a:ext uri="{FF2B5EF4-FFF2-40B4-BE49-F238E27FC236}">
                    <a16:creationId xmlns:a16="http://schemas.microsoft.com/office/drawing/2014/main" id="{38F285A3-ECA9-D2D2-D9AC-8C1FE89946C3}"/>
                  </a:ext>
                </a:extLst>
              </p:cNvPr>
              <p:cNvPicPr/>
              <p:nvPr/>
            </p:nvPicPr>
            <p:blipFill>
              <a:blip r:embed="rId161"/>
              <a:stretch>
                <a:fillRect/>
              </a:stretch>
            </p:blipFill>
            <p:spPr>
              <a:xfrm>
                <a:off x="4153781" y="3860132"/>
                <a:ext cx="1077120" cy="114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62">
            <p14:nvContentPartPr>
              <p14:cNvPr id="83" name="Ink 82">
                <a:extLst>
                  <a:ext uri="{FF2B5EF4-FFF2-40B4-BE49-F238E27FC236}">
                    <a16:creationId xmlns:a16="http://schemas.microsoft.com/office/drawing/2014/main" id="{D750CB35-7E7B-0580-8F61-039E173D04BE}"/>
                  </a:ext>
                </a:extLst>
              </p14:cNvPr>
              <p14:cNvContentPartPr/>
              <p14:nvPr/>
            </p14:nvContentPartPr>
            <p14:xfrm>
              <a:off x="4617461" y="4028252"/>
              <a:ext cx="142200" cy="210240"/>
            </p14:xfrm>
          </p:contentPart>
        </mc:Choice>
        <mc:Fallback>
          <p:pic>
            <p:nvPicPr>
              <p:cNvPr id="83" name="Ink 82">
                <a:extLst>
                  <a:ext uri="{FF2B5EF4-FFF2-40B4-BE49-F238E27FC236}">
                    <a16:creationId xmlns:a16="http://schemas.microsoft.com/office/drawing/2014/main" id="{D750CB35-7E7B-0580-8F61-039E173D04BE}"/>
                  </a:ext>
                </a:extLst>
              </p:cNvPr>
              <p:cNvPicPr/>
              <p:nvPr/>
            </p:nvPicPr>
            <p:blipFill>
              <a:blip r:embed="rId163"/>
              <a:stretch>
                <a:fillRect/>
              </a:stretch>
            </p:blipFill>
            <p:spPr>
              <a:xfrm>
                <a:off x="4602341" y="4013132"/>
                <a:ext cx="172440" cy="2408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64">
            <p14:nvContentPartPr>
              <p14:cNvPr id="84" name="Ink 83">
                <a:extLst>
                  <a:ext uri="{FF2B5EF4-FFF2-40B4-BE49-F238E27FC236}">
                    <a16:creationId xmlns:a16="http://schemas.microsoft.com/office/drawing/2014/main" id="{57B45072-4974-3134-8B06-47D574CB5A07}"/>
                  </a:ext>
                </a:extLst>
              </p14:cNvPr>
              <p14:cNvContentPartPr/>
              <p14:nvPr/>
            </p14:nvContentPartPr>
            <p14:xfrm>
              <a:off x="4821581" y="4053092"/>
              <a:ext cx="101880" cy="149400"/>
            </p14:xfrm>
          </p:contentPart>
        </mc:Choice>
        <mc:Fallback>
          <p:pic>
            <p:nvPicPr>
              <p:cNvPr id="84" name="Ink 83">
                <a:extLst>
                  <a:ext uri="{FF2B5EF4-FFF2-40B4-BE49-F238E27FC236}">
                    <a16:creationId xmlns:a16="http://schemas.microsoft.com/office/drawing/2014/main" id="{57B45072-4974-3134-8B06-47D574CB5A07}"/>
                  </a:ext>
                </a:extLst>
              </p:cNvPr>
              <p:cNvPicPr/>
              <p:nvPr/>
            </p:nvPicPr>
            <p:blipFill>
              <a:blip r:embed="rId165"/>
              <a:stretch>
                <a:fillRect/>
              </a:stretch>
            </p:blipFill>
            <p:spPr>
              <a:xfrm>
                <a:off x="4806101" y="4037612"/>
                <a:ext cx="132120" cy="180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66">
            <p14:nvContentPartPr>
              <p14:cNvPr id="85" name="Ink 84">
                <a:extLst>
                  <a:ext uri="{FF2B5EF4-FFF2-40B4-BE49-F238E27FC236}">
                    <a16:creationId xmlns:a16="http://schemas.microsoft.com/office/drawing/2014/main" id="{BDC37BE0-B086-C75B-3560-C25F3E873204}"/>
                  </a:ext>
                </a:extLst>
              </p14:cNvPr>
              <p14:cNvContentPartPr/>
              <p14:nvPr/>
            </p14:nvContentPartPr>
            <p14:xfrm>
              <a:off x="4966301" y="4088372"/>
              <a:ext cx="133200" cy="174600"/>
            </p14:xfrm>
          </p:contentPart>
        </mc:Choice>
        <mc:Fallback>
          <p:pic>
            <p:nvPicPr>
              <p:cNvPr id="85" name="Ink 84">
                <a:extLst>
                  <a:ext uri="{FF2B5EF4-FFF2-40B4-BE49-F238E27FC236}">
                    <a16:creationId xmlns:a16="http://schemas.microsoft.com/office/drawing/2014/main" id="{BDC37BE0-B086-C75B-3560-C25F3E873204}"/>
                  </a:ext>
                </a:extLst>
              </p:cNvPr>
              <p:cNvPicPr/>
              <p:nvPr/>
            </p:nvPicPr>
            <p:blipFill>
              <a:blip r:embed="rId167"/>
              <a:stretch>
                <a:fillRect/>
              </a:stretch>
            </p:blipFill>
            <p:spPr>
              <a:xfrm>
                <a:off x="4951181" y="4073252"/>
                <a:ext cx="163800" cy="2048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68">
            <p14:nvContentPartPr>
              <p14:cNvPr id="86" name="Ink 85">
                <a:extLst>
                  <a:ext uri="{FF2B5EF4-FFF2-40B4-BE49-F238E27FC236}">
                    <a16:creationId xmlns:a16="http://schemas.microsoft.com/office/drawing/2014/main" id="{4D22EBC3-1DA6-A8AB-33F6-89F2DF796D9B}"/>
                  </a:ext>
                </a:extLst>
              </p14:cNvPr>
              <p14:cNvContentPartPr/>
              <p14:nvPr/>
            </p14:nvContentPartPr>
            <p14:xfrm>
              <a:off x="5071061" y="4124372"/>
              <a:ext cx="129240" cy="179640"/>
            </p14:xfrm>
          </p:contentPart>
        </mc:Choice>
        <mc:Fallback>
          <p:pic>
            <p:nvPicPr>
              <p:cNvPr id="86" name="Ink 85">
                <a:extLst>
                  <a:ext uri="{FF2B5EF4-FFF2-40B4-BE49-F238E27FC236}">
                    <a16:creationId xmlns:a16="http://schemas.microsoft.com/office/drawing/2014/main" id="{4D22EBC3-1DA6-A8AB-33F6-89F2DF796D9B}"/>
                  </a:ext>
                </a:extLst>
              </p:cNvPr>
              <p:cNvPicPr/>
              <p:nvPr/>
            </p:nvPicPr>
            <p:blipFill>
              <a:blip r:embed="rId169"/>
              <a:stretch>
                <a:fillRect/>
              </a:stretch>
            </p:blipFill>
            <p:spPr>
              <a:xfrm>
                <a:off x="5055941" y="4108892"/>
                <a:ext cx="159840" cy="2102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70">
            <p14:nvContentPartPr>
              <p14:cNvPr id="115" name="Ink 114">
                <a:extLst>
                  <a:ext uri="{FF2B5EF4-FFF2-40B4-BE49-F238E27FC236}">
                    <a16:creationId xmlns:a16="http://schemas.microsoft.com/office/drawing/2014/main" id="{EA8C4BB6-7277-881F-90A9-0B9C8EF2EB48}"/>
                  </a:ext>
                </a:extLst>
              </p14:cNvPr>
              <p14:cNvContentPartPr/>
              <p14:nvPr/>
            </p14:nvContentPartPr>
            <p14:xfrm>
              <a:off x="3774341" y="3762212"/>
              <a:ext cx="194400" cy="656640"/>
            </p14:xfrm>
          </p:contentPart>
        </mc:Choice>
        <mc:Fallback>
          <p:pic>
            <p:nvPicPr>
              <p:cNvPr id="115" name="Ink 114">
                <a:extLst>
                  <a:ext uri="{FF2B5EF4-FFF2-40B4-BE49-F238E27FC236}">
                    <a16:creationId xmlns:a16="http://schemas.microsoft.com/office/drawing/2014/main" id="{EA8C4BB6-7277-881F-90A9-0B9C8EF2EB48}"/>
                  </a:ext>
                </a:extLst>
              </p:cNvPr>
              <p:cNvPicPr/>
              <p:nvPr/>
            </p:nvPicPr>
            <p:blipFill>
              <a:blip r:embed="rId171"/>
              <a:stretch>
                <a:fillRect/>
              </a:stretch>
            </p:blipFill>
            <p:spPr>
              <a:xfrm>
                <a:off x="3758861" y="3747092"/>
                <a:ext cx="224640" cy="6872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72">
            <p14:nvContentPartPr>
              <p14:cNvPr id="116" name="Ink 115">
                <a:extLst>
                  <a:ext uri="{FF2B5EF4-FFF2-40B4-BE49-F238E27FC236}">
                    <a16:creationId xmlns:a16="http://schemas.microsoft.com/office/drawing/2014/main" id="{E13192BF-3BBA-5EA1-26C9-6D9FE527E174}"/>
                  </a:ext>
                </a:extLst>
              </p14:cNvPr>
              <p14:cNvContentPartPr/>
              <p14:nvPr/>
            </p14:nvContentPartPr>
            <p14:xfrm>
              <a:off x="3650501" y="4306532"/>
              <a:ext cx="224280" cy="149400"/>
            </p14:xfrm>
          </p:contentPart>
        </mc:Choice>
        <mc:Fallback>
          <p:pic>
            <p:nvPicPr>
              <p:cNvPr id="116" name="Ink 115">
                <a:extLst>
                  <a:ext uri="{FF2B5EF4-FFF2-40B4-BE49-F238E27FC236}">
                    <a16:creationId xmlns:a16="http://schemas.microsoft.com/office/drawing/2014/main" id="{E13192BF-3BBA-5EA1-26C9-6D9FE527E174}"/>
                  </a:ext>
                </a:extLst>
              </p:cNvPr>
              <p:cNvPicPr/>
              <p:nvPr/>
            </p:nvPicPr>
            <p:blipFill>
              <a:blip r:embed="rId173"/>
              <a:stretch>
                <a:fillRect/>
              </a:stretch>
            </p:blipFill>
            <p:spPr>
              <a:xfrm>
                <a:off x="3635381" y="4291052"/>
                <a:ext cx="254880" cy="1796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74">
            <p14:nvContentPartPr>
              <p14:cNvPr id="117" name="Ink 116">
                <a:extLst>
                  <a:ext uri="{FF2B5EF4-FFF2-40B4-BE49-F238E27FC236}">
                    <a16:creationId xmlns:a16="http://schemas.microsoft.com/office/drawing/2014/main" id="{E2A6772B-0942-B6D9-3C76-E9235387C9F2}"/>
                  </a:ext>
                </a:extLst>
              </p14:cNvPr>
              <p14:cNvContentPartPr/>
              <p14:nvPr/>
            </p14:nvContentPartPr>
            <p14:xfrm>
              <a:off x="3878381" y="4697852"/>
              <a:ext cx="151200" cy="196920"/>
            </p14:xfrm>
          </p:contentPart>
        </mc:Choice>
        <mc:Fallback>
          <p:pic>
            <p:nvPicPr>
              <p:cNvPr id="117" name="Ink 116">
                <a:extLst>
                  <a:ext uri="{FF2B5EF4-FFF2-40B4-BE49-F238E27FC236}">
                    <a16:creationId xmlns:a16="http://schemas.microsoft.com/office/drawing/2014/main" id="{E2A6772B-0942-B6D9-3C76-E9235387C9F2}"/>
                  </a:ext>
                </a:extLst>
              </p:cNvPr>
              <p:cNvPicPr/>
              <p:nvPr/>
            </p:nvPicPr>
            <p:blipFill>
              <a:blip r:embed="rId175"/>
              <a:stretch>
                <a:fillRect/>
              </a:stretch>
            </p:blipFill>
            <p:spPr>
              <a:xfrm>
                <a:off x="3863261" y="4682732"/>
                <a:ext cx="181800" cy="2275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76">
            <p14:nvContentPartPr>
              <p14:cNvPr id="118" name="Ink 117">
                <a:extLst>
                  <a:ext uri="{FF2B5EF4-FFF2-40B4-BE49-F238E27FC236}">
                    <a16:creationId xmlns:a16="http://schemas.microsoft.com/office/drawing/2014/main" id="{BFA08AA2-17E9-411E-944D-6E844E1929B5}"/>
                  </a:ext>
                </a:extLst>
              </p14:cNvPr>
              <p14:cNvContentPartPr/>
              <p14:nvPr/>
            </p14:nvContentPartPr>
            <p14:xfrm>
              <a:off x="4029941" y="4687052"/>
              <a:ext cx="74520" cy="206640"/>
            </p14:xfrm>
          </p:contentPart>
        </mc:Choice>
        <mc:Fallback>
          <p:pic>
            <p:nvPicPr>
              <p:cNvPr id="118" name="Ink 117">
                <a:extLst>
                  <a:ext uri="{FF2B5EF4-FFF2-40B4-BE49-F238E27FC236}">
                    <a16:creationId xmlns:a16="http://schemas.microsoft.com/office/drawing/2014/main" id="{BFA08AA2-17E9-411E-944D-6E844E1929B5}"/>
                  </a:ext>
                </a:extLst>
              </p:cNvPr>
              <p:cNvPicPr/>
              <p:nvPr/>
            </p:nvPicPr>
            <p:blipFill>
              <a:blip r:embed="rId177"/>
              <a:stretch>
                <a:fillRect/>
              </a:stretch>
            </p:blipFill>
            <p:spPr>
              <a:xfrm>
                <a:off x="4014821" y="4671572"/>
                <a:ext cx="104760" cy="2372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78">
            <p14:nvContentPartPr>
              <p14:cNvPr id="119" name="Ink 118">
                <a:extLst>
                  <a:ext uri="{FF2B5EF4-FFF2-40B4-BE49-F238E27FC236}">
                    <a16:creationId xmlns:a16="http://schemas.microsoft.com/office/drawing/2014/main" id="{7AD52214-CE6C-35C9-C6A5-54E84DAC4647}"/>
                  </a:ext>
                </a:extLst>
              </p14:cNvPr>
              <p14:cNvContentPartPr/>
              <p14:nvPr/>
            </p14:nvContentPartPr>
            <p14:xfrm>
              <a:off x="4241261" y="4688852"/>
              <a:ext cx="153000" cy="210960"/>
            </p14:xfrm>
          </p:contentPart>
        </mc:Choice>
        <mc:Fallback>
          <p:pic>
            <p:nvPicPr>
              <p:cNvPr id="119" name="Ink 118">
                <a:extLst>
                  <a:ext uri="{FF2B5EF4-FFF2-40B4-BE49-F238E27FC236}">
                    <a16:creationId xmlns:a16="http://schemas.microsoft.com/office/drawing/2014/main" id="{7AD52214-CE6C-35C9-C6A5-54E84DAC4647}"/>
                  </a:ext>
                </a:extLst>
              </p:cNvPr>
              <p:cNvPicPr/>
              <p:nvPr/>
            </p:nvPicPr>
            <p:blipFill>
              <a:blip r:embed="rId179"/>
              <a:stretch>
                <a:fillRect/>
              </a:stretch>
            </p:blipFill>
            <p:spPr>
              <a:xfrm>
                <a:off x="4226141" y="4673372"/>
                <a:ext cx="183600" cy="2415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80">
            <p14:nvContentPartPr>
              <p14:cNvPr id="120" name="Ink 119">
                <a:extLst>
                  <a:ext uri="{FF2B5EF4-FFF2-40B4-BE49-F238E27FC236}">
                    <a16:creationId xmlns:a16="http://schemas.microsoft.com/office/drawing/2014/main" id="{8926E69D-6215-48DF-8E2B-12BBC5820CF2}"/>
                  </a:ext>
                </a:extLst>
              </p14:cNvPr>
              <p14:cNvContentPartPr/>
              <p14:nvPr/>
            </p14:nvContentPartPr>
            <p14:xfrm>
              <a:off x="4279061" y="4730252"/>
              <a:ext cx="267480" cy="193680"/>
            </p14:xfrm>
          </p:contentPart>
        </mc:Choice>
        <mc:Fallback>
          <p:pic>
            <p:nvPicPr>
              <p:cNvPr id="120" name="Ink 119">
                <a:extLst>
                  <a:ext uri="{FF2B5EF4-FFF2-40B4-BE49-F238E27FC236}">
                    <a16:creationId xmlns:a16="http://schemas.microsoft.com/office/drawing/2014/main" id="{8926E69D-6215-48DF-8E2B-12BBC5820CF2}"/>
                  </a:ext>
                </a:extLst>
              </p:cNvPr>
              <p:cNvPicPr/>
              <p:nvPr/>
            </p:nvPicPr>
            <p:blipFill>
              <a:blip r:embed="rId181"/>
              <a:stretch>
                <a:fillRect/>
              </a:stretch>
            </p:blipFill>
            <p:spPr>
              <a:xfrm>
                <a:off x="4263941" y="4715132"/>
                <a:ext cx="298080" cy="2242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82">
            <p14:nvContentPartPr>
              <p14:cNvPr id="121" name="Ink 120">
                <a:extLst>
                  <a:ext uri="{FF2B5EF4-FFF2-40B4-BE49-F238E27FC236}">
                    <a16:creationId xmlns:a16="http://schemas.microsoft.com/office/drawing/2014/main" id="{86D498C7-63E9-7C60-4ED3-1AF56D8AA695}"/>
                  </a:ext>
                </a:extLst>
              </p14:cNvPr>
              <p14:cNvContentPartPr/>
              <p14:nvPr/>
            </p14:nvContentPartPr>
            <p14:xfrm>
              <a:off x="4657061" y="4845452"/>
              <a:ext cx="36360" cy="10800"/>
            </p14:xfrm>
          </p:contentPart>
        </mc:Choice>
        <mc:Fallback>
          <p:pic>
            <p:nvPicPr>
              <p:cNvPr id="121" name="Ink 120">
                <a:extLst>
                  <a:ext uri="{FF2B5EF4-FFF2-40B4-BE49-F238E27FC236}">
                    <a16:creationId xmlns:a16="http://schemas.microsoft.com/office/drawing/2014/main" id="{86D498C7-63E9-7C60-4ED3-1AF56D8AA695}"/>
                  </a:ext>
                </a:extLst>
              </p:cNvPr>
              <p:cNvPicPr/>
              <p:nvPr/>
            </p:nvPicPr>
            <p:blipFill>
              <a:blip r:embed="rId183"/>
              <a:stretch>
                <a:fillRect/>
              </a:stretch>
            </p:blipFill>
            <p:spPr>
              <a:xfrm>
                <a:off x="4641941" y="4829972"/>
                <a:ext cx="66960" cy="414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84">
            <p14:nvContentPartPr>
              <p14:cNvPr id="122" name="Ink 121">
                <a:extLst>
                  <a:ext uri="{FF2B5EF4-FFF2-40B4-BE49-F238E27FC236}">
                    <a16:creationId xmlns:a16="http://schemas.microsoft.com/office/drawing/2014/main" id="{4EAE523B-6E5E-5EA0-EB2F-05F8295C7C4A}"/>
                  </a:ext>
                </a:extLst>
              </p14:cNvPr>
              <p14:cNvContentPartPr/>
              <p14:nvPr/>
            </p14:nvContentPartPr>
            <p14:xfrm>
              <a:off x="4879181" y="4700372"/>
              <a:ext cx="192240" cy="258120"/>
            </p14:xfrm>
          </p:contentPart>
        </mc:Choice>
        <mc:Fallback>
          <p:pic>
            <p:nvPicPr>
              <p:cNvPr id="122" name="Ink 121">
                <a:extLst>
                  <a:ext uri="{FF2B5EF4-FFF2-40B4-BE49-F238E27FC236}">
                    <a16:creationId xmlns:a16="http://schemas.microsoft.com/office/drawing/2014/main" id="{4EAE523B-6E5E-5EA0-EB2F-05F8295C7C4A}"/>
                  </a:ext>
                </a:extLst>
              </p:cNvPr>
              <p:cNvPicPr/>
              <p:nvPr/>
            </p:nvPicPr>
            <p:blipFill>
              <a:blip r:embed="rId185"/>
              <a:stretch>
                <a:fillRect/>
              </a:stretch>
            </p:blipFill>
            <p:spPr>
              <a:xfrm>
                <a:off x="4864061" y="4684892"/>
                <a:ext cx="222840" cy="288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86">
            <p14:nvContentPartPr>
              <p14:cNvPr id="123" name="Ink 122">
                <a:extLst>
                  <a:ext uri="{FF2B5EF4-FFF2-40B4-BE49-F238E27FC236}">
                    <a16:creationId xmlns:a16="http://schemas.microsoft.com/office/drawing/2014/main" id="{22633072-B7A3-8C38-E18C-87C58098B23F}"/>
                  </a:ext>
                </a:extLst>
              </p14:cNvPr>
              <p14:cNvContentPartPr/>
              <p14:nvPr/>
            </p14:nvContentPartPr>
            <p14:xfrm>
              <a:off x="5078621" y="4748972"/>
              <a:ext cx="71280" cy="147240"/>
            </p14:xfrm>
          </p:contentPart>
        </mc:Choice>
        <mc:Fallback>
          <p:pic>
            <p:nvPicPr>
              <p:cNvPr id="123" name="Ink 122">
                <a:extLst>
                  <a:ext uri="{FF2B5EF4-FFF2-40B4-BE49-F238E27FC236}">
                    <a16:creationId xmlns:a16="http://schemas.microsoft.com/office/drawing/2014/main" id="{22633072-B7A3-8C38-E18C-87C58098B23F}"/>
                  </a:ext>
                </a:extLst>
              </p:cNvPr>
              <p:cNvPicPr/>
              <p:nvPr/>
            </p:nvPicPr>
            <p:blipFill>
              <a:blip r:embed="rId187"/>
              <a:stretch>
                <a:fillRect/>
              </a:stretch>
            </p:blipFill>
            <p:spPr>
              <a:xfrm>
                <a:off x="5063501" y="4733492"/>
                <a:ext cx="101880" cy="1778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88">
            <p14:nvContentPartPr>
              <p14:cNvPr id="124" name="Ink 123">
                <a:extLst>
                  <a:ext uri="{FF2B5EF4-FFF2-40B4-BE49-F238E27FC236}">
                    <a16:creationId xmlns:a16="http://schemas.microsoft.com/office/drawing/2014/main" id="{EDA3F462-4F92-770C-660A-084A62F05A8A}"/>
                  </a:ext>
                </a:extLst>
              </p14:cNvPr>
              <p14:cNvContentPartPr/>
              <p14:nvPr/>
            </p14:nvContentPartPr>
            <p14:xfrm>
              <a:off x="5269421" y="4732772"/>
              <a:ext cx="108000" cy="160920"/>
            </p14:xfrm>
          </p:contentPart>
        </mc:Choice>
        <mc:Fallback>
          <p:pic>
            <p:nvPicPr>
              <p:cNvPr id="124" name="Ink 123">
                <a:extLst>
                  <a:ext uri="{FF2B5EF4-FFF2-40B4-BE49-F238E27FC236}">
                    <a16:creationId xmlns:a16="http://schemas.microsoft.com/office/drawing/2014/main" id="{EDA3F462-4F92-770C-660A-084A62F05A8A}"/>
                  </a:ext>
                </a:extLst>
              </p:cNvPr>
              <p:cNvPicPr/>
              <p:nvPr/>
            </p:nvPicPr>
            <p:blipFill>
              <a:blip r:embed="rId189"/>
              <a:stretch>
                <a:fillRect/>
              </a:stretch>
            </p:blipFill>
            <p:spPr>
              <a:xfrm>
                <a:off x="5253941" y="4717292"/>
                <a:ext cx="138600" cy="1915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90">
            <p14:nvContentPartPr>
              <p14:cNvPr id="125" name="Ink 124">
                <a:extLst>
                  <a:ext uri="{FF2B5EF4-FFF2-40B4-BE49-F238E27FC236}">
                    <a16:creationId xmlns:a16="http://schemas.microsoft.com/office/drawing/2014/main" id="{7019752E-3869-FACF-BF4C-202EA2DFB060}"/>
                  </a:ext>
                </a:extLst>
              </p14:cNvPr>
              <p14:cNvContentPartPr/>
              <p14:nvPr/>
            </p14:nvContentPartPr>
            <p14:xfrm>
              <a:off x="5450501" y="4740332"/>
              <a:ext cx="140040" cy="234360"/>
            </p14:xfrm>
          </p:contentPart>
        </mc:Choice>
        <mc:Fallback>
          <p:pic>
            <p:nvPicPr>
              <p:cNvPr id="125" name="Ink 124">
                <a:extLst>
                  <a:ext uri="{FF2B5EF4-FFF2-40B4-BE49-F238E27FC236}">
                    <a16:creationId xmlns:a16="http://schemas.microsoft.com/office/drawing/2014/main" id="{7019752E-3869-FACF-BF4C-202EA2DFB060}"/>
                  </a:ext>
                </a:extLst>
              </p:cNvPr>
              <p:cNvPicPr/>
              <p:nvPr/>
            </p:nvPicPr>
            <p:blipFill>
              <a:blip r:embed="rId191"/>
              <a:stretch>
                <a:fillRect/>
              </a:stretch>
            </p:blipFill>
            <p:spPr>
              <a:xfrm>
                <a:off x="5435381" y="4725212"/>
                <a:ext cx="170640" cy="2649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92">
            <p14:nvContentPartPr>
              <p14:cNvPr id="126" name="Ink 125">
                <a:extLst>
                  <a:ext uri="{FF2B5EF4-FFF2-40B4-BE49-F238E27FC236}">
                    <a16:creationId xmlns:a16="http://schemas.microsoft.com/office/drawing/2014/main" id="{D5C4C297-4707-B57A-3CDB-1EB8D3501147}"/>
                  </a:ext>
                </a:extLst>
              </p14:cNvPr>
              <p14:cNvContentPartPr/>
              <p14:nvPr/>
            </p14:nvContentPartPr>
            <p14:xfrm>
              <a:off x="3791621" y="5044172"/>
              <a:ext cx="1662480" cy="257400"/>
            </p14:xfrm>
          </p:contentPart>
        </mc:Choice>
        <mc:Fallback>
          <p:pic>
            <p:nvPicPr>
              <p:cNvPr id="126" name="Ink 125">
                <a:extLst>
                  <a:ext uri="{FF2B5EF4-FFF2-40B4-BE49-F238E27FC236}">
                    <a16:creationId xmlns:a16="http://schemas.microsoft.com/office/drawing/2014/main" id="{D5C4C297-4707-B57A-3CDB-1EB8D3501147}"/>
                  </a:ext>
                </a:extLst>
              </p:cNvPr>
              <p:cNvPicPr/>
              <p:nvPr/>
            </p:nvPicPr>
            <p:blipFill>
              <a:blip r:embed="rId193"/>
              <a:stretch>
                <a:fillRect/>
              </a:stretch>
            </p:blipFill>
            <p:spPr>
              <a:xfrm>
                <a:off x="3776141" y="5029052"/>
                <a:ext cx="1693080" cy="28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94">
            <p14:nvContentPartPr>
              <p14:cNvPr id="127" name="Ink 126">
                <a:extLst>
                  <a:ext uri="{FF2B5EF4-FFF2-40B4-BE49-F238E27FC236}">
                    <a16:creationId xmlns:a16="http://schemas.microsoft.com/office/drawing/2014/main" id="{FFB701B3-B39E-7A20-B73E-623E5888B2CB}"/>
                  </a:ext>
                </a:extLst>
              </p14:cNvPr>
              <p14:cNvContentPartPr/>
              <p14:nvPr/>
            </p14:nvContentPartPr>
            <p14:xfrm>
              <a:off x="4354301" y="5246132"/>
              <a:ext cx="138240" cy="288360"/>
            </p14:xfrm>
          </p:contentPart>
        </mc:Choice>
        <mc:Fallback>
          <p:pic>
            <p:nvPicPr>
              <p:cNvPr id="127" name="Ink 126">
                <a:extLst>
                  <a:ext uri="{FF2B5EF4-FFF2-40B4-BE49-F238E27FC236}">
                    <a16:creationId xmlns:a16="http://schemas.microsoft.com/office/drawing/2014/main" id="{FFB701B3-B39E-7A20-B73E-623E5888B2CB}"/>
                  </a:ext>
                </a:extLst>
              </p:cNvPr>
              <p:cNvPicPr/>
              <p:nvPr/>
            </p:nvPicPr>
            <p:blipFill>
              <a:blip r:embed="rId195"/>
              <a:stretch>
                <a:fillRect/>
              </a:stretch>
            </p:blipFill>
            <p:spPr>
              <a:xfrm>
                <a:off x="4339181" y="5231012"/>
                <a:ext cx="168840" cy="3189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96">
            <p14:nvContentPartPr>
              <p14:cNvPr id="130" name="Ink 129">
                <a:extLst>
                  <a:ext uri="{FF2B5EF4-FFF2-40B4-BE49-F238E27FC236}">
                    <a16:creationId xmlns:a16="http://schemas.microsoft.com/office/drawing/2014/main" id="{C42512D7-F92B-7A90-8922-3B87FE2BB58C}"/>
                  </a:ext>
                </a:extLst>
              </p14:cNvPr>
              <p14:cNvContentPartPr/>
              <p14:nvPr/>
            </p14:nvContentPartPr>
            <p14:xfrm>
              <a:off x="4342061" y="5268092"/>
              <a:ext cx="196560" cy="290160"/>
            </p14:xfrm>
          </p:contentPart>
        </mc:Choice>
        <mc:Fallback>
          <p:pic>
            <p:nvPicPr>
              <p:cNvPr id="130" name="Ink 129">
                <a:extLst>
                  <a:ext uri="{FF2B5EF4-FFF2-40B4-BE49-F238E27FC236}">
                    <a16:creationId xmlns:a16="http://schemas.microsoft.com/office/drawing/2014/main" id="{C42512D7-F92B-7A90-8922-3B87FE2BB58C}"/>
                  </a:ext>
                </a:extLst>
              </p:cNvPr>
              <p:cNvPicPr/>
              <p:nvPr/>
            </p:nvPicPr>
            <p:blipFill>
              <a:blip r:embed="rId197"/>
              <a:stretch>
                <a:fillRect/>
              </a:stretch>
            </p:blipFill>
            <p:spPr>
              <a:xfrm>
                <a:off x="4326581" y="5252612"/>
                <a:ext cx="226800" cy="3204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98">
            <p14:nvContentPartPr>
              <p14:cNvPr id="131" name="Ink 130">
                <a:extLst>
                  <a:ext uri="{FF2B5EF4-FFF2-40B4-BE49-F238E27FC236}">
                    <a16:creationId xmlns:a16="http://schemas.microsoft.com/office/drawing/2014/main" id="{390A012E-E09F-BB57-98ED-64CACEA61C05}"/>
                  </a:ext>
                </a:extLst>
              </p14:cNvPr>
              <p14:cNvContentPartPr/>
              <p14:nvPr/>
            </p14:nvContentPartPr>
            <p14:xfrm>
              <a:off x="4595861" y="5315252"/>
              <a:ext cx="55080" cy="195840"/>
            </p14:xfrm>
          </p:contentPart>
        </mc:Choice>
        <mc:Fallback>
          <p:pic>
            <p:nvPicPr>
              <p:cNvPr id="131" name="Ink 130">
                <a:extLst>
                  <a:ext uri="{FF2B5EF4-FFF2-40B4-BE49-F238E27FC236}">
                    <a16:creationId xmlns:a16="http://schemas.microsoft.com/office/drawing/2014/main" id="{390A012E-E09F-BB57-98ED-64CACEA61C05}"/>
                  </a:ext>
                </a:extLst>
              </p:cNvPr>
              <p:cNvPicPr/>
              <p:nvPr/>
            </p:nvPicPr>
            <p:blipFill>
              <a:blip r:embed="rId199"/>
              <a:stretch>
                <a:fillRect/>
              </a:stretch>
            </p:blipFill>
            <p:spPr>
              <a:xfrm>
                <a:off x="4580381" y="5300132"/>
                <a:ext cx="85680" cy="2260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00">
            <p14:nvContentPartPr>
              <p14:cNvPr id="132" name="Ink 131">
                <a:extLst>
                  <a:ext uri="{FF2B5EF4-FFF2-40B4-BE49-F238E27FC236}">
                    <a16:creationId xmlns:a16="http://schemas.microsoft.com/office/drawing/2014/main" id="{AD79C1F4-9994-2A55-5040-865F3206A0A4}"/>
                  </a:ext>
                </a:extLst>
              </p14:cNvPr>
              <p14:cNvContentPartPr/>
              <p14:nvPr/>
            </p14:nvContentPartPr>
            <p14:xfrm>
              <a:off x="4729781" y="5341892"/>
              <a:ext cx="104040" cy="155160"/>
            </p14:xfrm>
          </p:contentPart>
        </mc:Choice>
        <mc:Fallback>
          <p:pic>
            <p:nvPicPr>
              <p:cNvPr id="132" name="Ink 131">
                <a:extLst>
                  <a:ext uri="{FF2B5EF4-FFF2-40B4-BE49-F238E27FC236}">
                    <a16:creationId xmlns:a16="http://schemas.microsoft.com/office/drawing/2014/main" id="{AD79C1F4-9994-2A55-5040-865F3206A0A4}"/>
                  </a:ext>
                </a:extLst>
              </p:cNvPr>
              <p:cNvPicPr/>
              <p:nvPr/>
            </p:nvPicPr>
            <p:blipFill>
              <a:blip r:embed="rId201"/>
              <a:stretch>
                <a:fillRect/>
              </a:stretch>
            </p:blipFill>
            <p:spPr>
              <a:xfrm>
                <a:off x="4714301" y="5326412"/>
                <a:ext cx="134640" cy="1857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02">
            <p14:nvContentPartPr>
              <p14:cNvPr id="133" name="Ink 132">
                <a:extLst>
                  <a:ext uri="{FF2B5EF4-FFF2-40B4-BE49-F238E27FC236}">
                    <a16:creationId xmlns:a16="http://schemas.microsoft.com/office/drawing/2014/main" id="{313677BD-FD70-54A2-DFD7-659589233E4E}"/>
                  </a:ext>
                </a:extLst>
              </p14:cNvPr>
              <p14:cNvContentPartPr/>
              <p14:nvPr/>
            </p14:nvContentPartPr>
            <p14:xfrm>
              <a:off x="4866221" y="5357732"/>
              <a:ext cx="115200" cy="146520"/>
            </p14:xfrm>
          </p:contentPart>
        </mc:Choice>
        <mc:Fallback>
          <p:pic>
            <p:nvPicPr>
              <p:cNvPr id="133" name="Ink 132">
                <a:extLst>
                  <a:ext uri="{FF2B5EF4-FFF2-40B4-BE49-F238E27FC236}">
                    <a16:creationId xmlns:a16="http://schemas.microsoft.com/office/drawing/2014/main" id="{313677BD-FD70-54A2-DFD7-659589233E4E}"/>
                  </a:ext>
                </a:extLst>
              </p:cNvPr>
              <p:cNvPicPr/>
              <p:nvPr/>
            </p:nvPicPr>
            <p:blipFill>
              <a:blip r:embed="rId203"/>
              <a:stretch>
                <a:fillRect/>
              </a:stretch>
            </p:blipFill>
            <p:spPr>
              <a:xfrm>
                <a:off x="4850741" y="5342612"/>
                <a:ext cx="145440" cy="177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04">
            <p14:nvContentPartPr>
              <p14:cNvPr id="134" name="Ink 133">
                <a:extLst>
                  <a:ext uri="{FF2B5EF4-FFF2-40B4-BE49-F238E27FC236}">
                    <a16:creationId xmlns:a16="http://schemas.microsoft.com/office/drawing/2014/main" id="{5B2FFC5C-D29A-B002-3521-B520FCB12410}"/>
                  </a:ext>
                </a:extLst>
              </p14:cNvPr>
              <p14:cNvContentPartPr/>
              <p14:nvPr/>
            </p14:nvContentPartPr>
            <p14:xfrm>
              <a:off x="4209221" y="5328572"/>
              <a:ext cx="731880" cy="128880"/>
            </p14:xfrm>
          </p:contentPart>
        </mc:Choice>
        <mc:Fallback>
          <p:pic>
            <p:nvPicPr>
              <p:cNvPr id="134" name="Ink 133">
                <a:extLst>
                  <a:ext uri="{FF2B5EF4-FFF2-40B4-BE49-F238E27FC236}">
                    <a16:creationId xmlns:a16="http://schemas.microsoft.com/office/drawing/2014/main" id="{5B2FFC5C-D29A-B002-3521-B520FCB12410}"/>
                  </a:ext>
                </a:extLst>
              </p:cNvPr>
              <p:cNvPicPr/>
              <p:nvPr/>
            </p:nvPicPr>
            <p:blipFill>
              <a:blip r:embed="rId205"/>
              <a:stretch>
                <a:fillRect/>
              </a:stretch>
            </p:blipFill>
            <p:spPr>
              <a:xfrm>
                <a:off x="4193741" y="5313092"/>
                <a:ext cx="762480" cy="159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06">
            <p14:nvContentPartPr>
              <p14:cNvPr id="135" name="Ink 134">
                <a:extLst>
                  <a:ext uri="{FF2B5EF4-FFF2-40B4-BE49-F238E27FC236}">
                    <a16:creationId xmlns:a16="http://schemas.microsoft.com/office/drawing/2014/main" id="{505E111A-B691-1B48-101A-436872A753E0}"/>
                  </a:ext>
                </a:extLst>
              </p14:cNvPr>
              <p14:cNvContentPartPr/>
              <p14:nvPr/>
            </p14:nvContentPartPr>
            <p14:xfrm>
              <a:off x="4776941" y="4832492"/>
              <a:ext cx="849960" cy="156240"/>
            </p14:xfrm>
          </p:contentPart>
        </mc:Choice>
        <mc:Fallback>
          <p:pic>
            <p:nvPicPr>
              <p:cNvPr id="135" name="Ink 134">
                <a:extLst>
                  <a:ext uri="{FF2B5EF4-FFF2-40B4-BE49-F238E27FC236}">
                    <a16:creationId xmlns:a16="http://schemas.microsoft.com/office/drawing/2014/main" id="{505E111A-B691-1B48-101A-436872A753E0}"/>
                  </a:ext>
                </a:extLst>
              </p:cNvPr>
              <p:cNvPicPr/>
              <p:nvPr/>
            </p:nvPicPr>
            <p:blipFill>
              <a:blip r:embed="rId207"/>
              <a:stretch>
                <a:fillRect/>
              </a:stretch>
            </p:blipFill>
            <p:spPr>
              <a:xfrm>
                <a:off x="4761461" y="4817372"/>
                <a:ext cx="880560" cy="1868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08">
            <p14:nvContentPartPr>
              <p14:cNvPr id="137" name="Ink 136">
                <a:extLst>
                  <a:ext uri="{FF2B5EF4-FFF2-40B4-BE49-F238E27FC236}">
                    <a16:creationId xmlns:a16="http://schemas.microsoft.com/office/drawing/2014/main" id="{866685E0-C317-DA40-7403-EFE5509A8252}"/>
                  </a:ext>
                </a:extLst>
              </p14:cNvPr>
              <p14:cNvContentPartPr/>
              <p14:nvPr/>
            </p14:nvContentPartPr>
            <p14:xfrm>
              <a:off x="3733661" y="4393292"/>
              <a:ext cx="1005480" cy="821160"/>
            </p14:xfrm>
          </p:contentPart>
        </mc:Choice>
        <mc:Fallback>
          <p:pic>
            <p:nvPicPr>
              <p:cNvPr id="137" name="Ink 136">
                <a:extLst>
                  <a:ext uri="{FF2B5EF4-FFF2-40B4-BE49-F238E27FC236}">
                    <a16:creationId xmlns:a16="http://schemas.microsoft.com/office/drawing/2014/main" id="{866685E0-C317-DA40-7403-EFE5509A8252}"/>
                  </a:ext>
                </a:extLst>
              </p:cNvPr>
              <p:cNvPicPr/>
              <p:nvPr/>
            </p:nvPicPr>
            <p:blipFill>
              <a:blip r:embed="rId209"/>
              <a:stretch>
                <a:fillRect/>
              </a:stretch>
            </p:blipFill>
            <p:spPr>
              <a:xfrm>
                <a:off x="3718541" y="4377812"/>
                <a:ext cx="1036080" cy="851760"/>
              </a:xfrm>
              <a:prstGeom prst="rect">
                <a:avLst/>
              </a:prstGeom>
            </p:spPr>
          </p:pic>
        </mc:Fallback>
      </mc:AlternateContent>
      <p:grpSp>
        <p:nvGrpSpPr>
          <p:cNvPr id="141" name="Group 140">
            <a:extLst>
              <a:ext uri="{FF2B5EF4-FFF2-40B4-BE49-F238E27FC236}">
                <a16:creationId xmlns:a16="http://schemas.microsoft.com/office/drawing/2014/main" id="{DA2082E2-A4FA-AAEE-95EE-6B4650800A48}"/>
              </a:ext>
            </a:extLst>
          </p:cNvPr>
          <p:cNvGrpSpPr/>
          <p:nvPr/>
        </p:nvGrpSpPr>
        <p:grpSpPr>
          <a:xfrm>
            <a:off x="6319541" y="4977212"/>
            <a:ext cx="164160" cy="134280"/>
            <a:chOff x="6319541" y="4977212"/>
            <a:chExt cx="164160" cy="13428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10">
              <p14:nvContentPartPr>
                <p14:cNvPr id="139" name="Ink 138">
                  <a:extLst>
                    <a:ext uri="{FF2B5EF4-FFF2-40B4-BE49-F238E27FC236}">
                      <a16:creationId xmlns:a16="http://schemas.microsoft.com/office/drawing/2014/main" id="{45C0F7D5-2965-30C2-3D0C-4F7EA532762C}"/>
                    </a:ext>
                  </a:extLst>
                </p14:cNvPr>
                <p14:cNvContentPartPr/>
                <p14:nvPr/>
              </p14:nvContentPartPr>
              <p14:xfrm>
                <a:off x="6319541" y="4977212"/>
                <a:ext cx="103680" cy="34920"/>
              </p14:xfrm>
            </p:contentPart>
          </mc:Choice>
          <mc:Fallback>
            <p:pic>
              <p:nvPicPr>
                <p:cNvPr id="139" name="Ink 138">
                  <a:extLst>
                    <a:ext uri="{FF2B5EF4-FFF2-40B4-BE49-F238E27FC236}">
                      <a16:creationId xmlns:a16="http://schemas.microsoft.com/office/drawing/2014/main" id="{45C0F7D5-2965-30C2-3D0C-4F7EA532762C}"/>
                    </a:ext>
                  </a:extLst>
                </p:cNvPr>
                <p:cNvPicPr/>
                <p:nvPr/>
              </p:nvPicPr>
              <p:blipFill>
                <a:blip r:embed="rId211"/>
                <a:stretch>
                  <a:fillRect/>
                </a:stretch>
              </p:blipFill>
              <p:spPr>
                <a:xfrm>
                  <a:off x="6304421" y="4962092"/>
                  <a:ext cx="133920" cy="65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12">
              <p14:nvContentPartPr>
                <p14:cNvPr id="140" name="Ink 139">
                  <a:extLst>
                    <a:ext uri="{FF2B5EF4-FFF2-40B4-BE49-F238E27FC236}">
                      <a16:creationId xmlns:a16="http://schemas.microsoft.com/office/drawing/2014/main" id="{556E74CF-5D7D-BE1F-2D91-DCF7AA9C87E0}"/>
                    </a:ext>
                  </a:extLst>
                </p14:cNvPr>
                <p14:cNvContentPartPr/>
                <p14:nvPr/>
              </p14:nvContentPartPr>
              <p14:xfrm>
                <a:off x="6337181" y="5096732"/>
                <a:ext cx="146520" cy="14760"/>
              </p14:xfrm>
            </p:contentPart>
          </mc:Choice>
          <mc:Fallback>
            <p:pic>
              <p:nvPicPr>
                <p:cNvPr id="140" name="Ink 139">
                  <a:extLst>
                    <a:ext uri="{FF2B5EF4-FFF2-40B4-BE49-F238E27FC236}">
                      <a16:creationId xmlns:a16="http://schemas.microsoft.com/office/drawing/2014/main" id="{556E74CF-5D7D-BE1F-2D91-DCF7AA9C87E0}"/>
                    </a:ext>
                  </a:extLst>
                </p:cNvPr>
                <p:cNvPicPr/>
                <p:nvPr/>
              </p:nvPicPr>
              <p:blipFill>
                <a:blip r:embed="rId213"/>
                <a:stretch>
                  <a:fillRect/>
                </a:stretch>
              </p:blipFill>
              <p:spPr>
                <a:xfrm>
                  <a:off x="6322061" y="5081252"/>
                  <a:ext cx="177120" cy="453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70" name="Group 169">
            <a:extLst>
              <a:ext uri="{FF2B5EF4-FFF2-40B4-BE49-F238E27FC236}">
                <a16:creationId xmlns:a16="http://schemas.microsoft.com/office/drawing/2014/main" id="{C22222DB-0592-4BF6-B496-876F8A5C3010}"/>
              </a:ext>
            </a:extLst>
          </p:cNvPr>
          <p:cNvGrpSpPr/>
          <p:nvPr/>
        </p:nvGrpSpPr>
        <p:grpSpPr>
          <a:xfrm>
            <a:off x="6917861" y="4918172"/>
            <a:ext cx="1249200" cy="345960"/>
            <a:chOff x="6917861" y="4918172"/>
            <a:chExt cx="1249200" cy="3459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14">
              <p14:nvContentPartPr>
                <p14:cNvPr id="142" name="Ink 141">
                  <a:extLst>
                    <a:ext uri="{FF2B5EF4-FFF2-40B4-BE49-F238E27FC236}">
                      <a16:creationId xmlns:a16="http://schemas.microsoft.com/office/drawing/2014/main" id="{9A28AF1F-C850-90AA-2087-9557429B8817}"/>
                    </a:ext>
                  </a:extLst>
                </p14:cNvPr>
                <p14:cNvContentPartPr/>
                <p14:nvPr/>
              </p14:nvContentPartPr>
              <p14:xfrm>
                <a:off x="6917861" y="4918172"/>
                <a:ext cx="187200" cy="345960"/>
              </p14:xfrm>
            </p:contentPart>
          </mc:Choice>
          <mc:Fallback>
            <p:pic>
              <p:nvPicPr>
                <p:cNvPr id="142" name="Ink 141">
                  <a:extLst>
                    <a:ext uri="{FF2B5EF4-FFF2-40B4-BE49-F238E27FC236}">
                      <a16:creationId xmlns:a16="http://schemas.microsoft.com/office/drawing/2014/main" id="{9A28AF1F-C850-90AA-2087-9557429B8817}"/>
                    </a:ext>
                  </a:extLst>
                </p:cNvPr>
                <p:cNvPicPr/>
                <p:nvPr/>
              </p:nvPicPr>
              <p:blipFill>
                <a:blip r:embed="rId215"/>
                <a:stretch>
                  <a:fillRect/>
                </a:stretch>
              </p:blipFill>
              <p:spPr>
                <a:xfrm>
                  <a:off x="6902381" y="4902692"/>
                  <a:ext cx="217800" cy="376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16">
              <p14:nvContentPartPr>
                <p14:cNvPr id="143" name="Ink 142">
                  <a:extLst>
                    <a:ext uri="{FF2B5EF4-FFF2-40B4-BE49-F238E27FC236}">
                      <a16:creationId xmlns:a16="http://schemas.microsoft.com/office/drawing/2014/main" id="{8CF18C72-3A03-7ED9-A611-CD88F0D20D83}"/>
                    </a:ext>
                  </a:extLst>
                </p14:cNvPr>
                <p14:cNvContentPartPr/>
                <p14:nvPr/>
              </p14:nvContentPartPr>
              <p14:xfrm>
                <a:off x="7128821" y="4958852"/>
                <a:ext cx="61200" cy="223560"/>
              </p14:xfrm>
            </p:contentPart>
          </mc:Choice>
          <mc:Fallback>
            <p:pic>
              <p:nvPicPr>
                <p:cNvPr id="143" name="Ink 142">
                  <a:extLst>
                    <a:ext uri="{FF2B5EF4-FFF2-40B4-BE49-F238E27FC236}">
                      <a16:creationId xmlns:a16="http://schemas.microsoft.com/office/drawing/2014/main" id="{8CF18C72-3A03-7ED9-A611-CD88F0D20D83}"/>
                    </a:ext>
                  </a:extLst>
                </p:cNvPr>
                <p:cNvPicPr/>
                <p:nvPr/>
              </p:nvPicPr>
              <p:blipFill>
                <a:blip r:embed="rId217"/>
                <a:stretch>
                  <a:fillRect/>
                </a:stretch>
              </p:blipFill>
              <p:spPr>
                <a:xfrm>
                  <a:off x="7113341" y="4943372"/>
                  <a:ext cx="91800" cy="254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18">
              <p14:nvContentPartPr>
                <p14:cNvPr id="144" name="Ink 143">
                  <a:extLst>
                    <a:ext uri="{FF2B5EF4-FFF2-40B4-BE49-F238E27FC236}">
                      <a16:creationId xmlns:a16="http://schemas.microsoft.com/office/drawing/2014/main" id="{CFDF2165-B972-571B-7017-409B75FC0B9A}"/>
                    </a:ext>
                  </a:extLst>
                </p14:cNvPr>
                <p14:cNvContentPartPr/>
                <p14:nvPr/>
              </p14:nvContentPartPr>
              <p14:xfrm>
                <a:off x="7309181" y="4967852"/>
                <a:ext cx="132840" cy="253440"/>
              </p14:xfrm>
            </p:contentPart>
          </mc:Choice>
          <mc:Fallback>
            <p:pic>
              <p:nvPicPr>
                <p:cNvPr id="144" name="Ink 143">
                  <a:extLst>
                    <a:ext uri="{FF2B5EF4-FFF2-40B4-BE49-F238E27FC236}">
                      <a16:creationId xmlns:a16="http://schemas.microsoft.com/office/drawing/2014/main" id="{CFDF2165-B972-571B-7017-409B75FC0B9A}"/>
                    </a:ext>
                  </a:extLst>
                </p:cNvPr>
                <p:cNvPicPr/>
                <p:nvPr/>
              </p:nvPicPr>
              <p:blipFill>
                <a:blip r:embed="rId219"/>
                <a:stretch>
                  <a:fillRect/>
                </a:stretch>
              </p:blipFill>
              <p:spPr>
                <a:xfrm>
                  <a:off x="7293701" y="4952732"/>
                  <a:ext cx="163440" cy="283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20">
              <p14:nvContentPartPr>
                <p14:cNvPr id="145" name="Ink 144">
                  <a:extLst>
                    <a:ext uri="{FF2B5EF4-FFF2-40B4-BE49-F238E27FC236}">
                      <a16:creationId xmlns:a16="http://schemas.microsoft.com/office/drawing/2014/main" id="{A3E48A0A-2764-9D2E-BFAC-15E7BCE45A7C}"/>
                    </a:ext>
                  </a:extLst>
                </p14:cNvPr>
                <p14:cNvContentPartPr/>
                <p14:nvPr/>
              </p14:nvContentPartPr>
              <p14:xfrm>
                <a:off x="7315301" y="5060732"/>
                <a:ext cx="99000" cy="38520"/>
              </p14:xfrm>
            </p:contentPart>
          </mc:Choice>
          <mc:Fallback>
            <p:pic>
              <p:nvPicPr>
                <p:cNvPr id="145" name="Ink 144">
                  <a:extLst>
                    <a:ext uri="{FF2B5EF4-FFF2-40B4-BE49-F238E27FC236}">
                      <a16:creationId xmlns:a16="http://schemas.microsoft.com/office/drawing/2014/main" id="{A3E48A0A-2764-9D2E-BFAC-15E7BCE45A7C}"/>
                    </a:ext>
                  </a:extLst>
                </p:cNvPr>
                <p:cNvPicPr/>
                <p:nvPr/>
              </p:nvPicPr>
              <p:blipFill>
                <a:blip r:embed="rId221"/>
                <a:stretch>
                  <a:fillRect/>
                </a:stretch>
              </p:blipFill>
              <p:spPr>
                <a:xfrm>
                  <a:off x="7299821" y="5045612"/>
                  <a:ext cx="129240" cy="69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22">
              <p14:nvContentPartPr>
                <p14:cNvPr id="146" name="Ink 145">
                  <a:extLst>
                    <a:ext uri="{FF2B5EF4-FFF2-40B4-BE49-F238E27FC236}">
                      <a16:creationId xmlns:a16="http://schemas.microsoft.com/office/drawing/2014/main" id="{A9B5F3F0-E520-9225-7975-557617C55C79}"/>
                    </a:ext>
                  </a:extLst>
                </p14:cNvPr>
                <p14:cNvContentPartPr/>
                <p14:nvPr/>
              </p14:nvContentPartPr>
              <p14:xfrm>
                <a:off x="7442021" y="4976132"/>
                <a:ext cx="114120" cy="277200"/>
              </p14:xfrm>
            </p:contentPart>
          </mc:Choice>
          <mc:Fallback>
            <p:pic>
              <p:nvPicPr>
                <p:cNvPr id="146" name="Ink 145">
                  <a:extLst>
                    <a:ext uri="{FF2B5EF4-FFF2-40B4-BE49-F238E27FC236}">
                      <a16:creationId xmlns:a16="http://schemas.microsoft.com/office/drawing/2014/main" id="{A9B5F3F0-E520-9225-7975-557617C55C79}"/>
                    </a:ext>
                  </a:extLst>
                </p:cNvPr>
                <p:cNvPicPr/>
                <p:nvPr/>
              </p:nvPicPr>
              <p:blipFill>
                <a:blip r:embed="rId223"/>
                <a:stretch>
                  <a:fillRect/>
                </a:stretch>
              </p:blipFill>
              <p:spPr>
                <a:xfrm>
                  <a:off x="7426901" y="4961012"/>
                  <a:ext cx="144720" cy="307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24">
              <p14:nvContentPartPr>
                <p14:cNvPr id="147" name="Ink 146">
                  <a:extLst>
                    <a:ext uri="{FF2B5EF4-FFF2-40B4-BE49-F238E27FC236}">
                      <a16:creationId xmlns:a16="http://schemas.microsoft.com/office/drawing/2014/main" id="{EFE801D9-1F5C-1E39-D179-9DEFCECF3F93}"/>
                    </a:ext>
                  </a:extLst>
                </p14:cNvPr>
                <p14:cNvContentPartPr/>
                <p14:nvPr/>
              </p14:nvContentPartPr>
              <p14:xfrm>
                <a:off x="7633541" y="4999172"/>
                <a:ext cx="98280" cy="183600"/>
              </p14:xfrm>
            </p:contentPart>
          </mc:Choice>
          <mc:Fallback>
            <p:pic>
              <p:nvPicPr>
                <p:cNvPr id="147" name="Ink 146">
                  <a:extLst>
                    <a:ext uri="{FF2B5EF4-FFF2-40B4-BE49-F238E27FC236}">
                      <a16:creationId xmlns:a16="http://schemas.microsoft.com/office/drawing/2014/main" id="{EFE801D9-1F5C-1E39-D179-9DEFCECF3F93}"/>
                    </a:ext>
                  </a:extLst>
                </p:cNvPr>
                <p:cNvPicPr/>
                <p:nvPr/>
              </p:nvPicPr>
              <p:blipFill>
                <a:blip r:embed="rId225"/>
                <a:stretch>
                  <a:fillRect/>
                </a:stretch>
              </p:blipFill>
              <p:spPr>
                <a:xfrm>
                  <a:off x="7618061" y="4984052"/>
                  <a:ext cx="128880" cy="213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26">
              <p14:nvContentPartPr>
                <p14:cNvPr id="148" name="Ink 147">
                  <a:extLst>
                    <a:ext uri="{FF2B5EF4-FFF2-40B4-BE49-F238E27FC236}">
                      <a16:creationId xmlns:a16="http://schemas.microsoft.com/office/drawing/2014/main" id="{F66C9701-7FCE-DD3C-0DC3-6AD27DC8FCE4}"/>
                    </a:ext>
                  </a:extLst>
                </p14:cNvPr>
                <p14:cNvContentPartPr/>
                <p14:nvPr/>
              </p14:nvContentPartPr>
              <p14:xfrm>
                <a:off x="7861781" y="4977572"/>
                <a:ext cx="61920" cy="186840"/>
              </p14:xfrm>
            </p:contentPart>
          </mc:Choice>
          <mc:Fallback>
            <p:pic>
              <p:nvPicPr>
                <p:cNvPr id="148" name="Ink 147">
                  <a:extLst>
                    <a:ext uri="{FF2B5EF4-FFF2-40B4-BE49-F238E27FC236}">
                      <a16:creationId xmlns:a16="http://schemas.microsoft.com/office/drawing/2014/main" id="{F66C9701-7FCE-DD3C-0DC3-6AD27DC8FCE4}"/>
                    </a:ext>
                  </a:extLst>
                </p:cNvPr>
                <p:cNvPicPr/>
                <p:nvPr/>
              </p:nvPicPr>
              <p:blipFill>
                <a:blip r:embed="rId227"/>
                <a:stretch>
                  <a:fillRect/>
                </a:stretch>
              </p:blipFill>
              <p:spPr>
                <a:xfrm>
                  <a:off x="7846661" y="4962452"/>
                  <a:ext cx="92520" cy="217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28">
              <p14:nvContentPartPr>
                <p14:cNvPr id="149" name="Ink 148">
                  <a:extLst>
                    <a:ext uri="{FF2B5EF4-FFF2-40B4-BE49-F238E27FC236}">
                      <a16:creationId xmlns:a16="http://schemas.microsoft.com/office/drawing/2014/main" id="{2DDB3715-FD4C-FBFE-BAFB-0F3B2B15AD83}"/>
                    </a:ext>
                  </a:extLst>
                </p14:cNvPr>
                <p14:cNvContentPartPr/>
                <p14:nvPr/>
              </p14:nvContentPartPr>
              <p14:xfrm>
                <a:off x="7979141" y="5063972"/>
                <a:ext cx="137160" cy="10800"/>
              </p14:xfrm>
            </p:contentPart>
          </mc:Choice>
          <mc:Fallback>
            <p:pic>
              <p:nvPicPr>
                <p:cNvPr id="149" name="Ink 148">
                  <a:extLst>
                    <a:ext uri="{FF2B5EF4-FFF2-40B4-BE49-F238E27FC236}">
                      <a16:creationId xmlns:a16="http://schemas.microsoft.com/office/drawing/2014/main" id="{2DDB3715-FD4C-FBFE-BAFB-0F3B2B15AD83}"/>
                    </a:ext>
                  </a:extLst>
                </p:cNvPr>
                <p:cNvPicPr/>
                <p:nvPr/>
              </p:nvPicPr>
              <p:blipFill>
                <a:blip r:embed="rId229"/>
                <a:stretch>
                  <a:fillRect/>
                </a:stretch>
              </p:blipFill>
              <p:spPr>
                <a:xfrm>
                  <a:off x="7964021" y="5048852"/>
                  <a:ext cx="167400" cy="41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30">
              <p14:nvContentPartPr>
                <p14:cNvPr id="150" name="Ink 149">
                  <a:extLst>
                    <a:ext uri="{FF2B5EF4-FFF2-40B4-BE49-F238E27FC236}">
                      <a16:creationId xmlns:a16="http://schemas.microsoft.com/office/drawing/2014/main" id="{782FC8FF-AC54-72F8-BA39-87E026386A8A}"/>
                    </a:ext>
                  </a:extLst>
                </p14:cNvPr>
                <p14:cNvContentPartPr/>
                <p14:nvPr/>
              </p14:nvContentPartPr>
              <p14:xfrm>
                <a:off x="8027381" y="5112932"/>
                <a:ext cx="139680" cy="20520"/>
              </p14:xfrm>
            </p:contentPart>
          </mc:Choice>
          <mc:Fallback>
            <p:pic>
              <p:nvPicPr>
                <p:cNvPr id="150" name="Ink 149">
                  <a:extLst>
                    <a:ext uri="{FF2B5EF4-FFF2-40B4-BE49-F238E27FC236}">
                      <a16:creationId xmlns:a16="http://schemas.microsoft.com/office/drawing/2014/main" id="{782FC8FF-AC54-72F8-BA39-87E026386A8A}"/>
                    </a:ext>
                  </a:extLst>
                </p:cNvPr>
                <p:cNvPicPr/>
                <p:nvPr/>
              </p:nvPicPr>
              <p:blipFill>
                <a:blip r:embed="rId231"/>
                <a:stretch>
                  <a:fillRect/>
                </a:stretch>
              </p:blipFill>
              <p:spPr>
                <a:xfrm>
                  <a:off x="8012261" y="5097452"/>
                  <a:ext cx="170280" cy="511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0B95C01B-C913-5815-00F6-1689FC1143B1}"/>
              </a:ext>
            </a:extLst>
          </p:cNvPr>
          <p:cNvGrpSpPr/>
          <p:nvPr/>
        </p:nvGrpSpPr>
        <p:grpSpPr>
          <a:xfrm>
            <a:off x="2161541" y="3651692"/>
            <a:ext cx="1336680" cy="422280"/>
            <a:chOff x="2161541" y="3651692"/>
            <a:chExt cx="1336680" cy="42228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32">
              <p14:nvContentPartPr>
                <p14:cNvPr id="66" name="Ink 65">
                  <a:extLst>
                    <a:ext uri="{FF2B5EF4-FFF2-40B4-BE49-F238E27FC236}">
                      <a16:creationId xmlns:a16="http://schemas.microsoft.com/office/drawing/2014/main" id="{6A183EC4-4DA2-E3BF-4FA9-9968CD553082}"/>
                    </a:ext>
                  </a:extLst>
                </p14:cNvPr>
                <p14:cNvContentPartPr/>
                <p14:nvPr/>
              </p14:nvContentPartPr>
              <p14:xfrm>
                <a:off x="2161541" y="3683372"/>
                <a:ext cx="182520" cy="262080"/>
              </p14:xfrm>
            </p:contentPart>
          </mc:Choice>
          <mc:Fallback>
            <p:pic>
              <p:nvPicPr>
                <p:cNvPr id="66" name="Ink 65">
                  <a:extLst>
                    <a:ext uri="{FF2B5EF4-FFF2-40B4-BE49-F238E27FC236}">
                      <a16:creationId xmlns:a16="http://schemas.microsoft.com/office/drawing/2014/main" id="{6A183EC4-4DA2-E3BF-4FA9-9968CD553082}"/>
                    </a:ext>
                  </a:extLst>
                </p:cNvPr>
                <p:cNvPicPr/>
                <p:nvPr/>
              </p:nvPicPr>
              <p:blipFill>
                <a:blip r:embed="rId233"/>
                <a:stretch>
                  <a:fillRect/>
                </a:stretch>
              </p:blipFill>
              <p:spPr>
                <a:xfrm>
                  <a:off x="2146061" y="3667892"/>
                  <a:ext cx="213120" cy="292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34">
              <p14:nvContentPartPr>
                <p14:cNvPr id="67" name="Ink 66">
                  <a:extLst>
                    <a:ext uri="{FF2B5EF4-FFF2-40B4-BE49-F238E27FC236}">
                      <a16:creationId xmlns:a16="http://schemas.microsoft.com/office/drawing/2014/main" id="{C5402DC5-6C75-CC85-D039-B9E241989FC8}"/>
                    </a:ext>
                  </a:extLst>
                </p14:cNvPr>
                <p14:cNvContentPartPr/>
                <p14:nvPr/>
              </p14:nvContentPartPr>
              <p14:xfrm>
                <a:off x="2423261" y="3673652"/>
                <a:ext cx="80640" cy="209520"/>
              </p14:xfrm>
            </p:contentPart>
          </mc:Choice>
          <mc:Fallback>
            <p:pic>
              <p:nvPicPr>
                <p:cNvPr id="67" name="Ink 66">
                  <a:extLst>
                    <a:ext uri="{FF2B5EF4-FFF2-40B4-BE49-F238E27FC236}">
                      <a16:creationId xmlns:a16="http://schemas.microsoft.com/office/drawing/2014/main" id="{C5402DC5-6C75-CC85-D039-B9E241989FC8}"/>
                    </a:ext>
                  </a:extLst>
                </p:cNvPr>
                <p:cNvPicPr/>
                <p:nvPr/>
              </p:nvPicPr>
              <p:blipFill>
                <a:blip r:embed="rId235"/>
                <a:stretch>
                  <a:fillRect/>
                </a:stretch>
              </p:blipFill>
              <p:spPr>
                <a:xfrm>
                  <a:off x="2408141" y="3658532"/>
                  <a:ext cx="111240" cy="240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36">
              <p14:nvContentPartPr>
                <p14:cNvPr id="68" name="Ink 67">
                  <a:extLst>
                    <a:ext uri="{FF2B5EF4-FFF2-40B4-BE49-F238E27FC236}">
                      <a16:creationId xmlns:a16="http://schemas.microsoft.com/office/drawing/2014/main" id="{A4495879-2F8B-63E8-65A0-B3A38DB873EE}"/>
                    </a:ext>
                  </a:extLst>
                </p14:cNvPr>
                <p14:cNvContentPartPr/>
                <p14:nvPr/>
              </p14:nvContentPartPr>
              <p14:xfrm>
                <a:off x="2636021" y="3654932"/>
                <a:ext cx="154440" cy="237600"/>
              </p14:xfrm>
            </p:contentPart>
          </mc:Choice>
          <mc:Fallback>
            <p:pic>
              <p:nvPicPr>
                <p:cNvPr id="68" name="Ink 67">
                  <a:extLst>
                    <a:ext uri="{FF2B5EF4-FFF2-40B4-BE49-F238E27FC236}">
                      <a16:creationId xmlns:a16="http://schemas.microsoft.com/office/drawing/2014/main" id="{A4495879-2F8B-63E8-65A0-B3A38DB873EE}"/>
                    </a:ext>
                  </a:extLst>
                </p:cNvPr>
                <p:cNvPicPr/>
                <p:nvPr/>
              </p:nvPicPr>
              <p:blipFill>
                <a:blip r:embed="rId237"/>
                <a:stretch>
                  <a:fillRect/>
                </a:stretch>
              </p:blipFill>
              <p:spPr>
                <a:xfrm>
                  <a:off x="2620901" y="3639812"/>
                  <a:ext cx="185040" cy="268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38">
              <p14:nvContentPartPr>
                <p14:cNvPr id="69" name="Ink 68">
                  <a:extLst>
                    <a:ext uri="{FF2B5EF4-FFF2-40B4-BE49-F238E27FC236}">
                      <a16:creationId xmlns:a16="http://schemas.microsoft.com/office/drawing/2014/main" id="{5545D1E9-8051-6FD7-E820-AB92B016A678}"/>
                    </a:ext>
                  </a:extLst>
                </p14:cNvPr>
                <p14:cNvContentPartPr/>
                <p14:nvPr/>
              </p14:nvContentPartPr>
              <p14:xfrm>
                <a:off x="2641421" y="3789572"/>
                <a:ext cx="67320" cy="29520"/>
              </p14:xfrm>
            </p:contentPart>
          </mc:Choice>
          <mc:Fallback>
            <p:pic>
              <p:nvPicPr>
                <p:cNvPr id="69" name="Ink 68">
                  <a:extLst>
                    <a:ext uri="{FF2B5EF4-FFF2-40B4-BE49-F238E27FC236}">
                      <a16:creationId xmlns:a16="http://schemas.microsoft.com/office/drawing/2014/main" id="{5545D1E9-8051-6FD7-E820-AB92B016A678}"/>
                    </a:ext>
                  </a:extLst>
                </p:cNvPr>
                <p:cNvPicPr/>
                <p:nvPr/>
              </p:nvPicPr>
              <p:blipFill>
                <a:blip r:embed="rId239"/>
                <a:stretch>
                  <a:fillRect/>
                </a:stretch>
              </p:blipFill>
              <p:spPr>
                <a:xfrm>
                  <a:off x="2626301" y="3774092"/>
                  <a:ext cx="97560" cy="60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40">
              <p14:nvContentPartPr>
                <p14:cNvPr id="70" name="Ink 69">
                  <a:extLst>
                    <a:ext uri="{FF2B5EF4-FFF2-40B4-BE49-F238E27FC236}">
                      <a16:creationId xmlns:a16="http://schemas.microsoft.com/office/drawing/2014/main" id="{A74F11A8-7ECE-E355-D8C2-5073A96A0B92}"/>
                    </a:ext>
                  </a:extLst>
                </p14:cNvPr>
                <p14:cNvContentPartPr/>
                <p14:nvPr/>
              </p14:nvContentPartPr>
              <p14:xfrm>
                <a:off x="2906741" y="3651692"/>
                <a:ext cx="50040" cy="264600"/>
              </p14:xfrm>
            </p:contentPart>
          </mc:Choice>
          <mc:Fallback>
            <p:pic>
              <p:nvPicPr>
                <p:cNvPr id="70" name="Ink 69">
                  <a:extLst>
                    <a:ext uri="{FF2B5EF4-FFF2-40B4-BE49-F238E27FC236}">
                      <a16:creationId xmlns:a16="http://schemas.microsoft.com/office/drawing/2014/main" id="{A74F11A8-7ECE-E355-D8C2-5073A96A0B92}"/>
                    </a:ext>
                  </a:extLst>
                </p:cNvPr>
                <p:cNvPicPr/>
                <p:nvPr/>
              </p:nvPicPr>
              <p:blipFill>
                <a:blip r:embed="rId241"/>
                <a:stretch>
                  <a:fillRect/>
                </a:stretch>
              </p:blipFill>
              <p:spPr>
                <a:xfrm>
                  <a:off x="2891621" y="3636572"/>
                  <a:ext cx="80640" cy="295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42">
              <p14:nvContentPartPr>
                <p14:cNvPr id="71" name="Ink 70">
                  <a:extLst>
                    <a:ext uri="{FF2B5EF4-FFF2-40B4-BE49-F238E27FC236}">
                      <a16:creationId xmlns:a16="http://schemas.microsoft.com/office/drawing/2014/main" id="{90C1E998-10EE-3439-CE2A-222C071261BA}"/>
                    </a:ext>
                  </a:extLst>
                </p14:cNvPr>
                <p14:cNvContentPartPr/>
                <p14:nvPr/>
              </p14:nvContentPartPr>
              <p14:xfrm>
                <a:off x="3060821" y="3676532"/>
                <a:ext cx="110520" cy="150480"/>
              </p14:xfrm>
            </p:contentPart>
          </mc:Choice>
          <mc:Fallback>
            <p:pic>
              <p:nvPicPr>
                <p:cNvPr id="71" name="Ink 70">
                  <a:extLst>
                    <a:ext uri="{FF2B5EF4-FFF2-40B4-BE49-F238E27FC236}">
                      <a16:creationId xmlns:a16="http://schemas.microsoft.com/office/drawing/2014/main" id="{90C1E998-10EE-3439-CE2A-222C071261BA}"/>
                    </a:ext>
                  </a:extLst>
                </p:cNvPr>
                <p:cNvPicPr/>
                <p:nvPr/>
              </p:nvPicPr>
              <p:blipFill>
                <a:blip r:embed="rId243"/>
                <a:stretch>
                  <a:fillRect/>
                </a:stretch>
              </p:blipFill>
              <p:spPr>
                <a:xfrm>
                  <a:off x="3045701" y="3661412"/>
                  <a:ext cx="141120" cy="180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44">
              <p14:nvContentPartPr>
                <p14:cNvPr id="72" name="Ink 71">
                  <a:extLst>
                    <a:ext uri="{FF2B5EF4-FFF2-40B4-BE49-F238E27FC236}">
                      <a16:creationId xmlns:a16="http://schemas.microsoft.com/office/drawing/2014/main" id="{19445322-6DFC-2CD8-C473-C7A7B29E6EF5}"/>
                    </a:ext>
                  </a:extLst>
                </p14:cNvPr>
                <p14:cNvContentPartPr/>
                <p14:nvPr/>
              </p14:nvContentPartPr>
              <p14:xfrm>
                <a:off x="3270701" y="3657092"/>
                <a:ext cx="67680" cy="181080"/>
              </p14:xfrm>
            </p:contentPart>
          </mc:Choice>
          <mc:Fallback>
            <p:pic>
              <p:nvPicPr>
                <p:cNvPr id="72" name="Ink 71">
                  <a:extLst>
                    <a:ext uri="{FF2B5EF4-FFF2-40B4-BE49-F238E27FC236}">
                      <a16:creationId xmlns:a16="http://schemas.microsoft.com/office/drawing/2014/main" id="{19445322-6DFC-2CD8-C473-C7A7B29E6EF5}"/>
                    </a:ext>
                  </a:extLst>
                </p:cNvPr>
                <p:cNvPicPr/>
                <p:nvPr/>
              </p:nvPicPr>
              <p:blipFill>
                <a:blip r:embed="rId245"/>
                <a:stretch>
                  <a:fillRect/>
                </a:stretch>
              </p:blipFill>
              <p:spPr>
                <a:xfrm>
                  <a:off x="3255581" y="3641612"/>
                  <a:ext cx="98280" cy="211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46">
              <p14:nvContentPartPr>
                <p14:cNvPr id="73" name="Ink 72">
                  <a:extLst>
                    <a:ext uri="{FF2B5EF4-FFF2-40B4-BE49-F238E27FC236}">
                      <a16:creationId xmlns:a16="http://schemas.microsoft.com/office/drawing/2014/main" id="{DD3AFB5C-E419-F9EC-ACBE-6C6707246756}"/>
                    </a:ext>
                  </a:extLst>
                </p14:cNvPr>
                <p14:cNvContentPartPr/>
                <p14:nvPr/>
              </p14:nvContentPartPr>
              <p14:xfrm>
                <a:off x="3416501" y="3712892"/>
                <a:ext cx="81720" cy="8280"/>
              </p14:xfrm>
            </p:contentPart>
          </mc:Choice>
          <mc:Fallback>
            <p:pic>
              <p:nvPicPr>
                <p:cNvPr id="73" name="Ink 72">
                  <a:extLst>
                    <a:ext uri="{FF2B5EF4-FFF2-40B4-BE49-F238E27FC236}">
                      <a16:creationId xmlns:a16="http://schemas.microsoft.com/office/drawing/2014/main" id="{DD3AFB5C-E419-F9EC-ACBE-6C6707246756}"/>
                    </a:ext>
                  </a:extLst>
                </p:cNvPr>
                <p:cNvPicPr/>
                <p:nvPr/>
              </p:nvPicPr>
              <p:blipFill>
                <a:blip r:embed="rId247"/>
                <a:stretch>
                  <a:fillRect/>
                </a:stretch>
              </p:blipFill>
              <p:spPr>
                <a:xfrm>
                  <a:off x="3401021" y="3697772"/>
                  <a:ext cx="112320" cy="38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48">
              <p14:nvContentPartPr>
                <p14:cNvPr id="74" name="Ink 73">
                  <a:extLst>
                    <a:ext uri="{FF2B5EF4-FFF2-40B4-BE49-F238E27FC236}">
                      <a16:creationId xmlns:a16="http://schemas.microsoft.com/office/drawing/2014/main" id="{408C10B7-C9D7-8DF8-935A-242442159B68}"/>
                    </a:ext>
                  </a:extLst>
                </p14:cNvPr>
                <p14:cNvContentPartPr/>
                <p14:nvPr/>
              </p14:nvContentPartPr>
              <p14:xfrm>
                <a:off x="3415421" y="3802172"/>
                <a:ext cx="66240" cy="16920"/>
              </p14:xfrm>
            </p:contentPart>
          </mc:Choice>
          <mc:Fallback>
            <p:pic>
              <p:nvPicPr>
                <p:cNvPr id="74" name="Ink 73">
                  <a:extLst>
                    <a:ext uri="{FF2B5EF4-FFF2-40B4-BE49-F238E27FC236}">
                      <a16:creationId xmlns:a16="http://schemas.microsoft.com/office/drawing/2014/main" id="{408C10B7-C9D7-8DF8-935A-242442159B68}"/>
                    </a:ext>
                  </a:extLst>
                </p:cNvPr>
                <p:cNvPicPr/>
                <p:nvPr/>
              </p:nvPicPr>
              <p:blipFill>
                <a:blip r:embed="rId249"/>
                <a:stretch>
                  <a:fillRect/>
                </a:stretch>
              </p:blipFill>
              <p:spPr>
                <a:xfrm>
                  <a:off x="3400301" y="3786692"/>
                  <a:ext cx="96840" cy="47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50">
              <p14:nvContentPartPr>
                <p14:cNvPr id="180" name="Ink 179">
                  <a:extLst>
                    <a:ext uri="{FF2B5EF4-FFF2-40B4-BE49-F238E27FC236}">
                      <a16:creationId xmlns:a16="http://schemas.microsoft.com/office/drawing/2014/main" id="{20F165AD-9BD3-1B4E-9390-4FB3CA3B82A3}"/>
                    </a:ext>
                  </a:extLst>
                </p14:cNvPr>
                <p14:cNvContentPartPr/>
                <p14:nvPr/>
              </p14:nvContentPartPr>
              <p14:xfrm>
                <a:off x="2576981" y="3975332"/>
                <a:ext cx="223920" cy="14400"/>
              </p14:xfrm>
            </p:contentPart>
          </mc:Choice>
          <mc:Fallback>
            <p:pic>
              <p:nvPicPr>
                <p:cNvPr id="180" name="Ink 179">
                  <a:extLst>
                    <a:ext uri="{FF2B5EF4-FFF2-40B4-BE49-F238E27FC236}">
                      <a16:creationId xmlns:a16="http://schemas.microsoft.com/office/drawing/2014/main" id="{20F165AD-9BD3-1B4E-9390-4FB3CA3B82A3}"/>
                    </a:ext>
                  </a:extLst>
                </p:cNvPr>
                <p:cNvPicPr/>
                <p:nvPr/>
              </p:nvPicPr>
              <p:blipFill>
                <a:blip r:embed="rId251"/>
                <a:stretch>
                  <a:fillRect/>
                </a:stretch>
              </p:blipFill>
              <p:spPr>
                <a:xfrm>
                  <a:off x="2561501" y="3959852"/>
                  <a:ext cx="254520" cy="44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52">
              <p14:nvContentPartPr>
                <p14:cNvPr id="181" name="Ink 180">
                  <a:extLst>
                    <a:ext uri="{FF2B5EF4-FFF2-40B4-BE49-F238E27FC236}">
                      <a16:creationId xmlns:a16="http://schemas.microsoft.com/office/drawing/2014/main" id="{9C8414B7-4F12-5164-0DD3-4FFBEE3AD190}"/>
                    </a:ext>
                  </a:extLst>
                </p14:cNvPr>
                <p14:cNvContentPartPr/>
                <p14:nvPr/>
              </p14:nvContentPartPr>
              <p14:xfrm>
                <a:off x="2600021" y="4050212"/>
                <a:ext cx="148680" cy="23760"/>
              </p14:xfrm>
            </p:contentPart>
          </mc:Choice>
          <mc:Fallback>
            <p:pic>
              <p:nvPicPr>
                <p:cNvPr id="181" name="Ink 180">
                  <a:extLst>
                    <a:ext uri="{FF2B5EF4-FFF2-40B4-BE49-F238E27FC236}">
                      <a16:creationId xmlns:a16="http://schemas.microsoft.com/office/drawing/2014/main" id="{9C8414B7-4F12-5164-0DD3-4FFBEE3AD190}"/>
                    </a:ext>
                  </a:extLst>
                </p:cNvPr>
                <p:cNvPicPr/>
                <p:nvPr/>
              </p:nvPicPr>
              <p:blipFill>
                <a:blip r:embed="rId253"/>
                <a:stretch>
                  <a:fillRect/>
                </a:stretch>
              </p:blipFill>
              <p:spPr>
                <a:xfrm>
                  <a:off x="2584901" y="4035092"/>
                  <a:ext cx="179280" cy="540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B43D6410-BD4D-F096-D561-2E9445DCCE89}"/>
              </a:ext>
            </a:extLst>
          </p:cNvPr>
          <p:cNvGrpSpPr/>
          <p:nvPr/>
        </p:nvGrpSpPr>
        <p:grpSpPr>
          <a:xfrm>
            <a:off x="8464421" y="3769412"/>
            <a:ext cx="1703520" cy="1823760"/>
            <a:chOff x="8464421" y="3769412"/>
            <a:chExt cx="1703520" cy="18237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54">
              <p14:nvContentPartPr>
                <p14:cNvPr id="108" name="Ink 107">
                  <a:extLst>
                    <a:ext uri="{FF2B5EF4-FFF2-40B4-BE49-F238E27FC236}">
                      <a16:creationId xmlns:a16="http://schemas.microsoft.com/office/drawing/2014/main" id="{265D7445-6D37-2490-D7E2-DCA073774F7A}"/>
                    </a:ext>
                  </a:extLst>
                </p14:cNvPr>
                <p14:cNvContentPartPr/>
                <p14:nvPr/>
              </p14:nvContentPartPr>
              <p14:xfrm>
                <a:off x="8464421" y="3769412"/>
                <a:ext cx="126000" cy="24840"/>
              </p14:xfrm>
            </p:contentPart>
          </mc:Choice>
          <mc:Fallback>
            <p:pic>
              <p:nvPicPr>
                <p:cNvPr id="108" name="Ink 107">
                  <a:extLst>
                    <a:ext uri="{FF2B5EF4-FFF2-40B4-BE49-F238E27FC236}">
                      <a16:creationId xmlns:a16="http://schemas.microsoft.com/office/drawing/2014/main" id="{265D7445-6D37-2490-D7E2-DCA073774F7A}"/>
                    </a:ext>
                  </a:extLst>
                </p:cNvPr>
                <p:cNvPicPr/>
                <p:nvPr/>
              </p:nvPicPr>
              <p:blipFill>
                <a:blip r:embed="rId255"/>
                <a:stretch>
                  <a:fillRect/>
                </a:stretch>
              </p:blipFill>
              <p:spPr>
                <a:xfrm>
                  <a:off x="8449301" y="3754292"/>
                  <a:ext cx="156600" cy="55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56">
              <p14:nvContentPartPr>
                <p14:cNvPr id="109" name="Ink 108">
                  <a:extLst>
                    <a:ext uri="{FF2B5EF4-FFF2-40B4-BE49-F238E27FC236}">
                      <a16:creationId xmlns:a16="http://schemas.microsoft.com/office/drawing/2014/main" id="{96672615-B48C-100F-68DB-6C25DE8C67BE}"/>
                    </a:ext>
                  </a:extLst>
                </p14:cNvPr>
                <p14:cNvContentPartPr/>
                <p14:nvPr/>
              </p14:nvContentPartPr>
              <p14:xfrm>
                <a:off x="8479541" y="3845372"/>
                <a:ext cx="268920" cy="33120"/>
              </p14:xfrm>
            </p:contentPart>
          </mc:Choice>
          <mc:Fallback>
            <p:pic>
              <p:nvPicPr>
                <p:cNvPr id="109" name="Ink 108">
                  <a:extLst>
                    <a:ext uri="{FF2B5EF4-FFF2-40B4-BE49-F238E27FC236}">
                      <a16:creationId xmlns:a16="http://schemas.microsoft.com/office/drawing/2014/main" id="{96672615-B48C-100F-68DB-6C25DE8C67BE}"/>
                    </a:ext>
                  </a:extLst>
                </p:cNvPr>
                <p:cNvPicPr/>
                <p:nvPr/>
              </p:nvPicPr>
              <p:blipFill>
                <a:blip r:embed="rId257"/>
                <a:stretch>
                  <a:fillRect/>
                </a:stretch>
              </p:blipFill>
              <p:spPr>
                <a:xfrm>
                  <a:off x="8464061" y="3830252"/>
                  <a:ext cx="299520" cy="63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58">
              <p14:nvContentPartPr>
                <p14:cNvPr id="151" name="Ink 150">
                  <a:extLst>
                    <a:ext uri="{FF2B5EF4-FFF2-40B4-BE49-F238E27FC236}">
                      <a16:creationId xmlns:a16="http://schemas.microsoft.com/office/drawing/2014/main" id="{30F2545E-9A72-AA8C-CAC7-CB7109DE5B79}"/>
                    </a:ext>
                  </a:extLst>
                </p14:cNvPr>
                <p14:cNvContentPartPr/>
                <p14:nvPr/>
              </p14:nvContentPartPr>
              <p14:xfrm>
                <a:off x="8515901" y="4852652"/>
                <a:ext cx="182520" cy="241560"/>
              </p14:xfrm>
            </p:contentPart>
          </mc:Choice>
          <mc:Fallback>
            <p:pic>
              <p:nvPicPr>
                <p:cNvPr id="151" name="Ink 150">
                  <a:extLst>
                    <a:ext uri="{FF2B5EF4-FFF2-40B4-BE49-F238E27FC236}">
                      <a16:creationId xmlns:a16="http://schemas.microsoft.com/office/drawing/2014/main" id="{30F2545E-9A72-AA8C-CAC7-CB7109DE5B79}"/>
                    </a:ext>
                  </a:extLst>
                </p:cNvPr>
                <p:cNvPicPr/>
                <p:nvPr/>
              </p:nvPicPr>
              <p:blipFill>
                <a:blip r:embed="rId259"/>
                <a:stretch>
                  <a:fillRect/>
                </a:stretch>
              </p:blipFill>
              <p:spPr>
                <a:xfrm>
                  <a:off x="8500421" y="4837532"/>
                  <a:ext cx="213120" cy="272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60">
              <p14:nvContentPartPr>
                <p14:cNvPr id="152" name="Ink 151">
                  <a:extLst>
                    <a:ext uri="{FF2B5EF4-FFF2-40B4-BE49-F238E27FC236}">
                      <a16:creationId xmlns:a16="http://schemas.microsoft.com/office/drawing/2014/main" id="{B63C7622-3D3A-B6ED-CAD2-841E09EE1EA6}"/>
                    </a:ext>
                  </a:extLst>
                </p14:cNvPr>
                <p14:cNvContentPartPr/>
                <p14:nvPr/>
              </p14:nvContentPartPr>
              <p14:xfrm>
                <a:off x="8714261" y="4866692"/>
                <a:ext cx="92880" cy="217800"/>
              </p14:xfrm>
            </p:contentPart>
          </mc:Choice>
          <mc:Fallback>
            <p:pic>
              <p:nvPicPr>
                <p:cNvPr id="152" name="Ink 151">
                  <a:extLst>
                    <a:ext uri="{FF2B5EF4-FFF2-40B4-BE49-F238E27FC236}">
                      <a16:creationId xmlns:a16="http://schemas.microsoft.com/office/drawing/2014/main" id="{B63C7622-3D3A-B6ED-CAD2-841E09EE1EA6}"/>
                    </a:ext>
                  </a:extLst>
                </p:cNvPr>
                <p:cNvPicPr/>
                <p:nvPr/>
              </p:nvPicPr>
              <p:blipFill>
                <a:blip r:embed="rId261"/>
                <a:stretch>
                  <a:fillRect/>
                </a:stretch>
              </p:blipFill>
              <p:spPr>
                <a:xfrm>
                  <a:off x="8699141" y="4851572"/>
                  <a:ext cx="123480" cy="248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62">
              <p14:nvContentPartPr>
                <p14:cNvPr id="153" name="Ink 152">
                  <a:extLst>
                    <a:ext uri="{FF2B5EF4-FFF2-40B4-BE49-F238E27FC236}">
                      <a16:creationId xmlns:a16="http://schemas.microsoft.com/office/drawing/2014/main" id="{31B088B8-334F-0B51-521E-BDD02882787F}"/>
                    </a:ext>
                  </a:extLst>
                </p14:cNvPr>
                <p14:cNvContentPartPr/>
                <p14:nvPr/>
              </p14:nvContentPartPr>
              <p14:xfrm>
                <a:off x="8897861" y="4864172"/>
                <a:ext cx="180000" cy="199080"/>
              </p14:xfrm>
            </p:contentPart>
          </mc:Choice>
          <mc:Fallback>
            <p:pic>
              <p:nvPicPr>
                <p:cNvPr id="153" name="Ink 152">
                  <a:extLst>
                    <a:ext uri="{FF2B5EF4-FFF2-40B4-BE49-F238E27FC236}">
                      <a16:creationId xmlns:a16="http://schemas.microsoft.com/office/drawing/2014/main" id="{31B088B8-334F-0B51-521E-BDD02882787F}"/>
                    </a:ext>
                  </a:extLst>
                </p:cNvPr>
                <p:cNvPicPr/>
                <p:nvPr/>
              </p:nvPicPr>
              <p:blipFill>
                <a:blip r:embed="rId263"/>
                <a:stretch>
                  <a:fillRect/>
                </a:stretch>
              </p:blipFill>
              <p:spPr>
                <a:xfrm>
                  <a:off x="8882381" y="4848692"/>
                  <a:ext cx="210600" cy="229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64">
              <p14:nvContentPartPr>
                <p14:cNvPr id="154" name="Ink 153">
                  <a:extLst>
                    <a:ext uri="{FF2B5EF4-FFF2-40B4-BE49-F238E27FC236}">
                      <a16:creationId xmlns:a16="http://schemas.microsoft.com/office/drawing/2014/main" id="{7620F847-FDB0-2D77-846F-05F5ACE685E2}"/>
                    </a:ext>
                  </a:extLst>
                </p14:cNvPr>
                <p14:cNvContentPartPr/>
                <p14:nvPr/>
              </p14:nvContentPartPr>
              <p14:xfrm>
                <a:off x="8952221" y="4964612"/>
                <a:ext cx="132480" cy="55080"/>
              </p14:xfrm>
            </p:contentPart>
          </mc:Choice>
          <mc:Fallback>
            <p:pic>
              <p:nvPicPr>
                <p:cNvPr id="154" name="Ink 153">
                  <a:extLst>
                    <a:ext uri="{FF2B5EF4-FFF2-40B4-BE49-F238E27FC236}">
                      <a16:creationId xmlns:a16="http://schemas.microsoft.com/office/drawing/2014/main" id="{7620F847-FDB0-2D77-846F-05F5ACE685E2}"/>
                    </a:ext>
                  </a:extLst>
                </p:cNvPr>
                <p:cNvPicPr/>
                <p:nvPr/>
              </p:nvPicPr>
              <p:blipFill>
                <a:blip r:embed="rId265"/>
                <a:stretch>
                  <a:fillRect/>
                </a:stretch>
              </p:blipFill>
              <p:spPr>
                <a:xfrm>
                  <a:off x="8936741" y="4949492"/>
                  <a:ext cx="162720" cy="85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66">
              <p14:nvContentPartPr>
                <p14:cNvPr id="155" name="Ink 154">
                  <a:extLst>
                    <a:ext uri="{FF2B5EF4-FFF2-40B4-BE49-F238E27FC236}">
                      <a16:creationId xmlns:a16="http://schemas.microsoft.com/office/drawing/2014/main" id="{820AC9D7-7600-F370-91DD-A48249FCE23C}"/>
                    </a:ext>
                  </a:extLst>
                </p14:cNvPr>
                <p14:cNvContentPartPr/>
                <p14:nvPr/>
              </p14:nvContentPartPr>
              <p14:xfrm>
                <a:off x="9127181" y="4927532"/>
                <a:ext cx="97200" cy="184680"/>
              </p14:xfrm>
            </p:contentPart>
          </mc:Choice>
          <mc:Fallback>
            <p:pic>
              <p:nvPicPr>
                <p:cNvPr id="155" name="Ink 154">
                  <a:extLst>
                    <a:ext uri="{FF2B5EF4-FFF2-40B4-BE49-F238E27FC236}">
                      <a16:creationId xmlns:a16="http://schemas.microsoft.com/office/drawing/2014/main" id="{820AC9D7-7600-F370-91DD-A48249FCE23C}"/>
                    </a:ext>
                  </a:extLst>
                </p:cNvPr>
                <p:cNvPicPr/>
                <p:nvPr/>
              </p:nvPicPr>
              <p:blipFill>
                <a:blip r:embed="rId267"/>
                <a:stretch>
                  <a:fillRect/>
                </a:stretch>
              </p:blipFill>
              <p:spPr>
                <a:xfrm>
                  <a:off x="9111701" y="4912052"/>
                  <a:ext cx="127800" cy="215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68">
              <p14:nvContentPartPr>
                <p14:cNvPr id="156" name="Ink 155">
                  <a:extLst>
                    <a:ext uri="{FF2B5EF4-FFF2-40B4-BE49-F238E27FC236}">
                      <a16:creationId xmlns:a16="http://schemas.microsoft.com/office/drawing/2014/main" id="{B936CB88-DD0A-1BFA-CC13-C80598E55377}"/>
                    </a:ext>
                  </a:extLst>
                </p14:cNvPr>
                <p14:cNvContentPartPr/>
                <p14:nvPr/>
              </p14:nvContentPartPr>
              <p14:xfrm>
                <a:off x="9298181" y="5000252"/>
                <a:ext cx="61920" cy="32760"/>
              </p14:xfrm>
            </p:contentPart>
          </mc:Choice>
          <mc:Fallback>
            <p:pic>
              <p:nvPicPr>
                <p:cNvPr id="156" name="Ink 155">
                  <a:extLst>
                    <a:ext uri="{FF2B5EF4-FFF2-40B4-BE49-F238E27FC236}">
                      <a16:creationId xmlns:a16="http://schemas.microsoft.com/office/drawing/2014/main" id="{B936CB88-DD0A-1BFA-CC13-C80598E55377}"/>
                    </a:ext>
                  </a:extLst>
                </p:cNvPr>
                <p:cNvPicPr/>
                <p:nvPr/>
              </p:nvPicPr>
              <p:blipFill>
                <a:blip r:embed="rId269"/>
                <a:stretch>
                  <a:fillRect/>
                </a:stretch>
              </p:blipFill>
              <p:spPr>
                <a:xfrm>
                  <a:off x="9283061" y="4985132"/>
                  <a:ext cx="92160" cy="63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70">
              <p14:nvContentPartPr>
                <p14:cNvPr id="157" name="Ink 156">
                  <a:extLst>
                    <a:ext uri="{FF2B5EF4-FFF2-40B4-BE49-F238E27FC236}">
                      <a16:creationId xmlns:a16="http://schemas.microsoft.com/office/drawing/2014/main" id="{B52F049A-6FEE-1DA1-A241-C0237BFC9C65}"/>
                    </a:ext>
                  </a:extLst>
                </p14:cNvPr>
                <p14:cNvContentPartPr/>
                <p14:nvPr/>
              </p14:nvContentPartPr>
              <p14:xfrm>
                <a:off x="9486461" y="4828172"/>
                <a:ext cx="188280" cy="255600"/>
              </p14:xfrm>
            </p:contentPart>
          </mc:Choice>
          <mc:Fallback>
            <p:pic>
              <p:nvPicPr>
                <p:cNvPr id="157" name="Ink 156">
                  <a:extLst>
                    <a:ext uri="{FF2B5EF4-FFF2-40B4-BE49-F238E27FC236}">
                      <a16:creationId xmlns:a16="http://schemas.microsoft.com/office/drawing/2014/main" id="{B52F049A-6FEE-1DA1-A241-C0237BFC9C65}"/>
                    </a:ext>
                  </a:extLst>
                </p:cNvPr>
                <p:cNvPicPr/>
                <p:nvPr/>
              </p:nvPicPr>
              <p:blipFill>
                <a:blip r:embed="rId271"/>
                <a:stretch>
                  <a:fillRect/>
                </a:stretch>
              </p:blipFill>
              <p:spPr>
                <a:xfrm>
                  <a:off x="9471341" y="4813052"/>
                  <a:ext cx="218520" cy="285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72">
              <p14:nvContentPartPr>
                <p14:cNvPr id="158" name="Ink 157">
                  <a:extLst>
                    <a:ext uri="{FF2B5EF4-FFF2-40B4-BE49-F238E27FC236}">
                      <a16:creationId xmlns:a16="http://schemas.microsoft.com/office/drawing/2014/main" id="{356955BA-A269-1B86-8D7B-79306156863A}"/>
                    </a:ext>
                  </a:extLst>
                </p14:cNvPr>
                <p14:cNvContentPartPr/>
                <p14:nvPr/>
              </p14:nvContentPartPr>
              <p14:xfrm>
                <a:off x="9683741" y="4862372"/>
                <a:ext cx="93240" cy="186120"/>
              </p14:xfrm>
            </p:contentPart>
          </mc:Choice>
          <mc:Fallback>
            <p:pic>
              <p:nvPicPr>
                <p:cNvPr id="158" name="Ink 157">
                  <a:extLst>
                    <a:ext uri="{FF2B5EF4-FFF2-40B4-BE49-F238E27FC236}">
                      <a16:creationId xmlns:a16="http://schemas.microsoft.com/office/drawing/2014/main" id="{356955BA-A269-1B86-8D7B-79306156863A}"/>
                    </a:ext>
                  </a:extLst>
                </p:cNvPr>
                <p:cNvPicPr/>
                <p:nvPr/>
              </p:nvPicPr>
              <p:blipFill>
                <a:blip r:embed="rId273"/>
                <a:stretch>
                  <a:fillRect/>
                </a:stretch>
              </p:blipFill>
              <p:spPr>
                <a:xfrm>
                  <a:off x="9668621" y="4846892"/>
                  <a:ext cx="123840" cy="216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74">
              <p14:nvContentPartPr>
                <p14:cNvPr id="159" name="Ink 158">
                  <a:extLst>
                    <a:ext uri="{FF2B5EF4-FFF2-40B4-BE49-F238E27FC236}">
                      <a16:creationId xmlns:a16="http://schemas.microsoft.com/office/drawing/2014/main" id="{932390E1-67FC-0235-6066-F51F580A8B3C}"/>
                    </a:ext>
                  </a:extLst>
                </p14:cNvPr>
                <p14:cNvContentPartPr/>
                <p14:nvPr/>
              </p14:nvContentPartPr>
              <p14:xfrm>
                <a:off x="9896141" y="4858772"/>
                <a:ext cx="98280" cy="136080"/>
              </p14:xfrm>
            </p:contentPart>
          </mc:Choice>
          <mc:Fallback>
            <p:pic>
              <p:nvPicPr>
                <p:cNvPr id="159" name="Ink 158">
                  <a:extLst>
                    <a:ext uri="{FF2B5EF4-FFF2-40B4-BE49-F238E27FC236}">
                      <a16:creationId xmlns:a16="http://schemas.microsoft.com/office/drawing/2014/main" id="{932390E1-67FC-0235-6066-F51F580A8B3C}"/>
                    </a:ext>
                  </a:extLst>
                </p:cNvPr>
                <p:cNvPicPr/>
                <p:nvPr/>
              </p:nvPicPr>
              <p:blipFill>
                <a:blip r:embed="rId275"/>
                <a:stretch>
                  <a:fillRect/>
                </a:stretch>
              </p:blipFill>
              <p:spPr>
                <a:xfrm>
                  <a:off x="9881021" y="4843292"/>
                  <a:ext cx="128880" cy="166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76">
              <p14:nvContentPartPr>
                <p14:cNvPr id="160" name="Ink 159">
                  <a:extLst>
                    <a:ext uri="{FF2B5EF4-FFF2-40B4-BE49-F238E27FC236}">
                      <a16:creationId xmlns:a16="http://schemas.microsoft.com/office/drawing/2014/main" id="{5AEB48CB-0B2C-84C5-B640-841956CD5F19}"/>
                    </a:ext>
                  </a:extLst>
                </p14:cNvPr>
                <p14:cNvContentPartPr/>
                <p14:nvPr/>
              </p14:nvContentPartPr>
              <p14:xfrm>
                <a:off x="9931421" y="4872812"/>
                <a:ext cx="236520" cy="212760"/>
              </p14:xfrm>
            </p:contentPart>
          </mc:Choice>
          <mc:Fallback>
            <p:pic>
              <p:nvPicPr>
                <p:cNvPr id="160" name="Ink 159">
                  <a:extLst>
                    <a:ext uri="{FF2B5EF4-FFF2-40B4-BE49-F238E27FC236}">
                      <a16:creationId xmlns:a16="http://schemas.microsoft.com/office/drawing/2014/main" id="{5AEB48CB-0B2C-84C5-B640-841956CD5F19}"/>
                    </a:ext>
                  </a:extLst>
                </p:cNvPr>
                <p:cNvPicPr/>
                <p:nvPr/>
              </p:nvPicPr>
              <p:blipFill>
                <a:blip r:embed="rId277"/>
                <a:stretch>
                  <a:fillRect/>
                </a:stretch>
              </p:blipFill>
              <p:spPr>
                <a:xfrm>
                  <a:off x="9916301" y="4857692"/>
                  <a:ext cx="267120" cy="243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78">
              <p14:nvContentPartPr>
                <p14:cNvPr id="161" name="Ink 160">
                  <a:extLst>
                    <a:ext uri="{FF2B5EF4-FFF2-40B4-BE49-F238E27FC236}">
                      <a16:creationId xmlns:a16="http://schemas.microsoft.com/office/drawing/2014/main" id="{7358A9E8-7AEA-70EB-DFC6-D6C62B357D76}"/>
                    </a:ext>
                  </a:extLst>
                </p14:cNvPr>
                <p14:cNvContentPartPr/>
                <p14:nvPr/>
              </p14:nvContentPartPr>
              <p14:xfrm>
                <a:off x="8876261" y="5181692"/>
                <a:ext cx="812160" cy="54000"/>
              </p14:xfrm>
            </p:contentPart>
          </mc:Choice>
          <mc:Fallback>
            <p:pic>
              <p:nvPicPr>
                <p:cNvPr id="161" name="Ink 160">
                  <a:extLst>
                    <a:ext uri="{FF2B5EF4-FFF2-40B4-BE49-F238E27FC236}">
                      <a16:creationId xmlns:a16="http://schemas.microsoft.com/office/drawing/2014/main" id="{7358A9E8-7AEA-70EB-DFC6-D6C62B357D76}"/>
                    </a:ext>
                  </a:extLst>
                </p:cNvPr>
                <p:cNvPicPr/>
                <p:nvPr/>
              </p:nvPicPr>
              <p:blipFill>
                <a:blip r:embed="rId279"/>
                <a:stretch>
                  <a:fillRect/>
                </a:stretch>
              </p:blipFill>
              <p:spPr>
                <a:xfrm>
                  <a:off x="8860781" y="5166212"/>
                  <a:ext cx="842760" cy="84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80">
              <p14:nvContentPartPr>
                <p14:cNvPr id="162" name="Ink 161">
                  <a:extLst>
                    <a:ext uri="{FF2B5EF4-FFF2-40B4-BE49-F238E27FC236}">
                      <a16:creationId xmlns:a16="http://schemas.microsoft.com/office/drawing/2014/main" id="{92458CF4-8BB5-E13C-A78C-53DA36EB1B8D}"/>
                    </a:ext>
                  </a:extLst>
                </p14:cNvPr>
                <p14:cNvContentPartPr/>
                <p14:nvPr/>
              </p14:nvContentPartPr>
              <p14:xfrm>
                <a:off x="9062741" y="5338292"/>
                <a:ext cx="202680" cy="226080"/>
              </p14:xfrm>
            </p:contentPart>
          </mc:Choice>
          <mc:Fallback>
            <p:pic>
              <p:nvPicPr>
                <p:cNvPr id="162" name="Ink 161">
                  <a:extLst>
                    <a:ext uri="{FF2B5EF4-FFF2-40B4-BE49-F238E27FC236}">
                      <a16:creationId xmlns:a16="http://schemas.microsoft.com/office/drawing/2014/main" id="{92458CF4-8BB5-E13C-A78C-53DA36EB1B8D}"/>
                    </a:ext>
                  </a:extLst>
                </p:cNvPr>
                <p:cNvPicPr/>
                <p:nvPr/>
              </p:nvPicPr>
              <p:blipFill>
                <a:blip r:embed="rId281"/>
                <a:stretch>
                  <a:fillRect/>
                </a:stretch>
              </p:blipFill>
              <p:spPr>
                <a:xfrm>
                  <a:off x="9047261" y="5322812"/>
                  <a:ext cx="233280" cy="256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82">
              <p14:nvContentPartPr>
                <p14:cNvPr id="163" name="Ink 162">
                  <a:extLst>
                    <a:ext uri="{FF2B5EF4-FFF2-40B4-BE49-F238E27FC236}">
                      <a16:creationId xmlns:a16="http://schemas.microsoft.com/office/drawing/2014/main" id="{9CF54F2B-3B3A-E29B-730D-D80B7BC24870}"/>
                    </a:ext>
                  </a:extLst>
                </p14:cNvPr>
                <p14:cNvContentPartPr/>
                <p14:nvPr/>
              </p14:nvContentPartPr>
              <p14:xfrm>
                <a:off x="9246341" y="5372852"/>
                <a:ext cx="114480" cy="160200"/>
              </p14:xfrm>
            </p:contentPart>
          </mc:Choice>
          <mc:Fallback>
            <p:pic>
              <p:nvPicPr>
                <p:cNvPr id="163" name="Ink 162">
                  <a:extLst>
                    <a:ext uri="{FF2B5EF4-FFF2-40B4-BE49-F238E27FC236}">
                      <a16:creationId xmlns:a16="http://schemas.microsoft.com/office/drawing/2014/main" id="{9CF54F2B-3B3A-E29B-730D-D80B7BC24870}"/>
                    </a:ext>
                  </a:extLst>
                </p:cNvPr>
                <p:cNvPicPr/>
                <p:nvPr/>
              </p:nvPicPr>
              <p:blipFill>
                <a:blip r:embed="rId283"/>
                <a:stretch>
                  <a:fillRect/>
                </a:stretch>
              </p:blipFill>
              <p:spPr>
                <a:xfrm>
                  <a:off x="9230861" y="5357732"/>
                  <a:ext cx="144720" cy="190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84">
              <p14:nvContentPartPr>
                <p14:cNvPr id="164" name="Ink 163">
                  <a:extLst>
                    <a:ext uri="{FF2B5EF4-FFF2-40B4-BE49-F238E27FC236}">
                      <a16:creationId xmlns:a16="http://schemas.microsoft.com/office/drawing/2014/main" id="{1781DF42-9B91-BFF6-740B-99ADD6210075}"/>
                    </a:ext>
                  </a:extLst>
                </p14:cNvPr>
                <p14:cNvContentPartPr/>
                <p14:nvPr/>
              </p14:nvContentPartPr>
              <p14:xfrm>
                <a:off x="9421661" y="5416772"/>
                <a:ext cx="158040" cy="176400"/>
              </p14:xfrm>
            </p:contentPart>
          </mc:Choice>
          <mc:Fallback>
            <p:pic>
              <p:nvPicPr>
                <p:cNvPr id="164" name="Ink 163">
                  <a:extLst>
                    <a:ext uri="{FF2B5EF4-FFF2-40B4-BE49-F238E27FC236}">
                      <a16:creationId xmlns:a16="http://schemas.microsoft.com/office/drawing/2014/main" id="{1781DF42-9B91-BFF6-740B-99ADD6210075}"/>
                    </a:ext>
                  </a:extLst>
                </p:cNvPr>
                <p:cNvPicPr/>
                <p:nvPr/>
              </p:nvPicPr>
              <p:blipFill>
                <a:blip r:embed="rId285"/>
                <a:stretch>
                  <a:fillRect/>
                </a:stretch>
              </p:blipFill>
              <p:spPr>
                <a:xfrm>
                  <a:off x="9406181" y="5401652"/>
                  <a:ext cx="188280" cy="207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86">
              <p14:nvContentPartPr>
                <p14:cNvPr id="165" name="Ink 164">
                  <a:extLst>
                    <a:ext uri="{FF2B5EF4-FFF2-40B4-BE49-F238E27FC236}">
                      <a16:creationId xmlns:a16="http://schemas.microsoft.com/office/drawing/2014/main" id="{A876CF9F-0BFB-8BEE-4ACE-58D393E18D7F}"/>
                    </a:ext>
                  </a:extLst>
                </p14:cNvPr>
                <p14:cNvContentPartPr/>
                <p14:nvPr/>
              </p14:nvContentPartPr>
              <p14:xfrm>
                <a:off x="9652781" y="5429732"/>
                <a:ext cx="94680" cy="152640"/>
              </p14:xfrm>
            </p:contentPart>
          </mc:Choice>
          <mc:Fallback>
            <p:pic>
              <p:nvPicPr>
                <p:cNvPr id="165" name="Ink 164">
                  <a:extLst>
                    <a:ext uri="{FF2B5EF4-FFF2-40B4-BE49-F238E27FC236}">
                      <a16:creationId xmlns:a16="http://schemas.microsoft.com/office/drawing/2014/main" id="{A876CF9F-0BFB-8BEE-4ACE-58D393E18D7F}"/>
                    </a:ext>
                  </a:extLst>
                </p:cNvPr>
                <p:cNvPicPr/>
                <p:nvPr/>
              </p:nvPicPr>
              <p:blipFill>
                <a:blip r:embed="rId287"/>
                <a:stretch>
                  <a:fillRect/>
                </a:stretch>
              </p:blipFill>
              <p:spPr>
                <a:xfrm>
                  <a:off x="9637661" y="5414612"/>
                  <a:ext cx="125280" cy="183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88">
              <p14:nvContentPartPr>
                <p14:cNvPr id="166" name="Ink 165">
                  <a:extLst>
                    <a:ext uri="{FF2B5EF4-FFF2-40B4-BE49-F238E27FC236}">
                      <a16:creationId xmlns:a16="http://schemas.microsoft.com/office/drawing/2014/main" id="{20104A48-6922-5530-835E-650C854CCF3E}"/>
                    </a:ext>
                  </a:extLst>
                </p14:cNvPr>
                <p14:cNvContentPartPr/>
                <p14:nvPr/>
              </p14:nvContentPartPr>
              <p14:xfrm>
                <a:off x="9035741" y="4482572"/>
                <a:ext cx="64080" cy="232200"/>
              </p14:xfrm>
            </p:contentPart>
          </mc:Choice>
          <mc:Fallback>
            <p:pic>
              <p:nvPicPr>
                <p:cNvPr id="166" name="Ink 165">
                  <a:extLst>
                    <a:ext uri="{FF2B5EF4-FFF2-40B4-BE49-F238E27FC236}">
                      <a16:creationId xmlns:a16="http://schemas.microsoft.com/office/drawing/2014/main" id="{20104A48-6922-5530-835E-650C854CCF3E}"/>
                    </a:ext>
                  </a:extLst>
                </p:cNvPr>
                <p:cNvPicPr/>
                <p:nvPr/>
              </p:nvPicPr>
              <p:blipFill>
                <a:blip r:embed="rId289"/>
                <a:stretch>
                  <a:fillRect/>
                </a:stretch>
              </p:blipFill>
              <p:spPr>
                <a:xfrm>
                  <a:off x="9020621" y="4467092"/>
                  <a:ext cx="94680" cy="262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90">
              <p14:nvContentPartPr>
                <p14:cNvPr id="167" name="Ink 166">
                  <a:extLst>
                    <a:ext uri="{FF2B5EF4-FFF2-40B4-BE49-F238E27FC236}">
                      <a16:creationId xmlns:a16="http://schemas.microsoft.com/office/drawing/2014/main" id="{FC2A8E8C-BE14-FE8C-2190-DC79B1F97294}"/>
                    </a:ext>
                  </a:extLst>
                </p14:cNvPr>
                <p14:cNvContentPartPr/>
                <p14:nvPr/>
              </p14:nvContentPartPr>
              <p14:xfrm>
                <a:off x="8937461" y="4656812"/>
                <a:ext cx="250200" cy="70200"/>
              </p14:xfrm>
            </p:contentPart>
          </mc:Choice>
          <mc:Fallback>
            <p:pic>
              <p:nvPicPr>
                <p:cNvPr id="167" name="Ink 166">
                  <a:extLst>
                    <a:ext uri="{FF2B5EF4-FFF2-40B4-BE49-F238E27FC236}">
                      <a16:creationId xmlns:a16="http://schemas.microsoft.com/office/drawing/2014/main" id="{FC2A8E8C-BE14-FE8C-2190-DC79B1F97294}"/>
                    </a:ext>
                  </a:extLst>
                </p:cNvPr>
                <p:cNvPicPr/>
                <p:nvPr/>
              </p:nvPicPr>
              <p:blipFill>
                <a:blip r:embed="rId291"/>
                <a:stretch>
                  <a:fillRect/>
                </a:stretch>
              </p:blipFill>
              <p:spPr>
                <a:xfrm>
                  <a:off x="8922341" y="4641692"/>
                  <a:ext cx="280800" cy="100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92">
              <p14:nvContentPartPr>
                <p14:cNvPr id="171" name="Ink 170">
                  <a:extLst>
                    <a:ext uri="{FF2B5EF4-FFF2-40B4-BE49-F238E27FC236}">
                      <a16:creationId xmlns:a16="http://schemas.microsoft.com/office/drawing/2014/main" id="{9781E92E-4789-4DC1-96F3-2DEA15C1B412}"/>
                    </a:ext>
                  </a:extLst>
                </p14:cNvPr>
                <p14:cNvContentPartPr/>
                <p14:nvPr/>
              </p14:nvContentPartPr>
              <p14:xfrm>
                <a:off x="8946821" y="3779132"/>
                <a:ext cx="143640" cy="309600"/>
              </p14:xfrm>
            </p:contentPart>
          </mc:Choice>
          <mc:Fallback>
            <p:pic>
              <p:nvPicPr>
                <p:cNvPr id="171" name="Ink 170">
                  <a:extLst>
                    <a:ext uri="{FF2B5EF4-FFF2-40B4-BE49-F238E27FC236}">
                      <a16:creationId xmlns:a16="http://schemas.microsoft.com/office/drawing/2014/main" id="{9781E92E-4789-4DC1-96F3-2DEA15C1B412}"/>
                    </a:ext>
                  </a:extLst>
                </p:cNvPr>
                <p:cNvPicPr/>
                <p:nvPr/>
              </p:nvPicPr>
              <p:blipFill>
                <a:blip r:embed="rId293"/>
                <a:stretch>
                  <a:fillRect/>
                </a:stretch>
              </p:blipFill>
              <p:spPr>
                <a:xfrm>
                  <a:off x="8931701" y="3764012"/>
                  <a:ext cx="174240" cy="339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94">
              <p14:nvContentPartPr>
                <p14:cNvPr id="172" name="Ink 171">
                  <a:extLst>
                    <a:ext uri="{FF2B5EF4-FFF2-40B4-BE49-F238E27FC236}">
                      <a16:creationId xmlns:a16="http://schemas.microsoft.com/office/drawing/2014/main" id="{291EFACD-4252-4E2B-0438-749DE7D85CDF}"/>
                    </a:ext>
                  </a:extLst>
                </p14:cNvPr>
                <p14:cNvContentPartPr/>
                <p14:nvPr/>
              </p14:nvContentPartPr>
              <p14:xfrm>
                <a:off x="9135101" y="3895052"/>
                <a:ext cx="209880" cy="125280"/>
              </p14:xfrm>
            </p:contentPart>
          </mc:Choice>
          <mc:Fallback>
            <p:pic>
              <p:nvPicPr>
                <p:cNvPr id="172" name="Ink 171">
                  <a:extLst>
                    <a:ext uri="{FF2B5EF4-FFF2-40B4-BE49-F238E27FC236}">
                      <a16:creationId xmlns:a16="http://schemas.microsoft.com/office/drawing/2014/main" id="{291EFACD-4252-4E2B-0438-749DE7D85CDF}"/>
                    </a:ext>
                  </a:extLst>
                </p:cNvPr>
                <p:cNvPicPr/>
                <p:nvPr/>
              </p:nvPicPr>
              <p:blipFill>
                <a:blip r:embed="rId295"/>
                <a:stretch>
                  <a:fillRect/>
                </a:stretch>
              </p:blipFill>
              <p:spPr>
                <a:xfrm>
                  <a:off x="9119981" y="3879572"/>
                  <a:ext cx="240480" cy="155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96">
              <p14:nvContentPartPr>
                <p14:cNvPr id="173" name="Ink 172">
                  <a:extLst>
                    <a:ext uri="{FF2B5EF4-FFF2-40B4-BE49-F238E27FC236}">
                      <a16:creationId xmlns:a16="http://schemas.microsoft.com/office/drawing/2014/main" id="{878C9BAB-A95F-23FF-A9D4-8D85B416843A}"/>
                    </a:ext>
                  </a:extLst>
                </p14:cNvPr>
                <p14:cNvContentPartPr/>
                <p14:nvPr/>
              </p14:nvContentPartPr>
              <p14:xfrm>
                <a:off x="8853221" y="4130132"/>
                <a:ext cx="441000" cy="23760"/>
              </p14:xfrm>
            </p:contentPart>
          </mc:Choice>
          <mc:Fallback>
            <p:pic>
              <p:nvPicPr>
                <p:cNvPr id="173" name="Ink 172">
                  <a:extLst>
                    <a:ext uri="{FF2B5EF4-FFF2-40B4-BE49-F238E27FC236}">
                      <a16:creationId xmlns:a16="http://schemas.microsoft.com/office/drawing/2014/main" id="{878C9BAB-A95F-23FF-A9D4-8D85B416843A}"/>
                    </a:ext>
                  </a:extLst>
                </p:cNvPr>
                <p:cNvPicPr/>
                <p:nvPr/>
              </p:nvPicPr>
              <p:blipFill>
                <a:blip r:embed="rId297"/>
                <a:stretch>
                  <a:fillRect/>
                </a:stretch>
              </p:blipFill>
              <p:spPr>
                <a:xfrm>
                  <a:off x="8837741" y="4115012"/>
                  <a:ext cx="471600" cy="54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98">
              <p14:nvContentPartPr>
                <p14:cNvPr id="174" name="Ink 173">
                  <a:extLst>
                    <a:ext uri="{FF2B5EF4-FFF2-40B4-BE49-F238E27FC236}">
                      <a16:creationId xmlns:a16="http://schemas.microsoft.com/office/drawing/2014/main" id="{B05CBAD0-2629-9D73-B865-41AE5D94854E}"/>
                    </a:ext>
                  </a:extLst>
                </p14:cNvPr>
                <p14:cNvContentPartPr/>
                <p14:nvPr/>
              </p14:nvContentPartPr>
              <p14:xfrm>
                <a:off x="8931701" y="4210412"/>
                <a:ext cx="10080" cy="209880"/>
              </p14:xfrm>
            </p:contentPart>
          </mc:Choice>
          <mc:Fallback>
            <p:pic>
              <p:nvPicPr>
                <p:cNvPr id="174" name="Ink 173">
                  <a:extLst>
                    <a:ext uri="{FF2B5EF4-FFF2-40B4-BE49-F238E27FC236}">
                      <a16:creationId xmlns:a16="http://schemas.microsoft.com/office/drawing/2014/main" id="{B05CBAD0-2629-9D73-B865-41AE5D94854E}"/>
                    </a:ext>
                  </a:extLst>
                </p:cNvPr>
                <p:cNvPicPr/>
                <p:nvPr/>
              </p:nvPicPr>
              <p:blipFill>
                <a:blip r:embed="rId299"/>
                <a:stretch>
                  <a:fillRect/>
                </a:stretch>
              </p:blipFill>
              <p:spPr>
                <a:xfrm>
                  <a:off x="8916581" y="4195292"/>
                  <a:ext cx="40680" cy="240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00">
              <p14:nvContentPartPr>
                <p14:cNvPr id="175" name="Ink 174">
                  <a:extLst>
                    <a:ext uri="{FF2B5EF4-FFF2-40B4-BE49-F238E27FC236}">
                      <a16:creationId xmlns:a16="http://schemas.microsoft.com/office/drawing/2014/main" id="{819491DB-D996-1284-8F72-AF3A9FB211E8}"/>
                    </a:ext>
                  </a:extLst>
                </p14:cNvPr>
                <p14:cNvContentPartPr/>
                <p14:nvPr/>
              </p14:nvContentPartPr>
              <p14:xfrm>
                <a:off x="9027821" y="4284212"/>
                <a:ext cx="60120" cy="101160"/>
              </p14:xfrm>
            </p:contentPart>
          </mc:Choice>
          <mc:Fallback>
            <p:pic>
              <p:nvPicPr>
                <p:cNvPr id="175" name="Ink 174">
                  <a:extLst>
                    <a:ext uri="{FF2B5EF4-FFF2-40B4-BE49-F238E27FC236}">
                      <a16:creationId xmlns:a16="http://schemas.microsoft.com/office/drawing/2014/main" id="{819491DB-D996-1284-8F72-AF3A9FB211E8}"/>
                    </a:ext>
                  </a:extLst>
                </p:cNvPr>
                <p:cNvPicPr/>
                <p:nvPr/>
              </p:nvPicPr>
              <p:blipFill>
                <a:blip r:embed="rId301"/>
                <a:stretch>
                  <a:fillRect/>
                </a:stretch>
              </p:blipFill>
              <p:spPr>
                <a:xfrm>
                  <a:off x="9012701" y="4268732"/>
                  <a:ext cx="90720" cy="131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02">
              <p14:nvContentPartPr>
                <p14:cNvPr id="176" name="Ink 175">
                  <a:extLst>
                    <a:ext uri="{FF2B5EF4-FFF2-40B4-BE49-F238E27FC236}">
                      <a16:creationId xmlns:a16="http://schemas.microsoft.com/office/drawing/2014/main" id="{AC48D1C4-55A7-2907-1453-689A64299734}"/>
                    </a:ext>
                  </a:extLst>
                </p14:cNvPr>
                <p14:cNvContentPartPr/>
                <p14:nvPr/>
              </p14:nvContentPartPr>
              <p14:xfrm>
                <a:off x="9155981" y="4304732"/>
                <a:ext cx="360" cy="360"/>
              </p14:xfrm>
            </p:contentPart>
          </mc:Choice>
          <mc:Fallback>
            <p:pic>
              <p:nvPicPr>
                <p:cNvPr id="176" name="Ink 175">
                  <a:extLst>
                    <a:ext uri="{FF2B5EF4-FFF2-40B4-BE49-F238E27FC236}">
                      <a16:creationId xmlns:a16="http://schemas.microsoft.com/office/drawing/2014/main" id="{AC48D1C4-55A7-2907-1453-689A64299734}"/>
                    </a:ext>
                  </a:extLst>
                </p:cNvPr>
                <p:cNvPicPr/>
                <p:nvPr/>
              </p:nvPicPr>
              <p:blipFill>
                <a:blip r:embed="rId303"/>
                <a:stretch>
                  <a:fillRect/>
                </a:stretch>
              </p:blipFill>
              <p:spPr>
                <a:xfrm>
                  <a:off x="9140501" y="4289612"/>
                  <a:ext cx="30960" cy="30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04">
              <p14:nvContentPartPr>
                <p14:cNvPr id="177" name="Ink 176">
                  <a:extLst>
                    <a:ext uri="{FF2B5EF4-FFF2-40B4-BE49-F238E27FC236}">
                      <a16:creationId xmlns:a16="http://schemas.microsoft.com/office/drawing/2014/main" id="{71768B28-5CCA-CC0D-5683-8C8DDBB05C80}"/>
                    </a:ext>
                  </a:extLst>
                </p14:cNvPr>
                <p14:cNvContentPartPr/>
                <p14:nvPr/>
              </p14:nvContentPartPr>
              <p14:xfrm>
                <a:off x="8887781" y="4211492"/>
                <a:ext cx="122400" cy="234360"/>
              </p14:xfrm>
            </p:contentPart>
          </mc:Choice>
          <mc:Fallback>
            <p:pic>
              <p:nvPicPr>
                <p:cNvPr id="177" name="Ink 176">
                  <a:extLst>
                    <a:ext uri="{FF2B5EF4-FFF2-40B4-BE49-F238E27FC236}">
                      <a16:creationId xmlns:a16="http://schemas.microsoft.com/office/drawing/2014/main" id="{71768B28-5CCA-CC0D-5683-8C8DDBB05C80}"/>
                    </a:ext>
                  </a:extLst>
                </p:cNvPr>
                <p:cNvPicPr/>
                <p:nvPr/>
              </p:nvPicPr>
              <p:blipFill>
                <a:blip r:embed="rId305"/>
                <a:stretch>
                  <a:fillRect/>
                </a:stretch>
              </p:blipFill>
              <p:spPr>
                <a:xfrm>
                  <a:off x="8872661" y="4196372"/>
                  <a:ext cx="153000" cy="264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06">
              <p14:nvContentPartPr>
                <p14:cNvPr id="178" name="Ink 177">
                  <a:extLst>
                    <a:ext uri="{FF2B5EF4-FFF2-40B4-BE49-F238E27FC236}">
                      <a16:creationId xmlns:a16="http://schemas.microsoft.com/office/drawing/2014/main" id="{E68C0514-F3BE-FFDB-61B8-AB44FE44B3C3}"/>
                    </a:ext>
                  </a:extLst>
                </p14:cNvPr>
                <p14:cNvContentPartPr/>
                <p14:nvPr/>
              </p14:nvContentPartPr>
              <p14:xfrm>
                <a:off x="9022061" y="4243892"/>
                <a:ext cx="159480" cy="149400"/>
              </p14:xfrm>
            </p:contentPart>
          </mc:Choice>
          <mc:Fallback>
            <p:pic>
              <p:nvPicPr>
                <p:cNvPr id="178" name="Ink 177">
                  <a:extLst>
                    <a:ext uri="{FF2B5EF4-FFF2-40B4-BE49-F238E27FC236}">
                      <a16:creationId xmlns:a16="http://schemas.microsoft.com/office/drawing/2014/main" id="{E68C0514-F3BE-FFDB-61B8-AB44FE44B3C3}"/>
                    </a:ext>
                  </a:extLst>
                </p:cNvPr>
                <p:cNvPicPr/>
                <p:nvPr/>
              </p:nvPicPr>
              <p:blipFill>
                <a:blip r:embed="rId307"/>
                <a:stretch>
                  <a:fillRect/>
                </a:stretch>
              </p:blipFill>
              <p:spPr>
                <a:xfrm>
                  <a:off x="9006941" y="4228772"/>
                  <a:ext cx="190080" cy="180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08">
              <p14:nvContentPartPr>
                <p14:cNvPr id="183" name="Ink 182">
                  <a:extLst>
                    <a:ext uri="{FF2B5EF4-FFF2-40B4-BE49-F238E27FC236}">
                      <a16:creationId xmlns:a16="http://schemas.microsoft.com/office/drawing/2014/main" id="{B4165434-5725-587F-9318-E18A86FF9574}"/>
                    </a:ext>
                  </a:extLst>
                </p14:cNvPr>
                <p14:cNvContentPartPr/>
                <p14:nvPr/>
              </p14:nvContentPartPr>
              <p14:xfrm>
                <a:off x="8587901" y="5142812"/>
                <a:ext cx="280440" cy="78480"/>
              </p14:xfrm>
            </p:contentPart>
          </mc:Choice>
          <mc:Fallback>
            <p:pic>
              <p:nvPicPr>
                <p:cNvPr id="183" name="Ink 182">
                  <a:extLst>
                    <a:ext uri="{FF2B5EF4-FFF2-40B4-BE49-F238E27FC236}">
                      <a16:creationId xmlns:a16="http://schemas.microsoft.com/office/drawing/2014/main" id="{B4165434-5725-587F-9318-E18A86FF9574}"/>
                    </a:ext>
                  </a:extLst>
                </p:cNvPr>
                <p:cNvPicPr/>
                <p:nvPr/>
              </p:nvPicPr>
              <p:blipFill>
                <a:blip r:embed="rId309"/>
                <a:stretch>
                  <a:fillRect/>
                </a:stretch>
              </p:blipFill>
              <p:spPr>
                <a:xfrm>
                  <a:off x="8572421" y="5127692"/>
                  <a:ext cx="311040" cy="108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10">
              <p14:nvContentPartPr>
                <p14:cNvPr id="184" name="Ink 183">
                  <a:extLst>
                    <a:ext uri="{FF2B5EF4-FFF2-40B4-BE49-F238E27FC236}">
                      <a16:creationId xmlns:a16="http://schemas.microsoft.com/office/drawing/2014/main" id="{1E40A065-3AFB-FDEB-44E6-8DF1F14776CD}"/>
                    </a:ext>
                  </a:extLst>
                </p14:cNvPr>
                <p14:cNvContentPartPr/>
                <p14:nvPr/>
              </p14:nvContentPartPr>
              <p14:xfrm>
                <a:off x="8710661" y="5219852"/>
                <a:ext cx="188280" cy="29160"/>
              </p14:xfrm>
            </p:contentPart>
          </mc:Choice>
          <mc:Fallback>
            <p:pic>
              <p:nvPicPr>
                <p:cNvPr id="184" name="Ink 183">
                  <a:extLst>
                    <a:ext uri="{FF2B5EF4-FFF2-40B4-BE49-F238E27FC236}">
                      <a16:creationId xmlns:a16="http://schemas.microsoft.com/office/drawing/2014/main" id="{1E40A065-3AFB-FDEB-44E6-8DF1F14776CD}"/>
                    </a:ext>
                  </a:extLst>
                </p:cNvPr>
                <p:cNvPicPr/>
                <p:nvPr/>
              </p:nvPicPr>
              <p:blipFill>
                <a:blip r:embed="rId311"/>
                <a:stretch>
                  <a:fillRect/>
                </a:stretch>
              </p:blipFill>
              <p:spPr>
                <a:xfrm>
                  <a:off x="8695181" y="5204732"/>
                  <a:ext cx="218520" cy="59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12">
              <p14:nvContentPartPr>
                <p14:cNvPr id="185" name="Ink 184">
                  <a:extLst>
                    <a:ext uri="{FF2B5EF4-FFF2-40B4-BE49-F238E27FC236}">
                      <a16:creationId xmlns:a16="http://schemas.microsoft.com/office/drawing/2014/main" id="{760676A8-3EFE-B9C7-27AA-F631D0DF56B4}"/>
                    </a:ext>
                  </a:extLst>
                </p14:cNvPr>
                <p14:cNvContentPartPr/>
                <p14:nvPr/>
              </p14:nvContentPartPr>
              <p14:xfrm>
                <a:off x="8960141" y="5222732"/>
                <a:ext cx="878760" cy="68400"/>
              </p14:xfrm>
            </p:contentPart>
          </mc:Choice>
          <mc:Fallback>
            <p:pic>
              <p:nvPicPr>
                <p:cNvPr id="185" name="Ink 184">
                  <a:extLst>
                    <a:ext uri="{FF2B5EF4-FFF2-40B4-BE49-F238E27FC236}">
                      <a16:creationId xmlns:a16="http://schemas.microsoft.com/office/drawing/2014/main" id="{760676A8-3EFE-B9C7-27AA-F631D0DF56B4}"/>
                    </a:ext>
                  </a:extLst>
                </p:cNvPr>
                <p:cNvPicPr/>
                <p:nvPr/>
              </p:nvPicPr>
              <p:blipFill>
                <a:blip r:embed="rId313"/>
                <a:stretch>
                  <a:fillRect/>
                </a:stretch>
              </p:blipFill>
              <p:spPr>
                <a:xfrm>
                  <a:off x="8945021" y="5207252"/>
                  <a:ext cx="909000" cy="986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19" name="Group 218">
            <a:extLst>
              <a:ext uri="{FF2B5EF4-FFF2-40B4-BE49-F238E27FC236}">
                <a16:creationId xmlns:a16="http://schemas.microsoft.com/office/drawing/2014/main" id="{F5312C9E-8C44-C91A-2AAE-325F4AC06552}"/>
              </a:ext>
            </a:extLst>
          </p:cNvPr>
          <p:cNvGrpSpPr/>
          <p:nvPr/>
        </p:nvGrpSpPr>
        <p:grpSpPr>
          <a:xfrm>
            <a:off x="9841061" y="3420212"/>
            <a:ext cx="1533240" cy="1247040"/>
            <a:chOff x="9841061" y="3420212"/>
            <a:chExt cx="1533240" cy="12470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314">
              <p14:nvContentPartPr>
                <p14:cNvPr id="187" name="Ink 186">
                  <a:extLst>
                    <a:ext uri="{FF2B5EF4-FFF2-40B4-BE49-F238E27FC236}">
                      <a16:creationId xmlns:a16="http://schemas.microsoft.com/office/drawing/2014/main" id="{2402BDDB-8A14-897B-357B-8E9FD6D02EE3}"/>
                    </a:ext>
                  </a:extLst>
                </p14:cNvPr>
                <p14:cNvContentPartPr/>
                <p14:nvPr/>
              </p14:nvContentPartPr>
              <p14:xfrm>
                <a:off x="9870941" y="3420212"/>
                <a:ext cx="121320" cy="231120"/>
              </p14:xfrm>
            </p:contentPart>
          </mc:Choice>
          <mc:Fallback>
            <p:pic>
              <p:nvPicPr>
                <p:cNvPr id="187" name="Ink 186">
                  <a:extLst>
                    <a:ext uri="{FF2B5EF4-FFF2-40B4-BE49-F238E27FC236}">
                      <a16:creationId xmlns:a16="http://schemas.microsoft.com/office/drawing/2014/main" id="{2402BDDB-8A14-897B-357B-8E9FD6D02EE3}"/>
                    </a:ext>
                  </a:extLst>
                </p:cNvPr>
                <p:cNvPicPr/>
                <p:nvPr/>
              </p:nvPicPr>
              <p:blipFill>
                <a:blip r:embed="rId315"/>
                <a:stretch>
                  <a:fillRect/>
                </a:stretch>
              </p:blipFill>
              <p:spPr>
                <a:xfrm>
                  <a:off x="9855461" y="3405092"/>
                  <a:ext cx="151920" cy="261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16">
              <p14:nvContentPartPr>
                <p14:cNvPr id="188" name="Ink 187">
                  <a:extLst>
                    <a:ext uri="{FF2B5EF4-FFF2-40B4-BE49-F238E27FC236}">
                      <a16:creationId xmlns:a16="http://schemas.microsoft.com/office/drawing/2014/main" id="{F9B61FCC-D006-16C7-ACB1-28880F3BA934}"/>
                    </a:ext>
                  </a:extLst>
                </p14:cNvPr>
                <p14:cNvContentPartPr/>
                <p14:nvPr/>
              </p14:nvContentPartPr>
              <p14:xfrm>
                <a:off x="10100981" y="3474212"/>
                <a:ext cx="98280" cy="125280"/>
              </p14:xfrm>
            </p:contentPart>
          </mc:Choice>
          <mc:Fallback>
            <p:pic>
              <p:nvPicPr>
                <p:cNvPr id="188" name="Ink 187">
                  <a:extLst>
                    <a:ext uri="{FF2B5EF4-FFF2-40B4-BE49-F238E27FC236}">
                      <a16:creationId xmlns:a16="http://schemas.microsoft.com/office/drawing/2014/main" id="{F9B61FCC-D006-16C7-ACB1-28880F3BA934}"/>
                    </a:ext>
                  </a:extLst>
                </p:cNvPr>
                <p:cNvPicPr/>
                <p:nvPr/>
              </p:nvPicPr>
              <p:blipFill>
                <a:blip r:embed="rId317"/>
                <a:stretch>
                  <a:fillRect/>
                </a:stretch>
              </p:blipFill>
              <p:spPr>
                <a:xfrm>
                  <a:off x="10085861" y="3459092"/>
                  <a:ext cx="128880" cy="155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18">
              <p14:nvContentPartPr>
                <p14:cNvPr id="189" name="Ink 188">
                  <a:extLst>
                    <a:ext uri="{FF2B5EF4-FFF2-40B4-BE49-F238E27FC236}">
                      <a16:creationId xmlns:a16="http://schemas.microsoft.com/office/drawing/2014/main" id="{F2265102-0F02-E5F8-A0E8-D2B300F747AB}"/>
                    </a:ext>
                  </a:extLst>
                </p14:cNvPr>
                <p14:cNvContentPartPr/>
                <p14:nvPr/>
              </p14:nvContentPartPr>
              <p14:xfrm>
                <a:off x="10286741" y="3537932"/>
                <a:ext cx="2880" cy="4680"/>
              </p14:xfrm>
            </p:contentPart>
          </mc:Choice>
          <mc:Fallback>
            <p:pic>
              <p:nvPicPr>
                <p:cNvPr id="189" name="Ink 188">
                  <a:extLst>
                    <a:ext uri="{FF2B5EF4-FFF2-40B4-BE49-F238E27FC236}">
                      <a16:creationId xmlns:a16="http://schemas.microsoft.com/office/drawing/2014/main" id="{F2265102-0F02-E5F8-A0E8-D2B300F747AB}"/>
                    </a:ext>
                  </a:extLst>
                </p:cNvPr>
                <p:cNvPicPr/>
                <p:nvPr/>
              </p:nvPicPr>
              <p:blipFill>
                <a:blip r:embed="rId319"/>
                <a:stretch>
                  <a:fillRect/>
                </a:stretch>
              </p:blipFill>
              <p:spPr>
                <a:xfrm>
                  <a:off x="10271261" y="3522812"/>
                  <a:ext cx="33480" cy="34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20">
              <p14:nvContentPartPr>
                <p14:cNvPr id="190" name="Ink 189">
                  <a:extLst>
                    <a:ext uri="{FF2B5EF4-FFF2-40B4-BE49-F238E27FC236}">
                      <a16:creationId xmlns:a16="http://schemas.microsoft.com/office/drawing/2014/main" id="{DA1D37CE-2AC1-F8A2-5C74-860382FB2EE2}"/>
                    </a:ext>
                  </a:extLst>
                </p14:cNvPr>
                <p14:cNvContentPartPr/>
                <p14:nvPr/>
              </p14:nvContentPartPr>
              <p14:xfrm>
                <a:off x="9909461" y="3667532"/>
                <a:ext cx="193320" cy="18360"/>
              </p14:xfrm>
            </p:contentPart>
          </mc:Choice>
          <mc:Fallback>
            <p:pic>
              <p:nvPicPr>
                <p:cNvPr id="190" name="Ink 189">
                  <a:extLst>
                    <a:ext uri="{FF2B5EF4-FFF2-40B4-BE49-F238E27FC236}">
                      <a16:creationId xmlns:a16="http://schemas.microsoft.com/office/drawing/2014/main" id="{DA1D37CE-2AC1-F8A2-5C74-860382FB2EE2}"/>
                    </a:ext>
                  </a:extLst>
                </p:cNvPr>
                <p:cNvPicPr/>
                <p:nvPr/>
              </p:nvPicPr>
              <p:blipFill>
                <a:blip r:embed="rId321"/>
                <a:stretch>
                  <a:fillRect/>
                </a:stretch>
              </p:blipFill>
              <p:spPr>
                <a:xfrm>
                  <a:off x="9894341" y="3652412"/>
                  <a:ext cx="223920" cy="48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22">
              <p14:nvContentPartPr>
                <p14:cNvPr id="191" name="Ink 190">
                  <a:extLst>
                    <a:ext uri="{FF2B5EF4-FFF2-40B4-BE49-F238E27FC236}">
                      <a16:creationId xmlns:a16="http://schemas.microsoft.com/office/drawing/2014/main" id="{1E3EA6BE-9036-E0C8-1DE5-F90F5CD34276}"/>
                    </a:ext>
                  </a:extLst>
                </p14:cNvPr>
                <p14:cNvContentPartPr/>
                <p14:nvPr/>
              </p14:nvContentPartPr>
              <p14:xfrm>
                <a:off x="9967061" y="3684092"/>
                <a:ext cx="271080" cy="201240"/>
              </p14:xfrm>
            </p:contentPart>
          </mc:Choice>
          <mc:Fallback>
            <p:pic>
              <p:nvPicPr>
                <p:cNvPr id="191" name="Ink 190">
                  <a:extLst>
                    <a:ext uri="{FF2B5EF4-FFF2-40B4-BE49-F238E27FC236}">
                      <a16:creationId xmlns:a16="http://schemas.microsoft.com/office/drawing/2014/main" id="{1E3EA6BE-9036-E0C8-1DE5-F90F5CD34276}"/>
                    </a:ext>
                  </a:extLst>
                </p:cNvPr>
                <p:cNvPicPr/>
                <p:nvPr/>
              </p:nvPicPr>
              <p:blipFill>
                <a:blip r:embed="rId323"/>
                <a:stretch>
                  <a:fillRect/>
                </a:stretch>
              </p:blipFill>
              <p:spPr>
                <a:xfrm>
                  <a:off x="9951941" y="3668972"/>
                  <a:ext cx="301680" cy="231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24">
              <p14:nvContentPartPr>
                <p14:cNvPr id="192" name="Ink 191">
                  <a:extLst>
                    <a:ext uri="{FF2B5EF4-FFF2-40B4-BE49-F238E27FC236}">
                      <a16:creationId xmlns:a16="http://schemas.microsoft.com/office/drawing/2014/main" id="{850FA7C2-6BBD-48D2-7A1B-BA27E178B2A1}"/>
                    </a:ext>
                  </a:extLst>
                </p14:cNvPr>
                <p14:cNvContentPartPr/>
                <p14:nvPr/>
              </p14:nvContentPartPr>
              <p14:xfrm>
                <a:off x="10432541" y="3645212"/>
                <a:ext cx="20160" cy="12960"/>
              </p14:xfrm>
            </p:contentPart>
          </mc:Choice>
          <mc:Fallback>
            <p:pic>
              <p:nvPicPr>
                <p:cNvPr id="192" name="Ink 191">
                  <a:extLst>
                    <a:ext uri="{FF2B5EF4-FFF2-40B4-BE49-F238E27FC236}">
                      <a16:creationId xmlns:a16="http://schemas.microsoft.com/office/drawing/2014/main" id="{850FA7C2-6BBD-48D2-7A1B-BA27E178B2A1}"/>
                    </a:ext>
                  </a:extLst>
                </p:cNvPr>
                <p:cNvPicPr/>
                <p:nvPr/>
              </p:nvPicPr>
              <p:blipFill>
                <a:blip r:embed="rId325"/>
                <a:stretch>
                  <a:fillRect/>
                </a:stretch>
              </p:blipFill>
              <p:spPr>
                <a:xfrm>
                  <a:off x="10417421" y="3630092"/>
                  <a:ext cx="50760" cy="43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26">
              <p14:nvContentPartPr>
                <p14:cNvPr id="194" name="Ink 193">
                  <a:extLst>
                    <a:ext uri="{FF2B5EF4-FFF2-40B4-BE49-F238E27FC236}">
                      <a16:creationId xmlns:a16="http://schemas.microsoft.com/office/drawing/2014/main" id="{197E8476-B31B-135A-9B67-98C29CD5AFE0}"/>
                    </a:ext>
                  </a:extLst>
                </p14:cNvPr>
                <p14:cNvContentPartPr/>
                <p14:nvPr/>
              </p14:nvContentPartPr>
              <p14:xfrm>
                <a:off x="10703621" y="3485372"/>
                <a:ext cx="122760" cy="244440"/>
              </p14:xfrm>
            </p:contentPart>
          </mc:Choice>
          <mc:Fallback>
            <p:pic>
              <p:nvPicPr>
                <p:cNvPr id="194" name="Ink 193">
                  <a:extLst>
                    <a:ext uri="{FF2B5EF4-FFF2-40B4-BE49-F238E27FC236}">
                      <a16:creationId xmlns:a16="http://schemas.microsoft.com/office/drawing/2014/main" id="{197E8476-B31B-135A-9B67-98C29CD5AFE0}"/>
                    </a:ext>
                  </a:extLst>
                </p:cNvPr>
                <p:cNvPicPr/>
                <p:nvPr/>
              </p:nvPicPr>
              <p:blipFill>
                <a:blip r:embed="rId327"/>
                <a:stretch>
                  <a:fillRect/>
                </a:stretch>
              </p:blipFill>
              <p:spPr>
                <a:xfrm>
                  <a:off x="10688141" y="3469892"/>
                  <a:ext cx="153360" cy="275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28">
              <p14:nvContentPartPr>
                <p14:cNvPr id="195" name="Ink 194">
                  <a:extLst>
                    <a:ext uri="{FF2B5EF4-FFF2-40B4-BE49-F238E27FC236}">
                      <a16:creationId xmlns:a16="http://schemas.microsoft.com/office/drawing/2014/main" id="{F3C18FC8-640D-DCDE-0810-954CA7EA2F84}"/>
                    </a:ext>
                  </a:extLst>
                </p14:cNvPr>
                <p14:cNvContentPartPr/>
                <p14:nvPr/>
              </p14:nvContentPartPr>
              <p14:xfrm>
                <a:off x="10847621" y="3587612"/>
                <a:ext cx="155160" cy="57600"/>
              </p14:xfrm>
            </p:contentPart>
          </mc:Choice>
          <mc:Fallback>
            <p:pic>
              <p:nvPicPr>
                <p:cNvPr id="195" name="Ink 194">
                  <a:extLst>
                    <a:ext uri="{FF2B5EF4-FFF2-40B4-BE49-F238E27FC236}">
                      <a16:creationId xmlns:a16="http://schemas.microsoft.com/office/drawing/2014/main" id="{F3C18FC8-640D-DCDE-0810-954CA7EA2F84}"/>
                    </a:ext>
                  </a:extLst>
                </p:cNvPr>
                <p:cNvPicPr/>
                <p:nvPr/>
              </p:nvPicPr>
              <p:blipFill>
                <a:blip r:embed="rId329"/>
                <a:stretch>
                  <a:fillRect/>
                </a:stretch>
              </p:blipFill>
              <p:spPr>
                <a:xfrm>
                  <a:off x="10832501" y="3572132"/>
                  <a:ext cx="185400" cy="88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30">
              <p14:nvContentPartPr>
                <p14:cNvPr id="196" name="Ink 195">
                  <a:extLst>
                    <a:ext uri="{FF2B5EF4-FFF2-40B4-BE49-F238E27FC236}">
                      <a16:creationId xmlns:a16="http://schemas.microsoft.com/office/drawing/2014/main" id="{A5932CC8-33BD-D626-15A8-BA0C14378DDA}"/>
                    </a:ext>
                  </a:extLst>
                </p14:cNvPr>
                <p14:cNvContentPartPr/>
                <p14:nvPr/>
              </p14:nvContentPartPr>
              <p14:xfrm>
                <a:off x="10478261" y="3857612"/>
                <a:ext cx="374400" cy="20520"/>
              </p14:xfrm>
            </p:contentPart>
          </mc:Choice>
          <mc:Fallback>
            <p:pic>
              <p:nvPicPr>
                <p:cNvPr id="196" name="Ink 195">
                  <a:extLst>
                    <a:ext uri="{FF2B5EF4-FFF2-40B4-BE49-F238E27FC236}">
                      <a16:creationId xmlns:a16="http://schemas.microsoft.com/office/drawing/2014/main" id="{A5932CC8-33BD-D626-15A8-BA0C14378DDA}"/>
                    </a:ext>
                  </a:extLst>
                </p:cNvPr>
                <p:cNvPicPr/>
                <p:nvPr/>
              </p:nvPicPr>
              <p:blipFill>
                <a:blip r:embed="rId331"/>
                <a:stretch>
                  <a:fillRect/>
                </a:stretch>
              </p:blipFill>
              <p:spPr>
                <a:xfrm>
                  <a:off x="10462781" y="3842492"/>
                  <a:ext cx="405000" cy="51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32">
              <p14:nvContentPartPr>
                <p14:cNvPr id="197" name="Ink 196">
                  <a:extLst>
                    <a:ext uri="{FF2B5EF4-FFF2-40B4-BE49-F238E27FC236}">
                      <a16:creationId xmlns:a16="http://schemas.microsoft.com/office/drawing/2014/main" id="{C9439FC6-79C2-84D3-1508-4F06B1C2F866}"/>
                    </a:ext>
                  </a:extLst>
                </p14:cNvPr>
                <p14:cNvContentPartPr/>
                <p14:nvPr/>
              </p14:nvContentPartPr>
              <p14:xfrm>
                <a:off x="10466741" y="3920972"/>
                <a:ext cx="239040" cy="130680"/>
              </p14:xfrm>
            </p:contentPart>
          </mc:Choice>
          <mc:Fallback>
            <p:pic>
              <p:nvPicPr>
                <p:cNvPr id="197" name="Ink 196">
                  <a:extLst>
                    <a:ext uri="{FF2B5EF4-FFF2-40B4-BE49-F238E27FC236}">
                      <a16:creationId xmlns:a16="http://schemas.microsoft.com/office/drawing/2014/main" id="{C9439FC6-79C2-84D3-1508-4F06B1C2F866}"/>
                    </a:ext>
                  </a:extLst>
                </p:cNvPr>
                <p:cNvPicPr/>
                <p:nvPr/>
              </p:nvPicPr>
              <p:blipFill>
                <a:blip r:embed="rId333"/>
                <a:stretch>
                  <a:fillRect/>
                </a:stretch>
              </p:blipFill>
              <p:spPr>
                <a:xfrm>
                  <a:off x="10451621" y="3905492"/>
                  <a:ext cx="269640" cy="161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34">
              <p14:nvContentPartPr>
                <p14:cNvPr id="198" name="Ink 197">
                  <a:extLst>
                    <a:ext uri="{FF2B5EF4-FFF2-40B4-BE49-F238E27FC236}">
                      <a16:creationId xmlns:a16="http://schemas.microsoft.com/office/drawing/2014/main" id="{19EEAE9F-EF81-087B-56A9-3FC9E913FA4A}"/>
                    </a:ext>
                  </a:extLst>
                </p14:cNvPr>
                <p14:cNvContentPartPr/>
                <p14:nvPr/>
              </p14:nvContentPartPr>
              <p14:xfrm>
                <a:off x="10729541" y="3998372"/>
                <a:ext cx="133200" cy="81720"/>
              </p14:xfrm>
            </p:contentPart>
          </mc:Choice>
          <mc:Fallback>
            <p:pic>
              <p:nvPicPr>
                <p:cNvPr id="198" name="Ink 197">
                  <a:extLst>
                    <a:ext uri="{FF2B5EF4-FFF2-40B4-BE49-F238E27FC236}">
                      <a16:creationId xmlns:a16="http://schemas.microsoft.com/office/drawing/2014/main" id="{19EEAE9F-EF81-087B-56A9-3FC9E913FA4A}"/>
                    </a:ext>
                  </a:extLst>
                </p:cNvPr>
                <p:cNvPicPr/>
                <p:nvPr/>
              </p:nvPicPr>
              <p:blipFill>
                <a:blip r:embed="rId335"/>
                <a:stretch>
                  <a:fillRect/>
                </a:stretch>
              </p:blipFill>
              <p:spPr>
                <a:xfrm>
                  <a:off x="10714421" y="3983252"/>
                  <a:ext cx="163800" cy="112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36">
              <p14:nvContentPartPr>
                <p14:cNvPr id="199" name="Ink 198">
                  <a:extLst>
                    <a:ext uri="{FF2B5EF4-FFF2-40B4-BE49-F238E27FC236}">
                      <a16:creationId xmlns:a16="http://schemas.microsoft.com/office/drawing/2014/main" id="{8FC431E1-4D84-4343-D5F2-93586F54E0D6}"/>
                    </a:ext>
                  </a:extLst>
                </p14:cNvPr>
                <p14:cNvContentPartPr/>
                <p14:nvPr/>
              </p14:nvContentPartPr>
              <p14:xfrm>
                <a:off x="9841061" y="4143812"/>
                <a:ext cx="939600" cy="118440"/>
              </p14:xfrm>
            </p:contentPart>
          </mc:Choice>
          <mc:Fallback>
            <p:pic>
              <p:nvPicPr>
                <p:cNvPr id="199" name="Ink 198">
                  <a:extLst>
                    <a:ext uri="{FF2B5EF4-FFF2-40B4-BE49-F238E27FC236}">
                      <a16:creationId xmlns:a16="http://schemas.microsoft.com/office/drawing/2014/main" id="{8FC431E1-4D84-4343-D5F2-93586F54E0D6}"/>
                    </a:ext>
                  </a:extLst>
                </p:cNvPr>
                <p:cNvPicPr/>
                <p:nvPr/>
              </p:nvPicPr>
              <p:blipFill>
                <a:blip r:embed="rId337"/>
                <a:stretch>
                  <a:fillRect/>
                </a:stretch>
              </p:blipFill>
              <p:spPr>
                <a:xfrm>
                  <a:off x="9825941" y="4128692"/>
                  <a:ext cx="970200" cy="149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38">
              <p14:nvContentPartPr>
                <p14:cNvPr id="200" name="Ink 199">
                  <a:extLst>
                    <a:ext uri="{FF2B5EF4-FFF2-40B4-BE49-F238E27FC236}">
                      <a16:creationId xmlns:a16="http://schemas.microsoft.com/office/drawing/2014/main" id="{6C129ED6-5849-69F9-9656-C654CE922D22}"/>
                    </a:ext>
                  </a:extLst>
                </p14:cNvPr>
                <p14:cNvContentPartPr/>
                <p14:nvPr/>
              </p14:nvContentPartPr>
              <p14:xfrm>
                <a:off x="10029701" y="4284572"/>
                <a:ext cx="102240" cy="210960"/>
              </p14:xfrm>
            </p:contentPart>
          </mc:Choice>
          <mc:Fallback>
            <p:pic>
              <p:nvPicPr>
                <p:cNvPr id="200" name="Ink 199">
                  <a:extLst>
                    <a:ext uri="{FF2B5EF4-FFF2-40B4-BE49-F238E27FC236}">
                      <a16:creationId xmlns:a16="http://schemas.microsoft.com/office/drawing/2014/main" id="{6C129ED6-5849-69F9-9656-C654CE922D22}"/>
                    </a:ext>
                  </a:extLst>
                </p:cNvPr>
                <p:cNvPicPr/>
                <p:nvPr/>
              </p:nvPicPr>
              <p:blipFill>
                <a:blip r:embed="rId339"/>
                <a:stretch>
                  <a:fillRect/>
                </a:stretch>
              </p:blipFill>
              <p:spPr>
                <a:xfrm>
                  <a:off x="10014581" y="4269452"/>
                  <a:ext cx="132840" cy="241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40">
              <p14:nvContentPartPr>
                <p14:cNvPr id="201" name="Ink 200">
                  <a:extLst>
                    <a:ext uri="{FF2B5EF4-FFF2-40B4-BE49-F238E27FC236}">
                      <a16:creationId xmlns:a16="http://schemas.microsoft.com/office/drawing/2014/main" id="{BB26B2C3-CDD6-DB87-EFC5-42CC799E923D}"/>
                    </a:ext>
                  </a:extLst>
                </p14:cNvPr>
                <p14:cNvContentPartPr/>
                <p14:nvPr/>
              </p14:nvContentPartPr>
              <p14:xfrm>
                <a:off x="10166141" y="4368452"/>
                <a:ext cx="103680" cy="105120"/>
              </p14:xfrm>
            </p:contentPart>
          </mc:Choice>
          <mc:Fallback>
            <p:pic>
              <p:nvPicPr>
                <p:cNvPr id="201" name="Ink 200">
                  <a:extLst>
                    <a:ext uri="{FF2B5EF4-FFF2-40B4-BE49-F238E27FC236}">
                      <a16:creationId xmlns:a16="http://schemas.microsoft.com/office/drawing/2014/main" id="{BB26B2C3-CDD6-DB87-EFC5-42CC799E923D}"/>
                    </a:ext>
                  </a:extLst>
                </p:cNvPr>
                <p:cNvPicPr/>
                <p:nvPr/>
              </p:nvPicPr>
              <p:blipFill>
                <a:blip r:embed="rId341"/>
                <a:stretch>
                  <a:fillRect/>
                </a:stretch>
              </p:blipFill>
              <p:spPr>
                <a:xfrm>
                  <a:off x="10151021" y="4353332"/>
                  <a:ext cx="134280" cy="135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42">
              <p14:nvContentPartPr>
                <p14:cNvPr id="202" name="Ink 201">
                  <a:extLst>
                    <a:ext uri="{FF2B5EF4-FFF2-40B4-BE49-F238E27FC236}">
                      <a16:creationId xmlns:a16="http://schemas.microsoft.com/office/drawing/2014/main" id="{F79DCA20-5EE5-2C16-7F86-F54D41A3D309}"/>
                    </a:ext>
                  </a:extLst>
                </p14:cNvPr>
                <p14:cNvContentPartPr/>
                <p14:nvPr/>
              </p14:nvContentPartPr>
              <p14:xfrm>
                <a:off x="10157141" y="4460612"/>
                <a:ext cx="165600" cy="187920"/>
              </p14:xfrm>
            </p:contentPart>
          </mc:Choice>
          <mc:Fallback>
            <p:pic>
              <p:nvPicPr>
                <p:cNvPr id="202" name="Ink 201">
                  <a:extLst>
                    <a:ext uri="{FF2B5EF4-FFF2-40B4-BE49-F238E27FC236}">
                      <a16:creationId xmlns:a16="http://schemas.microsoft.com/office/drawing/2014/main" id="{F79DCA20-5EE5-2C16-7F86-F54D41A3D309}"/>
                    </a:ext>
                  </a:extLst>
                </p:cNvPr>
                <p:cNvPicPr/>
                <p:nvPr/>
              </p:nvPicPr>
              <p:blipFill>
                <a:blip r:embed="rId343"/>
                <a:stretch>
                  <a:fillRect/>
                </a:stretch>
              </p:blipFill>
              <p:spPr>
                <a:xfrm>
                  <a:off x="10142021" y="4445132"/>
                  <a:ext cx="196200" cy="218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44">
              <p14:nvContentPartPr>
                <p14:cNvPr id="203" name="Ink 202">
                  <a:extLst>
                    <a:ext uri="{FF2B5EF4-FFF2-40B4-BE49-F238E27FC236}">
                      <a16:creationId xmlns:a16="http://schemas.microsoft.com/office/drawing/2014/main" id="{32FC7718-154D-A47E-BFBF-CB941BB2675D}"/>
                    </a:ext>
                  </a:extLst>
                </p14:cNvPr>
                <p14:cNvContentPartPr/>
                <p14:nvPr/>
              </p14:nvContentPartPr>
              <p14:xfrm>
                <a:off x="10268381" y="4565012"/>
                <a:ext cx="302040" cy="102240"/>
              </p14:xfrm>
            </p:contentPart>
          </mc:Choice>
          <mc:Fallback>
            <p:pic>
              <p:nvPicPr>
                <p:cNvPr id="203" name="Ink 202">
                  <a:extLst>
                    <a:ext uri="{FF2B5EF4-FFF2-40B4-BE49-F238E27FC236}">
                      <a16:creationId xmlns:a16="http://schemas.microsoft.com/office/drawing/2014/main" id="{32FC7718-154D-A47E-BFBF-CB941BB2675D}"/>
                    </a:ext>
                  </a:extLst>
                </p:cNvPr>
                <p:cNvPicPr/>
                <p:nvPr/>
              </p:nvPicPr>
              <p:blipFill>
                <a:blip r:embed="rId345"/>
                <a:stretch>
                  <a:fillRect/>
                </a:stretch>
              </p:blipFill>
              <p:spPr>
                <a:xfrm>
                  <a:off x="10252901" y="4549892"/>
                  <a:ext cx="332640" cy="132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46">
              <p14:nvContentPartPr>
                <p14:cNvPr id="204" name="Ink 203">
                  <a:extLst>
                    <a:ext uri="{FF2B5EF4-FFF2-40B4-BE49-F238E27FC236}">
                      <a16:creationId xmlns:a16="http://schemas.microsoft.com/office/drawing/2014/main" id="{4615BF11-DAD4-D79A-B568-B3D4DA1C289E}"/>
                    </a:ext>
                  </a:extLst>
                </p14:cNvPr>
                <p14:cNvContentPartPr/>
                <p14:nvPr/>
              </p14:nvContentPartPr>
              <p14:xfrm>
                <a:off x="10611821" y="4565012"/>
                <a:ext cx="159480" cy="77760"/>
              </p14:xfrm>
            </p:contentPart>
          </mc:Choice>
          <mc:Fallback>
            <p:pic>
              <p:nvPicPr>
                <p:cNvPr id="204" name="Ink 203">
                  <a:extLst>
                    <a:ext uri="{FF2B5EF4-FFF2-40B4-BE49-F238E27FC236}">
                      <a16:creationId xmlns:a16="http://schemas.microsoft.com/office/drawing/2014/main" id="{4615BF11-DAD4-D79A-B568-B3D4DA1C289E}"/>
                    </a:ext>
                  </a:extLst>
                </p:cNvPr>
                <p:cNvPicPr/>
                <p:nvPr/>
              </p:nvPicPr>
              <p:blipFill>
                <a:blip r:embed="rId347"/>
                <a:stretch>
                  <a:fillRect/>
                </a:stretch>
              </p:blipFill>
              <p:spPr>
                <a:xfrm>
                  <a:off x="10596701" y="4549892"/>
                  <a:ext cx="190080" cy="10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48">
              <p14:nvContentPartPr>
                <p14:cNvPr id="205" name="Ink 204">
                  <a:extLst>
                    <a:ext uri="{FF2B5EF4-FFF2-40B4-BE49-F238E27FC236}">
                      <a16:creationId xmlns:a16="http://schemas.microsoft.com/office/drawing/2014/main" id="{B542EA12-09B4-9A4A-E7DF-19B1AA202BE2}"/>
                    </a:ext>
                  </a:extLst>
                </p14:cNvPr>
                <p14:cNvContentPartPr/>
                <p14:nvPr/>
              </p14:nvContentPartPr>
              <p14:xfrm>
                <a:off x="9869141" y="4534052"/>
                <a:ext cx="1006560" cy="106200"/>
              </p14:xfrm>
            </p:contentPart>
          </mc:Choice>
          <mc:Fallback>
            <p:pic>
              <p:nvPicPr>
                <p:cNvPr id="205" name="Ink 204">
                  <a:extLst>
                    <a:ext uri="{FF2B5EF4-FFF2-40B4-BE49-F238E27FC236}">
                      <a16:creationId xmlns:a16="http://schemas.microsoft.com/office/drawing/2014/main" id="{B542EA12-09B4-9A4A-E7DF-19B1AA202BE2}"/>
                    </a:ext>
                  </a:extLst>
                </p:cNvPr>
                <p:cNvPicPr/>
                <p:nvPr/>
              </p:nvPicPr>
              <p:blipFill>
                <a:blip r:embed="rId349"/>
                <a:stretch>
                  <a:fillRect/>
                </a:stretch>
              </p:blipFill>
              <p:spPr>
                <a:xfrm>
                  <a:off x="9854021" y="4518932"/>
                  <a:ext cx="1037160" cy="136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50">
              <p14:nvContentPartPr>
                <p14:cNvPr id="206" name="Ink 205">
                  <a:extLst>
                    <a:ext uri="{FF2B5EF4-FFF2-40B4-BE49-F238E27FC236}">
                      <a16:creationId xmlns:a16="http://schemas.microsoft.com/office/drawing/2014/main" id="{7854FAA6-7289-4607-2798-44B6B864776D}"/>
                    </a:ext>
                  </a:extLst>
                </p14:cNvPr>
                <p14:cNvContentPartPr/>
                <p14:nvPr/>
              </p14:nvContentPartPr>
              <p14:xfrm>
                <a:off x="10488341" y="3689132"/>
                <a:ext cx="885960" cy="296640"/>
              </p14:xfrm>
            </p:contentPart>
          </mc:Choice>
          <mc:Fallback>
            <p:pic>
              <p:nvPicPr>
                <p:cNvPr id="206" name="Ink 205">
                  <a:extLst>
                    <a:ext uri="{FF2B5EF4-FFF2-40B4-BE49-F238E27FC236}">
                      <a16:creationId xmlns:a16="http://schemas.microsoft.com/office/drawing/2014/main" id="{7854FAA6-7289-4607-2798-44B6B864776D}"/>
                    </a:ext>
                  </a:extLst>
                </p:cNvPr>
                <p:cNvPicPr/>
                <p:nvPr/>
              </p:nvPicPr>
              <p:blipFill>
                <a:blip r:embed="rId351"/>
                <a:stretch>
                  <a:fillRect/>
                </a:stretch>
              </p:blipFill>
              <p:spPr>
                <a:xfrm>
                  <a:off x="10473221" y="3674012"/>
                  <a:ext cx="916200" cy="3268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E9A8C4D2-72C2-EE0B-E8DE-D5F5D4B7F0CC}"/>
              </a:ext>
            </a:extLst>
          </p:cNvPr>
          <p:cNvGrpSpPr/>
          <p:nvPr/>
        </p:nvGrpSpPr>
        <p:grpSpPr>
          <a:xfrm>
            <a:off x="9955181" y="2380892"/>
            <a:ext cx="715680" cy="893160"/>
            <a:chOff x="9955181" y="2380892"/>
            <a:chExt cx="715680" cy="8931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352">
              <p14:nvContentPartPr>
                <p14:cNvPr id="207" name="Ink 206">
                  <a:extLst>
                    <a:ext uri="{FF2B5EF4-FFF2-40B4-BE49-F238E27FC236}">
                      <a16:creationId xmlns:a16="http://schemas.microsoft.com/office/drawing/2014/main" id="{62BA58EB-E71E-75FC-FBDF-16716D58F107}"/>
                    </a:ext>
                  </a:extLst>
                </p14:cNvPr>
                <p14:cNvContentPartPr/>
                <p14:nvPr/>
              </p14:nvContentPartPr>
              <p14:xfrm>
                <a:off x="10039061" y="2983892"/>
                <a:ext cx="51120" cy="290160"/>
              </p14:xfrm>
            </p:contentPart>
          </mc:Choice>
          <mc:Fallback>
            <p:pic>
              <p:nvPicPr>
                <p:cNvPr id="207" name="Ink 206">
                  <a:extLst>
                    <a:ext uri="{FF2B5EF4-FFF2-40B4-BE49-F238E27FC236}">
                      <a16:creationId xmlns:a16="http://schemas.microsoft.com/office/drawing/2014/main" id="{62BA58EB-E71E-75FC-FBDF-16716D58F107}"/>
                    </a:ext>
                  </a:extLst>
                </p:cNvPr>
                <p:cNvPicPr/>
                <p:nvPr/>
              </p:nvPicPr>
              <p:blipFill>
                <a:blip r:embed="rId353"/>
                <a:stretch>
                  <a:fillRect/>
                </a:stretch>
              </p:blipFill>
              <p:spPr>
                <a:xfrm>
                  <a:off x="10023581" y="2968772"/>
                  <a:ext cx="81720" cy="320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54">
              <p14:nvContentPartPr>
                <p14:cNvPr id="208" name="Ink 207">
                  <a:extLst>
                    <a:ext uri="{FF2B5EF4-FFF2-40B4-BE49-F238E27FC236}">
                      <a16:creationId xmlns:a16="http://schemas.microsoft.com/office/drawing/2014/main" id="{999482F0-7E62-6855-BC5C-5FFEEA76B7B5}"/>
                    </a:ext>
                  </a:extLst>
                </p14:cNvPr>
                <p14:cNvContentPartPr/>
                <p14:nvPr/>
              </p14:nvContentPartPr>
              <p14:xfrm>
                <a:off x="9955181" y="3174332"/>
                <a:ext cx="244080" cy="96480"/>
              </p14:xfrm>
            </p:contentPart>
          </mc:Choice>
          <mc:Fallback>
            <p:pic>
              <p:nvPicPr>
                <p:cNvPr id="208" name="Ink 207">
                  <a:extLst>
                    <a:ext uri="{FF2B5EF4-FFF2-40B4-BE49-F238E27FC236}">
                      <a16:creationId xmlns:a16="http://schemas.microsoft.com/office/drawing/2014/main" id="{999482F0-7E62-6855-BC5C-5FFEEA76B7B5}"/>
                    </a:ext>
                  </a:extLst>
                </p:cNvPr>
                <p:cNvPicPr/>
                <p:nvPr/>
              </p:nvPicPr>
              <p:blipFill>
                <a:blip r:embed="rId355"/>
                <a:stretch>
                  <a:fillRect/>
                </a:stretch>
              </p:blipFill>
              <p:spPr>
                <a:xfrm>
                  <a:off x="9939701" y="3159212"/>
                  <a:ext cx="274680" cy="127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56">
              <p14:nvContentPartPr>
                <p14:cNvPr id="209" name="Ink 208">
                  <a:extLst>
                    <a:ext uri="{FF2B5EF4-FFF2-40B4-BE49-F238E27FC236}">
                      <a16:creationId xmlns:a16="http://schemas.microsoft.com/office/drawing/2014/main" id="{88FF036C-ED9B-6153-E182-3DAAD72884C9}"/>
                    </a:ext>
                  </a:extLst>
                </p14:cNvPr>
                <p14:cNvContentPartPr/>
                <p14:nvPr/>
              </p14:nvContentPartPr>
              <p14:xfrm>
                <a:off x="10019981" y="2380892"/>
                <a:ext cx="156600" cy="280080"/>
              </p14:xfrm>
            </p:contentPart>
          </mc:Choice>
          <mc:Fallback>
            <p:pic>
              <p:nvPicPr>
                <p:cNvPr id="209" name="Ink 208">
                  <a:extLst>
                    <a:ext uri="{FF2B5EF4-FFF2-40B4-BE49-F238E27FC236}">
                      <a16:creationId xmlns:a16="http://schemas.microsoft.com/office/drawing/2014/main" id="{88FF036C-ED9B-6153-E182-3DAAD72884C9}"/>
                    </a:ext>
                  </a:extLst>
                </p:cNvPr>
                <p:cNvPicPr/>
                <p:nvPr/>
              </p:nvPicPr>
              <p:blipFill>
                <a:blip r:embed="rId357"/>
                <a:stretch>
                  <a:fillRect/>
                </a:stretch>
              </p:blipFill>
              <p:spPr>
                <a:xfrm>
                  <a:off x="10004861" y="2365772"/>
                  <a:ext cx="187200" cy="310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58">
              <p14:nvContentPartPr>
                <p14:cNvPr id="210" name="Ink 209">
                  <a:extLst>
                    <a:ext uri="{FF2B5EF4-FFF2-40B4-BE49-F238E27FC236}">
                      <a16:creationId xmlns:a16="http://schemas.microsoft.com/office/drawing/2014/main" id="{657E1665-6834-EA05-60A0-29D8FC3E1BC8}"/>
                    </a:ext>
                  </a:extLst>
                </p14:cNvPr>
                <p14:cNvContentPartPr/>
                <p14:nvPr/>
              </p14:nvContentPartPr>
              <p14:xfrm>
                <a:off x="10199261" y="2438492"/>
                <a:ext cx="229680" cy="155520"/>
              </p14:xfrm>
            </p:contentPart>
          </mc:Choice>
          <mc:Fallback>
            <p:pic>
              <p:nvPicPr>
                <p:cNvPr id="210" name="Ink 209">
                  <a:extLst>
                    <a:ext uri="{FF2B5EF4-FFF2-40B4-BE49-F238E27FC236}">
                      <a16:creationId xmlns:a16="http://schemas.microsoft.com/office/drawing/2014/main" id="{657E1665-6834-EA05-60A0-29D8FC3E1BC8}"/>
                    </a:ext>
                  </a:extLst>
                </p:cNvPr>
                <p:cNvPicPr/>
                <p:nvPr/>
              </p:nvPicPr>
              <p:blipFill>
                <a:blip r:embed="rId359"/>
                <a:stretch>
                  <a:fillRect/>
                </a:stretch>
              </p:blipFill>
              <p:spPr>
                <a:xfrm>
                  <a:off x="10183781" y="2423372"/>
                  <a:ext cx="260280" cy="186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60">
              <p14:nvContentPartPr>
                <p14:cNvPr id="211" name="Ink 210">
                  <a:extLst>
                    <a:ext uri="{FF2B5EF4-FFF2-40B4-BE49-F238E27FC236}">
                      <a16:creationId xmlns:a16="http://schemas.microsoft.com/office/drawing/2014/main" id="{FC2774CB-D538-E8B2-76F7-7D8AA449EBC9}"/>
                    </a:ext>
                  </a:extLst>
                </p14:cNvPr>
                <p14:cNvContentPartPr/>
                <p14:nvPr/>
              </p14:nvContentPartPr>
              <p14:xfrm>
                <a:off x="10178381" y="2488532"/>
                <a:ext cx="313200" cy="311760"/>
              </p14:xfrm>
            </p:contentPart>
          </mc:Choice>
          <mc:Fallback>
            <p:pic>
              <p:nvPicPr>
                <p:cNvPr id="211" name="Ink 210">
                  <a:extLst>
                    <a:ext uri="{FF2B5EF4-FFF2-40B4-BE49-F238E27FC236}">
                      <a16:creationId xmlns:a16="http://schemas.microsoft.com/office/drawing/2014/main" id="{FC2774CB-D538-E8B2-76F7-7D8AA449EBC9}"/>
                    </a:ext>
                  </a:extLst>
                </p:cNvPr>
                <p:cNvPicPr/>
                <p:nvPr/>
              </p:nvPicPr>
              <p:blipFill>
                <a:blip r:embed="rId361"/>
                <a:stretch>
                  <a:fillRect/>
                </a:stretch>
              </p:blipFill>
              <p:spPr>
                <a:xfrm>
                  <a:off x="10163261" y="2473412"/>
                  <a:ext cx="343800" cy="342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62">
              <p14:nvContentPartPr>
                <p14:cNvPr id="212" name="Ink 211">
                  <a:extLst>
                    <a:ext uri="{FF2B5EF4-FFF2-40B4-BE49-F238E27FC236}">
                      <a16:creationId xmlns:a16="http://schemas.microsoft.com/office/drawing/2014/main" id="{97456C6C-977D-C1DC-B279-864B2A931ABC}"/>
                    </a:ext>
                  </a:extLst>
                </p14:cNvPr>
                <p14:cNvContentPartPr/>
                <p14:nvPr/>
              </p14:nvContentPartPr>
              <p14:xfrm>
                <a:off x="10373141" y="2722892"/>
                <a:ext cx="23400" cy="122760"/>
              </p14:xfrm>
            </p:contentPart>
          </mc:Choice>
          <mc:Fallback>
            <p:pic>
              <p:nvPicPr>
                <p:cNvPr id="212" name="Ink 211">
                  <a:extLst>
                    <a:ext uri="{FF2B5EF4-FFF2-40B4-BE49-F238E27FC236}">
                      <a16:creationId xmlns:a16="http://schemas.microsoft.com/office/drawing/2014/main" id="{97456C6C-977D-C1DC-B279-864B2A931ABC}"/>
                    </a:ext>
                  </a:extLst>
                </p:cNvPr>
                <p:cNvPicPr/>
                <p:nvPr/>
              </p:nvPicPr>
              <p:blipFill>
                <a:blip r:embed="rId363"/>
                <a:stretch>
                  <a:fillRect/>
                </a:stretch>
              </p:blipFill>
              <p:spPr>
                <a:xfrm>
                  <a:off x="10358021" y="2707772"/>
                  <a:ext cx="54000" cy="153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64">
              <p14:nvContentPartPr>
                <p14:cNvPr id="213" name="Ink 212">
                  <a:extLst>
                    <a:ext uri="{FF2B5EF4-FFF2-40B4-BE49-F238E27FC236}">
                      <a16:creationId xmlns:a16="http://schemas.microsoft.com/office/drawing/2014/main" id="{8857DEF7-98FE-1926-E65C-39D37A7A3D10}"/>
                    </a:ext>
                  </a:extLst>
                </p14:cNvPr>
                <p14:cNvContentPartPr/>
                <p14:nvPr/>
              </p14:nvContentPartPr>
              <p14:xfrm>
                <a:off x="10445861" y="2776892"/>
                <a:ext cx="4680" cy="56520"/>
              </p14:xfrm>
            </p:contentPart>
          </mc:Choice>
          <mc:Fallback>
            <p:pic>
              <p:nvPicPr>
                <p:cNvPr id="213" name="Ink 212">
                  <a:extLst>
                    <a:ext uri="{FF2B5EF4-FFF2-40B4-BE49-F238E27FC236}">
                      <a16:creationId xmlns:a16="http://schemas.microsoft.com/office/drawing/2014/main" id="{8857DEF7-98FE-1926-E65C-39D37A7A3D10}"/>
                    </a:ext>
                  </a:extLst>
                </p:cNvPr>
                <p:cNvPicPr/>
                <p:nvPr/>
              </p:nvPicPr>
              <p:blipFill>
                <a:blip r:embed="rId365"/>
                <a:stretch>
                  <a:fillRect/>
                </a:stretch>
              </p:blipFill>
              <p:spPr>
                <a:xfrm>
                  <a:off x="10430741" y="2761772"/>
                  <a:ext cx="35280" cy="87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66">
              <p14:nvContentPartPr>
                <p14:cNvPr id="214" name="Ink 213">
                  <a:extLst>
                    <a:ext uri="{FF2B5EF4-FFF2-40B4-BE49-F238E27FC236}">
                      <a16:creationId xmlns:a16="http://schemas.microsoft.com/office/drawing/2014/main" id="{559261D6-71AF-E98A-5DFB-FD9A79313143}"/>
                    </a:ext>
                  </a:extLst>
                </p14:cNvPr>
                <p14:cNvContentPartPr/>
                <p14:nvPr/>
              </p14:nvContentPartPr>
              <p14:xfrm>
                <a:off x="10365941" y="2642612"/>
                <a:ext cx="105120" cy="277560"/>
              </p14:xfrm>
            </p:contentPart>
          </mc:Choice>
          <mc:Fallback>
            <p:pic>
              <p:nvPicPr>
                <p:cNvPr id="214" name="Ink 213">
                  <a:extLst>
                    <a:ext uri="{FF2B5EF4-FFF2-40B4-BE49-F238E27FC236}">
                      <a16:creationId xmlns:a16="http://schemas.microsoft.com/office/drawing/2014/main" id="{559261D6-71AF-E98A-5DFB-FD9A79313143}"/>
                    </a:ext>
                  </a:extLst>
                </p:cNvPr>
                <p:cNvPicPr/>
                <p:nvPr/>
              </p:nvPicPr>
              <p:blipFill>
                <a:blip r:embed="rId367"/>
                <a:stretch>
                  <a:fillRect/>
                </a:stretch>
              </p:blipFill>
              <p:spPr>
                <a:xfrm>
                  <a:off x="10350461" y="2627132"/>
                  <a:ext cx="135720" cy="308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68">
              <p14:nvContentPartPr>
                <p14:cNvPr id="215" name="Ink 214">
                  <a:extLst>
                    <a:ext uri="{FF2B5EF4-FFF2-40B4-BE49-F238E27FC236}">
                      <a16:creationId xmlns:a16="http://schemas.microsoft.com/office/drawing/2014/main" id="{3219453C-3C08-1A67-79A5-79C857A6B3CD}"/>
                    </a:ext>
                  </a:extLst>
                </p14:cNvPr>
                <p14:cNvContentPartPr/>
                <p14:nvPr/>
              </p14:nvContentPartPr>
              <p14:xfrm>
                <a:off x="10561421" y="2723972"/>
                <a:ext cx="109440" cy="65520"/>
              </p14:xfrm>
            </p:contentPart>
          </mc:Choice>
          <mc:Fallback>
            <p:pic>
              <p:nvPicPr>
                <p:cNvPr id="215" name="Ink 214">
                  <a:extLst>
                    <a:ext uri="{FF2B5EF4-FFF2-40B4-BE49-F238E27FC236}">
                      <a16:creationId xmlns:a16="http://schemas.microsoft.com/office/drawing/2014/main" id="{3219453C-3C08-1A67-79A5-79C857A6B3CD}"/>
                    </a:ext>
                  </a:extLst>
                </p:cNvPr>
                <p:cNvPicPr/>
                <p:nvPr/>
              </p:nvPicPr>
              <p:blipFill>
                <a:blip r:embed="rId369"/>
                <a:stretch>
                  <a:fillRect/>
                </a:stretch>
              </p:blipFill>
              <p:spPr>
                <a:xfrm>
                  <a:off x="10545941" y="2708852"/>
                  <a:ext cx="140040" cy="96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70">
              <p14:nvContentPartPr>
                <p14:cNvPr id="216" name="Ink 215">
                  <a:extLst>
                    <a:ext uri="{FF2B5EF4-FFF2-40B4-BE49-F238E27FC236}">
                      <a16:creationId xmlns:a16="http://schemas.microsoft.com/office/drawing/2014/main" id="{88114953-18F8-C357-FA8B-5ACB2E142DF1}"/>
                    </a:ext>
                  </a:extLst>
                </p14:cNvPr>
                <p14:cNvContentPartPr/>
                <p14:nvPr/>
              </p14:nvContentPartPr>
              <p14:xfrm>
                <a:off x="10320221" y="2984972"/>
                <a:ext cx="157320" cy="55440"/>
              </p14:xfrm>
            </p:contentPart>
          </mc:Choice>
          <mc:Fallback>
            <p:pic>
              <p:nvPicPr>
                <p:cNvPr id="216" name="Ink 215">
                  <a:extLst>
                    <a:ext uri="{FF2B5EF4-FFF2-40B4-BE49-F238E27FC236}">
                      <a16:creationId xmlns:a16="http://schemas.microsoft.com/office/drawing/2014/main" id="{88114953-18F8-C357-FA8B-5ACB2E142DF1}"/>
                    </a:ext>
                  </a:extLst>
                </p:cNvPr>
                <p:cNvPicPr/>
                <p:nvPr/>
              </p:nvPicPr>
              <p:blipFill>
                <a:blip r:embed="rId371"/>
                <a:stretch>
                  <a:fillRect/>
                </a:stretch>
              </p:blipFill>
              <p:spPr>
                <a:xfrm>
                  <a:off x="10305101" y="2969852"/>
                  <a:ext cx="187920" cy="86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72">
              <p14:nvContentPartPr>
                <p14:cNvPr id="217" name="Ink 216">
                  <a:extLst>
                    <a:ext uri="{FF2B5EF4-FFF2-40B4-BE49-F238E27FC236}">
                      <a16:creationId xmlns:a16="http://schemas.microsoft.com/office/drawing/2014/main" id="{854270F0-EBAB-F203-5515-C4657B67A490}"/>
                    </a:ext>
                  </a:extLst>
                </p14:cNvPr>
                <p14:cNvContentPartPr/>
                <p14:nvPr/>
              </p14:nvContentPartPr>
              <p14:xfrm>
                <a:off x="10319501" y="3112772"/>
                <a:ext cx="265320" cy="24120"/>
              </p14:xfrm>
            </p:contentPart>
          </mc:Choice>
          <mc:Fallback>
            <p:pic>
              <p:nvPicPr>
                <p:cNvPr id="217" name="Ink 216">
                  <a:extLst>
                    <a:ext uri="{FF2B5EF4-FFF2-40B4-BE49-F238E27FC236}">
                      <a16:creationId xmlns:a16="http://schemas.microsoft.com/office/drawing/2014/main" id="{854270F0-EBAB-F203-5515-C4657B67A490}"/>
                    </a:ext>
                  </a:extLst>
                </p:cNvPr>
                <p:cNvPicPr/>
                <p:nvPr/>
              </p:nvPicPr>
              <p:blipFill>
                <a:blip r:embed="rId373"/>
                <a:stretch>
                  <a:fillRect/>
                </a:stretch>
              </p:blipFill>
              <p:spPr>
                <a:xfrm>
                  <a:off x="10304381" y="3097292"/>
                  <a:ext cx="295920" cy="5472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417355503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Google Shape;175;p16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r>
              <a:rPr lang="en-US"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lution</a:t>
            </a:r>
            <a:endParaRPr/>
          </a:p>
        </p:txBody>
      </p:sp>
      <p:sp>
        <p:nvSpPr>
          <p:cNvPr id="176" name="Google Shape;176;p16"/>
          <p:cNvSpPr txBox="1">
            <a:spLocks noGrp="1"/>
          </p:cNvSpPr>
          <p:nvPr>
            <p:ph type="body" idx="1"/>
          </p:nvPr>
        </p:nvSpPr>
        <p:spPr>
          <a:xfrm>
            <a:off x="838200" y="1266092"/>
            <a:ext cx="10515600" cy="49108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28600" marR="0" lvl="0" indent="-64135" algn="l" rtl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90"/>
              <a:buFont typeface="Arial"/>
              <a:buNone/>
            </a:pPr>
            <a:endParaRPr sz="259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7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590"/>
              <a:buFont typeface="Arial"/>
              <a:buNone/>
            </a:pPr>
            <a:r>
              <a:rPr lang="en-US" sz="259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) What is the probability that a randomly selected family is a buyer of the Car? </a:t>
            </a:r>
            <a:endParaRPr/>
          </a:p>
          <a:p>
            <a:pPr marL="228600" marR="0" lvl="0" indent="-228600" algn="l" rtl="0">
              <a:lnSpc>
                <a:spcPct val="7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590"/>
              <a:buFont typeface="Arial"/>
              <a:buChar char="•"/>
            </a:pPr>
            <a:r>
              <a:rPr lang="en-US" sz="259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80/200 =0.40. </a:t>
            </a:r>
            <a:endParaRPr/>
          </a:p>
          <a:p>
            <a:pPr marL="228600" marR="0" lvl="0" indent="-64135" algn="l" rtl="0">
              <a:lnSpc>
                <a:spcPct val="7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590"/>
              <a:buFont typeface="Arial"/>
              <a:buNone/>
            </a:pPr>
            <a:endParaRPr sz="259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7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590"/>
              <a:buFont typeface="Arial"/>
              <a:buNone/>
            </a:pPr>
            <a:r>
              <a:rPr lang="en-US" sz="259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) What is the probability that a randomly selected family is both a buyer of car and belonging to income of Rs. 10 lakhs and above? </a:t>
            </a:r>
            <a:endParaRPr/>
          </a:p>
          <a:p>
            <a:pPr marL="228600" marR="0" lvl="0" indent="-228600" algn="l" rtl="0">
              <a:lnSpc>
                <a:spcPct val="7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590"/>
              <a:buFont typeface="Arial"/>
              <a:buChar char="•"/>
            </a:pPr>
            <a:r>
              <a:rPr lang="en-US" sz="259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42/200 =0.21. </a:t>
            </a:r>
            <a:endParaRPr/>
          </a:p>
          <a:p>
            <a:pPr marL="228600" marR="0" lvl="0" indent="-64135" algn="l" rtl="0">
              <a:lnSpc>
                <a:spcPct val="7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590"/>
              <a:buFont typeface="Arial"/>
              <a:buNone/>
            </a:pPr>
            <a:endParaRPr sz="259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7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590"/>
              <a:buFont typeface="Arial"/>
              <a:buNone/>
            </a:pPr>
            <a:r>
              <a:rPr lang="en-US" sz="259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) A family selected at random is found to be belonging to income of Rs 10 lakhs and above. What is the probability that this family is buyer of car? </a:t>
            </a:r>
            <a:endParaRPr/>
          </a:p>
          <a:p>
            <a:pPr marL="228600" marR="0" lvl="0" indent="-228600" algn="l" rtl="0">
              <a:lnSpc>
                <a:spcPct val="7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590"/>
              <a:buFont typeface="Arial"/>
              <a:buChar char="•"/>
            </a:pPr>
            <a:r>
              <a:rPr lang="en-US" sz="259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42/80 =0.525. Note this is a case of conditional probability of buyer given income is Rs. 10 lakhs and above. </a:t>
            </a:r>
            <a:endParaRPr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DE992DA0-F0C4-F565-5D5A-A7ECF0CA73C2}"/>
              </a:ext>
            </a:extLst>
          </p:cNvPr>
          <p:cNvGrpSpPr/>
          <p:nvPr/>
        </p:nvGrpSpPr>
        <p:grpSpPr>
          <a:xfrm>
            <a:off x="3913301" y="6147572"/>
            <a:ext cx="1465920" cy="332280"/>
            <a:chOff x="3913301" y="6147572"/>
            <a:chExt cx="1465920" cy="33228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3">
              <p14:nvContentPartPr>
                <p14:cNvPr id="2" name="Ink 1">
                  <a:extLst>
                    <a:ext uri="{FF2B5EF4-FFF2-40B4-BE49-F238E27FC236}">
                      <a16:creationId xmlns:a16="http://schemas.microsoft.com/office/drawing/2014/main" id="{40964E05-A329-FFF6-BA50-80F4B5B0EB2F}"/>
                    </a:ext>
                  </a:extLst>
                </p14:cNvPr>
                <p14:cNvContentPartPr/>
                <p14:nvPr/>
              </p14:nvContentPartPr>
              <p14:xfrm>
                <a:off x="3913301" y="6167732"/>
                <a:ext cx="136800" cy="223560"/>
              </p14:xfrm>
            </p:contentPart>
          </mc:Choice>
          <mc:Fallback>
            <p:pic>
              <p:nvPicPr>
                <p:cNvPr id="2" name="Ink 1">
                  <a:extLst>
                    <a:ext uri="{FF2B5EF4-FFF2-40B4-BE49-F238E27FC236}">
                      <a16:creationId xmlns:a16="http://schemas.microsoft.com/office/drawing/2014/main" id="{40964E05-A329-FFF6-BA50-80F4B5B0EB2F}"/>
                    </a:ext>
                  </a:extLst>
                </p:cNvPr>
                <p:cNvPicPr/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3898181" y="6152612"/>
                  <a:ext cx="167400" cy="254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">
              <p14:nvContentPartPr>
                <p14:cNvPr id="3" name="Ink 2">
                  <a:extLst>
                    <a:ext uri="{FF2B5EF4-FFF2-40B4-BE49-F238E27FC236}">
                      <a16:creationId xmlns:a16="http://schemas.microsoft.com/office/drawing/2014/main" id="{32C44859-20F6-625E-390D-61A306999D81}"/>
                    </a:ext>
                  </a:extLst>
                </p14:cNvPr>
                <p14:cNvContentPartPr/>
                <p14:nvPr/>
              </p14:nvContentPartPr>
              <p14:xfrm>
                <a:off x="4136501" y="6169532"/>
                <a:ext cx="77400" cy="232200"/>
              </p14:xfrm>
            </p:contentPart>
          </mc:Choice>
          <mc:Fallback>
            <p:pic>
              <p:nvPicPr>
                <p:cNvPr id="3" name="Ink 2">
                  <a:extLst>
                    <a:ext uri="{FF2B5EF4-FFF2-40B4-BE49-F238E27FC236}">
                      <a16:creationId xmlns:a16="http://schemas.microsoft.com/office/drawing/2014/main" id="{32C44859-20F6-625E-390D-61A306999D81}"/>
                    </a:ext>
                  </a:extLst>
                </p:cNvPr>
                <p:cNvPicPr/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4121381" y="6154052"/>
                  <a:ext cx="108000" cy="262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">
              <p14:nvContentPartPr>
                <p14:cNvPr id="4" name="Ink 3">
                  <a:extLst>
                    <a:ext uri="{FF2B5EF4-FFF2-40B4-BE49-F238E27FC236}">
                      <a16:creationId xmlns:a16="http://schemas.microsoft.com/office/drawing/2014/main" id="{920EB504-50D0-5AB2-1E2B-F47906EF2E69}"/>
                    </a:ext>
                  </a:extLst>
                </p14:cNvPr>
                <p14:cNvContentPartPr/>
                <p14:nvPr/>
              </p14:nvContentPartPr>
              <p14:xfrm>
                <a:off x="4281941" y="6214172"/>
                <a:ext cx="114480" cy="213480"/>
              </p14:xfrm>
            </p:contentPart>
          </mc:Choice>
          <mc:Fallback>
            <p:pic>
              <p:nvPicPr>
                <p:cNvPr id="4" name="Ink 3">
                  <a:extLst>
                    <a:ext uri="{FF2B5EF4-FFF2-40B4-BE49-F238E27FC236}">
                      <a16:creationId xmlns:a16="http://schemas.microsoft.com/office/drawing/2014/main" id="{920EB504-50D0-5AB2-1E2B-F47906EF2E69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4266821" y="6198692"/>
                  <a:ext cx="145080" cy="244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">
              <p14:nvContentPartPr>
                <p14:cNvPr id="5" name="Ink 4">
                  <a:extLst>
                    <a:ext uri="{FF2B5EF4-FFF2-40B4-BE49-F238E27FC236}">
                      <a16:creationId xmlns:a16="http://schemas.microsoft.com/office/drawing/2014/main" id="{0009A701-FDBB-F50F-5969-1482E1C8B644}"/>
                    </a:ext>
                  </a:extLst>
                </p14:cNvPr>
                <p14:cNvContentPartPr/>
                <p14:nvPr/>
              </p14:nvContentPartPr>
              <p14:xfrm>
                <a:off x="4445741" y="6167012"/>
                <a:ext cx="50400" cy="249120"/>
              </p14:xfrm>
            </p:contentPart>
          </mc:Choice>
          <mc:Fallback>
            <p:pic>
              <p:nvPicPr>
                <p:cNvPr id="5" name="Ink 4">
                  <a:extLst>
                    <a:ext uri="{FF2B5EF4-FFF2-40B4-BE49-F238E27FC236}">
                      <a16:creationId xmlns:a16="http://schemas.microsoft.com/office/drawing/2014/main" id="{0009A701-FDBB-F50F-5969-1482E1C8B644}"/>
                    </a:ext>
                  </a:extLst>
                </p:cNvPr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4430621" y="6151892"/>
                  <a:ext cx="81000" cy="279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">
              <p14:nvContentPartPr>
                <p14:cNvPr id="7" name="Ink 6">
                  <a:extLst>
                    <a:ext uri="{FF2B5EF4-FFF2-40B4-BE49-F238E27FC236}">
                      <a16:creationId xmlns:a16="http://schemas.microsoft.com/office/drawing/2014/main" id="{1EC3DF56-2FFC-C33C-4A95-3F1DF443A5AB}"/>
                    </a:ext>
                  </a:extLst>
                </p14:cNvPr>
                <p14:cNvContentPartPr/>
                <p14:nvPr/>
              </p14:nvContentPartPr>
              <p14:xfrm>
                <a:off x="4711061" y="6147572"/>
                <a:ext cx="72720" cy="228960"/>
              </p14:xfrm>
            </p:contentPart>
          </mc:Choice>
          <mc:Fallback>
            <p:pic>
              <p:nvPicPr>
                <p:cNvPr id="7" name="Ink 6">
                  <a:extLst>
                    <a:ext uri="{FF2B5EF4-FFF2-40B4-BE49-F238E27FC236}">
                      <a16:creationId xmlns:a16="http://schemas.microsoft.com/office/drawing/2014/main" id="{1EC3DF56-2FFC-C33C-4A95-3F1DF443A5AB}"/>
                    </a:ext>
                  </a:extLst>
                </p:cNvPr>
                <p:cNvPicPr/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4695581" y="6132452"/>
                  <a:ext cx="103320" cy="259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3">
              <p14:nvContentPartPr>
                <p14:cNvPr id="8" name="Ink 7">
                  <a:extLst>
                    <a:ext uri="{FF2B5EF4-FFF2-40B4-BE49-F238E27FC236}">
                      <a16:creationId xmlns:a16="http://schemas.microsoft.com/office/drawing/2014/main" id="{DCE61552-3B74-199A-854F-6DCA6FBE790C}"/>
                    </a:ext>
                  </a:extLst>
                </p14:cNvPr>
                <p14:cNvContentPartPr/>
                <p14:nvPr/>
              </p14:nvContentPartPr>
              <p14:xfrm>
                <a:off x="4664261" y="6374372"/>
                <a:ext cx="158760" cy="59400"/>
              </p14:xfrm>
            </p:contentPart>
          </mc:Choice>
          <mc:Fallback>
            <p:pic>
              <p:nvPicPr>
                <p:cNvPr id="8" name="Ink 7">
                  <a:extLst>
                    <a:ext uri="{FF2B5EF4-FFF2-40B4-BE49-F238E27FC236}">
                      <a16:creationId xmlns:a16="http://schemas.microsoft.com/office/drawing/2014/main" id="{DCE61552-3B74-199A-854F-6DCA6FBE790C}"/>
                    </a:ext>
                  </a:extLst>
                </p:cNvPr>
                <p:cNvPicPr/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4649141" y="6359252"/>
                  <a:ext cx="189360" cy="90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">
              <p14:nvContentPartPr>
                <p14:cNvPr id="9" name="Ink 8">
                  <a:extLst>
                    <a:ext uri="{FF2B5EF4-FFF2-40B4-BE49-F238E27FC236}">
                      <a16:creationId xmlns:a16="http://schemas.microsoft.com/office/drawing/2014/main" id="{23E528EC-C433-D640-513F-344EFA256383}"/>
                    </a:ext>
                  </a:extLst>
                </p14:cNvPr>
                <p14:cNvContentPartPr/>
                <p14:nvPr/>
              </p14:nvContentPartPr>
              <p14:xfrm>
                <a:off x="4868381" y="6228932"/>
                <a:ext cx="150840" cy="198360"/>
              </p14:xfrm>
            </p:contentPart>
          </mc:Choice>
          <mc:Fallback>
            <p:pic>
              <p:nvPicPr>
                <p:cNvPr id="9" name="Ink 8">
                  <a:extLst>
                    <a:ext uri="{FF2B5EF4-FFF2-40B4-BE49-F238E27FC236}">
                      <a16:creationId xmlns:a16="http://schemas.microsoft.com/office/drawing/2014/main" id="{23E528EC-C433-D640-513F-344EFA256383}"/>
                    </a:ext>
                  </a:extLst>
                </p:cNvPr>
                <p:cNvPicPr/>
                <p:nvPr/>
              </p:nvPicPr>
              <p:blipFill>
                <a:blip r:embed="rId16"/>
                <a:stretch>
                  <a:fillRect/>
                </a:stretch>
              </p:blipFill>
              <p:spPr>
                <a:xfrm>
                  <a:off x="4853261" y="6213452"/>
                  <a:ext cx="181080" cy="228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7">
              <p14:nvContentPartPr>
                <p14:cNvPr id="10" name="Ink 9">
                  <a:extLst>
                    <a:ext uri="{FF2B5EF4-FFF2-40B4-BE49-F238E27FC236}">
                      <a16:creationId xmlns:a16="http://schemas.microsoft.com/office/drawing/2014/main" id="{5253D54C-7660-34A0-56BA-EE47C5152FB9}"/>
                    </a:ext>
                  </a:extLst>
                </p14:cNvPr>
                <p14:cNvContentPartPr/>
                <p14:nvPr/>
              </p14:nvContentPartPr>
              <p14:xfrm>
                <a:off x="5035421" y="6250892"/>
                <a:ext cx="41400" cy="129600"/>
              </p14:xfrm>
            </p:contentPart>
          </mc:Choice>
          <mc:Fallback>
            <p:pic>
              <p:nvPicPr>
                <p:cNvPr id="10" name="Ink 9">
                  <a:extLst>
                    <a:ext uri="{FF2B5EF4-FFF2-40B4-BE49-F238E27FC236}">
                      <a16:creationId xmlns:a16="http://schemas.microsoft.com/office/drawing/2014/main" id="{5253D54C-7660-34A0-56BA-EE47C5152FB9}"/>
                    </a:ext>
                  </a:extLst>
                </p:cNvPr>
                <p:cNvPicPr/>
                <p:nvPr/>
              </p:nvPicPr>
              <p:blipFill>
                <a:blip r:embed="rId18"/>
                <a:stretch>
                  <a:fillRect/>
                </a:stretch>
              </p:blipFill>
              <p:spPr>
                <a:xfrm>
                  <a:off x="5019941" y="6235772"/>
                  <a:ext cx="72000" cy="159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9">
              <p14:nvContentPartPr>
                <p14:cNvPr id="11" name="Ink 10">
                  <a:extLst>
                    <a:ext uri="{FF2B5EF4-FFF2-40B4-BE49-F238E27FC236}">
                      <a16:creationId xmlns:a16="http://schemas.microsoft.com/office/drawing/2014/main" id="{18E5E991-2BF1-80FC-9566-CF260792D785}"/>
                    </a:ext>
                  </a:extLst>
                </p14:cNvPr>
                <p14:cNvContentPartPr/>
                <p14:nvPr/>
              </p14:nvContentPartPr>
              <p14:xfrm>
                <a:off x="5118581" y="6244772"/>
                <a:ext cx="131400" cy="129240"/>
              </p14:xfrm>
            </p:contentPart>
          </mc:Choice>
          <mc:Fallback>
            <p:pic>
              <p:nvPicPr>
                <p:cNvPr id="11" name="Ink 10">
                  <a:extLst>
                    <a:ext uri="{FF2B5EF4-FFF2-40B4-BE49-F238E27FC236}">
                      <a16:creationId xmlns:a16="http://schemas.microsoft.com/office/drawing/2014/main" id="{18E5E991-2BF1-80FC-9566-CF260792D785}"/>
                    </a:ext>
                  </a:extLst>
                </p:cNvPr>
                <p:cNvPicPr/>
                <p:nvPr/>
              </p:nvPicPr>
              <p:blipFill>
                <a:blip r:embed="rId20"/>
                <a:stretch>
                  <a:fillRect/>
                </a:stretch>
              </p:blipFill>
              <p:spPr>
                <a:xfrm>
                  <a:off x="5103101" y="6229652"/>
                  <a:ext cx="162000" cy="159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1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CA4B783B-6144-7509-BDA2-C0E31248E904}"/>
                    </a:ext>
                  </a:extLst>
                </p14:cNvPr>
                <p14:cNvContentPartPr/>
                <p14:nvPr/>
              </p14:nvContentPartPr>
              <p14:xfrm>
                <a:off x="5246741" y="6183572"/>
                <a:ext cx="132480" cy="296280"/>
              </p14:xfrm>
            </p:contentPart>
          </mc:Choice>
          <mc:Fallback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CA4B783B-6144-7509-BDA2-C0E31248E904}"/>
                    </a:ext>
                  </a:extLst>
                </p:cNvPr>
                <p:cNvPicPr/>
                <p:nvPr/>
              </p:nvPicPr>
              <p:blipFill>
                <a:blip r:embed="rId22"/>
                <a:stretch>
                  <a:fillRect/>
                </a:stretch>
              </p:blipFill>
              <p:spPr>
                <a:xfrm>
                  <a:off x="5231621" y="6168092"/>
                  <a:ext cx="163080" cy="32688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23">
            <p14:nvContentPartPr>
              <p14:cNvPr id="13" name="Ink 12">
                <a:extLst>
                  <a:ext uri="{FF2B5EF4-FFF2-40B4-BE49-F238E27FC236}">
                    <a16:creationId xmlns:a16="http://schemas.microsoft.com/office/drawing/2014/main" id="{F5FB335F-2E32-A27D-EC51-C2C1A5257BD4}"/>
                  </a:ext>
                </a:extLst>
              </p14:cNvPr>
              <p14:cNvContentPartPr/>
              <p14:nvPr/>
            </p14:nvContentPartPr>
            <p14:xfrm>
              <a:off x="4354301" y="6643652"/>
              <a:ext cx="677880" cy="22680"/>
            </p14:xfrm>
          </p:contentPart>
        </mc:Choice>
        <mc:Fallback>
          <p:pic>
            <p:nvPicPr>
              <p:cNvPr id="13" name="Ink 12">
                <a:extLst>
                  <a:ext uri="{FF2B5EF4-FFF2-40B4-BE49-F238E27FC236}">
                    <a16:creationId xmlns:a16="http://schemas.microsoft.com/office/drawing/2014/main" id="{F5FB335F-2E32-A27D-EC51-C2C1A5257BD4}"/>
                  </a:ext>
                </a:extLst>
              </p:cNvPr>
              <p:cNvPicPr/>
              <p:nvPr/>
            </p:nvPicPr>
            <p:blipFill>
              <a:blip r:embed="rId24"/>
              <a:stretch>
                <a:fillRect/>
              </a:stretch>
            </p:blipFill>
            <p:spPr>
              <a:xfrm>
                <a:off x="4339181" y="6628532"/>
                <a:ext cx="708120" cy="53280"/>
              </a:xfrm>
              <a:prstGeom prst="rect">
                <a:avLst/>
              </a:prstGeom>
            </p:spPr>
          </p:pic>
        </mc:Fallback>
      </mc:AlternateContent>
      <p:grpSp>
        <p:nvGrpSpPr>
          <p:cNvPr id="46" name="Group 45">
            <a:extLst>
              <a:ext uri="{FF2B5EF4-FFF2-40B4-BE49-F238E27FC236}">
                <a16:creationId xmlns:a16="http://schemas.microsoft.com/office/drawing/2014/main" id="{D7AC433A-8AE9-769F-87DB-661BE4A82137}"/>
              </a:ext>
            </a:extLst>
          </p:cNvPr>
          <p:cNvGrpSpPr/>
          <p:nvPr/>
        </p:nvGrpSpPr>
        <p:grpSpPr>
          <a:xfrm>
            <a:off x="5599901" y="6074852"/>
            <a:ext cx="353160" cy="315000"/>
            <a:chOff x="5599901" y="6074852"/>
            <a:chExt cx="353160" cy="3150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5">
              <p14:nvContentPartPr>
                <p14:cNvPr id="14" name="Ink 13">
                  <a:extLst>
                    <a:ext uri="{FF2B5EF4-FFF2-40B4-BE49-F238E27FC236}">
                      <a16:creationId xmlns:a16="http://schemas.microsoft.com/office/drawing/2014/main" id="{267CF327-07A7-BD79-BCF7-D7D58D06FB58}"/>
                    </a:ext>
                  </a:extLst>
                </p14:cNvPr>
                <p14:cNvContentPartPr/>
                <p14:nvPr/>
              </p14:nvContentPartPr>
              <p14:xfrm>
                <a:off x="5599901" y="6186092"/>
                <a:ext cx="100800" cy="24480"/>
              </p14:xfrm>
            </p:contentPart>
          </mc:Choice>
          <mc:Fallback>
            <p:pic>
              <p:nvPicPr>
                <p:cNvPr id="14" name="Ink 13">
                  <a:extLst>
                    <a:ext uri="{FF2B5EF4-FFF2-40B4-BE49-F238E27FC236}">
                      <a16:creationId xmlns:a16="http://schemas.microsoft.com/office/drawing/2014/main" id="{267CF327-07A7-BD79-BCF7-D7D58D06FB58}"/>
                    </a:ext>
                  </a:extLst>
                </p:cNvPr>
                <p:cNvPicPr/>
                <p:nvPr/>
              </p:nvPicPr>
              <p:blipFill>
                <a:blip r:embed="rId26"/>
                <a:stretch>
                  <a:fillRect/>
                </a:stretch>
              </p:blipFill>
              <p:spPr>
                <a:xfrm>
                  <a:off x="5584421" y="6170972"/>
                  <a:ext cx="131040" cy="55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7">
              <p14:nvContentPartPr>
                <p14:cNvPr id="15" name="Ink 14">
                  <a:extLst>
                    <a:ext uri="{FF2B5EF4-FFF2-40B4-BE49-F238E27FC236}">
                      <a16:creationId xmlns:a16="http://schemas.microsoft.com/office/drawing/2014/main" id="{36B88F16-5B11-F88A-0387-963FE3D5C7F1}"/>
                    </a:ext>
                  </a:extLst>
                </p14:cNvPr>
                <p14:cNvContentPartPr/>
                <p14:nvPr/>
              </p14:nvContentPartPr>
              <p14:xfrm>
                <a:off x="5630861" y="6298772"/>
                <a:ext cx="94680" cy="21240"/>
              </p14:xfrm>
            </p:contentPart>
          </mc:Choice>
          <mc:Fallback>
            <p:pic>
              <p:nvPicPr>
                <p:cNvPr id="15" name="Ink 14">
                  <a:extLst>
                    <a:ext uri="{FF2B5EF4-FFF2-40B4-BE49-F238E27FC236}">
                      <a16:creationId xmlns:a16="http://schemas.microsoft.com/office/drawing/2014/main" id="{36B88F16-5B11-F88A-0387-963FE3D5C7F1}"/>
                    </a:ext>
                  </a:extLst>
                </p:cNvPr>
                <p:cNvPicPr/>
                <p:nvPr/>
              </p:nvPicPr>
              <p:blipFill>
                <a:blip r:embed="rId28"/>
                <a:stretch>
                  <a:fillRect/>
                </a:stretch>
              </p:blipFill>
              <p:spPr>
                <a:xfrm>
                  <a:off x="5615741" y="6283652"/>
                  <a:ext cx="124920" cy="51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9">
              <p14:nvContentPartPr>
                <p14:cNvPr id="16" name="Ink 15">
                  <a:extLst>
                    <a:ext uri="{FF2B5EF4-FFF2-40B4-BE49-F238E27FC236}">
                      <a16:creationId xmlns:a16="http://schemas.microsoft.com/office/drawing/2014/main" id="{A4B125CE-8F97-75E0-36B7-AFDF32C70806}"/>
                    </a:ext>
                  </a:extLst>
                </p14:cNvPr>
                <p14:cNvContentPartPr/>
                <p14:nvPr/>
              </p14:nvContentPartPr>
              <p14:xfrm>
                <a:off x="5868821" y="6074852"/>
                <a:ext cx="81720" cy="195480"/>
              </p14:xfrm>
            </p:contentPart>
          </mc:Choice>
          <mc:Fallback>
            <p:pic>
              <p:nvPicPr>
                <p:cNvPr id="16" name="Ink 15">
                  <a:extLst>
                    <a:ext uri="{FF2B5EF4-FFF2-40B4-BE49-F238E27FC236}">
                      <a16:creationId xmlns:a16="http://schemas.microsoft.com/office/drawing/2014/main" id="{A4B125CE-8F97-75E0-36B7-AFDF32C70806}"/>
                    </a:ext>
                  </a:extLst>
                </p:cNvPr>
                <p:cNvPicPr/>
                <p:nvPr/>
              </p:nvPicPr>
              <p:blipFill>
                <a:blip r:embed="rId30"/>
                <a:stretch>
                  <a:fillRect/>
                </a:stretch>
              </p:blipFill>
              <p:spPr>
                <a:xfrm>
                  <a:off x="5853341" y="6059732"/>
                  <a:ext cx="112320" cy="226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1">
              <p14:nvContentPartPr>
                <p14:cNvPr id="17" name="Ink 16">
                  <a:extLst>
                    <a:ext uri="{FF2B5EF4-FFF2-40B4-BE49-F238E27FC236}">
                      <a16:creationId xmlns:a16="http://schemas.microsoft.com/office/drawing/2014/main" id="{B7D9AF17-D0C3-9353-1AC8-0D92F4349E38}"/>
                    </a:ext>
                  </a:extLst>
                </p14:cNvPr>
                <p14:cNvContentPartPr/>
                <p14:nvPr/>
              </p14:nvContentPartPr>
              <p14:xfrm>
                <a:off x="5944421" y="6350612"/>
                <a:ext cx="8640" cy="39240"/>
              </p14:xfrm>
            </p:contentPart>
          </mc:Choice>
          <mc:Fallback>
            <p:pic>
              <p:nvPicPr>
                <p:cNvPr id="17" name="Ink 16">
                  <a:extLst>
                    <a:ext uri="{FF2B5EF4-FFF2-40B4-BE49-F238E27FC236}">
                      <a16:creationId xmlns:a16="http://schemas.microsoft.com/office/drawing/2014/main" id="{B7D9AF17-D0C3-9353-1AC8-0D92F4349E38}"/>
                    </a:ext>
                  </a:extLst>
                </p:cNvPr>
                <p:cNvPicPr/>
                <p:nvPr/>
              </p:nvPicPr>
              <p:blipFill>
                <a:blip r:embed="rId32"/>
                <a:stretch>
                  <a:fillRect/>
                </a:stretch>
              </p:blipFill>
              <p:spPr>
                <a:xfrm>
                  <a:off x="5928941" y="6335492"/>
                  <a:ext cx="39240" cy="698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38080095-9A25-6D63-CA35-2FDDD53C4E35}"/>
              </a:ext>
            </a:extLst>
          </p:cNvPr>
          <p:cNvGrpSpPr/>
          <p:nvPr/>
        </p:nvGrpSpPr>
        <p:grpSpPr>
          <a:xfrm>
            <a:off x="6611501" y="5812772"/>
            <a:ext cx="2056680" cy="303120"/>
            <a:chOff x="6611501" y="5812772"/>
            <a:chExt cx="2056680" cy="3031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33">
              <p14:nvContentPartPr>
                <p14:cNvPr id="18" name="Ink 17">
                  <a:extLst>
                    <a:ext uri="{FF2B5EF4-FFF2-40B4-BE49-F238E27FC236}">
                      <a16:creationId xmlns:a16="http://schemas.microsoft.com/office/drawing/2014/main" id="{96E65045-E513-9B80-CD43-1D0793DD66A0}"/>
                    </a:ext>
                  </a:extLst>
                </p14:cNvPr>
                <p14:cNvContentPartPr/>
                <p14:nvPr/>
              </p14:nvContentPartPr>
              <p14:xfrm>
                <a:off x="6611501" y="5813852"/>
                <a:ext cx="126360" cy="222480"/>
              </p14:xfrm>
            </p:contentPart>
          </mc:Choice>
          <mc:Fallback>
            <p:pic>
              <p:nvPicPr>
                <p:cNvPr id="18" name="Ink 17">
                  <a:extLst>
                    <a:ext uri="{FF2B5EF4-FFF2-40B4-BE49-F238E27FC236}">
                      <a16:creationId xmlns:a16="http://schemas.microsoft.com/office/drawing/2014/main" id="{96E65045-E513-9B80-CD43-1D0793DD66A0}"/>
                    </a:ext>
                  </a:extLst>
                </p:cNvPr>
                <p:cNvPicPr/>
                <p:nvPr/>
              </p:nvPicPr>
              <p:blipFill>
                <a:blip r:embed="rId34"/>
                <a:stretch>
                  <a:fillRect/>
                </a:stretch>
              </p:blipFill>
              <p:spPr>
                <a:xfrm>
                  <a:off x="6596021" y="5798732"/>
                  <a:ext cx="156960" cy="253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5">
              <p14:nvContentPartPr>
                <p14:cNvPr id="19" name="Ink 18">
                  <a:extLst>
                    <a:ext uri="{FF2B5EF4-FFF2-40B4-BE49-F238E27FC236}">
                      <a16:creationId xmlns:a16="http://schemas.microsoft.com/office/drawing/2014/main" id="{16696D72-1B22-8815-38BF-2E2367D2C44E}"/>
                    </a:ext>
                  </a:extLst>
                </p14:cNvPr>
                <p14:cNvContentPartPr/>
                <p14:nvPr/>
              </p14:nvContentPartPr>
              <p14:xfrm>
                <a:off x="6857381" y="5875772"/>
                <a:ext cx="72000" cy="189360"/>
              </p14:xfrm>
            </p:contentPart>
          </mc:Choice>
          <mc:Fallback>
            <p:pic>
              <p:nvPicPr>
                <p:cNvPr id="19" name="Ink 18">
                  <a:extLst>
                    <a:ext uri="{FF2B5EF4-FFF2-40B4-BE49-F238E27FC236}">
                      <a16:creationId xmlns:a16="http://schemas.microsoft.com/office/drawing/2014/main" id="{16696D72-1B22-8815-38BF-2E2367D2C44E}"/>
                    </a:ext>
                  </a:extLst>
                </p:cNvPr>
                <p:cNvPicPr/>
                <p:nvPr/>
              </p:nvPicPr>
              <p:blipFill>
                <a:blip r:embed="rId36"/>
                <a:stretch>
                  <a:fillRect/>
                </a:stretch>
              </p:blipFill>
              <p:spPr>
                <a:xfrm>
                  <a:off x="6841901" y="5860292"/>
                  <a:ext cx="102240" cy="219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7">
              <p14:nvContentPartPr>
                <p14:cNvPr id="20" name="Ink 19">
                  <a:extLst>
                    <a:ext uri="{FF2B5EF4-FFF2-40B4-BE49-F238E27FC236}">
                      <a16:creationId xmlns:a16="http://schemas.microsoft.com/office/drawing/2014/main" id="{496EB3D0-8104-3D21-0197-47725DA795F4}"/>
                    </a:ext>
                  </a:extLst>
                </p14:cNvPr>
                <p14:cNvContentPartPr/>
                <p14:nvPr/>
              </p14:nvContentPartPr>
              <p14:xfrm>
                <a:off x="7013621" y="5818532"/>
                <a:ext cx="117360" cy="213840"/>
              </p14:xfrm>
            </p:contentPart>
          </mc:Choice>
          <mc:Fallback>
            <p:pic>
              <p:nvPicPr>
                <p:cNvPr id="20" name="Ink 19">
                  <a:extLst>
                    <a:ext uri="{FF2B5EF4-FFF2-40B4-BE49-F238E27FC236}">
                      <a16:creationId xmlns:a16="http://schemas.microsoft.com/office/drawing/2014/main" id="{496EB3D0-8104-3D21-0197-47725DA795F4}"/>
                    </a:ext>
                  </a:extLst>
                </p:cNvPr>
                <p:cNvPicPr/>
                <p:nvPr/>
              </p:nvPicPr>
              <p:blipFill>
                <a:blip r:embed="rId38"/>
                <a:stretch>
                  <a:fillRect/>
                </a:stretch>
              </p:blipFill>
              <p:spPr>
                <a:xfrm>
                  <a:off x="6998501" y="5803412"/>
                  <a:ext cx="147600" cy="244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9">
              <p14:nvContentPartPr>
                <p14:cNvPr id="21" name="Ink 20">
                  <a:extLst>
                    <a:ext uri="{FF2B5EF4-FFF2-40B4-BE49-F238E27FC236}">
                      <a16:creationId xmlns:a16="http://schemas.microsoft.com/office/drawing/2014/main" id="{7801487E-3FA8-071B-99D7-62C271EEB4F4}"/>
                    </a:ext>
                  </a:extLst>
                </p14:cNvPr>
                <p14:cNvContentPartPr/>
                <p14:nvPr/>
              </p14:nvContentPartPr>
              <p14:xfrm>
                <a:off x="7169501" y="5846972"/>
                <a:ext cx="54000" cy="268920"/>
              </p14:xfrm>
            </p:contentPart>
          </mc:Choice>
          <mc:Fallback>
            <p:pic>
              <p:nvPicPr>
                <p:cNvPr id="21" name="Ink 20">
                  <a:extLst>
                    <a:ext uri="{FF2B5EF4-FFF2-40B4-BE49-F238E27FC236}">
                      <a16:creationId xmlns:a16="http://schemas.microsoft.com/office/drawing/2014/main" id="{7801487E-3FA8-071B-99D7-62C271EEB4F4}"/>
                    </a:ext>
                  </a:extLst>
                </p:cNvPr>
                <p:cNvPicPr/>
                <p:nvPr/>
              </p:nvPicPr>
              <p:blipFill>
                <a:blip r:embed="rId40"/>
                <a:stretch>
                  <a:fillRect/>
                </a:stretch>
              </p:blipFill>
              <p:spPr>
                <a:xfrm>
                  <a:off x="7154381" y="5831852"/>
                  <a:ext cx="84600" cy="299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1">
              <p14:nvContentPartPr>
                <p14:cNvPr id="22" name="Ink 21">
                  <a:extLst>
                    <a:ext uri="{FF2B5EF4-FFF2-40B4-BE49-F238E27FC236}">
                      <a16:creationId xmlns:a16="http://schemas.microsoft.com/office/drawing/2014/main" id="{12B00885-1A46-F447-49B6-F9F0205C0B22}"/>
                    </a:ext>
                  </a:extLst>
                </p14:cNvPr>
                <p14:cNvContentPartPr/>
                <p14:nvPr/>
              </p14:nvContentPartPr>
              <p14:xfrm>
                <a:off x="7334381" y="5951732"/>
                <a:ext cx="2520" cy="16200"/>
              </p14:xfrm>
            </p:contentPart>
          </mc:Choice>
          <mc:Fallback>
            <p:pic>
              <p:nvPicPr>
                <p:cNvPr id="22" name="Ink 21">
                  <a:extLst>
                    <a:ext uri="{FF2B5EF4-FFF2-40B4-BE49-F238E27FC236}">
                      <a16:creationId xmlns:a16="http://schemas.microsoft.com/office/drawing/2014/main" id="{12B00885-1A46-F447-49B6-F9F0205C0B22}"/>
                    </a:ext>
                  </a:extLst>
                </p:cNvPr>
                <p:cNvPicPr/>
                <p:nvPr/>
              </p:nvPicPr>
              <p:blipFill>
                <a:blip r:embed="rId42"/>
                <a:stretch>
                  <a:fillRect/>
                </a:stretch>
              </p:blipFill>
              <p:spPr>
                <a:xfrm>
                  <a:off x="7319261" y="5936612"/>
                  <a:ext cx="32760" cy="46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3">
              <p14:nvContentPartPr>
                <p14:cNvPr id="23" name="Ink 22">
                  <a:extLst>
                    <a:ext uri="{FF2B5EF4-FFF2-40B4-BE49-F238E27FC236}">
                      <a16:creationId xmlns:a16="http://schemas.microsoft.com/office/drawing/2014/main" id="{C6B81CD8-7FEA-6959-7720-C70909B85E91}"/>
                    </a:ext>
                  </a:extLst>
                </p14:cNvPr>
                <p14:cNvContentPartPr/>
                <p14:nvPr/>
              </p14:nvContentPartPr>
              <p14:xfrm>
                <a:off x="7476221" y="5830412"/>
                <a:ext cx="126720" cy="212760"/>
              </p14:xfrm>
            </p:contentPart>
          </mc:Choice>
          <mc:Fallback>
            <p:pic>
              <p:nvPicPr>
                <p:cNvPr id="23" name="Ink 22">
                  <a:extLst>
                    <a:ext uri="{FF2B5EF4-FFF2-40B4-BE49-F238E27FC236}">
                      <a16:creationId xmlns:a16="http://schemas.microsoft.com/office/drawing/2014/main" id="{C6B81CD8-7FEA-6959-7720-C70909B85E91}"/>
                    </a:ext>
                  </a:extLst>
                </p:cNvPr>
                <p:cNvPicPr/>
                <p:nvPr/>
              </p:nvPicPr>
              <p:blipFill>
                <a:blip r:embed="rId44"/>
                <a:stretch>
                  <a:fillRect/>
                </a:stretch>
              </p:blipFill>
              <p:spPr>
                <a:xfrm>
                  <a:off x="7460741" y="5815292"/>
                  <a:ext cx="157320" cy="243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5">
              <p14:nvContentPartPr>
                <p14:cNvPr id="24" name="Ink 23">
                  <a:extLst>
                    <a:ext uri="{FF2B5EF4-FFF2-40B4-BE49-F238E27FC236}">
                      <a16:creationId xmlns:a16="http://schemas.microsoft.com/office/drawing/2014/main" id="{17DC9F94-9B58-60C1-F95A-986C7E9B6664}"/>
                    </a:ext>
                  </a:extLst>
                </p14:cNvPr>
                <p14:cNvContentPartPr/>
                <p14:nvPr/>
              </p14:nvContentPartPr>
              <p14:xfrm>
                <a:off x="7667021" y="5864612"/>
                <a:ext cx="59400" cy="185040"/>
              </p14:xfrm>
            </p:contentPart>
          </mc:Choice>
          <mc:Fallback>
            <p:pic>
              <p:nvPicPr>
                <p:cNvPr id="24" name="Ink 23">
                  <a:extLst>
                    <a:ext uri="{FF2B5EF4-FFF2-40B4-BE49-F238E27FC236}">
                      <a16:creationId xmlns:a16="http://schemas.microsoft.com/office/drawing/2014/main" id="{17DC9F94-9B58-60C1-F95A-986C7E9B6664}"/>
                    </a:ext>
                  </a:extLst>
                </p:cNvPr>
                <p:cNvPicPr/>
                <p:nvPr/>
              </p:nvPicPr>
              <p:blipFill>
                <a:blip r:embed="rId46"/>
                <a:stretch>
                  <a:fillRect/>
                </a:stretch>
              </p:blipFill>
              <p:spPr>
                <a:xfrm>
                  <a:off x="7651901" y="5849132"/>
                  <a:ext cx="90000" cy="215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7">
              <p14:nvContentPartPr>
                <p14:cNvPr id="25" name="Ink 24">
                  <a:extLst>
                    <a:ext uri="{FF2B5EF4-FFF2-40B4-BE49-F238E27FC236}">
                      <a16:creationId xmlns:a16="http://schemas.microsoft.com/office/drawing/2014/main" id="{AD7A2A40-8934-31B2-11F9-759680553A55}"/>
                    </a:ext>
                  </a:extLst>
                </p14:cNvPr>
                <p14:cNvContentPartPr/>
                <p14:nvPr/>
              </p14:nvContentPartPr>
              <p14:xfrm>
                <a:off x="7798781" y="5812772"/>
                <a:ext cx="96840" cy="177840"/>
              </p14:xfrm>
            </p:contentPart>
          </mc:Choice>
          <mc:Fallback>
            <p:pic>
              <p:nvPicPr>
                <p:cNvPr id="25" name="Ink 24">
                  <a:extLst>
                    <a:ext uri="{FF2B5EF4-FFF2-40B4-BE49-F238E27FC236}">
                      <a16:creationId xmlns:a16="http://schemas.microsoft.com/office/drawing/2014/main" id="{AD7A2A40-8934-31B2-11F9-759680553A55}"/>
                    </a:ext>
                  </a:extLst>
                </p:cNvPr>
                <p:cNvPicPr/>
                <p:nvPr/>
              </p:nvPicPr>
              <p:blipFill>
                <a:blip r:embed="rId48"/>
                <a:stretch>
                  <a:fillRect/>
                </a:stretch>
              </p:blipFill>
              <p:spPr>
                <a:xfrm>
                  <a:off x="7783661" y="5797652"/>
                  <a:ext cx="127440" cy="208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9">
              <p14:nvContentPartPr>
                <p14:cNvPr id="26" name="Ink 25">
                  <a:extLst>
                    <a:ext uri="{FF2B5EF4-FFF2-40B4-BE49-F238E27FC236}">
                      <a16:creationId xmlns:a16="http://schemas.microsoft.com/office/drawing/2014/main" id="{CB2E104D-2A53-7807-AAE2-555B811A6012}"/>
                    </a:ext>
                  </a:extLst>
                </p14:cNvPr>
                <p14:cNvContentPartPr/>
                <p14:nvPr/>
              </p14:nvContentPartPr>
              <p14:xfrm>
                <a:off x="7766021" y="5993132"/>
                <a:ext cx="101880" cy="16560"/>
              </p14:xfrm>
            </p:contentPart>
          </mc:Choice>
          <mc:Fallback>
            <p:pic>
              <p:nvPicPr>
                <p:cNvPr id="26" name="Ink 25">
                  <a:extLst>
                    <a:ext uri="{FF2B5EF4-FFF2-40B4-BE49-F238E27FC236}">
                      <a16:creationId xmlns:a16="http://schemas.microsoft.com/office/drawing/2014/main" id="{CB2E104D-2A53-7807-AAE2-555B811A6012}"/>
                    </a:ext>
                  </a:extLst>
                </p:cNvPr>
                <p:cNvPicPr/>
                <p:nvPr/>
              </p:nvPicPr>
              <p:blipFill>
                <a:blip r:embed="rId50"/>
                <a:stretch>
                  <a:fillRect/>
                </a:stretch>
              </p:blipFill>
              <p:spPr>
                <a:xfrm>
                  <a:off x="7750541" y="5978012"/>
                  <a:ext cx="132480" cy="47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1">
              <p14:nvContentPartPr>
                <p14:cNvPr id="27" name="Ink 26">
                  <a:extLst>
                    <a:ext uri="{FF2B5EF4-FFF2-40B4-BE49-F238E27FC236}">
                      <a16:creationId xmlns:a16="http://schemas.microsoft.com/office/drawing/2014/main" id="{231D94BF-2D78-F6A6-FBDE-96B0F05BF4D6}"/>
                    </a:ext>
                  </a:extLst>
                </p14:cNvPr>
                <p14:cNvContentPartPr/>
                <p14:nvPr/>
              </p14:nvContentPartPr>
              <p14:xfrm>
                <a:off x="7952861" y="5926172"/>
                <a:ext cx="126720" cy="90360"/>
              </p14:xfrm>
            </p:contentPart>
          </mc:Choice>
          <mc:Fallback>
            <p:pic>
              <p:nvPicPr>
                <p:cNvPr id="27" name="Ink 26">
                  <a:extLst>
                    <a:ext uri="{FF2B5EF4-FFF2-40B4-BE49-F238E27FC236}">
                      <a16:creationId xmlns:a16="http://schemas.microsoft.com/office/drawing/2014/main" id="{231D94BF-2D78-F6A6-FBDE-96B0F05BF4D6}"/>
                    </a:ext>
                  </a:extLst>
                </p:cNvPr>
                <p:cNvPicPr/>
                <p:nvPr/>
              </p:nvPicPr>
              <p:blipFill>
                <a:blip r:embed="rId52"/>
                <a:stretch>
                  <a:fillRect/>
                </a:stretch>
              </p:blipFill>
              <p:spPr>
                <a:xfrm>
                  <a:off x="7937741" y="5911052"/>
                  <a:ext cx="157320" cy="120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3">
              <p14:nvContentPartPr>
                <p14:cNvPr id="28" name="Ink 27">
                  <a:extLst>
                    <a:ext uri="{FF2B5EF4-FFF2-40B4-BE49-F238E27FC236}">
                      <a16:creationId xmlns:a16="http://schemas.microsoft.com/office/drawing/2014/main" id="{CECD5085-24BE-8969-A135-9DC7D9999B61}"/>
                    </a:ext>
                  </a:extLst>
                </p14:cNvPr>
                <p14:cNvContentPartPr/>
                <p14:nvPr/>
              </p14:nvContentPartPr>
              <p14:xfrm>
                <a:off x="8170301" y="5877572"/>
                <a:ext cx="154440" cy="127440"/>
              </p14:xfrm>
            </p:contentPart>
          </mc:Choice>
          <mc:Fallback>
            <p:pic>
              <p:nvPicPr>
                <p:cNvPr id="28" name="Ink 27">
                  <a:extLst>
                    <a:ext uri="{FF2B5EF4-FFF2-40B4-BE49-F238E27FC236}">
                      <a16:creationId xmlns:a16="http://schemas.microsoft.com/office/drawing/2014/main" id="{CECD5085-24BE-8969-A135-9DC7D9999B61}"/>
                    </a:ext>
                  </a:extLst>
                </p:cNvPr>
                <p:cNvPicPr/>
                <p:nvPr/>
              </p:nvPicPr>
              <p:blipFill>
                <a:blip r:embed="rId54"/>
                <a:stretch>
                  <a:fillRect/>
                </a:stretch>
              </p:blipFill>
              <p:spPr>
                <a:xfrm>
                  <a:off x="8155181" y="5862092"/>
                  <a:ext cx="184680" cy="157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5">
              <p14:nvContentPartPr>
                <p14:cNvPr id="29" name="Ink 28">
                  <a:extLst>
                    <a:ext uri="{FF2B5EF4-FFF2-40B4-BE49-F238E27FC236}">
                      <a16:creationId xmlns:a16="http://schemas.microsoft.com/office/drawing/2014/main" id="{B9B77C32-95EF-3905-AB1B-6C42ACD18BC7}"/>
                    </a:ext>
                  </a:extLst>
                </p14:cNvPr>
                <p14:cNvContentPartPr/>
                <p14:nvPr/>
              </p14:nvContentPartPr>
              <p14:xfrm>
                <a:off x="8378381" y="5921132"/>
                <a:ext cx="15480" cy="119160"/>
              </p14:xfrm>
            </p:contentPart>
          </mc:Choice>
          <mc:Fallback>
            <p:pic>
              <p:nvPicPr>
                <p:cNvPr id="29" name="Ink 28">
                  <a:extLst>
                    <a:ext uri="{FF2B5EF4-FFF2-40B4-BE49-F238E27FC236}">
                      <a16:creationId xmlns:a16="http://schemas.microsoft.com/office/drawing/2014/main" id="{B9B77C32-95EF-3905-AB1B-6C42ACD18BC7}"/>
                    </a:ext>
                  </a:extLst>
                </p:cNvPr>
                <p:cNvPicPr/>
                <p:nvPr/>
              </p:nvPicPr>
              <p:blipFill>
                <a:blip r:embed="rId56"/>
                <a:stretch>
                  <a:fillRect/>
                </a:stretch>
              </p:blipFill>
              <p:spPr>
                <a:xfrm>
                  <a:off x="8362901" y="5906012"/>
                  <a:ext cx="45720" cy="149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7">
              <p14:nvContentPartPr>
                <p14:cNvPr id="30" name="Ink 29">
                  <a:extLst>
                    <a:ext uri="{FF2B5EF4-FFF2-40B4-BE49-F238E27FC236}">
                      <a16:creationId xmlns:a16="http://schemas.microsoft.com/office/drawing/2014/main" id="{DDFA3E68-5C72-5A55-46E2-1922962FCBAD}"/>
                    </a:ext>
                  </a:extLst>
                </p14:cNvPr>
                <p14:cNvContentPartPr/>
                <p14:nvPr/>
              </p14:nvContentPartPr>
              <p14:xfrm>
                <a:off x="8459021" y="5917532"/>
                <a:ext cx="88920" cy="77760"/>
              </p14:xfrm>
            </p:contentPart>
          </mc:Choice>
          <mc:Fallback>
            <p:pic>
              <p:nvPicPr>
                <p:cNvPr id="30" name="Ink 29">
                  <a:extLst>
                    <a:ext uri="{FF2B5EF4-FFF2-40B4-BE49-F238E27FC236}">
                      <a16:creationId xmlns:a16="http://schemas.microsoft.com/office/drawing/2014/main" id="{DDFA3E68-5C72-5A55-46E2-1922962FCBAD}"/>
                    </a:ext>
                  </a:extLst>
                </p:cNvPr>
                <p:cNvPicPr/>
                <p:nvPr/>
              </p:nvPicPr>
              <p:blipFill>
                <a:blip r:embed="rId58"/>
                <a:stretch>
                  <a:fillRect/>
                </a:stretch>
              </p:blipFill>
              <p:spPr>
                <a:xfrm>
                  <a:off x="8443901" y="5902412"/>
                  <a:ext cx="119160" cy="108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9">
              <p14:nvContentPartPr>
                <p14:cNvPr id="31" name="Ink 30">
                  <a:extLst>
                    <a:ext uri="{FF2B5EF4-FFF2-40B4-BE49-F238E27FC236}">
                      <a16:creationId xmlns:a16="http://schemas.microsoft.com/office/drawing/2014/main" id="{5FDB60A3-4A3A-C06D-B45C-A8D4748C4DC1}"/>
                    </a:ext>
                  </a:extLst>
                </p14:cNvPr>
                <p14:cNvContentPartPr/>
                <p14:nvPr/>
              </p14:nvContentPartPr>
              <p14:xfrm>
                <a:off x="8586821" y="5834732"/>
                <a:ext cx="81360" cy="264960"/>
              </p14:xfrm>
            </p:contentPart>
          </mc:Choice>
          <mc:Fallback>
            <p:pic>
              <p:nvPicPr>
                <p:cNvPr id="31" name="Ink 30">
                  <a:extLst>
                    <a:ext uri="{FF2B5EF4-FFF2-40B4-BE49-F238E27FC236}">
                      <a16:creationId xmlns:a16="http://schemas.microsoft.com/office/drawing/2014/main" id="{5FDB60A3-4A3A-C06D-B45C-A8D4748C4DC1}"/>
                    </a:ext>
                  </a:extLst>
                </p:cNvPr>
                <p:cNvPicPr/>
                <p:nvPr/>
              </p:nvPicPr>
              <p:blipFill>
                <a:blip r:embed="rId60"/>
                <a:stretch>
                  <a:fillRect/>
                </a:stretch>
              </p:blipFill>
              <p:spPr>
                <a:xfrm>
                  <a:off x="8571341" y="5819612"/>
                  <a:ext cx="111600" cy="29556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61">
            <p14:nvContentPartPr>
              <p14:cNvPr id="32" name="Ink 31">
                <a:extLst>
                  <a:ext uri="{FF2B5EF4-FFF2-40B4-BE49-F238E27FC236}">
                    <a16:creationId xmlns:a16="http://schemas.microsoft.com/office/drawing/2014/main" id="{4899FF78-7310-8446-D769-48011821C186}"/>
                  </a:ext>
                </a:extLst>
              </p14:cNvPr>
              <p14:cNvContentPartPr/>
              <p14:nvPr/>
            </p14:nvContentPartPr>
            <p14:xfrm>
              <a:off x="6732461" y="6250892"/>
              <a:ext cx="1360440" cy="22320"/>
            </p14:xfrm>
          </p:contentPart>
        </mc:Choice>
        <mc:Fallback>
          <p:pic>
            <p:nvPicPr>
              <p:cNvPr id="32" name="Ink 31">
                <a:extLst>
                  <a:ext uri="{FF2B5EF4-FFF2-40B4-BE49-F238E27FC236}">
                    <a16:creationId xmlns:a16="http://schemas.microsoft.com/office/drawing/2014/main" id="{4899FF78-7310-8446-D769-48011821C186}"/>
                  </a:ext>
                </a:extLst>
              </p:cNvPr>
              <p:cNvPicPr/>
              <p:nvPr/>
            </p:nvPicPr>
            <p:blipFill>
              <a:blip r:embed="rId62"/>
              <a:stretch>
                <a:fillRect/>
              </a:stretch>
            </p:blipFill>
            <p:spPr>
              <a:xfrm>
                <a:off x="6717341" y="6235412"/>
                <a:ext cx="1391040" cy="52920"/>
              </a:xfrm>
              <a:prstGeom prst="rect">
                <a:avLst/>
              </a:prstGeom>
            </p:spPr>
          </p:pic>
        </mc:Fallback>
      </mc:AlternateContent>
      <p:grpSp>
        <p:nvGrpSpPr>
          <p:cNvPr id="44" name="Group 43">
            <a:extLst>
              <a:ext uri="{FF2B5EF4-FFF2-40B4-BE49-F238E27FC236}">
                <a16:creationId xmlns:a16="http://schemas.microsoft.com/office/drawing/2014/main" id="{1896E7DF-FB23-07E8-88EB-4BD361D93DD5}"/>
              </a:ext>
            </a:extLst>
          </p:cNvPr>
          <p:cNvGrpSpPr/>
          <p:nvPr/>
        </p:nvGrpSpPr>
        <p:grpSpPr>
          <a:xfrm>
            <a:off x="7252301" y="6439532"/>
            <a:ext cx="1171800" cy="251280"/>
            <a:chOff x="7252301" y="6439532"/>
            <a:chExt cx="1171800" cy="25128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63">
              <p14:nvContentPartPr>
                <p14:cNvPr id="33" name="Ink 32">
                  <a:extLst>
                    <a:ext uri="{FF2B5EF4-FFF2-40B4-BE49-F238E27FC236}">
                      <a16:creationId xmlns:a16="http://schemas.microsoft.com/office/drawing/2014/main" id="{5C34C691-0301-F278-A339-472D377CF0FF}"/>
                    </a:ext>
                  </a:extLst>
                </p14:cNvPr>
                <p14:cNvContentPartPr/>
                <p14:nvPr/>
              </p14:nvContentPartPr>
              <p14:xfrm>
                <a:off x="7252301" y="6439532"/>
                <a:ext cx="153000" cy="251280"/>
              </p14:xfrm>
            </p:contentPart>
          </mc:Choice>
          <mc:Fallback>
            <p:pic>
              <p:nvPicPr>
                <p:cNvPr id="33" name="Ink 32">
                  <a:extLst>
                    <a:ext uri="{FF2B5EF4-FFF2-40B4-BE49-F238E27FC236}">
                      <a16:creationId xmlns:a16="http://schemas.microsoft.com/office/drawing/2014/main" id="{5C34C691-0301-F278-A339-472D377CF0FF}"/>
                    </a:ext>
                  </a:extLst>
                </p:cNvPr>
                <p:cNvPicPr/>
                <p:nvPr/>
              </p:nvPicPr>
              <p:blipFill>
                <a:blip r:embed="rId64"/>
                <a:stretch>
                  <a:fillRect/>
                </a:stretch>
              </p:blipFill>
              <p:spPr>
                <a:xfrm>
                  <a:off x="7237181" y="6424052"/>
                  <a:ext cx="183240" cy="281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5">
              <p14:nvContentPartPr>
                <p14:cNvPr id="34" name="Ink 33">
                  <a:extLst>
                    <a:ext uri="{FF2B5EF4-FFF2-40B4-BE49-F238E27FC236}">
                      <a16:creationId xmlns:a16="http://schemas.microsoft.com/office/drawing/2014/main" id="{060AA161-AAEB-3F52-5893-C56C6A51356E}"/>
                    </a:ext>
                  </a:extLst>
                </p14:cNvPr>
                <p14:cNvContentPartPr/>
                <p14:nvPr/>
              </p14:nvContentPartPr>
              <p14:xfrm>
                <a:off x="7475141" y="6466532"/>
                <a:ext cx="69840" cy="163800"/>
              </p14:xfrm>
            </p:contentPart>
          </mc:Choice>
          <mc:Fallback>
            <p:pic>
              <p:nvPicPr>
                <p:cNvPr id="34" name="Ink 33">
                  <a:extLst>
                    <a:ext uri="{FF2B5EF4-FFF2-40B4-BE49-F238E27FC236}">
                      <a16:creationId xmlns:a16="http://schemas.microsoft.com/office/drawing/2014/main" id="{060AA161-AAEB-3F52-5893-C56C6A51356E}"/>
                    </a:ext>
                  </a:extLst>
                </p:cNvPr>
                <p:cNvPicPr/>
                <p:nvPr/>
              </p:nvPicPr>
              <p:blipFill>
                <a:blip r:embed="rId66"/>
                <a:stretch>
                  <a:fillRect/>
                </a:stretch>
              </p:blipFill>
              <p:spPr>
                <a:xfrm>
                  <a:off x="7459661" y="6451412"/>
                  <a:ext cx="100440" cy="194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7">
              <p14:nvContentPartPr>
                <p14:cNvPr id="35" name="Ink 34">
                  <a:extLst>
                    <a:ext uri="{FF2B5EF4-FFF2-40B4-BE49-F238E27FC236}">
                      <a16:creationId xmlns:a16="http://schemas.microsoft.com/office/drawing/2014/main" id="{5C64E35D-0F72-B3D4-F34C-7BAE0BC8190A}"/>
                    </a:ext>
                  </a:extLst>
                </p14:cNvPr>
                <p14:cNvContentPartPr/>
                <p14:nvPr/>
              </p14:nvContentPartPr>
              <p14:xfrm>
                <a:off x="7650461" y="6461852"/>
                <a:ext cx="67320" cy="141120"/>
              </p14:xfrm>
            </p:contentPart>
          </mc:Choice>
          <mc:Fallback>
            <p:pic>
              <p:nvPicPr>
                <p:cNvPr id="35" name="Ink 34">
                  <a:extLst>
                    <a:ext uri="{FF2B5EF4-FFF2-40B4-BE49-F238E27FC236}">
                      <a16:creationId xmlns:a16="http://schemas.microsoft.com/office/drawing/2014/main" id="{5C64E35D-0F72-B3D4-F34C-7BAE0BC8190A}"/>
                    </a:ext>
                  </a:extLst>
                </p:cNvPr>
                <p:cNvPicPr/>
                <p:nvPr/>
              </p:nvPicPr>
              <p:blipFill>
                <a:blip r:embed="rId68"/>
                <a:stretch>
                  <a:fillRect/>
                </a:stretch>
              </p:blipFill>
              <p:spPr>
                <a:xfrm>
                  <a:off x="7635341" y="6446732"/>
                  <a:ext cx="97920" cy="171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9">
              <p14:nvContentPartPr>
                <p14:cNvPr id="36" name="Ink 35">
                  <a:extLst>
                    <a:ext uri="{FF2B5EF4-FFF2-40B4-BE49-F238E27FC236}">
                      <a16:creationId xmlns:a16="http://schemas.microsoft.com/office/drawing/2014/main" id="{43DEC6C2-3C85-C605-A2C1-A0D1F6B77461}"/>
                    </a:ext>
                  </a:extLst>
                </p14:cNvPr>
                <p14:cNvContentPartPr/>
                <p14:nvPr/>
              </p14:nvContentPartPr>
              <p14:xfrm>
                <a:off x="7610501" y="6559772"/>
                <a:ext cx="333720" cy="75600"/>
              </p14:xfrm>
            </p:contentPart>
          </mc:Choice>
          <mc:Fallback>
            <p:pic>
              <p:nvPicPr>
                <p:cNvPr id="36" name="Ink 35">
                  <a:extLst>
                    <a:ext uri="{FF2B5EF4-FFF2-40B4-BE49-F238E27FC236}">
                      <a16:creationId xmlns:a16="http://schemas.microsoft.com/office/drawing/2014/main" id="{43DEC6C2-3C85-C605-A2C1-A0D1F6B77461}"/>
                    </a:ext>
                  </a:extLst>
                </p:cNvPr>
                <p:cNvPicPr/>
                <p:nvPr/>
              </p:nvPicPr>
              <p:blipFill>
                <a:blip r:embed="rId70"/>
                <a:stretch>
                  <a:fillRect/>
                </a:stretch>
              </p:blipFill>
              <p:spPr>
                <a:xfrm>
                  <a:off x="7595381" y="6544292"/>
                  <a:ext cx="364320" cy="105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1">
              <p14:nvContentPartPr>
                <p14:cNvPr id="37" name="Ink 36">
                  <a:extLst>
                    <a:ext uri="{FF2B5EF4-FFF2-40B4-BE49-F238E27FC236}">
                      <a16:creationId xmlns:a16="http://schemas.microsoft.com/office/drawing/2014/main" id="{F0CA842D-535C-C610-BFAE-F131F7DFDBA0}"/>
                    </a:ext>
                  </a:extLst>
                </p14:cNvPr>
                <p14:cNvContentPartPr/>
                <p14:nvPr/>
              </p14:nvContentPartPr>
              <p14:xfrm>
                <a:off x="7957181" y="6505052"/>
                <a:ext cx="119520" cy="130680"/>
              </p14:xfrm>
            </p:contentPart>
          </mc:Choice>
          <mc:Fallback>
            <p:pic>
              <p:nvPicPr>
                <p:cNvPr id="37" name="Ink 36">
                  <a:extLst>
                    <a:ext uri="{FF2B5EF4-FFF2-40B4-BE49-F238E27FC236}">
                      <a16:creationId xmlns:a16="http://schemas.microsoft.com/office/drawing/2014/main" id="{F0CA842D-535C-C610-BFAE-F131F7DFDBA0}"/>
                    </a:ext>
                  </a:extLst>
                </p:cNvPr>
                <p:cNvPicPr/>
                <p:nvPr/>
              </p:nvPicPr>
              <p:blipFill>
                <a:blip r:embed="rId72"/>
                <a:stretch>
                  <a:fillRect/>
                </a:stretch>
              </p:blipFill>
              <p:spPr>
                <a:xfrm>
                  <a:off x="7941701" y="6489932"/>
                  <a:ext cx="150120" cy="160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3">
              <p14:nvContentPartPr>
                <p14:cNvPr id="38" name="Ink 37">
                  <a:extLst>
                    <a:ext uri="{FF2B5EF4-FFF2-40B4-BE49-F238E27FC236}">
                      <a16:creationId xmlns:a16="http://schemas.microsoft.com/office/drawing/2014/main" id="{F6C3C74D-B9A6-7B0B-88B3-BAFFFFAB18AF}"/>
                    </a:ext>
                  </a:extLst>
                </p14:cNvPr>
                <p14:cNvContentPartPr/>
                <p14:nvPr/>
              </p14:nvContentPartPr>
              <p14:xfrm>
                <a:off x="8090021" y="6509012"/>
                <a:ext cx="28080" cy="113400"/>
              </p14:xfrm>
            </p:contentPart>
          </mc:Choice>
          <mc:Fallback>
            <p:pic>
              <p:nvPicPr>
                <p:cNvPr id="38" name="Ink 37">
                  <a:extLst>
                    <a:ext uri="{FF2B5EF4-FFF2-40B4-BE49-F238E27FC236}">
                      <a16:creationId xmlns:a16="http://schemas.microsoft.com/office/drawing/2014/main" id="{F6C3C74D-B9A6-7B0B-88B3-BAFFFFAB18AF}"/>
                    </a:ext>
                  </a:extLst>
                </p:cNvPr>
                <p:cNvPicPr/>
                <p:nvPr/>
              </p:nvPicPr>
              <p:blipFill>
                <a:blip r:embed="rId74"/>
                <a:stretch>
                  <a:fillRect/>
                </a:stretch>
              </p:blipFill>
              <p:spPr>
                <a:xfrm>
                  <a:off x="8074901" y="6493532"/>
                  <a:ext cx="58320" cy="144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5">
              <p14:nvContentPartPr>
                <p14:cNvPr id="39" name="Ink 38">
                  <a:extLst>
                    <a:ext uri="{FF2B5EF4-FFF2-40B4-BE49-F238E27FC236}">
                      <a16:creationId xmlns:a16="http://schemas.microsoft.com/office/drawing/2014/main" id="{9A2503CF-9262-D5BB-386C-DD07CBCF1C00}"/>
                    </a:ext>
                  </a:extLst>
                </p14:cNvPr>
                <p14:cNvContentPartPr/>
                <p14:nvPr/>
              </p14:nvContentPartPr>
              <p14:xfrm>
                <a:off x="8205941" y="6524492"/>
                <a:ext cx="100800" cy="74520"/>
              </p14:xfrm>
            </p:contentPart>
          </mc:Choice>
          <mc:Fallback>
            <p:pic>
              <p:nvPicPr>
                <p:cNvPr id="39" name="Ink 38">
                  <a:extLst>
                    <a:ext uri="{FF2B5EF4-FFF2-40B4-BE49-F238E27FC236}">
                      <a16:creationId xmlns:a16="http://schemas.microsoft.com/office/drawing/2014/main" id="{9A2503CF-9262-D5BB-386C-DD07CBCF1C00}"/>
                    </a:ext>
                  </a:extLst>
                </p:cNvPr>
                <p:cNvPicPr/>
                <p:nvPr/>
              </p:nvPicPr>
              <p:blipFill>
                <a:blip r:embed="rId76"/>
                <a:stretch>
                  <a:fillRect/>
                </a:stretch>
              </p:blipFill>
              <p:spPr>
                <a:xfrm>
                  <a:off x="8190461" y="6509372"/>
                  <a:ext cx="131400" cy="105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7">
              <p14:nvContentPartPr>
                <p14:cNvPr id="40" name="Ink 39">
                  <a:extLst>
                    <a:ext uri="{FF2B5EF4-FFF2-40B4-BE49-F238E27FC236}">
                      <a16:creationId xmlns:a16="http://schemas.microsoft.com/office/drawing/2014/main" id="{5912DA54-ABDA-23A4-AEFC-A804A99CBBDC}"/>
                    </a:ext>
                  </a:extLst>
                </p14:cNvPr>
                <p14:cNvContentPartPr/>
                <p14:nvPr/>
              </p14:nvContentPartPr>
              <p14:xfrm>
                <a:off x="8320421" y="6445292"/>
                <a:ext cx="103680" cy="197280"/>
              </p14:xfrm>
            </p:contentPart>
          </mc:Choice>
          <mc:Fallback>
            <p:pic>
              <p:nvPicPr>
                <p:cNvPr id="40" name="Ink 39">
                  <a:extLst>
                    <a:ext uri="{FF2B5EF4-FFF2-40B4-BE49-F238E27FC236}">
                      <a16:creationId xmlns:a16="http://schemas.microsoft.com/office/drawing/2014/main" id="{5912DA54-ABDA-23A4-AEFC-A804A99CBBDC}"/>
                    </a:ext>
                  </a:extLst>
                </p:cNvPr>
                <p:cNvPicPr/>
                <p:nvPr/>
              </p:nvPicPr>
              <p:blipFill>
                <a:blip r:embed="rId78"/>
                <a:stretch>
                  <a:fillRect/>
                </a:stretch>
              </p:blipFill>
              <p:spPr>
                <a:xfrm>
                  <a:off x="8305301" y="6430172"/>
                  <a:ext cx="134280" cy="2278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55FC8AE-CF91-F473-3F5C-3E928DE4A81A}"/>
              </a:ext>
            </a:extLst>
          </p:cNvPr>
          <p:cNvGrpSpPr/>
          <p:nvPr/>
        </p:nvGrpSpPr>
        <p:grpSpPr>
          <a:xfrm>
            <a:off x="8600141" y="6209852"/>
            <a:ext cx="110520" cy="60480"/>
            <a:chOff x="8600141" y="6209852"/>
            <a:chExt cx="110520" cy="6048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79">
              <p14:nvContentPartPr>
                <p14:cNvPr id="41" name="Ink 40">
                  <a:extLst>
                    <a:ext uri="{FF2B5EF4-FFF2-40B4-BE49-F238E27FC236}">
                      <a16:creationId xmlns:a16="http://schemas.microsoft.com/office/drawing/2014/main" id="{12369411-22E8-8D08-002F-26A2B5CB0508}"/>
                    </a:ext>
                  </a:extLst>
                </p14:cNvPr>
                <p14:cNvContentPartPr/>
                <p14:nvPr/>
              </p14:nvContentPartPr>
              <p14:xfrm>
                <a:off x="8613821" y="6209852"/>
                <a:ext cx="54720" cy="4680"/>
              </p14:xfrm>
            </p:contentPart>
          </mc:Choice>
          <mc:Fallback>
            <p:pic>
              <p:nvPicPr>
                <p:cNvPr id="41" name="Ink 40">
                  <a:extLst>
                    <a:ext uri="{FF2B5EF4-FFF2-40B4-BE49-F238E27FC236}">
                      <a16:creationId xmlns:a16="http://schemas.microsoft.com/office/drawing/2014/main" id="{12369411-22E8-8D08-002F-26A2B5CB0508}"/>
                    </a:ext>
                  </a:extLst>
                </p:cNvPr>
                <p:cNvPicPr/>
                <p:nvPr/>
              </p:nvPicPr>
              <p:blipFill>
                <a:blip r:embed="rId80"/>
                <a:stretch>
                  <a:fillRect/>
                </a:stretch>
              </p:blipFill>
              <p:spPr>
                <a:xfrm>
                  <a:off x="8598701" y="6194372"/>
                  <a:ext cx="85320" cy="35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1">
              <p14:nvContentPartPr>
                <p14:cNvPr id="42" name="Ink 41">
                  <a:extLst>
                    <a:ext uri="{FF2B5EF4-FFF2-40B4-BE49-F238E27FC236}">
                      <a16:creationId xmlns:a16="http://schemas.microsoft.com/office/drawing/2014/main" id="{676FBCF4-A24F-33B6-9E3E-B24426CB083D}"/>
                    </a:ext>
                  </a:extLst>
                </p14:cNvPr>
                <p14:cNvContentPartPr/>
                <p14:nvPr/>
              </p14:nvContentPartPr>
              <p14:xfrm>
                <a:off x="8600141" y="6264572"/>
                <a:ext cx="110520" cy="5760"/>
              </p14:xfrm>
            </p:contentPart>
          </mc:Choice>
          <mc:Fallback>
            <p:pic>
              <p:nvPicPr>
                <p:cNvPr id="42" name="Ink 41">
                  <a:extLst>
                    <a:ext uri="{FF2B5EF4-FFF2-40B4-BE49-F238E27FC236}">
                      <a16:creationId xmlns:a16="http://schemas.microsoft.com/office/drawing/2014/main" id="{676FBCF4-A24F-33B6-9E3E-B24426CB083D}"/>
                    </a:ext>
                  </a:extLst>
                </p:cNvPr>
                <p:cNvPicPr/>
                <p:nvPr/>
              </p:nvPicPr>
              <p:blipFill>
                <a:blip r:embed="rId82"/>
                <a:stretch>
                  <a:fillRect/>
                </a:stretch>
              </p:blipFill>
              <p:spPr>
                <a:xfrm>
                  <a:off x="8585021" y="6249452"/>
                  <a:ext cx="141120" cy="363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2E5D41AA-AA36-4ECE-0B53-79AFCB109527}"/>
              </a:ext>
            </a:extLst>
          </p:cNvPr>
          <p:cNvGrpSpPr/>
          <p:nvPr/>
        </p:nvGrpSpPr>
        <p:grpSpPr>
          <a:xfrm>
            <a:off x="8900741" y="5697212"/>
            <a:ext cx="2424960" cy="981720"/>
            <a:chOff x="8900741" y="5697212"/>
            <a:chExt cx="2424960" cy="9817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83">
              <p14:nvContentPartPr>
                <p14:cNvPr id="48" name="Ink 47">
                  <a:extLst>
                    <a:ext uri="{FF2B5EF4-FFF2-40B4-BE49-F238E27FC236}">
                      <a16:creationId xmlns:a16="http://schemas.microsoft.com/office/drawing/2014/main" id="{93D1D3B2-E454-2DFF-F11A-4C4B6C913700}"/>
                    </a:ext>
                  </a:extLst>
                </p14:cNvPr>
                <p14:cNvContentPartPr/>
                <p14:nvPr/>
              </p14:nvContentPartPr>
              <p14:xfrm>
                <a:off x="9177221" y="5885132"/>
                <a:ext cx="129600" cy="214920"/>
              </p14:xfrm>
            </p:contentPart>
          </mc:Choice>
          <mc:Fallback>
            <p:pic>
              <p:nvPicPr>
                <p:cNvPr id="48" name="Ink 47">
                  <a:extLst>
                    <a:ext uri="{FF2B5EF4-FFF2-40B4-BE49-F238E27FC236}">
                      <a16:creationId xmlns:a16="http://schemas.microsoft.com/office/drawing/2014/main" id="{93D1D3B2-E454-2DFF-F11A-4C4B6C913700}"/>
                    </a:ext>
                  </a:extLst>
                </p:cNvPr>
                <p:cNvPicPr/>
                <p:nvPr/>
              </p:nvPicPr>
              <p:blipFill>
                <a:blip r:embed="rId84"/>
                <a:stretch>
                  <a:fillRect/>
                </a:stretch>
              </p:blipFill>
              <p:spPr>
                <a:xfrm>
                  <a:off x="9161741" y="5869652"/>
                  <a:ext cx="159840" cy="245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5">
              <p14:nvContentPartPr>
                <p14:cNvPr id="49" name="Ink 48">
                  <a:extLst>
                    <a:ext uri="{FF2B5EF4-FFF2-40B4-BE49-F238E27FC236}">
                      <a16:creationId xmlns:a16="http://schemas.microsoft.com/office/drawing/2014/main" id="{89AEED46-B93D-E8F7-F2E1-0E44F66FE755}"/>
                    </a:ext>
                  </a:extLst>
                </p14:cNvPr>
                <p14:cNvContentPartPr/>
                <p14:nvPr/>
              </p14:nvContentPartPr>
              <p14:xfrm>
                <a:off x="9358301" y="5967932"/>
                <a:ext cx="124200" cy="129600"/>
              </p14:xfrm>
            </p:contentPart>
          </mc:Choice>
          <mc:Fallback>
            <p:pic>
              <p:nvPicPr>
                <p:cNvPr id="49" name="Ink 48">
                  <a:extLst>
                    <a:ext uri="{FF2B5EF4-FFF2-40B4-BE49-F238E27FC236}">
                      <a16:creationId xmlns:a16="http://schemas.microsoft.com/office/drawing/2014/main" id="{89AEED46-B93D-E8F7-F2E1-0E44F66FE755}"/>
                    </a:ext>
                  </a:extLst>
                </p:cNvPr>
                <p:cNvPicPr/>
                <p:nvPr/>
              </p:nvPicPr>
              <p:blipFill>
                <a:blip r:embed="rId86"/>
                <a:stretch>
                  <a:fillRect/>
                </a:stretch>
              </p:blipFill>
              <p:spPr>
                <a:xfrm>
                  <a:off x="9342821" y="5952812"/>
                  <a:ext cx="154800" cy="160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7">
              <p14:nvContentPartPr>
                <p14:cNvPr id="50" name="Ink 49">
                  <a:extLst>
                    <a:ext uri="{FF2B5EF4-FFF2-40B4-BE49-F238E27FC236}">
                      <a16:creationId xmlns:a16="http://schemas.microsoft.com/office/drawing/2014/main" id="{7B42E405-4ED3-DAA5-5520-9D1CF87615E0}"/>
                    </a:ext>
                  </a:extLst>
                </p14:cNvPr>
                <p14:cNvContentPartPr/>
                <p14:nvPr/>
              </p14:nvContentPartPr>
              <p14:xfrm>
                <a:off x="9145181" y="6195452"/>
                <a:ext cx="249120" cy="24480"/>
              </p14:xfrm>
            </p:contentPart>
          </mc:Choice>
          <mc:Fallback>
            <p:pic>
              <p:nvPicPr>
                <p:cNvPr id="50" name="Ink 49">
                  <a:extLst>
                    <a:ext uri="{FF2B5EF4-FFF2-40B4-BE49-F238E27FC236}">
                      <a16:creationId xmlns:a16="http://schemas.microsoft.com/office/drawing/2014/main" id="{7B42E405-4ED3-DAA5-5520-9D1CF87615E0}"/>
                    </a:ext>
                  </a:extLst>
                </p:cNvPr>
                <p:cNvPicPr/>
                <p:nvPr/>
              </p:nvPicPr>
              <p:blipFill>
                <a:blip r:embed="rId88"/>
                <a:stretch>
                  <a:fillRect/>
                </a:stretch>
              </p:blipFill>
              <p:spPr>
                <a:xfrm>
                  <a:off x="9130061" y="6179972"/>
                  <a:ext cx="279720" cy="55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9">
              <p14:nvContentPartPr>
                <p14:cNvPr id="51" name="Ink 50">
                  <a:extLst>
                    <a:ext uri="{FF2B5EF4-FFF2-40B4-BE49-F238E27FC236}">
                      <a16:creationId xmlns:a16="http://schemas.microsoft.com/office/drawing/2014/main" id="{E40A7CCD-3093-2939-C86E-15C09F903962}"/>
                    </a:ext>
                  </a:extLst>
                </p14:cNvPr>
                <p14:cNvContentPartPr/>
                <p14:nvPr/>
              </p14:nvContentPartPr>
              <p14:xfrm>
                <a:off x="9173621" y="6266372"/>
                <a:ext cx="101880" cy="146520"/>
              </p14:xfrm>
            </p:contentPart>
          </mc:Choice>
          <mc:Fallback>
            <p:pic>
              <p:nvPicPr>
                <p:cNvPr id="51" name="Ink 50">
                  <a:extLst>
                    <a:ext uri="{FF2B5EF4-FFF2-40B4-BE49-F238E27FC236}">
                      <a16:creationId xmlns:a16="http://schemas.microsoft.com/office/drawing/2014/main" id="{E40A7CCD-3093-2939-C86E-15C09F903962}"/>
                    </a:ext>
                  </a:extLst>
                </p:cNvPr>
                <p:cNvPicPr/>
                <p:nvPr/>
              </p:nvPicPr>
              <p:blipFill>
                <a:blip r:embed="rId90"/>
                <a:stretch>
                  <a:fillRect/>
                </a:stretch>
              </p:blipFill>
              <p:spPr>
                <a:xfrm>
                  <a:off x="9158141" y="6250892"/>
                  <a:ext cx="132120" cy="177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1">
              <p14:nvContentPartPr>
                <p14:cNvPr id="52" name="Ink 51">
                  <a:extLst>
                    <a:ext uri="{FF2B5EF4-FFF2-40B4-BE49-F238E27FC236}">
                      <a16:creationId xmlns:a16="http://schemas.microsoft.com/office/drawing/2014/main" id="{C7666A01-506B-8C7D-123F-04E2038343F8}"/>
                    </a:ext>
                  </a:extLst>
                </p14:cNvPr>
                <p14:cNvContentPartPr/>
                <p14:nvPr/>
              </p14:nvContentPartPr>
              <p14:xfrm>
                <a:off x="9290261" y="6279692"/>
                <a:ext cx="131400" cy="91440"/>
              </p14:xfrm>
            </p:contentPart>
          </mc:Choice>
          <mc:Fallback>
            <p:pic>
              <p:nvPicPr>
                <p:cNvPr id="52" name="Ink 51">
                  <a:extLst>
                    <a:ext uri="{FF2B5EF4-FFF2-40B4-BE49-F238E27FC236}">
                      <a16:creationId xmlns:a16="http://schemas.microsoft.com/office/drawing/2014/main" id="{C7666A01-506B-8C7D-123F-04E2038343F8}"/>
                    </a:ext>
                  </a:extLst>
                </p:cNvPr>
                <p:cNvPicPr/>
                <p:nvPr/>
              </p:nvPicPr>
              <p:blipFill>
                <a:blip r:embed="rId92"/>
                <a:stretch>
                  <a:fillRect/>
                </a:stretch>
              </p:blipFill>
              <p:spPr>
                <a:xfrm>
                  <a:off x="9275141" y="6264212"/>
                  <a:ext cx="162000" cy="121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3">
              <p14:nvContentPartPr>
                <p14:cNvPr id="53" name="Ink 52">
                  <a:extLst>
                    <a:ext uri="{FF2B5EF4-FFF2-40B4-BE49-F238E27FC236}">
                      <a16:creationId xmlns:a16="http://schemas.microsoft.com/office/drawing/2014/main" id="{FC1F7E62-E20B-DB3C-EF6D-23F3EEFAE043}"/>
                    </a:ext>
                  </a:extLst>
                </p14:cNvPr>
                <p14:cNvContentPartPr/>
                <p14:nvPr/>
              </p14:nvContentPartPr>
              <p14:xfrm>
                <a:off x="9622541" y="6193652"/>
                <a:ext cx="18000" cy="12600"/>
              </p14:xfrm>
            </p:contentPart>
          </mc:Choice>
          <mc:Fallback>
            <p:pic>
              <p:nvPicPr>
                <p:cNvPr id="53" name="Ink 52">
                  <a:extLst>
                    <a:ext uri="{FF2B5EF4-FFF2-40B4-BE49-F238E27FC236}">
                      <a16:creationId xmlns:a16="http://schemas.microsoft.com/office/drawing/2014/main" id="{FC1F7E62-E20B-DB3C-EF6D-23F3EEFAE043}"/>
                    </a:ext>
                  </a:extLst>
                </p:cNvPr>
                <p:cNvPicPr/>
                <p:nvPr/>
              </p:nvPicPr>
              <p:blipFill>
                <a:blip r:embed="rId94"/>
                <a:stretch>
                  <a:fillRect/>
                </a:stretch>
              </p:blipFill>
              <p:spPr>
                <a:xfrm>
                  <a:off x="9607061" y="6178532"/>
                  <a:ext cx="48600" cy="42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5">
              <p14:nvContentPartPr>
                <p14:cNvPr id="54" name="Ink 53">
                  <a:extLst>
                    <a:ext uri="{FF2B5EF4-FFF2-40B4-BE49-F238E27FC236}">
                      <a16:creationId xmlns:a16="http://schemas.microsoft.com/office/drawing/2014/main" id="{1DF6938F-D8FD-2A1D-ADB8-A53F4C531FF3}"/>
                    </a:ext>
                  </a:extLst>
                </p14:cNvPr>
                <p14:cNvContentPartPr/>
                <p14:nvPr/>
              </p14:nvContentPartPr>
              <p14:xfrm>
                <a:off x="9787061" y="5882252"/>
                <a:ext cx="114840" cy="245520"/>
              </p14:xfrm>
            </p:contentPart>
          </mc:Choice>
          <mc:Fallback>
            <p:pic>
              <p:nvPicPr>
                <p:cNvPr id="54" name="Ink 53">
                  <a:extLst>
                    <a:ext uri="{FF2B5EF4-FFF2-40B4-BE49-F238E27FC236}">
                      <a16:creationId xmlns:a16="http://schemas.microsoft.com/office/drawing/2014/main" id="{1DF6938F-D8FD-2A1D-ADB8-A53F4C531FF3}"/>
                    </a:ext>
                  </a:extLst>
                </p:cNvPr>
                <p:cNvPicPr/>
                <p:nvPr/>
              </p:nvPicPr>
              <p:blipFill>
                <a:blip r:embed="rId96"/>
                <a:stretch>
                  <a:fillRect/>
                </a:stretch>
              </p:blipFill>
              <p:spPr>
                <a:xfrm>
                  <a:off x="9771941" y="5867132"/>
                  <a:ext cx="145440" cy="276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7">
              <p14:nvContentPartPr>
                <p14:cNvPr id="55" name="Ink 54">
                  <a:extLst>
                    <a:ext uri="{FF2B5EF4-FFF2-40B4-BE49-F238E27FC236}">
                      <a16:creationId xmlns:a16="http://schemas.microsoft.com/office/drawing/2014/main" id="{858C92D8-326A-06A6-F272-C3525191AAC4}"/>
                    </a:ext>
                  </a:extLst>
                </p14:cNvPr>
                <p14:cNvContentPartPr/>
                <p14:nvPr/>
              </p14:nvContentPartPr>
              <p14:xfrm>
                <a:off x="10010621" y="5988812"/>
                <a:ext cx="89280" cy="104400"/>
              </p14:xfrm>
            </p:contentPart>
          </mc:Choice>
          <mc:Fallback>
            <p:pic>
              <p:nvPicPr>
                <p:cNvPr id="55" name="Ink 54">
                  <a:extLst>
                    <a:ext uri="{FF2B5EF4-FFF2-40B4-BE49-F238E27FC236}">
                      <a16:creationId xmlns:a16="http://schemas.microsoft.com/office/drawing/2014/main" id="{858C92D8-326A-06A6-F272-C3525191AAC4}"/>
                    </a:ext>
                  </a:extLst>
                </p:cNvPr>
                <p:cNvPicPr/>
                <p:nvPr/>
              </p:nvPicPr>
              <p:blipFill>
                <a:blip r:embed="rId98"/>
                <a:stretch>
                  <a:fillRect/>
                </a:stretch>
              </p:blipFill>
              <p:spPr>
                <a:xfrm>
                  <a:off x="9995501" y="5973332"/>
                  <a:ext cx="119880" cy="135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9">
              <p14:nvContentPartPr>
                <p14:cNvPr id="56" name="Ink 55">
                  <a:extLst>
                    <a:ext uri="{FF2B5EF4-FFF2-40B4-BE49-F238E27FC236}">
                      <a16:creationId xmlns:a16="http://schemas.microsoft.com/office/drawing/2014/main" id="{22661110-0BF9-DDE0-3CC6-C4F5BFA683EC}"/>
                    </a:ext>
                  </a:extLst>
                </p14:cNvPr>
                <p14:cNvContentPartPr/>
                <p14:nvPr/>
              </p14:nvContentPartPr>
              <p14:xfrm>
                <a:off x="9761141" y="6238292"/>
                <a:ext cx="343800" cy="27360"/>
              </p14:xfrm>
            </p:contentPart>
          </mc:Choice>
          <mc:Fallback>
            <p:pic>
              <p:nvPicPr>
                <p:cNvPr id="56" name="Ink 55">
                  <a:extLst>
                    <a:ext uri="{FF2B5EF4-FFF2-40B4-BE49-F238E27FC236}">
                      <a16:creationId xmlns:a16="http://schemas.microsoft.com/office/drawing/2014/main" id="{22661110-0BF9-DDE0-3CC6-C4F5BFA683EC}"/>
                    </a:ext>
                  </a:extLst>
                </p:cNvPr>
                <p:cNvPicPr/>
                <p:nvPr/>
              </p:nvPicPr>
              <p:blipFill>
                <a:blip r:embed="rId100"/>
                <a:stretch>
                  <a:fillRect/>
                </a:stretch>
              </p:blipFill>
              <p:spPr>
                <a:xfrm>
                  <a:off x="9746021" y="6223172"/>
                  <a:ext cx="374400" cy="57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1">
              <p14:nvContentPartPr>
                <p14:cNvPr id="57" name="Ink 56">
                  <a:extLst>
                    <a:ext uri="{FF2B5EF4-FFF2-40B4-BE49-F238E27FC236}">
                      <a16:creationId xmlns:a16="http://schemas.microsoft.com/office/drawing/2014/main" id="{D1EE4AEE-B066-E00F-649F-E222A95962FB}"/>
                    </a:ext>
                  </a:extLst>
                </p14:cNvPr>
                <p14:cNvContentPartPr/>
                <p14:nvPr/>
              </p14:nvContentPartPr>
              <p14:xfrm>
                <a:off x="9886061" y="6307412"/>
                <a:ext cx="225360" cy="122400"/>
              </p14:xfrm>
            </p:contentPart>
          </mc:Choice>
          <mc:Fallback>
            <p:pic>
              <p:nvPicPr>
                <p:cNvPr id="57" name="Ink 56">
                  <a:extLst>
                    <a:ext uri="{FF2B5EF4-FFF2-40B4-BE49-F238E27FC236}">
                      <a16:creationId xmlns:a16="http://schemas.microsoft.com/office/drawing/2014/main" id="{D1EE4AEE-B066-E00F-649F-E222A95962FB}"/>
                    </a:ext>
                  </a:extLst>
                </p:cNvPr>
                <p:cNvPicPr/>
                <p:nvPr/>
              </p:nvPicPr>
              <p:blipFill>
                <a:blip r:embed="rId102"/>
                <a:stretch>
                  <a:fillRect/>
                </a:stretch>
              </p:blipFill>
              <p:spPr>
                <a:xfrm>
                  <a:off x="9870581" y="6292292"/>
                  <a:ext cx="255960" cy="152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3">
              <p14:nvContentPartPr>
                <p14:cNvPr id="58" name="Ink 57">
                  <a:extLst>
                    <a:ext uri="{FF2B5EF4-FFF2-40B4-BE49-F238E27FC236}">
                      <a16:creationId xmlns:a16="http://schemas.microsoft.com/office/drawing/2014/main" id="{DB5E2929-E7F1-1A80-6D11-4BCEF6DEBE25}"/>
                    </a:ext>
                  </a:extLst>
                </p14:cNvPr>
                <p14:cNvContentPartPr/>
                <p14:nvPr/>
              </p14:nvContentPartPr>
              <p14:xfrm>
                <a:off x="10152461" y="6343772"/>
                <a:ext cx="103680" cy="77040"/>
              </p14:xfrm>
            </p:contentPart>
          </mc:Choice>
          <mc:Fallback>
            <p:pic>
              <p:nvPicPr>
                <p:cNvPr id="58" name="Ink 57">
                  <a:extLst>
                    <a:ext uri="{FF2B5EF4-FFF2-40B4-BE49-F238E27FC236}">
                      <a16:creationId xmlns:a16="http://schemas.microsoft.com/office/drawing/2014/main" id="{DB5E2929-E7F1-1A80-6D11-4BCEF6DEBE25}"/>
                    </a:ext>
                  </a:extLst>
                </p:cNvPr>
                <p:cNvPicPr/>
                <p:nvPr/>
              </p:nvPicPr>
              <p:blipFill>
                <a:blip r:embed="rId104"/>
                <a:stretch>
                  <a:fillRect/>
                </a:stretch>
              </p:blipFill>
              <p:spPr>
                <a:xfrm>
                  <a:off x="10137341" y="6328292"/>
                  <a:ext cx="134280" cy="107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5">
              <p14:nvContentPartPr>
                <p14:cNvPr id="59" name="Ink 58">
                  <a:extLst>
                    <a:ext uri="{FF2B5EF4-FFF2-40B4-BE49-F238E27FC236}">
                      <a16:creationId xmlns:a16="http://schemas.microsoft.com/office/drawing/2014/main" id="{57CBF38C-F1D3-8D6C-0FEB-D9D7366B0922}"/>
                    </a:ext>
                  </a:extLst>
                </p14:cNvPr>
                <p14:cNvContentPartPr/>
                <p14:nvPr/>
              </p14:nvContentPartPr>
              <p14:xfrm>
                <a:off x="10214381" y="6128492"/>
                <a:ext cx="238320" cy="503280"/>
              </p14:xfrm>
            </p:contentPart>
          </mc:Choice>
          <mc:Fallback>
            <p:pic>
              <p:nvPicPr>
                <p:cNvPr id="59" name="Ink 58">
                  <a:extLst>
                    <a:ext uri="{FF2B5EF4-FFF2-40B4-BE49-F238E27FC236}">
                      <a16:creationId xmlns:a16="http://schemas.microsoft.com/office/drawing/2014/main" id="{57CBF38C-F1D3-8D6C-0FEB-D9D7366B0922}"/>
                    </a:ext>
                  </a:extLst>
                </p:cNvPr>
                <p:cNvPicPr/>
                <p:nvPr/>
              </p:nvPicPr>
              <p:blipFill>
                <a:blip r:embed="rId106"/>
                <a:stretch>
                  <a:fillRect/>
                </a:stretch>
              </p:blipFill>
              <p:spPr>
                <a:xfrm>
                  <a:off x="10199261" y="6113372"/>
                  <a:ext cx="268920" cy="533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7">
              <p14:nvContentPartPr>
                <p14:cNvPr id="60" name="Ink 59">
                  <a:extLst>
                    <a:ext uri="{FF2B5EF4-FFF2-40B4-BE49-F238E27FC236}">
                      <a16:creationId xmlns:a16="http://schemas.microsoft.com/office/drawing/2014/main" id="{166AFD7D-89B8-3D16-0D6D-0DD27056B029}"/>
                    </a:ext>
                  </a:extLst>
                </p14:cNvPr>
                <p14:cNvContentPartPr/>
                <p14:nvPr/>
              </p14:nvContentPartPr>
              <p14:xfrm>
                <a:off x="10396181" y="6357092"/>
                <a:ext cx="104040" cy="231840"/>
              </p14:xfrm>
            </p:contentPart>
          </mc:Choice>
          <mc:Fallback>
            <p:pic>
              <p:nvPicPr>
                <p:cNvPr id="60" name="Ink 59">
                  <a:extLst>
                    <a:ext uri="{FF2B5EF4-FFF2-40B4-BE49-F238E27FC236}">
                      <a16:creationId xmlns:a16="http://schemas.microsoft.com/office/drawing/2014/main" id="{166AFD7D-89B8-3D16-0D6D-0DD27056B029}"/>
                    </a:ext>
                  </a:extLst>
                </p:cNvPr>
                <p:cNvPicPr/>
                <p:nvPr/>
              </p:nvPicPr>
              <p:blipFill>
                <a:blip r:embed="rId108"/>
                <a:stretch>
                  <a:fillRect/>
                </a:stretch>
              </p:blipFill>
              <p:spPr>
                <a:xfrm>
                  <a:off x="10381061" y="6341972"/>
                  <a:ext cx="134640" cy="262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9">
              <p14:nvContentPartPr>
                <p14:cNvPr id="62" name="Ink 61">
                  <a:extLst>
                    <a:ext uri="{FF2B5EF4-FFF2-40B4-BE49-F238E27FC236}">
                      <a16:creationId xmlns:a16="http://schemas.microsoft.com/office/drawing/2014/main" id="{735EB8ED-38AA-8E13-63C0-8D8F9204BFC4}"/>
                    </a:ext>
                  </a:extLst>
                </p14:cNvPr>
                <p14:cNvContentPartPr/>
                <p14:nvPr/>
              </p14:nvContentPartPr>
              <p14:xfrm>
                <a:off x="10615781" y="6414332"/>
                <a:ext cx="81000" cy="91440"/>
              </p14:xfrm>
            </p:contentPart>
          </mc:Choice>
          <mc:Fallback>
            <p:pic>
              <p:nvPicPr>
                <p:cNvPr id="62" name="Ink 61">
                  <a:extLst>
                    <a:ext uri="{FF2B5EF4-FFF2-40B4-BE49-F238E27FC236}">
                      <a16:creationId xmlns:a16="http://schemas.microsoft.com/office/drawing/2014/main" id="{735EB8ED-38AA-8E13-63C0-8D8F9204BFC4}"/>
                    </a:ext>
                  </a:extLst>
                </p:cNvPr>
                <p:cNvPicPr/>
                <p:nvPr/>
              </p:nvPicPr>
              <p:blipFill>
                <a:blip r:embed="rId110"/>
                <a:stretch>
                  <a:fillRect/>
                </a:stretch>
              </p:blipFill>
              <p:spPr>
                <a:xfrm>
                  <a:off x="10600301" y="6398852"/>
                  <a:ext cx="111240" cy="121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1">
              <p14:nvContentPartPr>
                <p14:cNvPr id="63" name="Ink 62">
                  <a:extLst>
                    <a:ext uri="{FF2B5EF4-FFF2-40B4-BE49-F238E27FC236}">
                      <a16:creationId xmlns:a16="http://schemas.microsoft.com/office/drawing/2014/main" id="{3CA0A078-BC01-8726-5E16-CF5118F129C0}"/>
                    </a:ext>
                  </a:extLst>
                </p14:cNvPr>
                <p14:cNvContentPartPr/>
                <p14:nvPr/>
              </p14:nvContentPartPr>
              <p14:xfrm>
                <a:off x="10703621" y="6413972"/>
                <a:ext cx="116640" cy="244440"/>
              </p14:xfrm>
            </p:contentPart>
          </mc:Choice>
          <mc:Fallback>
            <p:pic>
              <p:nvPicPr>
                <p:cNvPr id="63" name="Ink 62">
                  <a:extLst>
                    <a:ext uri="{FF2B5EF4-FFF2-40B4-BE49-F238E27FC236}">
                      <a16:creationId xmlns:a16="http://schemas.microsoft.com/office/drawing/2014/main" id="{3CA0A078-BC01-8726-5E16-CF5118F129C0}"/>
                    </a:ext>
                  </a:extLst>
                </p:cNvPr>
                <p:cNvPicPr/>
                <p:nvPr/>
              </p:nvPicPr>
              <p:blipFill>
                <a:blip r:embed="rId112"/>
                <a:stretch>
                  <a:fillRect/>
                </a:stretch>
              </p:blipFill>
              <p:spPr>
                <a:xfrm>
                  <a:off x="10688501" y="6398852"/>
                  <a:ext cx="147240" cy="274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3">
              <p14:nvContentPartPr>
                <p14:cNvPr id="128" name="Ink 127">
                  <a:extLst>
                    <a:ext uri="{FF2B5EF4-FFF2-40B4-BE49-F238E27FC236}">
                      <a16:creationId xmlns:a16="http://schemas.microsoft.com/office/drawing/2014/main" id="{E1818EF7-6067-3FFA-F799-50FA866365ED}"/>
                    </a:ext>
                  </a:extLst>
                </p14:cNvPr>
                <p14:cNvContentPartPr/>
                <p14:nvPr/>
              </p14:nvContentPartPr>
              <p14:xfrm>
                <a:off x="10791821" y="6544652"/>
                <a:ext cx="258840" cy="110880"/>
              </p14:xfrm>
            </p:contentPart>
          </mc:Choice>
          <mc:Fallback>
            <p:pic>
              <p:nvPicPr>
                <p:cNvPr id="128" name="Ink 127">
                  <a:extLst>
                    <a:ext uri="{FF2B5EF4-FFF2-40B4-BE49-F238E27FC236}">
                      <a16:creationId xmlns:a16="http://schemas.microsoft.com/office/drawing/2014/main" id="{E1818EF7-6067-3FFA-F799-50FA866365ED}"/>
                    </a:ext>
                  </a:extLst>
                </p:cNvPr>
                <p:cNvPicPr/>
                <p:nvPr/>
              </p:nvPicPr>
              <p:blipFill>
                <a:blip r:embed="rId114"/>
                <a:stretch>
                  <a:fillRect/>
                </a:stretch>
              </p:blipFill>
              <p:spPr>
                <a:xfrm>
                  <a:off x="10776701" y="6529172"/>
                  <a:ext cx="289440" cy="141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5">
              <p14:nvContentPartPr>
                <p14:cNvPr id="129" name="Ink 128">
                  <a:extLst>
                    <a:ext uri="{FF2B5EF4-FFF2-40B4-BE49-F238E27FC236}">
                      <a16:creationId xmlns:a16="http://schemas.microsoft.com/office/drawing/2014/main" id="{4EA3F63A-CEEE-66B7-548D-22339D5ED4B4}"/>
                    </a:ext>
                  </a:extLst>
                </p14:cNvPr>
                <p14:cNvContentPartPr/>
                <p14:nvPr/>
              </p14:nvContentPartPr>
              <p14:xfrm>
                <a:off x="11085581" y="6508292"/>
                <a:ext cx="94680" cy="114840"/>
              </p14:xfrm>
            </p:contentPart>
          </mc:Choice>
          <mc:Fallback>
            <p:pic>
              <p:nvPicPr>
                <p:cNvPr id="129" name="Ink 128">
                  <a:extLst>
                    <a:ext uri="{FF2B5EF4-FFF2-40B4-BE49-F238E27FC236}">
                      <a16:creationId xmlns:a16="http://schemas.microsoft.com/office/drawing/2014/main" id="{4EA3F63A-CEEE-66B7-548D-22339D5ED4B4}"/>
                    </a:ext>
                  </a:extLst>
                </p:cNvPr>
                <p:cNvPicPr/>
                <p:nvPr/>
              </p:nvPicPr>
              <p:blipFill>
                <a:blip r:embed="rId116"/>
                <a:stretch>
                  <a:fillRect/>
                </a:stretch>
              </p:blipFill>
              <p:spPr>
                <a:xfrm>
                  <a:off x="11070101" y="6493172"/>
                  <a:ext cx="125280" cy="145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7">
              <p14:nvContentPartPr>
                <p14:cNvPr id="130" name="Ink 129">
                  <a:extLst>
                    <a:ext uri="{FF2B5EF4-FFF2-40B4-BE49-F238E27FC236}">
                      <a16:creationId xmlns:a16="http://schemas.microsoft.com/office/drawing/2014/main" id="{2169651B-09C3-A351-54B0-D0590A55F99D}"/>
                    </a:ext>
                  </a:extLst>
                </p14:cNvPr>
                <p14:cNvContentPartPr/>
                <p14:nvPr/>
              </p14:nvContentPartPr>
              <p14:xfrm>
                <a:off x="10413821" y="6338732"/>
                <a:ext cx="911880" cy="340200"/>
              </p14:xfrm>
            </p:contentPart>
          </mc:Choice>
          <mc:Fallback>
            <p:pic>
              <p:nvPicPr>
                <p:cNvPr id="130" name="Ink 129">
                  <a:extLst>
                    <a:ext uri="{FF2B5EF4-FFF2-40B4-BE49-F238E27FC236}">
                      <a16:creationId xmlns:a16="http://schemas.microsoft.com/office/drawing/2014/main" id="{2169651B-09C3-A351-54B0-D0590A55F99D}"/>
                    </a:ext>
                  </a:extLst>
                </p:cNvPr>
                <p:cNvPicPr/>
                <p:nvPr/>
              </p:nvPicPr>
              <p:blipFill>
                <a:blip r:embed="rId118"/>
                <a:stretch>
                  <a:fillRect/>
                </a:stretch>
              </p:blipFill>
              <p:spPr>
                <a:xfrm>
                  <a:off x="10398341" y="6323612"/>
                  <a:ext cx="942480" cy="370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9">
              <p14:nvContentPartPr>
                <p14:cNvPr id="131" name="Ink 130">
                  <a:extLst>
                    <a:ext uri="{FF2B5EF4-FFF2-40B4-BE49-F238E27FC236}">
                      <a16:creationId xmlns:a16="http://schemas.microsoft.com/office/drawing/2014/main" id="{122F831C-7F80-090E-1897-A7CB86D00D53}"/>
                    </a:ext>
                  </a:extLst>
                </p14:cNvPr>
                <p14:cNvContentPartPr/>
                <p14:nvPr/>
              </p14:nvContentPartPr>
              <p14:xfrm>
                <a:off x="9460541" y="5879732"/>
                <a:ext cx="558000" cy="456120"/>
              </p14:xfrm>
            </p:contentPart>
          </mc:Choice>
          <mc:Fallback>
            <p:pic>
              <p:nvPicPr>
                <p:cNvPr id="131" name="Ink 130">
                  <a:extLst>
                    <a:ext uri="{FF2B5EF4-FFF2-40B4-BE49-F238E27FC236}">
                      <a16:creationId xmlns:a16="http://schemas.microsoft.com/office/drawing/2014/main" id="{122F831C-7F80-090E-1897-A7CB86D00D53}"/>
                    </a:ext>
                  </a:extLst>
                </p:cNvPr>
                <p:cNvPicPr/>
                <p:nvPr/>
              </p:nvPicPr>
              <p:blipFill>
                <a:blip r:embed="rId120"/>
                <a:stretch>
                  <a:fillRect/>
                </a:stretch>
              </p:blipFill>
              <p:spPr>
                <a:xfrm>
                  <a:off x="9445061" y="5864612"/>
                  <a:ext cx="588600" cy="486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1">
              <p14:nvContentPartPr>
                <p14:cNvPr id="132" name="Ink 131">
                  <a:extLst>
                    <a:ext uri="{FF2B5EF4-FFF2-40B4-BE49-F238E27FC236}">
                      <a16:creationId xmlns:a16="http://schemas.microsoft.com/office/drawing/2014/main" id="{C47AE6B1-0799-AF5D-66D2-F0E8C6D6A076}"/>
                    </a:ext>
                  </a:extLst>
                </p14:cNvPr>
                <p14:cNvContentPartPr/>
                <p14:nvPr/>
              </p14:nvContentPartPr>
              <p14:xfrm>
                <a:off x="8900741" y="5697212"/>
                <a:ext cx="520560" cy="670320"/>
              </p14:xfrm>
            </p:contentPart>
          </mc:Choice>
          <mc:Fallback>
            <p:pic>
              <p:nvPicPr>
                <p:cNvPr id="132" name="Ink 131">
                  <a:extLst>
                    <a:ext uri="{FF2B5EF4-FFF2-40B4-BE49-F238E27FC236}">
                      <a16:creationId xmlns:a16="http://schemas.microsoft.com/office/drawing/2014/main" id="{C47AE6B1-0799-AF5D-66D2-F0E8C6D6A076}"/>
                    </a:ext>
                  </a:extLst>
                </p:cNvPr>
                <p:cNvPicPr/>
                <p:nvPr/>
              </p:nvPicPr>
              <p:blipFill>
                <a:blip r:embed="rId122"/>
                <a:stretch>
                  <a:fillRect/>
                </a:stretch>
              </p:blipFill>
              <p:spPr>
                <a:xfrm>
                  <a:off x="8885621" y="5682092"/>
                  <a:ext cx="551160" cy="700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3">
              <p14:nvContentPartPr>
                <p14:cNvPr id="133" name="Ink 132">
                  <a:extLst>
                    <a:ext uri="{FF2B5EF4-FFF2-40B4-BE49-F238E27FC236}">
                      <a16:creationId xmlns:a16="http://schemas.microsoft.com/office/drawing/2014/main" id="{E966611C-9D81-4D08-0E42-BF5BC45582C8}"/>
                    </a:ext>
                  </a:extLst>
                </p14:cNvPr>
                <p14:cNvContentPartPr/>
                <p14:nvPr/>
              </p14:nvContentPartPr>
              <p14:xfrm>
                <a:off x="9081821" y="5836172"/>
                <a:ext cx="529560" cy="765720"/>
              </p14:xfrm>
            </p:contentPart>
          </mc:Choice>
          <mc:Fallback>
            <p:pic>
              <p:nvPicPr>
                <p:cNvPr id="133" name="Ink 132">
                  <a:extLst>
                    <a:ext uri="{FF2B5EF4-FFF2-40B4-BE49-F238E27FC236}">
                      <a16:creationId xmlns:a16="http://schemas.microsoft.com/office/drawing/2014/main" id="{E966611C-9D81-4D08-0E42-BF5BC45582C8}"/>
                    </a:ext>
                  </a:extLst>
                </p:cNvPr>
                <p:cNvPicPr/>
                <p:nvPr/>
              </p:nvPicPr>
              <p:blipFill>
                <a:blip r:embed="rId124"/>
                <a:stretch>
                  <a:fillRect/>
                </a:stretch>
              </p:blipFill>
              <p:spPr>
                <a:xfrm>
                  <a:off x="9066341" y="5821052"/>
                  <a:ext cx="559800" cy="7963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A5D18C1E-4A24-F05E-24DD-4BE158ABB9F3}"/>
              </a:ext>
            </a:extLst>
          </p:cNvPr>
          <p:cNvGrpSpPr/>
          <p:nvPr/>
        </p:nvGrpSpPr>
        <p:grpSpPr>
          <a:xfrm>
            <a:off x="3721781" y="102812"/>
            <a:ext cx="2432160" cy="1042560"/>
            <a:chOff x="3721781" y="102812"/>
            <a:chExt cx="2432160" cy="10425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25">
              <p14:nvContentPartPr>
                <p14:cNvPr id="135" name="Ink 134">
                  <a:extLst>
                    <a:ext uri="{FF2B5EF4-FFF2-40B4-BE49-F238E27FC236}">
                      <a16:creationId xmlns:a16="http://schemas.microsoft.com/office/drawing/2014/main" id="{48275347-5E0E-DCD9-1B33-D1CE92B84EE1}"/>
                    </a:ext>
                  </a:extLst>
                </p14:cNvPr>
                <p14:cNvContentPartPr/>
                <p14:nvPr/>
              </p14:nvContentPartPr>
              <p14:xfrm>
                <a:off x="3969821" y="268412"/>
                <a:ext cx="176400" cy="262800"/>
              </p14:xfrm>
            </p:contentPart>
          </mc:Choice>
          <mc:Fallback>
            <p:pic>
              <p:nvPicPr>
                <p:cNvPr id="135" name="Ink 134">
                  <a:extLst>
                    <a:ext uri="{FF2B5EF4-FFF2-40B4-BE49-F238E27FC236}">
                      <a16:creationId xmlns:a16="http://schemas.microsoft.com/office/drawing/2014/main" id="{48275347-5E0E-DCD9-1B33-D1CE92B84EE1}"/>
                    </a:ext>
                  </a:extLst>
                </p:cNvPr>
                <p:cNvPicPr/>
                <p:nvPr/>
              </p:nvPicPr>
              <p:blipFill>
                <a:blip r:embed="rId126"/>
                <a:stretch>
                  <a:fillRect/>
                </a:stretch>
              </p:blipFill>
              <p:spPr>
                <a:xfrm>
                  <a:off x="3954341" y="252932"/>
                  <a:ext cx="207000" cy="293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7">
              <p14:nvContentPartPr>
                <p14:cNvPr id="136" name="Ink 135">
                  <a:extLst>
                    <a:ext uri="{FF2B5EF4-FFF2-40B4-BE49-F238E27FC236}">
                      <a16:creationId xmlns:a16="http://schemas.microsoft.com/office/drawing/2014/main" id="{6B51DF02-CAA6-913E-E923-701CDEE94F3A}"/>
                    </a:ext>
                  </a:extLst>
                </p14:cNvPr>
                <p14:cNvContentPartPr/>
                <p14:nvPr/>
              </p14:nvContentPartPr>
              <p14:xfrm>
                <a:off x="4249541" y="261932"/>
                <a:ext cx="15120" cy="55440"/>
              </p14:xfrm>
            </p:contentPart>
          </mc:Choice>
          <mc:Fallback>
            <p:pic>
              <p:nvPicPr>
                <p:cNvPr id="136" name="Ink 135">
                  <a:extLst>
                    <a:ext uri="{FF2B5EF4-FFF2-40B4-BE49-F238E27FC236}">
                      <a16:creationId xmlns:a16="http://schemas.microsoft.com/office/drawing/2014/main" id="{6B51DF02-CAA6-913E-E923-701CDEE94F3A}"/>
                    </a:ext>
                  </a:extLst>
                </p:cNvPr>
                <p:cNvPicPr/>
                <p:nvPr/>
              </p:nvPicPr>
              <p:blipFill>
                <a:blip r:embed="rId128"/>
                <a:stretch>
                  <a:fillRect/>
                </a:stretch>
              </p:blipFill>
              <p:spPr>
                <a:xfrm>
                  <a:off x="4234421" y="246812"/>
                  <a:ext cx="45720" cy="85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9">
              <p14:nvContentPartPr>
                <p14:cNvPr id="137" name="Ink 136">
                  <a:extLst>
                    <a:ext uri="{FF2B5EF4-FFF2-40B4-BE49-F238E27FC236}">
                      <a16:creationId xmlns:a16="http://schemas.microsoft.com/office/drawing/2014/main" id="{9F6BBE90-7029-8FEB-49D1-C052B14F27B7}"/>
                    </a:ext>
                  </a:extLst>
                </p14:cNvPr>
                <p14:cNvContentPartPr/>
                <p14:nvPr/>
              </p14:nvContentPartPr>
              <p14:xfrm>
                <a:off x="4227581" y="268772"/>
                <a:ext cx="21600" cy="234000"/>
              </p14:xfrm>
            </p:contentPart>
          </mc:Choice>
          <mc:Fallback>
            <p:pic>
              <p:nvPicPr>
                <p:cNvPr id="137" name="Ink 136">
                  <a:extLst>
                    <a:ext uri="{FF2B5EF4-FFF2-40B4-BE49-F238E27FC236}">
                      <a16:creationId xmlns:a16="http://schemas.microsoft.com/office/drawing/2014/main" id="{9F6BBE90-7029-8FEB-49D1-C052B14F27B7}"/>
                    </a:ext>
                  </a:extLst>
                </p:cNvPr>
                <p:cNvPicPr/>
                <p:nvPr/>
              </p:nvPicPr>
              <p:blipFill>
                <a:blip r:embed="rId130"/>
                <a:stretch>
                  <a:fillRect/>
                </a:stretch>
              </p:blipFill>
              <p:spPr>
                <a:xfrm>
                  <a:off x="4212101" y="253652"/>
                  <a:ext cx="52200" cy="264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31">
              <p14:nvContentPartPr>
                <p14:cNvPr id="138" name="Ink 137">
                  <a:extLst>
                    <a:ext uri="{FF2B5EF4-FFF2-40B4-BE49-F238E27FC236}">
                      <a16:creationId xmlns:a16="http://schemas.microsoft.com/office/drawing/2014/main" id="{71EA67C2-0368-52B0-78A8-373DD59B117F}"/>
                    </a:ext>
                  </a:extLst>
                </p14:cNvPr>
                <p14:cNvContentPartPr/>
                <p14:nvPr/>
              </p14:nvContentPartPr>
              <p14:xfrm>
                <a:off x="4492181" y="355172"/>
                <a:ext cx="60120" cy="7200"/>
              </p14:xfrm>
            </p:contentPart>
          </mc:Choice>
          <mc:Fallback>
            <p:pic>
              <p:nvPicPr>
                <p:cNvPr id="138" name="Ink 137">
                  <a:extLst>
                    <a:ext uri="{FF2B5EF4-FFF2-40B4-BE49-F238E27FC236}">
                      <a16:creationId xmlns:a16="http://schemas.microsoft.com/office/drawing/2014/main" id="{71EA67C2-0368-52B0-78A8-373DD59B117F}"/>
                    </a:ext>
                  </a:extLst>
                </p:cNvPr>
                <p:cNvPicPr/>
                <p:nvPr/>
              </p:nvPicPr>
              <p:blipFill>
                <a:blip r:embed="rId132"/>
                <a:stretch>
                  <a:fillRect/>
                </a:stretch>
              </p:blipFill>
              <p:spPr>
                <a:xfrm>
                  <a:off x="4476701" y="340052"/>
                  <a:ext cx="90720" cy="37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33">
              <p14:nvContentPartPr>
                <p14:cNvPr id="139" name="Ink 138">
                  <a:extLst>
                    <a:ext uri="{FF2B5EF4-FFF2-40B4-BE49-F238E27FC236}">
                      <a16:creationId xmlns:a16="http://schemas.microsoft.com/office/drawing/2014/main" id="{2A74FD99-75D5-6F3A-9FF9-0B7F3C062E8A}"/>
                    </a:ext>
                  </a:extLst>
                </p14:cNvPr>
                <p14:cNvContentPartPr/>
                <p14:nvPr/>
              </p14:nvContentPartPr>
              <p14:xfrm>
                <a:off x="4497581" y="391172"/>
                <a:ext cx="86400" cy="14400"/>
              </p14:xfrm>
            </p:contentPart>
          </mc:Choice>
          <mc:Fallback>
            <p:pic>
              <p:nvPicPr>
                <p:cNvPr id="139" name="Ink 138">
                  <a:extLst>
                    <a:ext uri="{FF2B5EF4-FFF2-40B4-BE49-F238E27FC236}">
                      <a16:creationId xmlns:a16="http://schemas.microsoft.com/office/drawing/2014/main" id="{2A74FD99-75D5-6F3A-9FF9-0B7F3C062E8A}"/>
                    </a:ext>
                  </a:extLst>
                </p:cNvPr>
                <p:cNvPicPr/>
                <p:nvPr/>
              </p:nvPicPr>
              <p:blipFill>
                <a:blip r:embed="rId134"/>
                <a:stretch>
                  <a:fillRect/>
                </a:stretch>
              </p:blipFill>
              <p:spPr>
                <a:xfrm>
                  <a:off x="4482101" y="375692"/>
                  <a:ext cx="117000" cy="45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35">
              <p14:nvContentPartPr>
                <p14:cNvPr id="140" name="Ink 139">
                  <a:extLst>
                    <a:ext uri="{FF2B5EF4-FFF2-40B4-BE49-F238E27FC236}">
                      <a16:creationId xmlns:a16="http://schemas.microsoft.com/office/drawing/2014/main" id="{C222BF08-3C5B-6817-1DAC-3ED15BEE19FA}"/>
                    </a:ext>
                  </a:extLst>
                </p14:cNvPr>
                <p14:cNvContentPartPr/>
                <p14:nvPr/>
              </p14:nvContentPartPr>
              <p14:xfrm>
                <a:off x="4245221" y="277412"/>
                <a:ext cx="135000" cy="218520"/>
              </p14:xfrm>
            </p:contentPart>
          </mc:Choice>
          <mc:Fallback>
            <p:pic>
              <p:nvPicPr>
                <p:cNvPr id="140" name="Ink 139">
                  <a:extLst>
                    <a:ext uri="{FF2B5EF4-FFF2-40B4-BE49-F238E27FC236}">
                      <a16:creationId xmlns:a16="http://schemas.microsoft.com/office/drawing/2014/main" id="{C222BF08-3C5B-6817-1DAC-3ED15BEE19FA}"/>
                    </a:ext>
                  </a:extLst>
                </p:cNvPr>
                <p:cNvPicPr/>
                <p:nvPr/>
              </p:nvPicPr>
              <p:blipFill>
                <a:blip r:embed="rId136"/>
                <a:stretch>
                  <a:fillRect/>
                </a:stretch>
              </p:blipFill>
              <p:spPr>
                <a:xfrm>
                  <a:off x="4230101" y="262292"/>
                  <a:ext cx="165600" cy="248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37">
              <p14:nvContentPartPr>
                <p14:cNvPr id="141" name="Ink 140">
                  <a:extLst>
                    <a:ext uri="{FF2B5EF4-FFF2-40B4-BE49-F238E27FC236}">
                      <a16:creationId xmlns:a16="http://schemas.microsoft.com/office/drawing/2014/main" id="{4E399903-A562-A11F-00F8-BFCD785AC45D}"/>
                    </a:ext>
                  </a:extLst>
                </p14:cNvPr>
                <p14:cNvContentPartPr/>
                <p14:nvPr/>
              </p14:nvContentPartPr>
              <p14:xfrm>
                <a:off x="4442861" y="240692"/>
                <a:ext cx="122760" cy="272520"/>
              </p14:xfrm>
            </p:contentPart>
          </mc:Choice>
          <mc:Fallback>
            <p:pic>
              <p:nvPicPr>
                <p:cNvPr id="141" name="Ink 140">
                  <a:extLst>
                    <a:ext uri="{FF2B5EF4-FFF2-40B4-BE49-F238E27FC236}">
                      <a16:creationId xmlns:a16="http://schemas.microsoft.com/office/drawing/2014/main" id="{4E399903-A562-A11F-00F8-BFCD785AC45D}"/>
                    </a:ext>
                  </a:extLst>
                </p:cNvPr>
                <p:cNvPicPr/>
                <p:nvPr/>
              </p:nvPicPr>
              <p:blipFill>
                <a:blip r:embed="rId138"/>
                <a:stretch>
                  <a:fillRect/>
                </a:stretch>
              </p:blipFill>
              <p:spPr>
                <a:xfrm>
                  <a:off x="4427741" y="225572"/>
                  <a:ext cx="153360" cy="303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39">
              <p14:nvContentPartPr>
                <p14:cNvPr id="142" name="Ink 141">
                  <a:extLst>
                    <a:ext uri="{FF2B5EF4-FFF2-40B4-BE49-F238E27FC236}">
                      <a16:creationId xmlns:a16="http://schemas.microsoft.com/office/drawing/2014/main" id="{B7515EC8-FF67-0EA5-F377-9E281FF9663B}"/>
                    </a:ext>
                  </a:extLst>
                </p14:cNvPr>
                <p14:cNvContentPartPr/>
                <p14:nvPr/>
              </p14:nvContentPartPr>
              <p14:xfrm>
                <a:off x="4717901" y="410612"/>
                <a:ext cx="13680" cy="16920"/>
              </p14:xfrm>
            </p:contentPart>
          </mc:Choice>
          <mc:Fallback>
            <p:pic>
              <p:nvPicPr>
                <p:cNvPr id="142" name="Ink 141">
                  <a:extLst>
                    <a:ext uri="{FF2B5EF4-FFF2-40B4-BE49-F238E27FC236}">
                      <a16:creationId xmlns:a16="http://schemas.microsoft.com/office/drawing/2014/main" id="{B7515EC8-FF67-0EA5-F377-9E281FF9663B}"/>
                    </a:ext>
                  </a:extLst>
                </p:cNvPr>
                <p:cNvPicPr/>
                <p:nvPr/>
              </p:nvPicPr>
              <p:blipFill>
                <a:blip r:embed="rId140"/>
                <a:stretch>
                  <a:fillRect/>
                </a:stretch>
              </p:blipFill>
              <p:spPr>
                <a:xfrm>
                  <a:off x="4702421" y="395492"/>
                  <a:ext cx="44280" cy="47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1">
              <p14:nvContentPartPr>
                <p14:cNvPr id="144" name="Ink 143">
                  <a:extLst>
                    <a:ext uri="{FF2B5EF4-FFF2-40B4-BE49-F238E27FC236}">
                      <a16:creationId xmlns:a16="http://schemas.microsoft.com/office/drawing/2014/main" id="{8E7F8CA3-31FE-7714-853F-ADBFAEB86E5E}"/>
                    </a:ext>
                  </a:extLst>
                </p14:cNvPr>
                <p14:cNvContentPartPr/>
                <p14:nvPr/>
              </p14:nvContentPartPr>
              <p14:xfrm>
                <a:off x="3799181" y="193892"/>
                <a:ext cx="208800" cy="496800"/>
              </p14:xfrm>
            </p:contentPart>
          </mc:Choice>
          <mc:Fallback>
            <p:pic>
              <p:nvPicPr>
                <p:cNvPr id="144" name="Ink 143">
                  <a:extLst>
                    <a:ext uri="{FF2B5EF4-FFF2-40B4-BE49-F238E27FC236}">
                      <a16:creationId xmlns:a16="http://schemas.microsoft.com/office/drawing/2014/main" id="{8E7F8CA3-31FE-7714-853F-ADBFAEB86E5E}"/>
                    </a:ext>
                  </a:extLst>
                </p:cNvPr>
                <p:cNvPicPr/>
                <p:nvPr/>
              </p:nvPicPr>
              <p:blipFill>
                <a:blip r:embed="rId142"/>
                <a:stretch>
                  <a:fillRect/>
                </a:stretch>
              </p:blipFill>
              <p:spPr>
                <a:xfrm>
                  <a:off x="3784061" y="178412"/>
                  <a:ext cx="239400" cy="527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3">
              <p14:nvContentPartPr>
                <p14:cNvPr id="145" name="Ink 144">
                  <a:extLst>
                    <a:ext uri="{FF2B5EF4-FFF2-40B4-BE49-F238E27FC236}">
                      <a16:creationId xmlns:a16="http://schemas.microsoft.com/office/drawing/2014/main" id="{EBC9E07B-3D14-0B57-86D1-2DABD7E4A27E}"/>
                    </a:ext>
                  </a:extLst>
                </p14:cNvPr>
                <p14:cNvContentPartPr/>
                <p14:nvPr/>
              </p14:nvContentPartPr>
              <p14:xfrm>
                <a:off x="4844981" y="222332"/>
                <a:ext cx="140040" cy="270000"/>
              </p14:xfrm>
            </p:contentPart>
          </mc:Choice>
          <mc:Fallback>
            <p:pic>
              <p:nvPicPr>
                <p:cNvPr id="145" name="Ink 144">
                  <a:extLst>
                    <a:ext uri="{FF2B5EF4-FFF2-40B4-BE49-F238E27FC236}">
                      <a16:creationId xmlns:a16="http://schemas.microsoft.com/office/drawing/2014/main" id="{EBC9E07B-3D14-0B57-86D1-2DABD7E4A27E}"/>
                    </a:ext>
                  </a:extLst>
                </p:cNvPr>
                <p:cNvPicPr/>
                <p:nvPr/>
              </p:nvPicPr>
              <p:blipFill>
                <a:blip r:embed="rId144"/>
                <a:stretch>
                  <a:fillRect/>
                </a:stretch>
              </p:blipFill>
              <p:spPr>
                <a:xfrm>
                  <a:off x="4829501" y="206852"/>
                  <a:ext cx="170640" cy="300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5">
              <p14:nvContentPartPr>
                <p14:cNvPr id="146" name="Ink 145">
                  <a:extLst>
                    <a:ext uri="{FF2B5EF4-FFF2-40B4-BE49-F238E27FC236}">
                      <a16:creationId xmlns:a16="http://schemas.microsoft.com/office/drawing/2014/main" id="{22188893-2F4C-DBA8-F49C-CBCF136C54D9}"/>
                    </a:ext>
                  </a:extLst>
                </p14:cNvPr>
                <p14:cNvContentPartPr/>
                <p14:nvPr/>
              </p14:nvContentPartPr>
              <p14:xfrm>
                <a:off x="5057381" y="274172"/>
                <a:ext cx="92520" cy="191880"/>
              </p14:xfrm>
            </p:contentPart>
          </mc:Choice>
          <mc:Fallback>
            <p:pic>
              <p:nvPicPr>
                <p:cNvPr id="146" name="Ink 145">
                  <a:extLst>
                    <a:ext uri="{FF2B5EF4-FFF2-40B4-BE49-F238E27FC236}">
                      <a16:creationId xmlns:a16="http://schemas.microsoft.com/office/drawing/2014/main" id="{22188893-2F4C-DBA8-F49C-CBCF136C54D9}"/>
                    </a:ext>
                  </a:extLst>
                </p:cNvPr>
                <p:cNvPicPr/>
                <p:nvPr/>
              </p:nvPicPr>
              <p:blipFill>
                <a:blip r:embed="rId146"/>
                <a:stretch>
                  <a:fillRect/>
                </a:stretch>
              </p:blipFill>
              <p:spPr>
                <a:xfrm>
                  <a:off x="5042261" y="259052"/>
                  <a:ext cx="122760" cy="222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7">
              <p14:nvContentPartPr>
                <p14:cNvPr id="147" name="Ink 146">
                  <a:extLst>
                    <a:ext uri="{FF2B5EF4-FFF2-40B4-BE49-F238E27FC236}">
                      <a16:creationId xmlns:a16="http://schemas.microsoft.com/office/drawing/2014/main" id="{2C562B16-A0FC-0BAA-BB7B-30F0CC674805}"/>
                    </a:ext>
                  </a:extLst>
                </p14:cNvPr>
                <p14:cNvContentPartPr/>
                <p14:nvPr/>
              </p14:nvContentPartPr>
              <p14:xfrm>
                <a:off x="5232701" y="230972"/>
                <a:ext cx="139680" cy="205200"/>
              </p14:xfrm>
            </p:contentPart>
          </mc:Choice>
          <mc:Fallback>
            <p:pic>
              <p:nvPicPr>
                <p:cNvPr id="147" name="Ink 146">
                  <a:extLst>
                    <a:ext uri="{FF2B5EF4-FFF2-40B4-BE49-F238E27FC236}">
                      <a16:creationId xmlns:a16="http://schemas.microsoft.com/office/drawing/2014/main" id="{2C562B16-A0FC-0BAA-BB7B-30F0CC674805}"/>
                    </a:ext>
                  </a:extLst>
                </p:cNvPr>
                <p:cNvPicPr/>
                <p:nvPr/>
              </p:nvPicPr>
              <p:blipFill>
                <a:blip r:embed="rId148"/>
                <a:stretch>
                  <a:fillRect/>
                </a:stretch>
              </p:blipFill>
              <p:spPr>
                <a:xfrm>
                  <a:off x="5217581" y="215492"/>
                  <a:ext cx="170280" cy="235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9">
              <p14:nvContentPartPr>
                <p14:cNvPr id="148" name="Ink 147">
                  <a:extLst>
                    <a:ext uri="{FF2B5EF4-FFF2-40B4-BE49-F238E27FC236}">
                      <a16:creationId xmlns:a16="http://schemas.microsoft.com/office/drawing/2014/main" id="{5EE33D9A-EFDD-BC59-E9F0-2EF1214A5FE1}"/>
                    </a:ext>
                  </a:extLst>
                </p14:cNvPr>
                <p14:cNvContentPartPr/>
                <p14:nvPr/>
              </p14:nvContentPartPr>
              <p14:xfrm>
                <a:off x="5216141" y="413852"/>
                <a:ext cx="311040" cy="91800"/>
              </p14:xfrm>
            </p:contentPart>
          </mc:Choice>
          <mc:Fallback>
            <p:pic>
              <p:nvPicPr>
                <p:cNvPr id="148" name="Ink 147">
                  <a:extLst>
                    <a:ext uri="{FF2B5EF4-FFF2-40B4-BE49-F238E27FC236}">
                      <a16:creationId xmlns:a16="http://schemas.microsoft.com/office/drawing/2014/main" id="{5EE33D9A-EFDD-BC59-E9F0-2EF1214A5FE1}"/>
                    </a:ext>
                  </a:extLst>
                </p:cNvPr>
                <p:cNvPicPr/>
                <p:nvPr/>
              </p:nvPicPr>
              <p:blipFill>
                <a:blip r:embed="rId150"/>
                <a:stretch>
                  <a:fillRect/>
                </a:stretch>
              </p:blipFill>
              <p:spPr>
                <a:xfrm>
                  <a:off x="5200661" y="398732"/>
                  <a:ext cx="341640" cy="122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1">
              <p14:nvContentPartPr>
                <p14:cNvPr id="149" name="Ink 148">
                  <a:extLst>
                    <a:ext uri="{FF2B5EF4-FFF2-40B4-BE49-F238E27FC236}">
                      <a16:creationId xmlns:a16="http://schemas.microsoft.com/office/drawing/2014/main" id="{A2664D98-2CE6-BEF1-920E-677358E177B5}"/>
                    </a:ext>
                  </a:extLst>
                </p14:cNvPr>
                <p14:cNvContentPartPr/>
                <p14:nvPr/>
              </p14:nvContentPartPr>
              <p14:xfrm>
                <a:off x="5614301" y="351572"/>
                <a:ext cx="140760" cy="120600"/>
              </p14:xfrm>
            </p:contentPart>
          </mc:Choice>
          <mc:Fallback>
            <p:pic>
              <p:nvPicPr>
                <p:cNvPr id="149" name="Ink 148">
                  <a:extLst>
                    <a:ext uri="{FF2B5EF4-FFF2-40B4-BE49-F238E27FC236}">
                      <a16:creationId xmlns:a16="http://schemas.microsoft.com/office/drawing/2014/main" id="{A2664D98-2CE6-BEF1-920E-677358E177B5}"/>
                    </a:ext>
                  </a:extLst>
                </p:cNvPr>
                <p:cNvPicPr/>
                <p:nvPr/>
              </p:nvPicPr>
              <p:blipFill>
                <a:blip r:embed="rId152"/>
                <a:stretch>
                  <a:fillRect/>
                </a:stretch>
              </p:blipFill>
              <p:spPr>
                <a:xfrm>
                  <a:off x="5599181" y="336092"/>
                  <a:ext cx="171360" cy="151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3">
              <p14:nvContentPartPr>
                <p14:cNvPr id="150" name="Ink 149">
                  <a:extLst>
                    <a:ext uri="{FF2B5EF4-FFF2-40B4-BE49-F238E27FC236}">
                      <a16:creationId xmlns:a16="http://schemas.microsoft.com/office/drawing/2014/main" id="{A5FDA8D4-F190-BAF3-455F-19043C1E3490}"/>
                    </a:ext>
                  </a:extLst>
                </p14:cNvPr>
                <p14:cNvContentPartPr/>
                <p14:nvPr/>
              </p14:nvContentPartPr>
              <p14:xfrm>
                <a:off x="5762261" y="344012"/>
                <a:ext cx="71280" cy="167400"/>
              </p14:xfrm>
            </p:contentPart>
          </mc:Choice>
          <mc:Fallback>
            <p:pic>
              <p:nvPicPr>
                <p:cNvPr id="150" name="Ink 149">
                  <a:extLst>
                    <a:ext uri="{FF2B5EF4-FFF2-40B4-BE49-F238E27FC236}">
                      <a16:creationId xmlns:a16="http://schemas.microsoft.com/office/drawing/2014/main" id="{A5FDA8D4-F190-BAF3-455F-19043C1E3490}"/>
                    </a:ext>
                  </a:extLst>
                </p:cNvPr>
                <p:cNvPicPr/>
                <p:nvPr/>
              </p:nvPicPr>
              <p:blipFill>
                <a:blip r:embed="rId154"/>
                <a:stretch>
                  <a:fillRect/>
                </a:stretch>
              </p:blipFill>
              <p:spPr>
                <a:xfrm>
                  <a:off x="5747141" y="328532"/>
                  <a:ext cx="101880" cy="19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5">
              <p14:nvContentPartPr>
                <p14:cNvPr id="151" name="Ink 150">
                  <a:extLst>
                    <a:ext uri="{FF2B5EF4-FFF2-40B4-BE49-F238E27FC236}">
                      <a16:creationId xmlns:a16="http://schemas.microsoft.com/office/drawing/2014/main" id="{761592B9-AC43-A7AB-1D88-94E6ED5E6A09}"/>
                    </a:ext>
                  </a:extLst>
                </p14:cNvPr>
                <p14:cNvContentPartPr/>
                <p14:nvPr/>
              </p14:nvContentPartPr>
              <p14:xfrm>
                <a:off x="5923181" y="373172"/>
                <a:ext cx="83520" cy="102240"/>
              </p14:xfrm>
            </p:contentPart>
          </mc:Choice>
          <mc:Fallback>
            <p:pic>
              <p:nvPicPr>
                <p:cNvPr id="151" name="Ink 150">
                  <a:extLst>
                    <a:ext uri="{FF2B5EF4-FFF2-40B4-BE49-F238E27FC236}">
                      <a16:creationId xmlns:a16="http://schemas.microsoft.com/office/drawing/2014/main" id="{761592B9-AC43-A7AB-1D88-94E6ED5E6A09}"/>
                    </a:ext>
                  </a:extLst>
                </p:cNvPr>
                <p:cNvPicPr/>
                <p:nvPr/>
              </p:nvPicPr>
              <p:blipFill>
                <a:blip r:embed="rId156"/>
                <a:stretch>
                  <a:fillRect/>
                </a:stretch>
              </p:blipFill>
              <p:spPr>
                <a:xfrm>
                  <a:off x="5908061" y="357692"/>
                  <a:ext cx="114120" cy="132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7">
              <p14:nvContentPartPr>
                <p14:cNvPr id="152" name="Ink 151">
                  <a:extLst>
                    <a:ext uri="{FF2B5EF4-FFF2-40B4-BE49-F238E27FC236}">
                      <a16:creationId xmlns:a16="http://schemas.microsoft.com/office/drawing/2014/main" id="{1EFB0E26-B5C4-B900-8880-01C313DE96BF}"/>
                    </a:ext>
                  </a:extLst>
                </p14:cNvPr>
                <p14:cNvContentPartPr/>
                <p14:nvPr/>
              </p14:nvContentPartPr>
              <p14:xfrm>
                <a:off x="6003461" y="324212"/>
                <a:ext cx="144000" cy="267120"/>
              </p14:xfrm>
            </p:contentPart>
          </mc:Choice>
          <mc:Fallback>
            <p:pic>
              <p:nvPicPr>
                <p:cNvPr id="152" name="Ink 151">
                  <a:extLst>
                    <a:ext uri="{FF2B5EF4-FFF2-40B4-BE49-F238E27FC236}">
                      <a16:creationId xmlns:a16="http://schemas.microsoft.com/office/drawing/2014/main" id="{1EFB0E26-B5C4-B900-8880-01C313DE96BF}"/>
                    </a:ext>
                  </a:extLst>
                </p:cNvPr>
                <p:cNvPicPr/>
                <p:nvPr/>
              </p:nvPicPr>
              <p:blipFill>
                <a:blip r:embed="rId158"/>
                <a:stretch>
                  <a:fillRect/>
                </a:stretch>
              </p:blipFill>
              <p:spPr>
                <a:xfrm>
                  <a:off x="5988341" y="308732"/>
                  <a:ext cx="174240" cy="297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9">
              <p14:nvContentPartPr>
                <p14:cNvPr id="154" name="Ink 153">
                  <a:extLst>
                    <a:ext uri="{FF2B5EF4-FFF2-40B4-BE49-F238E27FC236}">
                      <a16:creationId xmlns:a16="http://schemas.microsoft.com/office/drawing/2014/main" id="{1A0B890B-0897-FBA7-B2C0-7DD673CFE5A2}"/>
                    </a:ext>
                  </a:extLst>
                </p14:cNvPr>
                <p14:cNvContentPartPr/>
                <p14:nvPr/>
              </p14:nvContentPartPr>
              <p14:xfrm>
                <a:off x="4126781" y="649652"/>
                <a:ext cx="1439280" cy="93960"/>
              </p14:xfrm>
            </p:contentPart>
          </mc:Choice>
          <mc:Fallback>
            <p:pic>
              <p:nvPicPr>
                <p:cNvPr id="154" name="Ink 153">
                  <a:extLst>
                    <a:ext uri="{FF2B5EF4-FFF2-40B4-BE49-F238E27FC236}">
                      <a16:creationId xmlns:a16="http://schemas.microsoft.com/office/drawing/2014/main" id="{1A0B890B-0897-FBA7-B2C0-7DD673CFE5A2}"/>
                    </a:ext>
                  </a:extLst>
                </p:cNvPr>
                <p:cNvPicPr/>
                <p:nvPr/>
              </p:nvPicPr>
              <p:blipFill>
                <a:blip r:embed="rId160"/>
                <a:stretch>
                  <a:fillRect/>
                </a:stretch>
              </p:blipFill>
              <p:spPr>
                <a:xfrm>
                  <a:off x="4111661" y="634532"/>
                  <a:ext cx="1469520" cy="124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1">
              <p14:nvContentPartPr>
                <p14:cNvPr id="155" name="Ink 154">
                  <a:extLst>
                    <a:ext uri="{FF2B5EF4-FFF2-40B4-BE49-F238E27FC236}">
                      <a16:creationId xmlns:a16="http://schemas.microsoft.com/office/drawing/2014/main" id="{CF8ACB4E-328C-EDC8-CDD1-C225140613E5}"/>
                    </a:ext>
                  </a:extLst>
                </p14:cNvPr>
                <p14:cNvContentPartPr/>
                <p14:nvPr/>
              </p14:nvContentPartPr>
              <p14:xfrm>
                <a:off x="4801421" y="883652"/>
                <a:ext cx="121320" cy="226800"/>
              </p14:xfrm>
            </p:contentPart>
          </mc:Choice>
          <mc:Fallback>
            <p:pic>
              <p:nvPicPr>
                <p:cNvPr id="155" name="Ink 154">
                  <a:extLst>
                    <a:ext uri="{FF2B5EF4-FFF2-40B4-BE49-F238E27FC236}">
                      <a16:creationId xmlns:a16="http://schemas.microsoft.com/office/drawing/2014/main" id="{CF8ACB4E-328C-EDC8-CDD1-C225140613E5}"/>
                    </a:ext>
                  </a:extLst>
                </p:cNvPr>
                <p:cNvPicPr/>
                <p:nvPr/>
              </p:nvPicPr>
              <p:blipFill>
                <a:blip r:embed="rId162"/>
                <a:stretch>
                  <a:fillRect/>
                </a:stretch>
              </p:blipFill>
              <p:spPr>
                <a:xfrm>
                  <a:off x="4785941" y="868172"/>
                  <a:ext cx="151920" cy="257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3">
              <p14:nvContentPartPr>
                <p14:cNvPr id="156" name="Ink 155">
                  <a:extLst>
                    <a:ext uri="{FF2B5EF4-FFF2-40B4-BE49-F238E27FC236}">
                      <a16:creationId xmlns:a16="http://schemas.microsoft.com/office/drawing/2014/main" id="{647F46DC-4F32-68F0-C435-8D734C4BA5AA}"/>
                    </a:ext>
                  </a:extLst>
                </p14:cNvPr>
                <p14:cNvContentPartPr/>
                <p14:nvPr/>
              </p14:nvContentPartPr>
              <p14:xfrm>
                <a:off x="5010941" y="916412"/>
                <a:ext cx="64800" cy="135360"/>
              </p14:xfrm>
            </p:contentPart>
          </mc:Choice>
          <mc:Fallback>
            <p:pic>
              <p:nvPicPr>
                <p:cNvPr id="156" name="Ink 155">
                  <a:extLst>
                    <a:ext uri="{FF2B5EF4-FFF2-40B4-BE49-F238E27FC236}">
                      <a16:creationId xmlns:a16="http://schemas.microsoft.com/office/drawing/2014/main" id="{647F46DC-4F32-68F0-C435-8D734C4BA5AA}"/>
                    </a:ext>
                  </a:extLst>
                </p:cNvPr>
                <p:cNvPicPr/>
                <p:nvPr/>
              </p:nvPicPr>
              <p:blipFill>
                <a:blip r:embed="rId164"/>
                <a:stretch>
                  <a:fillRect/>
                </a:stretch>
              </p:blipFill>
              <p:spPr>
                <a:xfrm>
                  <a:off x="4995821" y="901292"/>
                  <a:ext cx="95400" cy="165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5">
              <p14:nvContentPartPr>
                <p14:cNvPr id="157" name="Ink 156">
                  <a:extLst>
                    <a:ext uri="{FF2B5EF4-FFF2-40B4-BE49-F238E27FC236}">
                      <a16:creationId xmlns:a16="http://schemas.microsoft.com/office/drawing/2014/main" id="{C2601FE9-F350-6562-EFB4-E7E071D2E9DC}"/>
                    </a:ext>
                  </a:extLst>
                </p14:cNvPr>
                <p14:cNvContentPartPr/>
                <p14:nvPr/>
              </p14:nvContentPartPr>
              <p14:xfrm>
                <a:off x="5126141" y="898052"/>
                <a:ext cx="131400" cy="196560"/>
              </p14:xfrm>
            </p:contentPart>
          </mc:Choice>
          <mc:Fallback>
            <p:pic>
              <p:nvPicPr>
                <p:cNvPr id="157" name="Ink 156">
                  <a:extLst>
                    <a:ext uri="{FF2B5EF4-FFF2-40B4-BE49-F238E27FC236}">
                      <a16:creationId xmlns:a16="http://schemas.microsoft.com/office/drawing/2014/main" id="{C2601FE9-F350-6562-EFB4-E7E071D2E9DC}"/>
                    </a:ext>
                  </a:extLst>
                </p:cNvPr>
                <p:cNvPicPr/>
                <p:nvPr/>
              </p:nvPicPr>
              <p:blipFill>
                <a:blip r:embed="rId166"/>
                <a:stretch>
                  <a:fillRect/>
                </a:stretch>
              </p:blipFill>
              <p:spPr>
                <a:xfrm>
                  <a:off x="5110661" y="882572"/>
                  <a:ext cx="162000" cy="227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7">
              <p14:nvContentPartPr>
                <p14:cNvPr id="158" name="Ink 157">
                  <a:extLst>
                    <a:ext uri="{FF2B5EF4-FFF2-40B4-BE49-F238E27FC236}">
                      <a16:creationId xmlns:a16="http://schemas.microsoft.com/office/drawing/2014/main" id="{136B4147-6D18-0B6A-7A35-09D5A2D7E840}"/>
                    </a:ext>
                  </a:extLst>
                </p14:cNvPr>
                <p14:cNvContentPartPr/>
                <p14:nvPr/>
              </p14:nvContentPartPr>
              <p14:xfrm>
                <a:off x="5123261" y="1017572"/>
                <a:ext cx="309960" cy="98280"/>
              </p14:xfrm>
            </p:contentPart>
          </mc:Choice>
          <mc:Fallback>
            <p:pic>
              <p:nvPicPr>
                <p:cNvPr id="158" name="Ink 157">
                  <a:extLst>
                    <a:ext uri="{FF2B5EF4-FFF2-40B4-BE49-F238E27FC236}">
                      <a16:creationId xmlns:a16="http://schemas.microsoft.com/office/drawing/2014/main" id="{136B4147-6D18-0B6A-7A35-09D5A2D7E840}"/>
                    </a:ext>
                  </a:extLst>
                </p:cNvPr>
                <p:cNvPicPr/>
                <p:nvPr/>
              </p:nvPicPr>
              <p:blipFill>
                <a:blip r:embed="rId168"/>
                <a:stretch>
                  <a:fillRect/>
                </a:stretch>
              </p:blipFill>
              <p:spPr>
                <a:xfrm>
                  <a:off x="5108141" y="1002452"/>
                  <a:ext cx="340560" cy="128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9">
              <p14:nvContentPartPr>
                <p14:cNvPr id="159" name="Ink 158">
                  <a:extLst>
                    <a:ext uri="{FF2B5EF4-FFF2-40B4-BE49-F238E27FC236}">
                      <a16:creationId xmlns:a16="http://schemas.microsoft.com/office/drawing/2014/main" id="{835DD742-1B1E-8B8A-FA96-98A367D2DE30}"/>
                    </a:ext>
                  </a:extLst>
                </p14:cNvPr>
                <p14:cNvContentPartPr/>
                <p14:nvPr/>
              </p14:nvContentPartPr>
              <p14:xfrm>
                <a:off x="5521061" y="875732"/>
                <a:ext cx="26280" cy="239760"/>
              </p14:xfrm>
            </p:contentPart>
          </mc:Choice>
          <mc:Fallback>
            <p:pic>
              <p:nvPicPr>
                <p:cNvPr id="159" name="Ink 158">
                  <a:extLst>
                    <a:ext uri="{FF2B5EF4-FFF2-40B4-BE49-F238E27FC236}">
                      <a16:creationId xmlns:a16="http://schemas.microsoft.com/office/drawing/2014/main" id="{835DD742-1B1E-8B8A-FA96-98A367D2DE30}"/>
                    </a:ext>
                  </a:extLst>
                </p:cNvPr>
                <p:cNvPicPr/>
                <p:nvPr/>
              </p:nvPicPr>
              <p:blipFill>
                <a:blip r:embed="rId170"/>
                <a:stretch>
                  <a:fillRect/>
                </a:stretch>
              </p:blipFill>
              <p:spPr>
                <a:xfrm>
                  <a:off x="5505941" y="860612"/>
                  <a:ext cx="56520" cy="270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71">
              <p14:nvContentPartPr>
                <p14:cNvPr id="160" name="Ink 159">
                  <a:extLst>
                    <a:ext uri="{FF2B5EF4-FFF2-40B4-BE49-F238E27FC236}">
                      <a16:creationId xmlns:a16="http://schemas.microsoft.com/office/drawing/2014/main" id="{48D3FA6B-51BD-74B9-B7E1-9B21A767E264}"/>
                    </a:ext>
                  </a:extLst>
                </p14:cNvPr>
                <p14:cNvContentPartPr/>
                <p14:nvPr/>
              </p14:nvContentPartPr>
              <p14:xfrm>
                <a:off x="5631941" y="942692"/>
                <a:ext cx="32400" cy="153360"/>
              </p14:xfrm>
            </p:contentPart>
          </mc:Choice>
          <mc:Fallback>
            <p:pic>
              <p:nvPicPr>
                <p:cNvPr id="160" name="Ink 159">
                  <a:extLst>
                    <a:ext uri="{FF2B5EF4-FFF2-40B4-BE49-F238E27FC236}">
                      <a16:creationId xmlns:a16="http://schemas.microsoft.com/office/drawing/2014/main" id="{48D3FA6B-51BD-74B9-B7E1-9B21A767E264}"/>
                    </a:ext>
                  </a:extLst>
                </p:cNvPr>
                <p:cNvPicPr/>
                <p:nvPr/>
              </p:nvPicPr>
              <p:blipFill>
                <a:blip r:embed="rId172"/>
                <a:stretch>
                  <a:fillRect/>
                </a:stretch>
              </p:blipFill>
              <p:spPr>
                <a:xfrm>
                  <a:off x="5616461" y="927212"/>
                  <a:ext cx="63000" cy="183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73">
              <p14:nvContentPartPr>
                <p14:cNvPr id="161" name="Ink 160">
                  <a:extLst>
                    <a:ext uri="{FF2B5EF4-FFF2-40B4-BE49-F238E27FC236}">
                      <a16:creationId xmlns:a16="http://schemas.microsoft.com/office/drawing/2014/main" id="{C7AD5613-9A3C-8A8E-9C79-BB9F73CEA507}"/>
                    </a:ext>
                  </a:extLst>
                </p14:cNvPr>
                <p14:cNvContentPartPr/>
                <p14:nvPr/>
              </p14:nvContentPartPr>
              <p14:xfrm>
                <a:off x="5712581" y="955292"/>
                <a:ext cx="80640" cy="92880"/>
              </p14:xfrm>
            </p:contentPart>
          </mc:Choice>
          <mc:Fallback>
            <p:pic>
              <p:nvPicPr>
                <p:cNvPr id="161" name="Ink 160">
                  <a:extLst>
                    <a:ext uri="{FF2B5EF4-FFF2-40B4-BE49-F238E27FC236}">
                      <a16:creationId xmlns:a16="http://schemas.microsoft.com/office/drawing/2014/main" id="{C7AD5613-9A3C-8A8E-9C79-BB9F73CEA507}"/>
                    </a:ext>
                  </a:extLst>
                </p:cNvPr>
                <p:cNvPicPr/>
                <p:nvPr/>
              </p:nvPicPr>
              <p:blipFill>
                <a:blip r:embed="rId174"/>
                <a:stretch>
                  <a:fillRect/>
                </a:stretch>
              </p:blipFill>
              <p:spPr>
                <a:xfrm>
                  <a:off x="5697461" y="940172"/>
                  <a:ext cx="111240" cy="123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75">
              <p14:nvContentPartPr>
                <p14:cNvPr id="162" name="Ink 161">
                  <a:extLst>
                    <a:ext uri="{FF2B5EF4-FFF2-40B4-BE49-F238E27FC236}">
                      <a16:creationId xmlns:a16="http://schemas.microsoft.com/office/drawing/2014/main" id="{E35E822C-AF13-ED07-C257-ECC61B871E99}"/>
                    </a:ext>
                  </a:extLst>
                </p14:cNvPr>
                <p14:cNvContentPartPr/>
                <p14:nvPr/>
              </p14:nvContentPartPr>
              <p14:xfrm>
                <a:off x="5817701" y="843332"/>
                <a:ext cx="136440" cy="302040"/>
              </p14:xfrm>
            </p:contentPart>
          </mc:Choice>
          <mc:Fallback>
            <p:pic>
              <p:nvPicPr>
                <p:cNvPr id="162" name="Ink 161">
                  <a:extLst>
                    <a:ext uri="{FF2B5EF4-FFF2-40B4-BE49-F238E27FC236}">
                      <a16:creationId xmlns:a16="http://schemas.microsoft.com/office/drawing/2014/main" id="{E35E822C-AF13-ED07-C257-ECC61B871E99}"/>
                    </a:ext>
                  </a:extLst>
                </p:cNvPr>
                <p:cNvPicPr/>
                <p:nvPr/>
              </p:nvPicPr>
              <p:blipFill>
                <a:blip r:embed="rId176"/>
                <a:stretch>
                  <a:fillRect/>
                </a:stretch>
              </p:blipFill>
              <p:spPr>
                <a:xfrm>
                  <a:off x="5802581" y="828212"/>
                  <a:ext cx="166680" cy="332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77">
              <p14:nvContentPartPr>
                <p14:cNvPr id="164" name="Ink 163">
                  <a:extLst>
                    <a:ext uri="{FF2B5EF4-FFF2-40B4-BE49-F238E27FC236}">
                      <a16:creationId xmlns:a16="http://schemas.microsoft.com/office/drawing/2014/main" id="{F5B58BBF-552A-9B30-5BDC-785F0961975E}"/>
                    </a:ext>
                  </a:extLst>
                </p14:cNvPr>
                <p14:cNvContentPartPr/>
                <p14:nvPr/>
              </p14:nvContentPartPr>
              <p14:xfrm>
                <a:off x="4934261" y="907052"/>
                <a:ext cx="1219680" cy="188280"/>
              </p14:xfrm>
            </p:contentPart>
          </mc:Choice>
          <mc:Fallback>
            <p:pic>
              <p:nvPicPr>
                <p:cNvPr id="164" name="Ink 163">
                  <a:extLst>
                    <a:ext uri="{FF2B5EF4-FFF2-40B4-BE49-F238E27FC236}">
                      <a16:creationId xmlns:a16="http://schemas.microsoft.com/office/drawing/2014/main" id="{F5B58BBF-552A-9B30-5BDC-785F0961975E}"/>
                    </a:ext>
                  </a:extLst>
                </p:cNvPr>
                <p:cNvPicPr/>
                <p:nvPr/>
              </p:nvPicPr>
              <p:blipFill>
                <a:blip r:embed="rId178"/>
                <a:stretch>
                  <a:fillRect/>
                </a:stretch>
              </p:blipFill>
              <p:spPr>
                <a:xfrm>
                  <a:off x="4918781" y="891572"/>
                  <a:ext cx="1250280" cy="218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79">
              <p14:nvContentPartPr>
                <p14:cNvPr id="165" name="Ink 164">
                  <a:extLst>
                    <a:ext uri="{FF2B5EF4-FFF2-40B4-BE49-F238E27FC236}">
                      <a16:creationId xmlns:a16="http://schemas.microsoft.com/office/drawing/2014/main" id="{E891F75B-211E-A5B5-2773-DBA295975944}"/>
                    </a:ext>
                  </a:extLst>
                </p14:cNvPr>
                <p14:cNvContentPartPr/>
                <p14:nvPr/>
              </p14:nvContentPartPr>
              <p14:xfrm>
                <a:off x="5068541" y="186692"/>
                <a:ext cx="834120" cy="232200"/>
              </p14:xfrm>
            </p:contentPart>
          </mc:Choice>
          <mc:Fallback>
            <p:pic>
              <p:nvPicPr>
                <p:cNvPr id="165" name="Ink 164">
                  <a:extLst>
                    <a:ext uri="{FF2B5EF4-FFF2-40B4-BE49-F238E27FC236}">
                      <a16:creationId xmlns:a16="http://schemas.microsoft.com/office/drawing/2014/main" id="{E891F75B-211E-A5B5-2773-DBA295975944}"/>
                    </a:ext>
                  </a:extLst>
                </p:cNvPr>
                <p:cNvPicPr/>
                <p:nvPr/>
              </p:nvPicPr>
              <p:blipFill>
                <a:blip r:embed="rId180"/>
                <a:stretch>
                  <a:fillRect/>
                </a:stretch>
              </p:blipFill>
              <p:spPr>
                <a:xfrm>
                  <a:off x="5053421" y="171572"/>
                  <a:ext cx="864720" cy="262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81">
              <p14:nvContentPartPr>
                <p14:cNvPr id="166" name="Ink 165">
                  <a:extLst>
                    <a:ext uri="{FF2B5EF4-FFF2-40B4-BE49-F238E27FC236}">
                      <a16:creationId xmlns:a16="http://schemas.microsoft.com/office/drawing/2014/main" id="{4E392BEC-D563-1B50-9A44-18EBC9F35636}"/>
                    </a:ext>
                  </a:extLst>
                </p14:cNvPr>
                <p14:cNvContentPartPr/>
                <p14:nvPr/>
              </p14:nvContentPartPr>
              <p14:xfrm>
                <a:off x="3721781" y="102812"/>
                <a:ext cx="800280" cy="739800"/>
              </p14:xfrm>
            </p:contentPart>
          </mc:Choice>
          <mc:Fallback>
            <p:pic>
              <p:nvPicPr>
                <p:cNvPr id="166" name="Ink 165">
                  <a:extLst>
                    <a:ext uri="{FF2B5EF4-FFF2-40B4-BE49-F238E27FC236}">
                      <a16:creationId xmlns:a16="http://schemas.microsoft.com/office/drawing/2014/main" id="{4E392BEC-D563-1B50-9A44-18EBC9F35636}"/>
                    </a:ext>
                  </a:extLst>
                </p:cNvPr>
                <p:cNvPicPr/>
                <p:nvPr/>
              </p:nvPicPr>
              <p:blipFill>
                <a:blip r:embed="rId182"/>
                <a:stretch>
                  <a:fillRect/>
                </a:stretch>
              </p:blipFill>
              <p:spPr>
                <a:xfrm>
                  <a:off x="3706301" y="87332"/>
                  <a:ext cx="830880" cy="7700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77" name="Group 176">
            <a:extLst>
              <a:ext uri="{FF2B5EF4-FFF2-40B4-BE49-F238E27FC236}">
                <a16:creationId xmlns:a16="http://schemas.microsoft.com/office/drawing/2014/main" id="{88B164A5-76D5-EACF-C61E-B87FC7A07114}"/>
              </a:ext>
            </a:extLst>
          </p:cNvPr>
          <p:cNvGrpSpPr/>
          <p:nvPr/>
        </p:nvGrpSpPr>
        <p:grpSpPr>
          <a:xfrm>
            <a:off x="6574781" y="276692"/>
            <a:ext cx="761760" cy="660240"/>
            <a:chOff x="6574781" y="276692"/>
            <a:chExt cx="761760" cy="6602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83">
              <p14:nvContentPartPr>
                <p14:cNvPr id="167" name="Ink 166">
                  <a:extLst>
                    <a:ext uri="{FF2B5EF4-FFF2-40B4-BE49-F238E27FC236}">
                      <a16:creationId xmlns:a16="http://schemas.microsoft.com/office/drawing/2014/main" id="{577CBD8E-598A-14E4-6198-22B1B458A7DE}"/>
                    </a:ext>
                  </a:extLst>
                </p14:cNvPr>
                <p14:cNvContentPartPr/>
                <p14:nvPr/>
              </p14:nvContentPartPr>
              <p14:xfrm>
                <a:off x="6578381" y="494492"/>
                <a:ext cx="126720" cy="14760"/>
              </p14:xfrm>
            </p:contentPart>
          </mc:Choice>
          <mc:Fallback>
            <p:pic>
              <p:nvPicPr>
                <p:cNvPr id="167" name="Ink 166">
                  <a:extLst>
                    <a:ext uri="{FF2B5EF4-FFF2-40B4-BE49-F238E27FC236}">
                      <a16:creationId xmlns:a16="http://schemas.microsoft.com/office/drawing/2014/main" id="{577CBD8E-598A-14E4-6198-22B1B458A7DE}"/>
                    </a:ext>
                  </a:extLst>
                </p:cNvPr>
                <p:cNvPicPr/>
                <p:nvPr/>
              </p:nvPicPr>
              <p:blipFill>
                <a:blip r:embed="rId184"/>
                <a:stretch>
                  <a:fillRect/>
                </a:stretch>
              </p:blipFill>
              <p:spPr>
                <a:xfrm>
                  <a:off x="6563261" y="479372"/>
                  <a:ext cx="157320" cy="45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85">
              <p14:nvContentPartPr>
                <p14:cNvPr id="168" name="Ink 167">
                  <a:extLst>
                    <a:ext uri="{FF2B5EF4-FFF2-40B4-BE49-F238E27FC236}">
                      <a16:creationId xmlns:a16="http://schemas.microsoft.com/office/drawing/2014/main" id="{601363EA-298B-AC8E-FAA7-544DC647DCE6}"/>
                    </a:ext>
                  </a:extLst>
                </p14:cNvPr>
                <p14:cNvContentPartPr/>
                <p14:nvPr/>
              </p14:nvContentPartPr>
              <p14:xfrm>
                <a:off x="6574781" y="574412"/>
                <a:ext cx="160560" cy="24120"/>
              </p14:xfrm>
            </p:contentPart>
          </mc:Choice>
          <mc:Fallback>
            <p:pic>
              <p:nvPicPr>
                <p:cNvPr id="168" name="Ink 167">
                  <a:extLst>
                    <a:ext uri="{FF2B5EF4-FFF2-40B4-BE49-F238E27FC236}">
                      <a16:creationId xmlns:a16="http://schemas.microsoft.com/office/drawing/2014/main" id="{601363EA-298B-AC8E-FAA7-544DC647DCE6}"/>
                    </a:ext>
                  </a:extLst>
                </p:cNvPr>
                <p:cNvPicPr/>
                <p:nvPr/>
              </p:nvPicPr>
              <p:blipFill>
                <a:blip r:embed="rId186"/>
                <a:stretch>
                  <a:fillRect/>
                </a:stretch>
              </p:blipFill>
              <p:spPr>
                <a:xfrm>
                  <a:off x="6559301" y="559292"/>
                  <a:ext cx="191160" cy="54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87">
              <p14:nvContentPartPr>
                <p14:cNvPr id="169" name="Ink 168">
                  <a:extLst>
                    <a:ext uri="{FF2B5EF4-FFF2-40B4-BE49-F238E27FC236}">
                      <a16:creationId xmlns:a16="http://schemas.microsoft.com/office/drawing/2014/main" id="{23F9532D-C509-C92A-7202-789F243F6793}"/>
                    </a:ext>
                  </a:extLst>
                </p14:cNvPr>
                <p14:cNvContentPartPr/>
                <p14:nvPr/>
              </p14:nvContentPartPr>
              <p14:xfrm>
                <a:off x="6960341" y="276692"/>
                <a:ext cx="141120" cy="229680"/>
              </p14:xfrm>
            </p:contentPart>
          </mc:Choice>
          <mc:Fallback>
            <p:pic>
              <p:nvPicPr>
                <p:cNvPr id="169" name="Ink 168">
                  <a:extLst>
                    <a:ext uri="{FF2B5EF4-FFF2-40B4-BE49-F238E27FC236}">
                      <a16:creationId xmlns:a16="http://schemas.microsoft.com/office/drawing/2014/main" id="{23F9532D-C509-C92A-7202-789F243F6793}"/>
                    </a:ext>
                  </a:extLst>
                </p:cNvPr>
                <p:cNvPicPr/>
                <p:nvPr/>
              </p:nvPicPr>
              <p:blipFill>
                <a:blip r:embed="rId188"/>
                <a:stretch>
                  <a:fillRect/>
                </a:stretch>
              </p:blipFill>
              <p:spPr>
                <a:xfrm>
                  <a:off x="6945221" y="261572"/>
                  <a:ext cx="171360" cy="260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89">
              <p14:nvContentPartPr>
                <p14:cNvPr id="170" name="Ink 169">
                  <a:extLst>
                    <a:ext uri="{FF2B5EF4-FFF2-40B4-BE49-F238E27FC236}">
                      <a16:creationId xmlns:a16="http://schemas.microsoft.com/office/drawing/2014/main" id="{3DE52CB1-B87E-E5B8-5E40-96C60FE79352}"/>
                    </a:ext>
                  </a:extLst>
                </p14:cNvPr>
                <p14:cNvContentPartPr/>
                <p14:nvPr/>
              </p14:nvContentPartPr>
              <p14:xfrm>
                <a:off x="7131701" y="367412"/>
                <a:ext cx="204840" cy="122400"/>
              </p14:xfrm>
            </p:contentPart>
          </mc:Choice>
          <mc:Fallback>
            <p:pic>
              <p:nvPicPr>
                <p:cNvPr id="170" name="Ink 169">
                  <a:extLst>
                    <a:ext uri="{FF2B5EF4-FFF2-40B4-BE49-F238E27FC236}">
                      <a16:creationId xmlns:a16="http://schemas.microsoft.com/office/drawing/2014/main" id="{3DE52CB1-B87E-E5B8-5E40-96C60FE79352}"/>
                    </a:ext>
                  </a:extLst>
                </p:cNvPr>
                <p:cNvPicPr/>
                <p:nvPr/>
              </p:nvPicPr>
              <p:blipFill>
                <a:blip r:embed="rId190"/>
                <a:stretch>
                  <a:fillRect/>
                </a:stretch>
              </p:blipFill>
              <p:spPr>
                <a:xfrm>
                  <a:off x="7116581" y="351932"/>
                  <a:ext cx="235080" cy="152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91">
              <p14:nvContentPartPr>
                <p14:cNvPr id="171" name="Ink 170">
                  <a:extLst>
                    <a:ext uri="{FF2B5EF4-FFF2-40B4-BE49-F238E27FC236}">
                      <a16:creationId xmlns:a16="http://schemas.microsoft.com/office/drawing/2014/main" id="{67B3C4A8-2E2C-5E24-D75A-59B662517DE5}"/>
                    </a:ext>
                  </a:extLst>
                </p14:cNvPr>
                <p14:cNvContentPartPr/>
                <p14:nvPr/>
              </p14:nvContentPartPr>
              <p14:xfrm>
                <a:off x="6938741" y="658652"/>
                <a:ext cx="243360" cy="48240"/>
              </p14:xfrm>
            </p:contentPart>
          </mc:Choice>
          <mc:Fallback>
            <p:pic>
              <p:nvPicPr>
                <p:cNvPr id="171" name="Ink 170">
                  <a:extLst>
                    <a:ext uri="{FF2B5EF4-FFF2-40B4-BE49-F238E27FC236}">
                      <a16:creationId xmlns:a16="http://schemas.microsoft.com/office/drawing/2014/main" id="{67B3C4A8-2E2C-5E24-D75A-59B662517DE5}"/>
                    </a:ext>
                  </a:extLst>
                </p:cNvPr>
                <p:cNvPicPr/>
                <p:nvPr/>
              </p:nvPicPr>
              <p:blipFill>
                <a:blip r:embed="rId192"/>
                <a:stretch>
                  <a:fillRect/>
                </a:stretch>
              </p:blipFill>
              <p:spPr>
                <a:xfrm>
                  <a:off x="6923621" y="643532"/>
                  <a:ext cx="273600" cy="78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93">
              <p14:nvContentPartPr>
                <p14:cNvPr id="172" name="Ink 171">
                  <a:extLst>
                    <a:ext uri="{FF2B5EF4-FFF2-40B4-BE49-F238E27FC236}">
                      <a16:creationId xmlns:a16="http://schemas.microsoft.com/office/drawing/2014/main" id="{B99B39D2-FF21-14F7-1842-615919F3363A}"/>
                    </a:ext>
                  </a:extLst>
                </p14:cNvPr>
                <p14:cNvContentPartPr/>
                <p14:nvPr/>
              </p14:nvContentPartPr>
              <p14:xfrm>
                <a:off x="7040981" y="688532"/>
                <a:ext cx="129960" cy="185040"/>
              </p14:xfrm>
            </p:contentPart>
          </mc:Choice>
          <mc:Fallback>
            <p:pic>
              <p:nvPicPr>
                <p:cNvPr id="172" name="Ink 171">
                  <a:extLst>
                    <a:ext uri="{FF2B5EF4-FFF2-40B4-BE49-F238E27FC236}">
                      <a16:creationId xmlns:a16="http://schemas.microsoft.com/office/drawing/2014/main" id="{B99B39D2-FF21-14F7-1842-615919F3363A}"/>
                    </a:ext>
                  </a:extLst>
                </p:cNvPr>
                <p:cNvPicPr/>
                <p:nvPr/>
              </p:nvPicPr>
              <p:blipFill>
                <a:blip r:embed="rId194"/>
                <a:stretch>
                  <a:fillRect/>
                </a:stretch>
              </p:blipFill>
              <p:spPr>
                <a:xfrm>
                  <a:off x="7025861" y="673412"/>
                  <a:ext cx="160200" cy="215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95">
              <p14:nvContentPartPr>
                <p14:cNvPr id="173" name="Ink 172">
                  <a:extLst>
                    <a:ext uri="{FF2B5EF4-FFF2-40B4-BE49-F238E27FC236}">
                      <a16:creationId xmlns:a16="http://schemas.microsoft.com/office/drawing/2014/main" id="{4CBC0129-0860-96CD-1AD2-7720746BF103}"/>
                    </a:ext>
                  </a:extLst>
                </p14:cNvPr>
                <p14:cNvContentPartPr/>
                <p14:nvPr/>
              </p14:nvContentPartPr>
              <p14:xfrm>
                <a:off x="7186781" y="704372"/>
                <a:ext cx="111600" cy="73800"/>
              </p14:xfrm>
            </p:contentPart>
          </mc:Choice>
          <mc:Fallback>
            <p:pic>
              <p:nvPicPr>
                <p:cNvPr id="173" name="Ink 172">
                  <a:extLst>
                    <a:ext uri="{FF2B5EF4-FFF2-40B4-BE49-F238E27FC236}">
                      <a16:creationId xmlns:a16="http://schemas.microsoft.com/office/drawing/2014/main" id="{4CBC0129-0860-96CD-1AD2-7720746BF103}"/>
                    </a:ext>
                  </a:extLst>
                </p:cNvPr>
                <p:cNvPicPr/>
                <p:nvPr/>
              </p:nvPicPr>
              <p:blipFill>
                <a:blip r:embed="rId196"/>
                <a:stretch>
                  <a:fillRect/>
                </a:stretch>
              </p:blipFill>
              <p:spPr>
                <a:xfrm>
                  <a:off x="7171301" y="689252"/>
                  <a:ext cx="141840" cy="104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97">
              <p14:nvContentPartPr>
                <p14:cNvPr id="174" name="Ink 173">
                  <a:extLst>
                    <a:ext uri="{FF2B5EF4-FFF2-40B4-BE49-F238E27FC236}">
                      <a16:creationId xmlns:a16="http://schemas.microsoft.com/office/drawing/2014/main" id="{CDCED5E2-8EF8-014B-311D-69F3ACE54426}"/>
                    </a:ext>
                  </a:extLst>
                </p14:cNvPr>
                <p14:cNvContentPartPr/>
                <p14:nvPr/>
              </p14:nvContentPartPr>
              <p14:xfrm>
                <a:off x="6971141" y="683132"/>
                <a:ext cx="129960" cy="253800"/>
              </p14:xfrm>
            </p:contentPart>
          </mc:Choice>
          <mc:Fallback>
            <p:pic>
              <p:nvPicPr>
                <p:cNvPr id="174" name="Ink 173">
                  <a:extLst>
                    <a:ext uri="{FF2B5EF4-FFF2-40B4-BE49-F238E27FC236}">
                      <a16:creationId xmlns:a16="http://schemas.microsoft.com/office/drawing/2014/main" id="{CDCED5E2-8EF8-014B-311D-69F3ACE54426}"/>
                    </a:ext>
                  </a:extLst>
                </p:cNvPr>
                <p:cNvPicPr/>
                <p:nvPr/>
              </p:nvPicPr>
              <p:blipFill>
                <a:blip r:embed="rId198"/>
                <a:stretch>
                  <a:fillRect/>
                </a:stretch>
              </p:blipFill>
              <p:spPr>
                <a:xfrm>
                  <a:off x="6955661" y="668012"/>
                  <a:ext cx="160560" cy="284040"/>
                </a:xfrm>
                <a:prstGeom prst="rect">
                  <a:avLst/>
                </a:prstGeom>
              </p:spPr>
            </p:pic>
          </mc:Fallback>
        </mc:AlternateContent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r>
              <a:rPr lang="en-US"/>
              <a:t>Topics covered in Week 2</a:t>
            </a:r>
            <a:endParaRPr/>
          </a:p>
        </p:txBody>
      </p:sp>
      <p:sp>
        <p:nvSpPr>
          <p:cNvPr id="91" name="Google Shape;91;p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22860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</a:pPr>
            <a:r>
              <a:rPr lang="en-US"/>
              <a:t>Probability – Meaning and concepts</a:t>
            </a:r>
            <a:endParaRPr/>
          </a:p>
          <a:p>
            <a:pPr marL="2286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</a:pPr>
            <a:r>
              <a:rPr lang="en-US"/>
              <a:t>Rules for Computing Probability(Multiplicative and Addition rule)</a:t>
            </a:r>
            <a:endParaRPr/>
          </a:p>
          <a:p>
            <a:pPr marL="2286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</a:pPr>
            <a:r>
              <a:rPr lang="en-US"/>
              <a:t>Marginal probability</a:t>
            </a:r>
            <a:endParaRPr/>
          </a:p>
          <a:p>
            <a:pPr marL="2286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</a:pPr>
            <a:r>
              <a:rPr lang="en-US"/>
              <a:t>Bayes’ theorem</a:t>
            </a:r>
            <a:endParaRPr/>
          </a:p>
          <a:p>
            <a:pPr marL="2286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</a:pPr>
            <a:r>
              <a:rPr lang="en-US"/>
              <a:t>Probability Distribution and types</a:t>
            </a:r>
            <a:endParaRPr/>
          </a:p>
          <a:p>
            <a:pPr marL="228600" lvl="0" indent="-508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</a:pPr>
            <a:endParaRPr/>
          </a:p>
          <a:p>
            <a:pPr marL="228600" lvl="0" indent="-508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</a:pPr>
            <a:endParaRPr/>
          </a:p>
          <a:p>
            <a:pPr marL="228600" lvl="0" indent="-508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</a:pPr>
            <a:endParaRPr/>
          </a:p>
          <a:p>
            <a:pPr marL="228600" lvl="0" indent="-508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</a:pPr>
            <a:endParaRPr/>
          </a:p>
          <a:p>
            <a:pPr marL="228600" lvl="0" indent="-508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</a:pPr>
            <a:endParaRPr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p17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r>
              <a:rPr lang="en-US"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ayes’ Theorem</a:t>
            </a:r>
            <a:endParaRPr/>
          </a:p>
        </p:txBody>
      </p:sp>
      <p:pic>
        <p:nvPicPr>
          <p:cNvPr id="182" name="Google Shape;182;p1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34938" y="1454393"/>
            <a:ext cx="11268176" cy="505074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F22CA8-6461-227B-51DF-B567302CFC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9143DC-6AA8-946A-CE61-A0279DE956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2">
            <p14:nvContentPartPr>
              <p14:cNvPr id="105" name="Ink 104">
                <a:extLst>
                  <a:ext uri="{FF2B5EF4-FFF2-40B4-BE49-F238E27FC236}">
                    <a16:creationId xmlns:a16="http://schemas.microsoft.com/office/drawing/2014/main" id="{9B9FEDEA-AC84-5970-A7A7-AB5F6881661A}"/>
                  </a:ext>
                </a:extLst>
              </p14:cNvPr>
              <p14:cNvContentPartPr/>
              <p14:nvPr/>
            </p14:nvContentPartPr>
            <p14:xfrm>
              <a:off x="1294301" y="4238852"/>
              <a:ext cx="144000" cy="276480"/>
            </p14:xfrm>
          </p:contentPart>
        </mc:Choice>
        <mc:Fallback>
          <p:pic>
            <p:nvPicPr>
              <p:cNvPr id="105" name="Ink 104">
                <a:extLst>
                  <a:ext uri="{FF2B5EF4-FFF2-40B4-BE49-F238E27FC236}">
                    <a16:creationId xmlns:a16="http://schemas.microsoft.com/office/drawing/2014/main" id="{9B9FEDEA-AC84-5970-A7A7-AB5F6881661A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279181" y="4223732"/>
                <a:ext cx="174600" cy="306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4">
            <p14:nvContentPartPr>
              <p14:cNvPr id="106" name="Ink 105">
                <a:extLst>
                  <a:ext uri="{FF2B5EF4-FFF2-40B4-BE49-F238E27FC236}">
                    <a16:creationId xmlns:a16="http://schemas.microsoft.com/office/drawing/2014/main" id="{D1E3C380-BA14-2021-894C-DE851A9C3AB1}"/>
                  </a:ext>
                </a:extLst>
              </p14:cNvPr>
              <p14:cNvContentPartPr/>
              <p14:nvPr/>
            </p14:nvContentPartPr>
            <p14:xfrm>
              <a:off x="1499141" y="4264412"/>
              <a:ext cx="91800" cy="227880"/>
            </p14:xfrm>
          </p:contentPart>
        </mc:Choice>
        <mc:Fallback>
          <p:pic>
            <p:nvPicPr>
              <p:cNvPr id="106" name="Ink 105">
                <a:extLst>
                  <a:ext uri="{FF2B5EF4-FFF2-40B4-BE49-F238E27FC236}">
                    <a16:creationId xmlns:a16="http://schemas.microsoft.com/office/drawing/2014/main" id="{D1E3C380-BA14-2021-894C-DE851A9C3AB1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483661" y="4249292"/>
                <a:ext cx="122400" cy="2584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6">
            <p14:nvContentPartPr>
              <p14:cNvPr id="107" name="Ink 106">
                <a:extLst>
                  <a:ext uri="{FF2B5EF4-FFF2-40B4-BE49-F238E27FC236}">
                    <a16:creationId xmlns:a16="http://schemas.microsoft.com/office/drawing/2014/main" id="{F831CA20-6F6C-2FF9-B5AF-CA0BF61F4596}"/>
                  </a:ext>
                </a:extLst>
              </p14:cNvPr>
              <p14:cNvContentPartPr/>
              <p14:nvPr/>
            </p14:nvContentPartPr>
            <p14:xfrm>
              <a:off x="1683101" y="4295372"/>
              <a:ext cx="5760" cy="215640"/>
            </p14:xfrm>
          </p:contentPart>
        </mc:Choice>
        <mc:Fallback>
          <p:pic>
            <p:nvPicPr>
              <p:cNvPr id="107" name="Ink 106">
                <a:extLst>
                  <a:ext uri="{FF2B5EF4-FFF2-40B4-BE49-F238E27FC236}">
                    <a16:creationId xmlns:a16="http://schemas.microsoft.com/office/drawing/2014/main" id="{F831CA20-6F6C-2FF9-B5AF-CA0BF61F4596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667981" y="4280252"/>
                <a:ext cx="36000" cy="2462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8">
            <p14:nvContentPartPr>
              <p14:cNvPr id="108" name="Ink 107">
                <a:extLst>
                  <a:ext uri="{FF2B5EF4-FFF2-40B4-BE49-F238E27FC236}">
                    <a16:creationId xmlns:a16="http://schemas.microsoft.com/office/drawing/2014/main" id="{0B129164-8C7B-89BF-5EE2-FEA7A1662064}"/>
                  </a:ext>
                </a:extLst>
              </p14:cNvPr>
              <p14:cNvContentPartPr/>
              <p14:nvPr/>
            </p14:nvContentPartPr>
            <p14:xfrm>
              <a:off x="1686341" y="4233812"/>
              <a:ext cx="177480" cy="249120"/>
            </p14:xfrm>
          </p:contentPart>
        </mc:Choice>
        <mc:Fallback>
          <p:pic>
            <p:nvPicPr>
              <p:cNvPr id="108" name="Ink 107">
                <a:extLst>
                  <a:ext uri="{FF2B5EF4-FFF2-40B4-BE49-F238E27FC236}">
                    <a16:creationId xmlns:a16="http://schemas.microsoft.com/office/drawing/2014/main" id="{0B129164-8C7B-89BF-5EE2-FEA7A1662064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1670861" y="4218692"/>
                <a:ext cx="207720" cy="2793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0">
            <p14:nvContentPartPr>
              <p14:cNvPr id="109" name="Ink 108">
                <a:extLst>
                  <a:ext uri="{FF2B5EF4-FFF2-40B4-BE49-F238E27FC236}">
                    <a16:creationId xmlns:a16="http://schemas.microsoft.com/office/drawing/2014/main" id="{0CF30367-44EC-B2D5-EE1B-1E4721C1FA9F}"/>
                  </a:ext>
                </a:extLst>
              </p14:cNvPr>
              <p14:cNvContentPartPr/>
              <p14:nvPr/>
            </p14:nvContentPartPr>
            <p14:xfrm>
              <a:off x="1753301" y="4364852"/>
              <a:ext cx="87840" cy="32760"/>
            </p14:xfrm>
          </p:contentPart>
        </mc:Choice>
        <mc:Fallback>
          <p:pic>
            <p:nvPicPr>
              <p:cNvPr id="109" name="Ink 108">
                <a:extLst>
                  <a:ext uri="{FF2B5EF4-FFF2-40B4-BE49-F238E27FC236}">
                    <a16:creationId xmlns:a16="http://schemas.microsoft.com/office/drawing/2014/main" id="{0CF30367-44EC-B2D5-EE1B-1E4721C1FA9F}"/>
                  </a:ext>
                </a:extLst>
              </p:cNvPr>
              <p:cNvPicPr/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1737821" y="4349732"/>
                <a:ext cx="118440" cy="633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2">
            <p14:nvContentPartPr>
              <p14:cNvPr id="110" name="Ink 109">
                <a:extLst>
                  <a:ext uri="{FF2B5EF4-FFF2-40B4-BE49-F238E27FC236}">
                    <a16:creationId xmlns:a16="http://schemas.microsoft.com/office/drawing/2014/main" id="{40219C1B-2321-5993-753B-7F7A0C480D56}"/>
                  </a:ext>
                </a:extLst>
              </p14:cNvPr>
              <p14:cNvContentPartPr/>
              <p14:nvPr/>
            </p14:nvContentPartPr>
            <p14:xfrm>
              <a:off x="1979381" y="4268732"/>
              <a:ext cx="41040" cy="229320"/>
            </p14:xfrm>
          </p:contentPart>
        </mc:Choice>
        <mc:Fallback>
          <p:pic>
            <p:nvPicPr>
              <p:cNvPr id="110" name="Ink 109">
                <a:extLst>
                  <a:ext uri="{FF2B5EF4-FFF2-40B4-BE49-F238E27FC236}">
                    <a16:creationId xmlns:a16="http://schemas.microsoft.com/office/drawing/2014/main" id="{40219C1B-2321-5993-753B-7F7A0C480D56}"/>
                  </a:ext>
                </a:extLst>
              </p:cNvPr>
              <p:cNvPicPr/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1963901" y="4253252"/>
                <a:ext cx="71280" cy="2599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4">
            <p14:nvContentPartPr>
              <p14:cNvPr id="111" name="Ink 110">
                <a:extLst>
                  <a:ext uri="{FF2B5EF4-FFF2-40B4-BE49-F238E27FC236}">
                    <a16:creationId xmlns:a16="http://schemas.microsoft.com/office/drawing/2014/main" id="{419913CA-BF1B-316B-BDE4-DF8D41BA11A4}"/>
                  </a:ext>
                </a:extLst>
              </p14:cNvPr>
              <p14:cNvContentPartPr/>
              <p14:nvPr/>
            </p14:nvContentPartPr>
            <p14:xfrm>
              <a:off x="2116901" y="4258652"/>
              <a:ext cx="152280" cy="209520"/>
            </p14:xfrm>
          </p:contentPart>
        </mc:Choice>
        <mc:Fallback>
          <p:pic>
            <p:nvPicPr>
              <p:cNvPr id="111" name="Ink 110">
                <a:extLst>
                  <a:ext uri="{FF2B5EF4-FFF2-40B4-BE49-F238E27FC236}">
                    <a16:creationId xmlns:a16="http://schemas.microsoft.com/office/drawing/2014/main" id="{419913CA-BF1B-316B-BDE4-DF8D41BA11A4}"/>
                  </a:ext>
                </a:extLst>
              </p:cNvPr>
              <p:cNvPicPr/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2101421" y="4243532"/>
                <a:ext cx="182880" cy="2397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6">
            <p14:nvContentPartPr>
              <p14:cNvPr id="112" name="Ink 111">
                <a:extLst>
                  <a:ext uri="{FF2B5EF4-FFF2-40B4-BE49-F238E27FC236}">
                    <a16:creationId xmlns:a16="http://schemas.microsoft.com/office/drawing/2014/main" id="{29951C43-F84E-BB3E-C0EE-2F3C310556B5}"/>
                  </a:ext>
                </a:extLst>
              </p14:cNvPr>
              <p14:cNvContentPartPr/>
              <p14:nvPr/>
            </p14:nvContentPartPr>
            <p14:xfrm>
              <a:off x="2303381" y="4246772"/>
              <a:ext cx="83520" cy="176040"/>
            </p14:xfrm>
          </p:contentPart>
        </mc:Choice>
        <mc:Fallback>
          <p:pic>
            <p:nvPicPr>
              <p:cNvPr id="112" name="Ink 111">
                <a:extLst>
                  <a:ext uri="{FF2B5EF4-FFF2-40B4-BE49-F238E27FC236}">
                    <a16:creationId xmlns:a16="http://schemas.microsoft.com/office/drawing/2014/main" id="{29951C43-F84E-BB3E-C0EE-2F3C310556B5}"/>
                  </a:ext>
                </a:extLst>
              </p:cNvPr>
              <p:cNvPicPr/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2288261" y="4231292"/>
                <a:ext cx="114120" cy="2062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8">
            <p14:nvContentPartPr>
              <p14:cNvPr id="113" name="Ink 112">
                <a:extLst>
                  <a:ext uri="{FF2B5EF4-FFF2-40B4-BE49-F238E27FC236}">
                    <a16:creationId xmlns:a16="http://schemas.microsoft.com/office/drawing/2014/main" id="{62762B21-16B4-82EC-AF41-5E1DDC44492F}"/>
                  </a:ext>
                </a:extLst>
              </p14:cNvPr>
              <p14:cNvContentPartPr/>
              <p14:nvPr/>
            </p14:nvContentPartPr>
            <p14:xfrm>
              <a:off x="2544581" y="4256852"/>
              <a:ext cx="73080" cy="7560"/>
            </p14:xfrm>
          </p:contentPart>
        </mc:Choice>
        <mc:Fallback>
          <p:pic>
            <p:nvPicPr>
              <p:cNvPr id="113" name="Ink 112">
                <a:extLst>
                  <a:ext uri="{FF2B5EF4-FFF2-40B4-BE49-F238E27FC236}">
                    <a16:creationId xmlns:a16="http://schemas.microsoft.com/office/drawing/2014/main" id="{62762B21-16B4-82EC-AF41-5E1DDC44492F}"/>
                  </a:ext>
                </a:extLst>
              </p:cNvPr>
              <p:cNvPicPr/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2529461" y="4241732"/>
                <a:ext cx="103680" cy="381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0">
            <p14:nvContentPartPr>
              <p14:cNvPr id="114" name="Ink 113">
                <a:extLst>
                  <a:ext uri="{FF2B5EF4-FFF2-40B4-BE49-F238E27FC236}">
                    <a16:creationId xmlns:a16="http://schemas.microsoft.com/office/drawing/2014/main" id="{1B34A482-47B5-265B-867C-63376C7515D3}"/>
                  </a:ext>
                </a:extLst>
              </p14:cNvPr>
              <p14:cNvContentPartPr/>
              <p14:nvPr/>
            </p14:nvContentPartPr>
            <p14:xfrm>
              <a:off x="2541341" y="4327052"/>
              <a:ext cx="106560" cy="12960"/>
            </p14:xfrm>
          </p:contentPart>
        </mc:Choice>
        <mc:Fallback>
          <p:pic>
            <p:nvPicPr>
              <p:cNvPr id="114" name="Ink 113">
                <a:extLst>
                  <a:ext uri="{FF2B5EF4-FFF2-40B4-BE49-F238E27FC236}">
                    <a16:creationId xmlns:a16="http://schemas.microsoft.com/office/drawing/2014/main" id="{1B34A482-47B5-265B-867C-63376C7515D3}"/>
                  </a:ext>
                </a:extLst>
              </p:cNvPr>
              <p:cNvPicPr/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2526221" y="4311932"/>
                <a:ext cx="136800" cy="435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2">
            <p14:nvContentPartPr>
              <p14:cNvPr id="115" name="Ink 114">
                <a:extLst>
                  <a:ext uri="{FF2B5EF4-FFF2-40B4-BE49-F238E27FC236}">
                    <a16:creationId xmlns:a16="http://schemas.microsoft.com/office/drawing/2014/main" id="{FCDEE1A4-432D-9E53-C85D-EC16E399D4BD}"/>
                  </a:ext>
                </a:extLst>
              </p14:cNvPr>
              <p14:cNvContentPartPr/>
              <p14:nvPr/>
            </p14:nvContentPartPr>
            <p14:xfrm>
              <a:off x="3230741" y="3930692"/>
              <a:ext cx="151560" cy="251640"/>
            </p14:xfrm>
          </p:contentPart>
        </mc:Choice>
        <mc:Fallback>
          <p:pic>
            <p:nvPicPr>
              <p:cNvPr id="115" name="Ink 114">
                <a:extLst>
                  <a:ext uri="{FF2B5EF4-FFF2-40B4-BE49-F238E27FC236}">
                    <a16:creationId xmlns:a16="http://schemas.microsoft.com/office/drawing/2014/main" id="{FCDEE1A4-432D-9E53-C85D-EC16E399D4BD}"/>
                  </a:ext>
                </a:extLst>
              </p:cNvPr>
              <p:cNvPicPr/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3215261" y="3915212"/>
                <a:ext cx="182160" cy="2822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4">
            <p14:nvContentPartPr>
              <p14:cNvPr id="116" name="Ink 115">
                <a:extLst>
                  <a:ext uri="{FF2B5EF4-FFF2-40B4-BE49-F238E27FC236}">
                    <a16:creationId xmlns:a16="http://schemas.microsoft.com/office/drawing/2014/main" id="{E6527877-9ED8-03D3-4197-200C74B893F1}"/>
                  </a:ext>
                </a:extLst>
              </p14:cNvPr>
              <p14:cNvContentPartPr/>
              <p14:nvPr/>
            </p14:nvContentPartPr>
            <p14:xfrm>
              <a:off x="3460061" y="3950852"/>
              <a:ext cx="76680" cy="198720"/>
            </p14:xfrm>
          </p:contentPart>
        </mc:Choice>
        <mc:Fallback>
          <p:pic>
            <p:nvPicPr>
              <p:cNvPr id="116" name="Ink 115">
                <a:extLst>
                  <a:ext uri="{FF2B5EF4-FFF2-40B4-BE49-F238E27FC236}">
                    <a16:creationId xmlns:a16="http://schemas.microsoft.com/office/drawing/2014/main" id="{E6527877-9ED8-03D3-4197-200C74B893F1}"/>
                  </a:ext>
                </a:extLst>
              </p:cNvPr>
              <p:cNvPicPr/>
              <p:nvPr/>
            </p:nvPicPr>
            <p:blipFill>
              <a:blip r:embed="rId25"/>
              <a:stretch>
                <a:fillRect/>
              </a:stretch>
            </p:blipFill>
            <p:spPr>
              <a:xfrm>
                <a:off x="3444581" y="3935372"/>
                <a:ext cx="107280" cy="2289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6">
            <p14:nvContentPartPr>
              <p14:cNvPr id="117" name="Ink 116">
                <a:extLst>
                  <a:ext uri="{FF2B5EF4-FFF2-40B4-BE49-F238E27FC236}">
                    <a16:creationId xmlns:a16="http://schemas.microsoft.com/office/drawing/2014/main" id="{55E7E827-4940-18B0-222B-2EF4938085AD}"/>
                  </a:ext>
                </a:extLst>
              </p14:cNvPr>
              <p14:cNvContentPartPr/>
              <p14:nvPr/>
            </p14:nvContentPartPr>
            <p14:xfrm>
              <a:off x="3645821" y="3954812"/>
              <a:ext cx="173520" cy="198360"/>
            </p14:xfrm>
          </p:contentPart>
        </mc:Choice>
        <mc:Fallback>
          <p:pic>
            <p:nvPicPr>
              <p:cNvPr id="117" name="Ink 116">
                <a:extLst>
                  <a:ext uri="{FF2B5EF4-FFF2-40B4-BE49-F238E27FC236}">
                    <a16:creationId xmlns:a16="http://schemas.microsoft.com/office/drawing/2014/main" id="{55E7E827-4940-18B0-222B-2EF4938085AD}"/>
                  </a:ext>
                </a:extLst>
              </p:cNvPr>
              <p:cNvPicPr/>
              <p:nvPr/>
            </p:nvPicPr>
            <p:blipFill>
              <a:blip r:embed="rId27"/>
              <a:stretch>
                <a:fillRect/>
              </a:stretch>
            </p:blipFill>
            <p:spPr>
              <a:xfrm>
                <a:off x="3630341" y="3939692"/>
                <a:ext cx="204120" cy="2289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8">
            <p14:nvContentPartPr>
              <p14:cNvPr id="118" name="Ink 117">
                <a:extLst>
                  <a:ext uri="{FF2B5EF4-FFF2-40B4-BE49-F238E27FC236}">
                    <a16:creationId xmlns:a16="http://schemas.microsoft.com/office/drawing/2014/main" id="{9C47BF97-C7B3-9283-8BC1-8A522CEA4DDB}"/>
                  </a:ext>
                </a:extLst>
              </p14:cNvPr>
              <p14:cNvContentPartPr/>
              <p14:nvPr/>
            </p14:nvContentPartPr>
            <p14:xfrm>
              <a:off x="3728261" y="4062812"/>
              <a:ext cx="82800" cy="55440"/>
            </p14:xfrm>
          </p:contentPart>
        </mc:Choice>
        <mc:Fallback>
          <p:pic>
            <p:nvPicPr>
              <p:cNvPr id="118" name="Ink 117">
                <a:extLst>
                  <a:ext uri="{FF2B5EF4-FFF2-40B4-BE49-F238E27FC236}">
                    <a16:creationId xmlns:a16="http://schemas.microsoft.com/office/drawing/2014/main" id="{9C47BF97-C7B3-9283-8BC1-8A522CEA4DDB}"/>
                  </a:ext>
                </a:extLst>
              </p:cNvPr>
              <p:cNvPicPr/>
              <p:nvPr/>
            </p:nvPicPr>
            <p:blipFill>
              <a:blip r:embed="rId29"/>
              <a:stretch>
                <a:fillRect/>
              </a:stretch>
            </p:blipFill>
            <p:spPr>
              <a:xfrm>
                <a:off x="3712781" y="4047692"/>
                <a:ext cx="113400" cy="860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0">
            <p14:nvContentPartPr>
              <p14:cNvPr id="119" name="Ink 118">
                <a:extLst>
                  <a:ext uri="{FF2B5EF4-FFF2-40B4-BE49-F238E27FC236}">
                    <a16:creationId xmlns:a16="http://schemas.microsoft.com/office/drawing/2014/main" id="{9BB07A69-6F75-8CE9-90C4-B13C5213BA2A}"/>
                  </a:ext>
                </a:extLst>
              </p14:cNvPr>
              <p14:cNvContentPartPr/>
              <p14:nvPr/>
            </p14:nvContentPartPr>
            <p14:xfrm>
              <a:off x="3923741" y="3956972"/>
              <a:ext cx="153000" cy="177840"/>
            </p14:xfrm>
          </p:contentPart>
        </mc:Choice>
        <mc:Fallback>
          <p:pic>
            <p:nvPicPr>
              <p:cNvPr id="119" name="Ink 118">
                <a:extLst>
                  <a:ext uri="{FF2B5EF4-FFF2-40B4-BE49-F238E27FC236}">
                    <a16:creationId xmlns:a16="http://schemas.microsoft.com/office/drawing/2014/main" id="{9BB07A69-6F75-8CE9-90C4-B13C5213BA2A}"/>
                  </a:ext>
                </a:extLst>
              </p:cNvPr>
              <p:cNvPicPr/>
              <p:nvPr/>
            </p:nvPicPr>
            <p:blipFill>
              <a:blip r:embed="rId31"/>
              <a:stretch>
                <a:fillRect/>
              </a:stretch>
            </p:blipFill>
            <p:spPr>
              <a:xfrm>
                <a:off x="3908261" y="3941852"/>
                <a:ext cx="183600" cy="2080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2">
            <p14:nvContentPartPr>
              <p14:cNvPr id="120" name="Ink 119">
                <a:extLst>
                  <a:ext uri="{FF2B5EF4-FFF2-40B4-BE49-F238E27FC236}">
                    <a16:creationId xmlns:a16="http://schemas.microsoft.com/office/drawing/2014/main" id="{737B2F55-007D-A3AC-4DE8-84354AE72879}"/>
                  </a:ext>
                </a:extLst>
              </p14:cNvPr>
              <p14:cNvContentPartPr/>
              <p14:nvPr/>
            </p14:nvContentPartPr>
            <p14:xfrm>
              <a:off x="4186901" y="3928892"/>
              <a:ext cx="152640" cy="186480"/>
            </p14:xfrm>
          </p:contentPart>
        </mc:Choice>
        <mc:Fallback>
          <p:pic>
            <p:nvPicPr>
              <p:cNvPr id="120" name="Ink 119">
                <a:extLst>
                  <a:ext uri="{FF2B5EF4-FFF2-40B4-BE49-F238E27FC236}">
                    <a16:creationId xmlns:a16="http://schemas.microsoft.com/office/drawing/2014/main" id="{737B2F55-007D-A3AC-4DE8-84354AE72879}"/>
                  </a:ext>
                </a:extLst>
              </p:cNvPr>
              <p:cNvPicPr/>
              <p:nvPr/>
            </p:nvPicPr>
            <p:blipFill>
              <a:blip r:embed="rId33"/>
              <a:stretch>
                <a:fillRect/>
              </a:stretch>
            </p:blipFill>
            <p:spPr>
              <a:xfrm>
                <a:off x="4171421" y="3913772"/>
                <a:ext cx="183240" cy="2170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4">
            <p14:nvContentPartPr>
              <p14:cNvPr id="121" name="Ink 120">
                <a:extLst>
                  <a:ext uri="{FF2B5EF4-FFF2-40B4-BE49-F238E27FC236}">
                    <a16:creationId xmlns:a16="http://schemas.microsoft.com/office/drawing/2014/main" id="{6BC27A7C-3106-AF78-FA9D-23F68B05300F}"/>
                  </a:ext>
                </a:extLst>
              </p14:cNvPr>
              <p14:cNvContentPartPr/>
              <p14:nvPr/>
            </p14:nvContentPartPr>
            <p14:xfrm>
              <a:off x="4284101" y="3925292"/>
              <a:ext cx="129960" cy="272160"/>
            </p14:xfrm>
          </p:contentPart>
        </mc:Choice>
        <mc:Fallback>
          <p:pic>
            <p:nvPicPr>
              <p:cNvPr id="121" name="Ink 120">
                <a:extLst>
                  <a:ext uri="{FF2B5EF4-FFF2-40B4-BE49-F238E27FC236}">
                    <a16:creationId xmlns:a16="http://schemas.microsoft.com/office/drawing/2014/main" id="{6BC27A7C-3106-AF78-FA9D-23F68B05300F}"/>
                  </a:ext>
                </a:extLst>
              </p:cNvPr>
              <p:cNvPicPr/>
              <p:nvPr/>
            </p:nvPicPr>
            <p:blipFill>
              <a:blip r:embed="rId35"/>
              <a:stretch>
                <a:fillRect/>
              </a:stretch>
            </p:blipFill>
            <p:spPr>
              <a:xfrm>
                <a:off x="4268981" y="3909812"/>
                <a:ext cx="160560" cy="3027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6">
            <p14:nvContentPartPr>
              <p14:cNvPr id="122" name="Ink 121">
                <a:extLst>
                  <a:ext uri="{FF2B5EF4-FFF2-40B4-BE49-F238E27FC236}">
                    <a16:creationId xmlns:a16="http://schemas.microsoft.com/office/drawing/2014/main" id="{6340AAD4-8A72-C71E-8EC9-43DFF34A7DF5}"/>
                  </a:ext>
                </a:extLst>
              </p14:cNvPr>
              <p14:cNvContentPartPr/>
              <p14:nvPr/>
            </p14:nvContentPartPr>
            <p14:xfrm>
              <a:off x="3250541" y="4274852"/>
              <a:ext cx="1094040" cy="158760"/>
            </p14:xfrm>
          </p:contentPart>
        </mc:Choice>
        <mc:Fallback>
          <p:pic>
            <p:nvPicPr>
              <p:cNvPr id="122" name="Ink 121">
                <a:extLst>
                  <a:ext uri="{FF2B5EF4-FFF2-40B4-BE49-F238E27FC236}">
                    <a16:creationId xmlns:a16="http://schemas.microsoft.com/office/drawing/2014/main" id="{6340AAD4-8A72-C71E-8EC9-43DFF34A7DF5}"/>
                  </a:ext>
                </a:extLst>
              </p:cNvPr>
              <p:cNvPicPr/>
              <p:nvPr/>
            </p:nvPicPr>
            <p:blipFill>
              <a:blip r:embed="rId37"/>
              <a:stretch>
                <a:fillRect/>
              </a:stretch>
            </p:blipFill>
            <p:spPr>
              <a:xfrm>
                <a:off x="3235061" y="4259732"/>
                <a:ext cx="1124280" cy="1893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8">
            <p14:nvContentPartPr>
              <p14:cNvPr id="123" name="Ink 122">
                <a:extLst>
                  <a:ext uri="{FF2B5EF4-FFF2-40B4-BE49-F238E27FC236}">
                    <a16:creationId xmlns:a16="http://schemas.microsoft.com/office/drawing/2014/main" id="{556464EF-5F13-FCC8-D442-9EA5D222A83A}"/>
                  </a:ext>
                </a:extLst>
              </p14:cNvPr>
              <p14:cNvContentPartPr/>
              <p14:nvPr/>
            </p14:nvContentPartPr>
            <p14:xfrm>
              <a:off x="3669941" y="4470692"/>
              <a:ext cx="125640" cy="193680"/>
            </p14:xfrm>
          </p:contentPart>
        </mc:Choice>
        <mc:Fallback>
          <p:pic>
            <p:nvPicPr>
              <p:cNvPr id="123" name="Ink 122">
                <a:extLst>
                  <a:ext uri="{FF2B5EF4-FFF2-40B4-BE49-F238E27FC236}">
                    <a16:creationId xmlns:a16="http://schemas.microsoft.com/office/drawing/2014/main" id="{556464EF-5F13-FCC8-D442-9EA5D222A83A}"/>
                  </a:ext>
                </a:extLst>
              </p:cNvPr>
              <p:cNvPicPr/>
              <p:nvPr/>
            </p:nvPicPr>
            <p:blipFill>
              <a:blip r:embed="rId39"/>
              <a:stretch>
                <a:fillRect/>
              </a:stretch>
            </p:blipFill>
            <p:spPr>
              <a:xfrm>
                <a:off x="3654461" y="4455572"/>
                <a:ext cx="155880" cy="2242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40">
            <p14:nvContentPartPr>
              <p14:cNvPr id="124" name="Ink 123">
                <a:extLst>
                  <a:ext uri="{FF2B5EF4-FFF2-40B4-BE49-F238E27FC236}">
                    <a16:creationId xmlns:a16="http://schemas.microsoft.com/office/drawing/2014/main" id="{2E7E2C6A-184D-EC71-E2F9-704A725B5E53}"/>
                  </a:ext>
                </a:extLst>
              </p14:cNvPr>
              <p14:cNvContentPartPr/>
              <p14:nvPr/>
            </p14:nvContentPartPr>
            <p14:xfrm>
              <a:off x="3856061" y="4467452"/>
              <a:ext cx="82800" cy="150840"/>
            </p14:xfrm>
          </p:contentPart>
        </mc:Choice>
        <mc:Fallback>
          <p:pic>
            <p:nvPicPr>
              <p:cNvPr id="124" name="Ink 123">
                <a:extLst>
                  <a:ext uri="{FF2B5EF4-FFF2-40B4-BE49-F238E27FC236}">
                    <a16:creationId xmlns:a16="http://schemas.microsoft.com/office/drawing/2014/main" id="{2E7E2C6A-184D-EC71-E2F9-704A725B5E53}"/>
                  </a:ext>
                </a:extLst>
              </p:cNvPr>
              <p:cNvPicPr/>
              <p:nvPr/>
            </p:nvPicPr>
            <p:blipFill>
              <a:blip r:embed="rId41"/>
              <a:stretch>
                <a:fillRect/>
              </a:stretch>
            </p:blipFill>
            <p:spPr>
              <a:xfrm>
                <a:off x="3840581" y="4452332"/>
                <a:ext cx="113040" cy="1814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42">
            <p14:nvContentPartPr>
              <p14:cNvPr id="125" name="Ink 124">
                <a:extLst>
                  <a:ext uri="{FF2B5EF4-FFF2-40B4-BE49-F238E27FC236}">
                    <a16:creationId xmlns:a16="http://schemas.microsoft.com/office/drawing/2014/main" id="{8BCDD845-7D69-ED85-24B7-AADC966C68C2}"/>
                  </a:ext>
                </a:extLst>
              </p14:cNvPr>
              <p14:cNvContentPartPr/>
              <p14:nvPr/>
            </p14:nvContentPartPr>
            <p14:xfrm>
              <a:off x="4031381" y="4474292"/>
              <a:ext cx="164520" cy="187560"/>
            </p14:xfrm>
          </p:contentPart>
        </mc:Choice>
        <mc:Fallback>
          <p:pic>
            <p:nvPicPr>
              <p:cNvPr id="125" name="Ink 124">
                <a:extLst>
                  <a:ext uri="{FF2B5EF4-FFF2-40B4-BE49-F238E27FC236}">
                    <a16:creationId xmlns:a16="http://schemas.microsoft.com/office/drawing/2014/main" id="{8BCDD845-7D69-ED85-24B7-AADC966C68C2}"/>
                  </a:ext>
                </a:extLst>
              </p:cNvPr>
              <p:cNvPicPr/>
              <p:nvPr/>
            </p:nvPicPr>
            <p:blipFill>
              <a:blip r:embed="rId43"/>
              <a:stretch>
                <a:fillRect/>
              </a:stretch>
            </p:blipFill>
            <p:spPr>
              <a:xfrm>
                <a:off x="4015901" y="4458812"/>
                <a:ext cx="195120" cy="2181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44">
            <p14:nvContentPartPr>
              <p14:cNvPr id="126" name="Ink 125">
                <a:extLst>
                  <a:ext uri="{FF2B5EF4-FFF2-40B4-BE49-F238E27FC236}">
                    <a16:creationId xmlns:a16="http://schemas.microsoft.com/office/drawing/2014/main" id="{27701DED-3656-27AB-DF33-281A08008634}"/>
                  </a:ext>
                </a:extLst>
              </p14:cNvPr>
              <p14:cNvContentPartPr/>
              <p14:nvPr/>
            </p14:nvContentPartPr>
            <p14:xfrm>
              <a:off x="4203461" y="4473212"/>
              <a:ext cx="96480" cy="208080"/>
            </p14:xfrm>
          </p:contentPart>
        </mc:Choice>
        <mc:Fallback>
          <p:pic>
            <p:nvPicPr>
              <p:cNvPr id="126" name="Ink 125">
                <a:extLst>
                  <a:ext uri="{FF2B5EF4-FFF2-40B4-BE49-F238E27FC236}">
                    <a16:creationId xmlns:a16="http://schemas.microsoft.com/office/drawing/2014/main" id="{27701DED-3656-27AB-DF33-281A08008634}"/>
                  </a:ext>
                </a:extLst>
              </p:cNvPr>
              <p:cNvPicPr/>
              <p:nvPr/>
            </p:nvPicPr>
            <p:blipFill>
              <a:blip r:embed="rId45"/>
              <a:stretch>
                <a:fillRect/>
              </a:stretch>
            </p:blipFill>
            <p:spPr>
              <a:xfrm>
                <a:off x="4187981" y="4457732"/>
                <a:ext cx="126720" cy="238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46">
            <p14:nvContentPartPr>
              <p14:cNvPr id="127" name="Ink 126">
                <a:extLst>
                  <a:ext uri="{FF2B5EF4-FFF2-40B4-BE49-F238E27FC236}">
                    <a16:creationId xmlns:a16="http://schemas.microsoft.com/office/drawing/2014/main" id="{D7748E78-28BF-A078-4854-18C3DCCB56B2}"/>
                  </a:ext>
                </a:extLst>
              </p14:cNvPr>
              <p14:cNvContentPartPr/>
              <p14:nvPr/>
            </p14:nvContentPartPr>
            <p14:xfrm>
              <a:off x="4545461" y="4124012"/>
              <a:ext cx="340560" cy="166320"/>
            </p14:xfrm>
          </p:contentPart>
        </mc:Choice>
        <mc:Fallback>
          <p:pic>
            <p:nvPicPr>
              <p:cNvPr id="127" name="Ink 126">
                <a:extLst>
                  <a:ext uri="{FF2B5EF4-FFF2-40B4-BE49-F238E27FC236}">
                    <a16:creationId xmlns:a16="http://schemas.microsoft.com/office/drawing/2014/main" id="{D7748E78-28BF-A078-4854-18C3DCCB56B2}"/>
                  </a:ext>
                </a:extLst>
              </p:cNvPr>
              <p:cNvPicPr/>
              <p:nvPr/>
            </p:nvPicPr>
            <p:blipFill>
              <a:blip r:embed="rId47"/>
              <a:stretch>
                <a:fillRect/>
              </a:stretch>
            </p:blipFill>
            <p:spPr>
              <a:xfrm>
                <a:off x="4530341" y="4108892"/>
                <a:ext cx="371160" cy="1969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48">
            <p14:nvContentPartPr>
              <p14:cNvPr id="128" name="Ink 127">
                <a:extLst>
                  <a:ext uri="{FF2B5EF4-FFF2-40B4-BE49-F238E27FC236}">
                    <a16:creationId xmlns:a16="http://schemas.microsoft.com/office/drawing/2014/main" id="{77B09165-BCC9-615A-7F5A-E2E05799F258}"/>
                  </a:ext>
                </a:extLst>
              </p14:cNvPr>
              <p14:cNvContentPartPr/>
              <p14:nvPr/>
            </p14:nvContentPartPr>
            <p14:xfrm>
              <a:off x="5042981" y="4117172"/>
              <a:ext cx="50040" cy="154080"/>
            </p14:xfrm>
          </p:contentPart>
        </mc:Choice>
        <mc:Fallback>
          <p:pic>
            <p:nvPicPr>
              <p:cNvPr id="128" name="Ink 127">
                <a:extLst>
                  <a:ext uri="{FF2B5EF4-FFF2-40B4-BE49-F238E27FC236}">
                    <a16:creationId xmlns:a16="http://schemas.microsoft.com/office/drawing/2014/main" id="{77B09165-BCC9-615A-7F5A-E2E05799F258}"/>
                  </a:ext>
                </a:extLst>
              </p:cNvPr>
              <p:cNvPicPr/>
              <p:nvPr/>
            </p:nvPicPr>
            <p:blipFill>
              <a:blip r:embed="rId49"/>
              <a:stretch>
                <a:fillRect/>
              </a:stretch>
            </p:blipFill>
            <p:spPr>
              <a:xfrm>
                <a:off x="5027501" y="4102052"/>
                <a:ext cx="80280" cy="1846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50">
            <p14:nvContentPartPr>
              <p14:cNvPr id="129" name="Ink 128">
                <a:extLst>
                  <a:ext uri="{FF2B5EF4-FFF2-40B4-BE49-F238E27FC236}">
                    <a16:creationId xmlns:a16="http://schemas.microsoft.com/office/drawing/2014/main" id="{E75F2F6F-4F53-A49B-4CF8-5D1D14859FA1}"/>
                  </a:ext>
                </a:extLst>
              </p14:cNvPr>
              <p14:cNvContentPartPr/>
              <p14:nvPr/>
            </p14:nvContentPartPr>
            <p14:xfrm>
              <a:off x="5000141" y="4076132"/>
              <a:ext cx="213120" cy="244440"/>
            </p14:xfrm>
          </p:contentPart>
        </mc:Choice>
        <mc:Fallback>
          <p:pic>
            <p:nvPicPr>
              <p:cNvPr id="129" name="Ink 128">
                <a:extLst>
                  <a:ext uri="{FF2B5EF4-FFF2-40B4-BE49-F238E27FC236}">
                    <a16:creationId xmlns:a16="http://schemas.microsoft.com/office/drawing/2014/main" id="{E75F2F6F-4F53-A49B-4CF8-5D1D14859FA1}"/>
                  </a:ext>
                </a:extLst>
              </p:cNvPr>
              <p:cNvPicPr/>
              <p:nvPr/>
            </p:nvPicPr>
            <p:blipFill>
              <a:blip r:embed="rId51"/>
              <a:stretch>
                <a:fillRect/>
              </a:stretch>
            </p:blipFill>
            <p:spPr>
              <a:xfrm>
                <a:off x="4985021" y="4060652"/>
                <a:ext cx="243720" cy="2746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52">
            <p14:nvContentPartPr>
              <p14:cNvPr id="130" name="Ink 129">
                <a:extLst>
                  <a:ext uri="{FF2B5EF4-FFF2-40B4-BE49-F238E27FC236}">
                    <a16:creationId xmlns:a16="http://schemas.microsoft.com/office/drawing/2014/main" id="{F355CF68-6FC0-FB74-F2D5-6F99E4E7E641}"/>
                  </a:ext>
                </a:extLst>
              </p14:cNvPr>
              <p14:cNvContentPartPr/>
              <p14:nvPr/>
            </p14:nvContentPartPr>
            <p14:xfrm>
              <a:off x="1278461" y="5063972"/>
              <a:ext cx="135000" cy="263880"/>
            </p14:xfrm>
          </p:contentPart>
        </mc:Choice>
        <mc:Fallback>
          <p:pic>
            <p:nvPicPr>
              <p:cNvPr id="130" name="Ink 129">
                <a:extLst>
                  <a:ext uri="{FF2B5EF4-FFF2-40B4-BE49-F238E27FC236}">
                    <a16:creationId xmlns:a16="http://schemas.microsoft.com/office/drawing/2014/main" id="{F355CF68-6FC0-FB74-F2D5-6F99E4E7E641}"/>
                  </a:ext>
                </a:extLst>
              </p:cNvPr>
              <p:cNvPicPr/>
              <p:nvPr/>
            </p:nvPicPr>
            <p:blipFill>
              <a:blip r:embed="rId53"/>
              <a:stretch>
                <a:fillRect/>
              </a:stretch>
            </p:blipFill>
            <p:spPr>
              <a:xfrm>
                <a:off x="1262981" y="5048492"/>
                <a:ext cx="165600" cy="294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54">
            <p14:nvContentPartPr>
              <p14:cNvPr id="131" name="Ink 130">
                <a:extLst>
                  <a:ext uri="{FF2B5EF4-FFF2-40B4-BE49-F238E27FC236}">
                    <a16:creationId xmlns:a16="http://schemas.microsoft.com/office/drawing/2014/main" id="{EA464F59-2B74-8B7E-4AEB-1B3CD7816D49}"/>
                  </a:ext>
                </a:extLst>
              </p14:cNvPr>
              <p14:cNvContentPartPr/>
              <p14:nvPr/>
            </p14:nvContentPartPr>
            <p14:xfrm>
              <a:off x="1477181" y="5044172"/>
              <a:ext cx="99000" cy="245520"/>
            </p14:xfrm>
          </p:contentPart>
        </mc:Choice>
        <mc:Fallback>
          <p:pic>
            <p:nvPicPr>
              <p:cNvPr id="131" name="Ink 130">
                <a:extLst>
                  <a:ext uri="{FF2B5EF4-FFF2-40B4-BE49-F238E27FC236}">
                    <a16:creationId xmlns:a16="http://schemas.microsoft.com/office/drawing/2014/main" id="{EA464F59-2B74-8B7E-4AEB-1B3CD7816D49}"/>
                  </a:ext>
                </a:extLst>
              </p:cNvPr>
              <p:cNvPicPr/>
              <p:nvPr/>
            </p:nvPicPr>
            <p:blipFill>
              <a:blip r:embed="rId55"/>
              <a:stretch>
                <a:fillRect/>
              </a:stretch>
            </p:blipFill>
            <p:spPr>
              <a:xfrm>
                <a:off x="1462061" y="5028692"/>
                <a:ext cx="129600" cy="2757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56">
            <p14:nvContentPartPr>
              <p14:cNvPr id="132" name="Ink 131">
                <a:extLst>
                  <a:ext uri="{FF2B5EF4-FFF2-40B4-BE49-F238E27FC236}">
                    <a16:creationId xmlns:a16="http://schemas.microsoft.com/office/drawing/2014/main" id="{B7A48C0A-9756-383B-994D-97D7197C0C37}"/>
                  </a:ext>
                </a:extLst>
              </p14:cNvPr>
              <p14:cNvContentPartPr/>
              <p14:nvPr/>
            </p14:nvContentPartPr>
            <p14:xfrm>
              <a:off x="1641341" y="5054612"/>
              <a:ext cx="178200" cy="209880"/>
            </p14:xfrm>
          </p:contentPart>
        </mc:Choice>
        <mc:Fallback>
          <p:pic>
            <p:nvPicPr>
              <p:cNvPr id="132" name="Ink 131">
                <a:extLst>
                  <a:ext uri="{FF2B5EF4-FFF2-40B4-BE49-F238E27FC236}">
                    <a16:creationId xmlns:a16="http://schemas.microsoft.com/office/drawing/2014/main" id="{B7A48C0A-9756-383B-994D-97D7197C0C37}"/>
                  </a:ext>
                </a:extLst>
              </p:cNvPr>
              <p:cNvPicPr/>
              <p:nvPr/>
            </p:nvPicPr>
            <p:blipFill>
              <a:blip r:embed="rId57"/>
              <a:stretch>
                <a:fillRect/>
              </a:stretch>
            </p:blipFill>
            <p:spPr>
              <a:xfrm>
                <a:off x="1626221" y="5039492"/>
                <a:ext cx="208440" cy="2404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58">
            <p14:nvContentPartPr>
              <p14:cNvPr id="133" name="Ink 132">
                <a:extLst>
                  <a:ext uri="{FF2B5EF4-FFF2-40B4-BE49-F238E27FC236}">
                    <a16:creationId xmlns:a16="http://schemas.microsoft.com/office/drawing/2014/main" id="{11780C91-0421-2EC7-1115-5EC48EBB3ED7}"/>
                  </a:ext>
                </a:extLst>
              </p14:cNvPr>
              <p14:cNvContentPartPr/>
              <p14:nvPr/>
            </p14:nvContentPartPr>
            <p14:xfrm>
              <a:off x="1873541" y="5018612"/>
              <a:ext cx="46800" cy="222120"/>
            </p14:xfrm>
          </p:contentPart>
        </mc:Choice>
        <mc:Fallback>
          <p:pic>
            <p:nvPicPr>
              <p:cNvPr id="133" name="Ink 132">
                <a:extLst>
                  <a:ext uri="{FF2B5EF4-FFF2-40B4-BE49-F238E27FC236}">
                    <a16:creationId xmlns:a16="http://schemas.microsoft.com/office/drawing/2014/main" id="{11780C91-0421-2EC7-1115-5EC48EBB3ED7}"/>
                  </a:ext>
                </a:extLst>
              </p:cNvPr>
              <p:cNvPicPr/>
              <p:nvPr/>
            </p:nvPicPr>
            <p:blipFill>
              <a:blip r:embed="rId59"/>
              <a:stretch>
                <a:fillRect/>
              </a:stretch>
            </p:blipFill>
            <p:spPr>
              <a:xfrm>
                <a:off x="1858061" y="5003492"/>
                <a:ext cx="77040" cy="252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60">
            <p14:nvContentPartPr>
              <p14:cNvPr id="134" name="Ink 133">
                <a:extLst>
                  <a:ext uri="{FF2B5EF4-FFF2-40B4-BE49-F238E27FC236}">
                    <a16:creationId xmlns:a16="http://schemas.microsoft.com/office/drawing/2014/main" id="{4DAA0129-A1A5-D4BB-2FE5-A9118C8FCEDF}"/>
                  </a:ext>
                </a:extLst>
              </p14:cNvPr>
              <p14:cNvContentPartPr/>
              <p14:nvPr/>
            </p14:nvContentPartPr>
            <p14:xfrm>
              <a:off x="2018621" y="5027612"/>
              <a:ext cx="155160" cy="201600"/>
            </p14:xfrm>
          </p:contentPart>
        </mc:Choice>
        <mc:Fallback>
          <p:pic>
            <p:nvPicPr>
              <p:cNvPr id="134" name="Ink 133">
                <a:extLst>
                  <a:ext uri="{FF2B5EF4-FFF2-40B4-BE49-F238E27FC236}">
                    <a16:creationId xmlns:a16="http://schemas.microsoft.com/office/drawing/2014/main" id="{4DAA0129-A1A5-D4BB-2FE5-A9118C8FCEDF}"/>
                  </a:ext>
                </a:extLst>
              </p:cNvPr>
              <p:cNvPicPr/>
              <p:nvPr/>
            </p:nvPicPr>
            <p:blipFill>
              <a:blip r:embed="rId61"/>
              <a:stretch>
                <a:fillRect/>
              </a:stretch>
            </p:blipFill>
            <p:spPr>
              <a:xfrm>
                <a:off x="2003501" y="5012132"/>
                <a:ext cx="185760" cy="2322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62">
            <p14:nvContentPartPr>
              <p14:cNvPr id="135" name="Ink 134">
                <a:extLst>
                  <a:ext uri="{FF2B5EF4-FFF2-40B4-BE49-F238E27FC236}">
                    <a16:creationId xmlns:a16="http://schemas.microsoft.com/office/drawing/2014/main" id="{DDCC8CE6-D195-3C07-1A3D-79C71741B2B4}"/>
                  </a:ext>
                </a:extLst>
              </p14:cNvPr>
              <p14:cNvContentPartPr/>
              <p14:nvPr/>
            </p14:nvContentPartPr>
            <p14:xfrm>
              <a:off x="2057501" y="5127692"/>
              <a:ext cx="88920" cy="48600"/>
            </p14:xfrm>
          </p:contentPart>
        </mc:Choice>
        <mc:Fallback>
          <p:pic>
            <p:nvPicPr>
              <p:cNvPr id="135" name="Ink 134">
                <a:extLst>
                  <a:ext uri="{FF2B5EF4-FFF2-40B4-BE49-F238E27FC236}">
                    <a16:creationId xmlns:a16="http://schemas.microsoft.com/office/drawing/2014/main" id="{DDCC8CE6-D195-3C07-1A3D-79C71741B2B4}"/>
                  </a:ext>
                </a:extLst>
              </p:cNvPr>
              <p:cNvPicPr/>
              <p:nvPr/>
            </p:nvPicPr>
            <p:blipFill>
              <a:blip r:embed="rId63"/>
              <a:stretch>
                <a:fillRect/>
              </a:stretch>
            </p:blipFill>
            <p:spPr>
              <a:xfrm>
                <a:off x="2042381" y="5112212"/>
                <a:ext cx="119520" cy="792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64">
            <p14:nvContentPartPr>
              <p14:cNvPr id="136" name="Ink 135">
                <a:extLst>
                  <a:ext uri="{FF2B5EF4-FFF2-40B4-BE49-F238E27FC236}">
                    <a16:creationId xmlns:a16="http://schemas.microsoft.com/office/drawing/2014/main" id="{0D373B7E-E861-1241-E979-80B1C7CE3EB0}"/>
                  </a:ext>
                </a:extLst>
              </p14:cNvPr>
              <p14:cNvContentPartPr/>
              <p14:nvPr/>
            </p14:nvContentPartPr>
            <p14:xfrm>
              <a:off x="2196461" y="5038412"/>
              <a:ext cx="111240" cy="217080"/>
            </p14:xfrm>
          </p:contentPart>
        </mc:Choice>
        <mc:Fallback>
          <p:pic>
            <p:nvPicPr>
              <p:cNvPr id="136" name="Ink 135">
                <a:extLst>
                  <a:ext uri="{FF2B5EF4-FFF2-40B4-BE49-F238E27FC236}">
                    <a16:creationId xmlns:a16="http://schemas.microsoft.com/office/drawing/2014/main" id="{0D373B7E-E861-1241-E979-80B1C7CE3EB0}"/>
                  </a:ext>
                </a:extLst>
              </p:cNvPr>
              <p:cNvPicPr/>
              <p:nvPr/>
            </p:nvPicPr>
            <p:blipFill>
              <a:blip r:embed="rId65"/>
              <a:stretch>
                <a:fillRect/>
              </a:stretch>
            </p:blipFill>
            <p:spPr>
              <a:xfrm>
                <a:off x="2180981" y="5023292"/>
                <a:ext cx="141480" cy="2476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66">
            <p14:nvContentPartPr>
              <p14:cNvPr id="137" name="Ink 136">
                <a:extLst>
                  <a:ext uri="{FF2B5EF4-FFF2-40B4-BE49-F238E27FC236}">
                    <a16:creationId xmlns:a16="http://schemas.microsoft.com/office/drawing/2014/main" id="{9270D71A-EDB9-B235-43BB-DE207C872CD8}"/>
                  </a:ext>
                </a:extLst>
              </p14:cNvPr>
              <p14:cNvContentPartPr/>
              <p14:nvPr/>
            </p14:nvContentPartPr>
            <p14:xfrm>
              <a:off x="2530541" y="5071532"/>
              <a:ext cx="75600" cy="7920"/>
            </p14:xfrm>
          </p:contentPart>
        </mc:Choice>
        <mc:Fallback>
          <p:pic>
            <p:nvPicPr>
              <p:cNvPr id="137" name="Ink 136">
                <a:extLst>
                  <a:ext uri="{FF2B5EF4-FFF2-40B4-BE49-F238E27FC236}">
                    <a16:creationId xmlns:a16="http://schemas.microsoft.com/office/drawing/2014/main" id="{9270D71A-EDB9-B235-43BB-DE207C872CD8}"/>
                  </a:ext>
                </a:extLst>
              </p:cNvPr>
              <p:cNvPicPr/>
              <p:nvPr/>
            </p:nvPicPr>
            <p:blipFill>
              <a:blip r:embed="rId67"/>
              <a:stretch>
                <a:fillRect/>
              </a:stretch>
            </p:blipFill>
            <p:spPr>
              <a:xfrm>
                <a:off x="2515061" y="5056412"/>
                <a:ext cx="106200" cy="385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68">
            <p14:nvContentPartPr>
              <p14:cNvPr id="138" name="Ink 137">
                <a:extLst>
                  <a:ext uri="{FF2B5EF4-FFF2-40B4-BE49-F238E27FC236}">
                    <a16:creationId xmlns:a16="http://schemas.microsoft.com/office/drawing/2014/main" id="{9856E60C-4F9D-F569-BCA4-223C9D8520CC}"/>
                  </a:ext>
                </a:extLst>
              </p14:cNvPr>
              <p14:cNvContentPartPr/>
              <p14:nvPr/>
            </p14:nvContentPartPr>
            <p14:xfrm>
              <a:off x="2526581" y="5152172"/>
              <a:ext cx="138240" cy="16200"/>
            </p14:xfrm>
          </p:contentPart>
        </mc:Choice>
        <mc:Fallback>
          <p:pic>
            <p:nvPicPr>
              <p:cNvPr id="138" name="Ink 137">
                <a:extLst>
                  <a:ext uri="{FF2B5EF4-FFF2-40B4-BE49-F238E27FC236}">
                    <a16:creationId xmlns:a16="http://schemas.microsoft.com/office/drawing/2014/main" id="{9856E60C-4F9D-F569-BCA4-223C9D8520CC}"/>
                  </a:ext>
                </a:extLst>
              </p:cNvPr>
              <p:cNvPicPr/>
              <p:nvPr/>
            </p:nvPicPr>
            <p:blipFill>
              <a:blip r:embed="rId69"/>
              <a:stretch>
                <a:fillRect/>
              </a:stretch>
            </p:blipFill>
            <p:spPr>
              <a:xfrm>
                <a:off x="2511461" y="5136692"/>
                <a:ext cx="168480" cy="468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70">
            <p14:nvContentPartPr>
              <p14:cNvPr id="139" name="Ink 138">
                <a:extLst>
                  <a:ext uri="{FF2B5EF4-FFF2-40B4-BE49-F238E27FC236}">
                    <a16:creationId xmlns:a16="http://schemas.microsoft.com/office/drawing/2014/main" id="{A6C21761-A6D1-616F-2411-C70393E0E8B5}"/>
                  </a:ext>
                </a:extLst>
              </p14:cNvPr>
              <p14:cNvContentPartPr/>
              <p14:nvPr/>
            </p14:nvContentPartPr>
            <p14:xfrm>
              <a:off x="3230741" y="4962092"/>
              <a:ext cx="126000" cy="186120"/>
            </p14:xfrm>
          </p:contentPart>
        </mc:Choice>
        <mc:Fallback>
          <p:pic>
            <p:nvPicPr>
              <p:cNvPr id="139" name="Ink 138">
                <a:extLst>
                  <a:ext uri="{FF2B5EF4-FFF2-40B4-BE49-F238E27FC236}">
                    <a16:creationId xmlns:a16="http://schemas.microsoft.com/office/drawing/2014/main" id="{A6C21761-A6D1-616F-2411-C70393E0E8B5}"/>
                  </a:ext>
                </a:extLst>
              </p:cNvPr>
              <p:cNvPicPr/>
              <p:nvPr/>
            </p:nvPicPr>
            <p:blipFill>
              <a:blip r:embed="rId71"/>
              <a:stretch>
                <a:fillRect/>
              </a:stretch>
            </p:blipFill>
            <p:spPr>
              <a:xfrm>
                <a:off x="3215261" y="4946612"/>
                <a:ext cx="156600" cy="2163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72">
            <p14:nvContentPartPr>
              <p14:cNvPr id="140" name="Ink 139">
                <a:extLst>
                  <a:ext uri="{FF2B5EF4-FFF2-40B4-BE49-F238E27FC236}">
                    <a16:creationId xmlns:a16="http://schemas.microsoft.com/office/drawing/2014/main" id="{F0039A06-4809-3FED-94F4-8E3B1DC57A35}"/>
                  </a:ext>
                </a:extLst>
              </p14:cNvPr>
              <p14:cNvContentPartPr/>
              <p14:nvPr/>
            </p14:nvContentPartPr>
            <p14:xfrm>
              <a:off x="3435581" y="4950932"/>
              <a:ext cx="87840" cy="227880"/>
            </p14:xfrm>
          </p:contentPart>
        </mc:Choice>
        <mc:Fallback>
          <p:pic>
            <p:nvPicPr>
              <p:cNvPr id="140" name="Ink 139">
                <a:extLst>
                  <a:ext uri="{FF2B5EF4-FFF2-40B4-BE49-F238E27FC236}">
                    <a16:creationId xmlns:a16="http://schemas.microsoft.com/office/drawing/2014/main" id="{F0039A06-4809-3FED-94F4-8E3B1DC57A35}"/>
                  </a:ext>
                </a:extLst>
              </p:cNvPr>
              <p:cNvPicPr/>
              <p:nvPr/>
            </p:nvPicPr>
            <p:blipFill>
              <a:blip r:embed="rId73"/>
              <a:stretch>
                <a:fillRect/>
              </a:stretch>
            </p:blipFill>
            <p:spPr>
              <a:xfrm>
                <a:off x="3420461" y="4935812"/>
                <a:ext cx="118080" cy="258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74">
            <p14:nvContentPartPr>
              <p14:cNvPr id="141" name="Ink 140">
                <a:extLst>
                  <a:ext uri="{FF2B5EF4-FFF2-40B4-BE49-F238E27FC236}">
                    <a16:creationId xmlns:a16="http://schemas.microsoft.com/office/drawing/2014/main" id="{DCEDD30F-1AB6-FCE7-ADAD-1A263EBCAD3F}"/>
                  </a:ext>
                </a:extLst>
              </p14:cNvPr>
              <p14:cNvContentPartPr/>
              <p14:nvPr/>
            </p14:nvContentPartPr>
            <p14:xfrm>
              <a:off x="3651581" y="4965692"/>
              <a:ext cx="149760" cy="192960"/>
            </p14:xfrm>
          </p:contentPart>
        </mc:Choice>
        <mc:Fallback>
          <p:pic>
            <p:nvPicPr>
              <p:cNvPr id="141" name="Ink 140">
                <a:extLst>
                  <a:ext uri="{FF2B5EF4-FFF2-40B4-BE49-F238E27FC236}">
                    <a16:creationId xmlns:a16="http://schemas.microsoft.com/office/drawing/2014/main" id="{DCEDD30F-1AB6-FCE7-ADAD-1A263EBCAD3F}"/>
                  </a:ext>
                </a:extLst>
              </p:cNvPr>
              <p:cNvPicPr/>
              <p:nvPr/>
            </p:nvPicPr>
            <p:blipFill>
              <a:blip r:embed="rId75"/>
              <a:stretch>
                <a:fillRect/>
              </a:stretch>
            </p:blipFill>
            <p:spPr>
              <a:xfrm>
                <a:off x="3636101" y="4950212"/>
                <a:ext cx="180000" cy="2232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76">
            <p14:nvContentPartPr>
              <p14:cNvPr id="142" name="Ink 141">
                <a:extLst>
                  <a:ext uri="{FF2B5EF4-FFF2-40B4-BE49-F238E27FC236}">
                    <a16:creationId xmlns:a16="http://schemas.microsoft.com/office/drawing/2014/main" id="{4A15EA56-F0F5-5A82-4A3F-F44505F20703}"/>
                  </a:ext>
                </a:extLst>
              </p14:cNvPr>
              <p14:cNvContentPartPr/>
              <p14:nvPr/>
            </p14:nvContentPartPr>
            <p14:xfrm>
              <a:off x="3707021" y="5069732"/>
              <a:ext cx="86760" cy="64800"/>
            </p14:xfrm>
          </p:contentPart>
        </mc:Choice>
        <mc:Fallback>
          <p:pic>
            <p:nvPicPr>
              <p:cNvPr id="142" name="Ink 141">
                <a:extLst>
                  <a:ext uri="{FF2B5EF4-FFF2-40B4-BE49-F238E27FC236}">
                    <a16:creationId xmlns:a16="http://schemas.microsoft.com/office/drawing/2014/main" id="{4A15EA56-F0F5-5A82-4A3F-F44505F20703}"/>
                  </a:ext>
                </a:extLst>
              </p:cNvPr>
              <p:cNvPicPr/>
              <p:nvPr/>
            </p:nvPicPr>
            <p:blipFill>
              <a:blip r:embed="rId77"/>
              <a:stretch>
                <a:fillRect/>
              </a:stretch>
            </p:blipFill>
            <p:spPr>
              <a:xfrm>
                <a:off x="3691901" y="5054612"/>
                <a:ext cx="117000" cy="954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78">
            <p14:nvContentPartPr>
              <p14:cNvPr id="143" name="Ink 142">
                <a:extLst>
                  <a:ext uri="{FF2B5EF4-FFF2-40B4-BE49-F238E27FC236}">
                    <a16:creationId xmlns:a16="http://schemas.microsoft.com/office/drawing/2014/main" id="{E9A8EA5E-5C93-4CA5-BA0A-4C16086E5680}"/>
                  </a:ext>
                </a:extLst>
              </p14:cNvPr>
              <p14:cNvContentPartPr/>
              <p14:nvPr/>
            </p14:nvContentPartPr>
            <p14:xfrm>
              <a:off x="3919421" y="4963892"/>
              <a:ext cx="138960" cy="192960"/>
            </p14:xfrm>
          </p:contentPart>
        </mc:Choice>
        <mc:Fallback>
          <p:pic>
            <p:nvPicPr>
              <p:cNvPr id="143" name="Ink 142">
                <a:extLst>
                  <a:ext uri="{FF2B5EF4-FFF2-40B4-BE49-F238E27FC236}">
                    <a16:creationId xmlns:a16="http://schemas.microsoft.com/office/drawing/2014/main" id="{E9A8EA5E-5C93-4CA5-BA0A-4C16086E5680}"/>
                  </a:ext>
                </a:extLst>
              </p:cNvPr>
              <p:cNvPicPr/>
              <p:nvPr/>
            </p:nvPicPr>
            <p:blipFill>
              <a:blip r:embed="rId79"/>
              <a:stretch>
                <a:fillRect/>
              </a:stretch>
            </p:blipFill>
            <p:spPr>
              <a:xfrm>
                <a:off x="3904301" y="4948772"/>
                <a:ext cx="169560" cy="2235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80">
            <p14:nvContentPartPr>
              <p14:cNvPr id="144" name="Ink 143">
                <a:extLst>
                  <a:ext uri="{FF2B5EF4-FFF2-40B4-BE49-F238E27FC236}">
                    <a16:creationId xmlns:a16="http://schemas.microsoft.com/office/drawing/2014/main" id="{E65CD072-760C-BFD6-9027-08942E19C891}"/>
                  </a:ext>
                </a:extLst>
              </p14:cNvPr>
              <p14:cNvContentPartPr/>
              <p14:nvPr/>
            </p14:nvContentPartPr>
            <p14:xfrm>
              <a:off x="4160981" y="4943372"/>
              <a:ext cx="149400" cy="170640"/>
            </p14:xfrm>
          </p:contentPart>
        </mc:Choice>
        <mc:Fallback>
          <p:pic>
            <p:nvPicPr>
              <p:cNvPr id="144" name="Ink 143">
                <a:extLst>
                  <a:ext uri="{FF2B5EF4-FFF2-40B4-BE49-F238E27FC236}">
                    <a16:creationId xmlns:a16="http://schemas.microsoft.com/office/drawing/2014/main" id="{E65CD072-760C-BFD6-9027-08942E19C891}"/>
                  </a:ext>
                </a:extLst>
              </p:cNvPr>
              <p:cNvPicPr/>
              <p:nvPr/>
            </p:nvPicPr>
            <p:blipFill>
              <a:blip r:embed="rId81"/>
              <a:stretch>
                <a:fillRect/>
              </a:stretch>
            </p:blipFill>
            <p:spPr>
              <a:xfrm>
                <a:off x="4145501" y="4927892"/>
                <a:ext cx="179640" cy="2008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82">
            <p14:nvContentPartPr>
              <p14:cNvPr id="145" name="Ink 144">
                <a:extLst>
                  <a:ext uri="{FF2B5EF4-FFF2-40B4-BE49-F238E27FC236}">
                    <a16:creationId xmlns:a16="http://schemas.microsoft.com/office/drawing/2014/main" id="{CA8C8D90-6F64-6E1A-BC5A-C236CD8684B2}"/>
                  </a:ext>
                </a:extLst>
              </p14:cNvPr>
              <p14:cNvContentPartPr/>
              <p14:nvPr/>
            </p14:nvContentPartPr>
            <p14:xfrm>
              <a:off x="4365101" y="4910612"/>
              <a:ext cx="85680" cy="251640"/>
            </p14:xfrm>
          </p:contentPart>
        </mc:Choice>
        <mc:Fallback>
          <p:pic>
            <p:nvPicPr>
              <p:cNvPr id="145" name="Ink 144">
                <a:extLst>
                  <a:ext uri="{FF2B5EF4-FFF2-40B4-BE49-F238E27FC236}">
                    <a16:creationId xmlns:a16="http://schemas.microsoft.com/office/drawing/2014/main" id="{CA8C8D90-6F64-6E1A-BC5A-C236CD8684B2}"/>
                  </a:ext>
                </a:extLst>
              </p:cNvPr>
              <p:cNvPicPr/>
              <p:nvPr/>
            </p:nvPicPr>
            <p:blipFill>
              <a:blip r:embed="rId83"/>
              <a:stretch>
                <a:fillRect/>
              </a:stretch>
            </p:blipFill>
            <p:spPr>
              <a:xfrm>
                <a:off x="4349621" y="4895132"/>
                <a:ext cx="116280" cy="2822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84">
            <p14:nvContentPartPr>
              <p14:cNvPr id="146" name="Ink 145">
                <a:extLst>
                  <a:ext uri="{FF2B5EF4-FFF2-40B4-BE49-F238E27FC236}">
                    <a16:creationId xmlns:a16="http://schemas.microsoft.com/office/drawing/2014/main" id="{DD78DAD4-F0E9-CCE1-9EBC-80F7CEB6F602}"/>
                  </a:ext>
                </a:extLst>
              </p14:cNvPr>
              <p14:cNvContentPartPr/>
              <p14:nvPr/>
            </p14:nvContentPartPr>
            <p14:xfrm>
              <a:off x="3267821" y="5307692"/>
              <a:ext cx="1253160" cy="202680"/>
            </p14:xfrm>
          </p:contentPart>
        </mc:Choice>
        <mc:Fallback>
          <p:pic>
            <p:nvPicPr>
              <p:cNvPr id="146" name="Ink 145">
                <a:extLst>
                  <a:ext uri="{FF2B5EF4-FFF2-40B4-BE49-F238E27FC236}">
                    <a16:creationId xmlns:a16="http://schemas.microsoft.com/office/drawing/2014/main" id="{DD78DAD4-F0E9-CCE1-9EBC-80F7CEB6F602}"/>
                  </a:ext>
                </a:extLst>
              </p:cNvPr>
              <p:cNvPicPr/>
              <p:nvPr/>
            </p:nvPicPr>
            <p:blipFill>
              <a:blip r:embed="rId85"/>
              <a:stretch>
                <a:fillRect/>
              </a:stretch>
            </p:blipFill>
            <p:spPr>
              <a:xfrm>
                <a:off x="3252701" y="5292572"/>
                <a:ext cx="1283760" cy="2329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86">
            <p14:nvContentPartPr>
              <p14:cNvPr id="147" name="Ink 146">
                <a:extLst>
                  <a:ext uri="{FF2B5EF4-FFF2-40B4-BE49-F238E27FC236}">
                    <a16:creationId xmlns:a16="http://schemas.microsoft.com/office/drawing/2014/main" id="{B7C2D736-C7F5-758F-E91C-12B86BB9D379}"/>
                  </a:ext>
                </a:extLst>
              </p14:cNvPr>
              <p14:cNvContentPartPr/>
              <p14:nvPr/>
            </p14:nvContentPartPr>
            <p14:xfrm>
              <a:off x="3659501" y="5100692"/>
              <a:ext cx="36000" cy="149040"/>
            </p14:xfrm>
          </p:contentPart>
        </mc:Choice>
        <mc:Fallback>
          <p:pic>
            <p:nvPicPr>
              <p:cNvPr id="147" name="Ink 146">
                <a:extLst>
                  <a:ext uri="{FF2B5EF4-FFF2-40B4-BE49-F238E27FC236}">
                    <a16:creationId xmlns:a16="http://schemas.microsoft.com/office/drawing/2014/main" id="{B7C2D736-C7F5-758F-E91C-12B86BB9D379}"/>
                  </a:ext>
                </a:extLst>
              </p:cNvPr>
              <p:cNvPicPr/>
              <p:nvPr/>
            </p:nvPicPr>
            <p:blipFill>
              <a:blip r:embed="rId87"/>
              <a:stretch>
                <a:fillRect/>
              </a:stretch>
            </p:blipFill>
            <p:spPr>
              <a:xfrm>
                <a:off x="3644021" y="5085572"/>
                <a:ext cx="66240" cy="1796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88">
            <p14:nvContentPartPr>
              <p14:cNvPr id="148" name="Ink 147">
                <a:extLst>
                  <a:ext uri="{FF2B5EF4-FFF2-40B4-BE49-F238E27FC236}">
                    <a16:creationId xmlns:a16="http://schemas.microsoft.com/office/drawing/2014/main" id="{A22F0965-5FEE-4862-67C7-E45B484D239F}"/>
                  </a:ext>
                </a:extLst>
              </p14:cNvPr>
              <p14:cNvContentPartPr/>
              <p14:nvPr/>
            </p14:nvContentPartPr>
            <p14:xfrm>
              <a:off x="3740501" y="5499932"/>
              <a:ext cx="108360" cy="192240"/>
            </p14:xfrm>
          </p:contentPart>
        </mc:Choice>
        <mc:Fallback>
          <p:pic>
            <p:nvPicPr>
              <p:cNvPr id="148" name="Ink 147">
                <a:extLst>
                  <a:ext uri="{FF2B5EF4-FFF2-40B4-BE49-F238E27FC236}">
                    <a16:creationId xmlns:a16="http://schemas.microsoft.com/office/drawing/2014/main" id="{A22F0965-5FEE-4862-67C7-E45B484D239F}"/>
                  </a:ext>
                </a:extLst>
              </p:cNvPr>
              <p:cNvPicPr/>
              <p:nvPr/>
            </p:nvPicPr>
            <p:blipFill>
              <a:blip r:embed="rId89"/>
              <a:stretch>
                <a:fillRect/>
              </a:stretch>
            </p:blipFill>
            <p:spPr>
              <a:xfrm>
                <a:off x="3725381" y="5484812"/>
                <a:ext cx="138960" cy="2228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90">
            <p14:nvContentPartPr>
              <p14:cNvPr id="149" name="Ink 148">
                <a:extLst>
                  <a:ext uri="{FF2B5EF4-FFF2-40B4-BE49-F238E27FC236}">
                    <a16:creationId xmlns:a16="http://schemas.microsoft.com/office/drawing/2014/main" id="{9FA61CA0-E107-0DEF-4939-A7A5CE72B196}"/>
                  </a:ext>
                </a:extLst>
              </p14:cNvPr>
              <p14:cNvContentPartPr/>
              <p14:nvPr/>
            </p14:nvContentPartPr>
            <p14:xfrm>
              <a:off x="3947501" y="5494532"/>
              <a:ext cx="50400" cy="170640"/>
            </p14:xfrm>
          </p:contentPart>
        </mc:Choice>
        <mc:Fallback>
          <p:pic>
            <p:nvPicPr>
              <p:cNvPr id="149" name="Ink 148">
                <a:extLst>
                  <a:ext uri="{FF2B5EF4-FFF2-40B4-BE49-F238E27FC236}">
                    <a16:creationId xmlns:a16="http://schemas.microsoft.com/office/drawing/2014/main" id="{9FA61CA0-E107-0DEF-4939-A7A5CE72B196}"/>
                  </a:ext>
                </a:extLst>
              </p:cNvPr>
              <p:cNvPicPr/>
              <p:nvPr/>
            </p:nvPicPr>
            <p:blipFill>
              <a:blip r:embed="rId91"/>
              <a:stretch>
                <a:fillRect/>
              </a:stretch>
            </p:blipFill>
            <p:spPr>
              <a:xfrm>
                <a:off x="3932381" y="5479052"/>
                <a:ext cx="81000" cy="2012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92">
            <p14:nvContentPartPr>
              <p14:cNvPr id="150" name="Ink 149">
                <a:extLst>
                  <a:ext uri="{FF2B5EF4-FFF2-40B4-BE49-F238E27FC236}">
                    <a16:creationId xmlns:a16="http://schemas.microsoft.com/office/drawing/2014/main" id="{4CE64E20-CA9F-5F37-4CB6-EC3CF27475C7}"/>
                  </a:ext>
                </a:extLst>
              </p14:cNvPr>
              <p14:cNvContentPartPr/>
              <p14:nvPr/>
            </p14:nvContentPartPr>
            <p14:xfrm>
              <a:off x="4082141" y="5512892"/>
              <a:ext cx="170640" cy="186120"/>
            </p14:xfrm>
          </p:contentPart>
        </mc:Choice>
        <mc:Fallback>
          <p:pic>
            <p:nvPicPr>
              <p:cNvPr id="150" name="Ink 149">
                <a:extLst>
                  <a:ext uri="{FF2B5EF4-FFF2-40B4-BE49-F238E27FC236}">
                    <a16:creationId xmlns:a16="http://schemas.microsoft.com/office/drawing/2014/main" id="{4CE64E20-CA9F-5F37-4CB6-EC3CF27475C7}"/>
                  </a:ext>
                </a:extLst>
              </p:cNvPr>
              <p:cNvPicPr/>
              <p:nvPr/>
            </p:nvPicPr>
            <p:blipFill>
              <a:blip r:embed="rId93"/>
              <a:stretch>
                <a:fillRect/>
              </a:stretch>
            </p:blipFill>
            <p:spPr>
              <a:xfrm>
                <a:off x="4067021" y="5497772"/>
                <a:ext cx="201240" cy="216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94">
            <p14:nvContentPartPr>
              <p14:cNvPr id="151" name="Ink 150">
                <a:extLst>
                  <a:ext uri="{FF2B5EF4-FFF2-40B4-BE49-F238E27FC236}">
                    <a16:creationId xmlns:a16="http://schemas.microsoft.com/office/drawing/2014/main" id="{9FF8FD36-5853-6415-8496-9E34AF225316}"/>
                  </a:ext>
                </a:extLst>
              </p14:cNvPr>
              <p14:cNvContentPartPr/>
              <p14:nvPr/>
            </p14:nvContentPartPr>
            <p14:xfrm>
              <a:off x="4157021" y="5618012"/>
              <a:ext cx="73440" cy="36000"/>
            </p14:xfrm>
          </p:contentPart>
        </mc:Choice>
        <mc:Fallback>
          <p:pic>
            <p:nvPicPr>
              <p:cNvPr id="151" name="Ink 150">
                <a:extLst>
                  <a:ext uri="{FF2B5EF4-FFF2-40B4-BE49-F238E27FC236}">
                    <a16:creationId xmlns:a16="http://schemas.microsoft.com/office/drawing/2014/main" id="{9FF8FD36-5853-6415-8496-9E34AF225316}"/>
                  </a:ext>
                </a:extLst>
              </p:cNvPr>
              <p:cNvPicPr/>
              <p:nvPr/>
            </p:nvPicPr>
            <p:blipFill>
              <a:blip r:embed="rId95"/>
              <a:stretch>
                <a:fillRect/>
              </a:stretch>
            </p:blipFill>
            <p:spPr>
              <a:xfrm>
                <a:off x="4141901" y="5602892"/>
                <a:ext cx="103680" cy="66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96">
            <p14:nvContentPartPr>
              <p14:cNvPr id="152" name="Ink 151">
                <a:extLst>
                  <a:ext uri="{FF2B5EF4-FFF2-40B4-BE49-F238E27FC236}">
                    <a16:creationId xmlns:a16="http://schemas.microsoft.com/office/drawing/2014/main" id="{AFD9441B-8FF2-2450-1468-02395E89B211}"/>
                  </a:ext>
                </a:extLst>
              </p14:cNvPr>
              <p14:cNvContentPartPr/>
              <p14:nvPr/>
            </p14:nvContentPartPr>
            <p14:xfrm>
              <a:off x="4381661" y="5495612"/>
              <a:ext cx="103320" cy="272520"/>
            </p14:xfrm>
          </p:contentPart>
        </mc:Choice>
        <mc:Fallback>
          <p:pic>
            <p:nvPicPr>
              <p:cNvPr id="152" name="Ink 151">
                <a:extLst>
                  <a:ext uri="{FF2B5EF4-FFF2-40B4-BE49-F238E27FC236}">
                    <a16:creationId xmlns:a16="http://schemas.microsoft.com/office/drawing/2014/main" id="{AFD9441B-8FF2-2450-1468-02395E89B211}"/>
                  </a:ext>
                </a:extLst>
              </p:cNvPr>
              <p:cNvPicPr/>
              <p:nvPr/>
            </p:nvPicPr>
            <p:blipFill>
              <a:blip r:embed="rId97"/>
              <a:stretch>
                <a:fillRect/>
              </a:stretch>
            </p:blipFill>
            <p:spPr>
              <a:xfrm>
                <a:off x="4366181" y="5480492"/>
                <a:ext cx="133920" cy="3027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98">
            <p14:nvContentPartPr>
              <p14:cNvPr id="153" name="Ink 152">
                <a:extLst>
                  <a:ext uri="{FF2B5EF4-FFF2-40B4-BE49-F238E27FC236}">
                    <a16:creationId xmlns:a16="http://schemas.microsoft.com/office/drawing/2014/main" id="{2F40E9A5-FD66-387D-7DD8-8D020EB8D8CF}"/>
                  </a:ext>
                </a:extLst>
              </p14:cNvPr>
              <p14:cNvContentPartPr/>
              <p14:nvPr/>
            </p14:nvContentPartPr>
            <p14:xfrm>
              <a:off x="4662821" y="5077292"/>
              <a:ext cx="341280" cy="137880"/>
            </p14:xfrm>
          </p:contentPart>
        </mc:Choice>
        <mc:Fallback>
          <p:pic>
            <p:nvPicPr>
              <p:cNvPr id="153" name="Ink 152">
                <a:extLst>
                  <a:ext uri="{FF2B5EF4-FFF2-40B4-BE49-F238E27FC236}">
                    <a16:creationId xmlns:a16="http://schemas.microsoft.com/office/drawing/2014/main" id="{2F40E9A5-FD66-387D-7DD8-8D020EB8D8CF}"/>
                  </a:ext>
                </a:extLst>
              </p:cNvPr>
              <p:cNvPicPr/>
              <p:nvPr/>
            </p:nvPicPr>
            <p:blipFill>
              <a:blip r:embed="rId99"/>
              <a:stretch>
                <a:fillRect/>
              </a:stretch>
            </p:blipFill>
            <p:spPr>
              <a:xfrm>
                <a:off x="4647701" y="5061812"/>
                <a:ext cx="371880" cy="1684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00">
            <p14:nvContentPartPr>
              <p14:cNvPr id="154" name="Ink 153">
                <a:extLst>
                  <a:ext uri="{FF2B5EF4-FFF2-40B4-BE49-F238E27FC236}">
                    <a16:creationId xmlns:a16="http://schemas.microsoft.com/office/drawing/2014/main" id="{86DA3ADD-6F31-C681-1481-32D002505457}"/>
                  </a:ext>
                </a:extLst>
              </p14:cNvPr>
              <p14:cNvContentPartPr/>
              <p14:nvPr/>
            </p14:nvContentPartPr>
            <p14:xfrm>
              <a:off x="5141261" y="5070452"/>
              <a:ext cx="52560" cy="154440"/>
            </p14:xfrm>
          </p:contentPart>
        </mc:Choice>
        <mc:Fallback>
          <p:pic>
            <p:nvPicPr>
              <p:cNvPr id="154" name="Ink 153">
                <a:extLst>
                  <a:ext uri="{FF2B5EF4-FFF2-40B4-BE49-F238E27FC236}">
                    <a16:creationId xmlns:a16="http://schemas.microsoft.com/office/drawing/2014/main" id="{86DA3ADD-6F31-C681-1481-32D002505457}"/>
                  </a:ext>
                </a:extLst>
              </p:cNvPr>
              <p:cNvPicPr/>
              <p:nvPr/>
            </p:nvPicPr>
            <p:blipFill>
              <a:blip r:embed="rId101"/>
              <a:stretch>
                <a:fillRect/>
              </a:stretch>
            </p:blipFill>
            <p:spPr>
              <a:xfrm>
                <a:off x="5125781" y="5054972"/>
                <a:ext cx="83160" cy="1850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02">
            <p14:nvContentPartPr>
              <p14:cNvPr id="155" name="Ink 154">
                <a:extLst>
                  <a:ext uri="{FF2B5EF4-FFF2-40B4-BE49-F238E27FC236}">
                    <a16:creationId xmlns:a16="http://schemas.microsoft.com/office/drawing/2014/main" id="{9FDFF8FE-C7FF-24B4-6CA8-086F17B8548B}"/>
                  </a:ext>
                </a:extLst>
              </p14:cNvPr>
              <p14:cNvContentPartPr/>
              <p14:nvPr/>
            </p14:nvContentPartPr>
            <p14:xfrm>
              <a:off x="5258981" y="5071172"/>
              <a:ext cx="37440" cy="146520"/>
            </p14:xfrm>
          </p:contentPart>
        </mc:Choice>
        <mc:Fallback>
          <p:pic>
            <p:nvPicPr>
              <p:cNvPr id="155" name="Ink 154">
                <a:extLst>
                  <a:ext uri="{FF2B5EF4-FFF2-40B4-BE49-F238E27FC236}">
                    <a16:creationId xmlns:a16="http://schemas.microsoft.com/office/drawing/2014/main" id="{9FDFF8FE-C7FF-24B4-6CA8-086F17B8548B}"/>
                  </a:ext>
                </a:extLst>
              </p:cNvPr>
              <p:cNvPicPr/>
              <p:nvPr/>
            </p:nvPicPr>
            <p:blipFill>
              <a:blip r:embed="rId103"/>
              <a:stretch>
                <a:fillRect/>
              </a:stretch>
            </p:blipFill>
            <p:spPr>
              <a:xfrm>
                <a:off x="5243861" y="5056052"/>
                <a:ext cx="68040" cy="177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04">
            <p14:nvContentPartPr>
              <p14:cNvPr id="156" name="Ink 155">
                <a:extLst>
                  <a:ext uri="{FF2B5EF4-FFF2-40B4-BE49-F238E27FC236}">
                    <a16:creationId xmlns:a16="http://schemas.microsoft.com/office/drawing/2014/main" id="{C2D3A614-41C4-F515-2C73-9E07A62D7494}"/>
                  </a:ext>
                </a:extLst>
              </p14:cNvPr>
              <p14:cNvContentPartPr/>
              <p14:nvPr/>
            </p14:nvContentPartPr>
            <p14:xfrm>
              <a:off x="5108141" y="4978652"/>
              <a:ext cx="294840" cy="333360"/>
            </p14:xfrm>
          </p:contentPart>
        </mc:Choice>
        <mc:Fallback>
          <p:pic>
            <p:nvPicPr>
              <p:cNvPr id="156" name="Ink 155">
                <a:extLst>
                  <a:ext uri="{FF2B5EF4-FFF2-40B4-BE49-F238E27FC236}">
                    <a16:creationId xmlns:a16="http://schemas.microsoft.com/office/drawing/2014/main" id="{C2D3A614-41C4-F515-2C73-9E07A62D7494}"/>
                  </a:ext>
                </a:extLst>
              </p:cNvPr>
              <p:cNvPicPr/>
              <p:nvPr/>
            </p:nvPicPr>
            <p:blipFill>
              <a:blip r:embed="rId105"/>
              <a:stretch>
                <a:fillRect/>
              </a:stretch>
            </p:blipFill>
            <p:spPr>
              <a:xfrm>
                <a:off x="5092661" y="4963532"/>
                <a:ext cx="325440" cy="3639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06">
            <p14:nvContentPartPr>
              <p14:cNvPr id="157" name="Ink 156">
                <a:extLst>
                  <a:ext uri="{FF2B5EF4-FFF2-40B4-BE49-F238E27FC236}">
                    <a16:creationId xmlns:a16="http://schemas.microsoft.com/office/drawing/2014/main" id="{A92F87A0-7319-0229-3FDB-CA240EA62A02}"/>
                  </a:ext>
                </a:extLst>
              </p14:cNvPr>
              <p14:cNvContentPartPr/>
              <p14:nvPr/>
            </p14:nvContentPartPr>
            <p14:xfrm>
              <a:off x="3386261" y="3821252"/>
              <a:ext cx="7560" cy="1080"/>
            </p14:xfrm>
          </p:contentPart>
        </mc:Choice>
        <mc:Fallback>
          <p:pic>
            <p:nvPicPr>
              <p:cNvPr id="157" name="Ink 156">
                <a:extLst>
                  <a:ext uri="{FF2B5EF4-FFF2-40B4-BE49-F238E27FC236}">
                    <a16:creationId xmlns:a16="http://schemas.microsoft.com/office/drawing/2014/main" id="{A92F87A0-7319-0229-3FDB-CA240EA62A02}"/>
                  </a:ext>
                </a:extLst>
              </p:cNvPr>
              <p:cNvPicPr/>
              <p:nvPr/>
            </p:nvPicPr>
            <p:blipFill>
              <a:blip r:embed="rId107"/>
              <a:stretch>
                <a:fillRect/>
              </a:stretch>
            </p:blipFill>
            <p:spPr>
              <a:xfrm>
                <a:off x="3370781" y="3805772"/>
                <a:ext cx="38160" cy="31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08">
            <p14:nvContentPartPr>
              <p14:cNvPr id="158" name="Ink 157">
                <a:extLst>
                  <a:ext uri="{FF2B5EF4-FFF2-40B4-BE49-F238E27FC236}">
                    <a16:creationId xmlns:a16="http://schemas.microsoft.com/office/drawing/2014/main" id="{C304473A-C989-767D-3508-4678848B61C8}"/>
                  </a:ext>
                </a:extLst>
              </p14:cNvPr>
              <p14:cNvContentPartPr/>
              <p14:nvPr/>
            </p14:nvContentPartPr>
            <p14:xfrm>
              <a:off x="3197261" y="3887852"/>
              <a:ext cx="89280" cy="413640"/>
            </p14:xfrm>
          </p:contentPart>
        </mc:Choice>
        <mc:Fallback>
          <p:pic>
            <p:nvPicPr>
              <p:cNvPr id="158" name="Ink 157">
                <a:extLst>
                  <a:ext uri="{FF2B5EF4-FFF2-40B4-BE49-F238E27FC236}">
                    <a16:creationId xmlns:a16="http://schemas.microsoft.com/office/drawing/2014/main" id="{C304473A-C989-767D-3508-4678848B61C8}"/>
                  </a:ext>
                </a:extLst>
              </p:cNvPr>
              <p:cNvPicPr/>
              <p:nvPr/>
            </p:nvPicPr>
            <p:blipFill>
              <a:blip r:embed="rId109"/>
              <a:stretch>
                <a:fillRect/>
              </a:stretch>
            </p:blipFill>
            <p:spPr>
              <a:xfrm>
                <a:off x="3182141" y="3872372"/>
                <a:ext cx="119880" cy="4438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10">
            <p14:nvContentPartPr>
              <p14:cNvPr id="159" name="Ink 158">
                <a:extLst>
                  <a:ext uri="{FF2B5EF4-FFF2-40B4-BE49-F238E27FC236}">
                    <a16:creationId xmlns:a16="http://schemas.microsoft.com/office/drawing/2014/main" id="{8F51DDB2-0CAB-7788-489A-DBFB311287EA}"/>
                  </a:ext>
                </a:extLst>
              </p14:cNvPr>
              <p14:cNvContentPartPr/>
              <p14:nvPr/>
            </p14:nvContentPartPr>
            <p14:xfrm>
              <a:off x="3153341" y="3673652"/>
              <a:ext cx="1270080" cy="674640"/>
            </p14:xfrm>
          </p:contentPart>
        </mc:Choice>
        <mc:Fallback>
          <p:pic>
            <p:nvPicPr>
              <p:cNvPr id="159" name="Ink 158">
                <a:extLst>
                  <a:ext uri="{FF2B5EF4-FFF2-40B4-BE49-F238E27FC236}">
                    <a16:creationId xmlns:a16="http://schemas.microsoft.com/office/drawing/2014/main" id="{8F51DDB2-0CAB-7788-489A-DBFB311287EA}"/>
                  </a:ext>
                </a:extLst>
              </p:cNvPr>
              <p:cNvPicPr/>
              <p:nvPr/>
            </p:nvPicPr>
            <p:blipFill>
              <a:blip r:embed="rId111"/>
              <a:stretch>
                <a:fillRect/>
              </a:stretch>
            </p:blipFill>
            <p:spPr>
              <a:xfrm>
                <a:off x="3138221" y="3658532"/>
                <a:ext cx="1300320" cy="7052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12">
            <p14:nvContentPartPr>
              <p14:cNvPr id="160" name="Ink 159">
                <a:extLst>
                  <a:ext uri="{FF2B5EF4-FFF2-40B4-BE49-F238E27FC236}">
                    <a16:creationId xmlns:a16="http://schemas.microsoft.com/office/drawing/2014/main" id="{95287730-C162-2A18-21B6-C596A94501E9}"/>
                  </a:ext>
                </a:extLst>
              </p14:cNvPr>
              <p14:cNvContentPartPr/>
              <p14:nvPr/>
            </p14:nvContentPartPr>
            <p14:xfrm>
              <a:off x="6247901" y="4048412"/>
              <a:ext cx="164880" cy="206280"/>
            </p14:xfrm>
          </p:contentPart>
        </mc:Choice>
        <mc:Fallback>
          <p:pic>
            <p:nvPicPr>
              <p:cNvPr id="160" name="Ink 159">
                <a:extLst>
                  <a:ext uri="{FF2B5EF4-FFF2-40B4-BE49-F238E27FC236}">
                    <a16:creationId xmlns:a16="http://schemas.microsoft.com/office/drawing/2014/main" id="{95287730-C162-2A18-21B6-C596A94501E9}"/>
                  </a:ext>
                </a:extLst>
              </p:cNvPr>
              <p:cNvPicPr/>
              <p:nvPr/>
            </p:nvPicPr>
            <p:blipFill>
              <a:blip r:embed="rId113"/>
              <a:stretch>
                <a:fillRect/>
              </a:stretch>
            </p:blipFill>
            <p:spPr>
              <a:xfrm>
                <a:off x="6232421" y="4033292"/>
                <a:ext cx="195120" cy="2365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14">
            <p14:nvContentPartPr>
              <p14:cNvPr id="161" name="Ink 160">
                <a:extLst>
                  <a:ext uri="{FF2B5EF4-FFF2-40B4-BE49-F238E27FC236}">
                    <a16:creationId xmlns:a16="http://schemas.microsoft.com/office/drawing/2014/main" id="{02EAE741-4C6C-7325-97C7-5ACA38A3E3B8}"/>
                  </a:ext>
                </a:extLst>
              </p14:cNvPr>
              <p14:cNvContentPartPr/>
              <p14:nvPr/>
            </p14:nvContentPartPr>
            <p14:xfrm>
              <a:off x="6462461" y="4012052"/>
              <a:ext cx="108360" cy="217440"/>
            </p14:xfrm>
          </p:contentPart>
        </mc:Choice>
        <mc:Fallback>
          <p:pic>
            <p:nvPicPr>
              <p:cNvPr id="161" name="Ink 160">
                <a:extLst>
                  <a:ext uri="{FF2B5EF4-FFF2-40B4-BE49-F238E27FC236}">
                    <a16:creationId xmlns:a16="http://schemas.microsoft.com/office/drawing/2014/main" id="{02EAE741-4C6C-7325-97C7-5ACA38A3E3B8}"/>
                  </a:ext>
                </a:extLst>
              </p:cNvPr>
              <p:cNvPicPr/>
              <p:nvPr/>
            </p:nvPicPr>
            <p:blipFill>
              <a:blip r:embed="rId115"/>
              <a:stretch>
                <a:fillRect/>
              </a:stretch>
            </p:blipFill>
            <p:spPr>
              <a:xfrm>
                <a:off x="6447341" y="3996932"/>
                <a:ext cx="138600" cy="2476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16">
            <p14:nvContentPartPr>
              <p14:cNvPr id="162" name="Ink 161">
                <a:extLst>
                  <a:ext uri="{FF2B5EF4-FFF2-40B4-BE49-F238E27FC236}">
                    <a16:creationId xmlns:a16="http://schemas.microsoft.com/office/drawing/2014/main" id="{E2F2F677-F17B-8734-5E9F-475C508F90F1}"/>
                  </a:ext>
                </a:extLst>
              </p14:cNvPr>
              <p14:cNvContentPartPr/>
              <p14:nvPr/>
            </p14:nvContentPartPr>
            <p14:xfrm>
              <a:off x="6629141" y="4029692"/>
              <a:ext cx="167400" cy="194040"/>
            </p14:xfrm>
          </p:contentPart>
        </mc:Choice>
        <mc:Fallback>
          <p:pic>
            <p:nvPicPr>
              <p:cNvPr id="162" name="Ink 161">
                <a:extLst>
                  <a:ext uri="{FF2B5EF4-FFF2-40B4-BE49-F238E27FC236}">
                    <a16:creationId xmlns:a16="http://schemas.microsoft.com/office/drawing/2014/main" id="{E2F2F677-F17B-8734-5E9F-475C508F90F1}"/>
                  </a:ext>
                </a:extLst>
              </p:cNvPr>
              <p:cNvPicPr/>
              <p:nvPr/>
            </p:nvPicPr>
            <p:blipFill>
              <a:blip r:embed="rId117"/>
              <a:stretch>
                <a:fillRect/>
              </a:stretch>
            </p:blipFill>
            <p:spPr>
              <a:xfrm>
                <a:off x="6614021" y="4014572"/>
                <a:ext cx="198000" cy="2246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18">
            <p14:nvContentPartPr>
              <p14:cNvPr id="163" name="Ink 162">
                <a:extLst>
                  <a:ext uri="{FF2B5EF4-FFF2-40B4-BE49-F238E27FC236}">
                    <a16:creationId xmlns:a16="http://schemas.microsoft.com/office/drawing/2014/main" id="{B3BC9171-AA50-3DEE-B55A-48780AB9A00A}"/>
                  </a:ext>
                </a:extLst>
              </p14:cNvPr>
              <p14:cNvContentPartPr/>
              <p14:nvPr/>
            </p14:nvContentPartPr>
            <p14:xfrm>
              <a:off x="6688181" y="4143452"/>
              <a:ext cx="115200" cy="58680"/>
            </p14:xfrm>
          </p:contentPart>
        </mc:Choice>
        <mc:Fallback>
          <p:pic>
            <p:nvPicPr>
              <p:cNvPr id="163" name="Ink 162">
                <a:extLst>
                  <a:ext uri="{FF2B5EF4-FFF2-40B4-BE49-F238E27FC236}">
                    <a16:creationId xmlns:a16="http://schemas.microsoft.com/office/drawing/2014/main" id="{B3BC9171-AA50-3DEE-B55A-48780AB9A00A}"/>
                  </a:ext>
                </a:extLst>
              </p:cNvPr>
              <p:cNvPicPr/>
              <p:nvPr/>
            </p:nvPicPr>
            <p:blipFill>
              <a:blip r:embed="rId119"/>
              <a:stretch>
                <a:fillRect/>
              </a:stretch>
            </p:blipFill>
            <p:spPr>
              <a:xfrm>
                <a:off x="6673061" y="4128332"/>
                <a:ext cx="145800" cy="889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20">
            <p14:nvContentPartPr>
              <p14:cNvPr id="164" name="Ink 163">
                <a:extLst>
                  <a:ext uri="{FF2B5EF4-FFF2-40B4-BE49-F238E27FC236}">
                    <a16:creationId xmlns:a16="http://schemas.microsoft.com/office/drawing/2014/main" id="{070B53E2-54A3-E508-F5B0-0CB973BC1A46}"/>
                  </a:ext>
                </a:extLst>
              </p14:cNvPr>
              <p14:cNvContentPartPr/>
              <p14:nvPr/>
            </p14:nvContentPartPr>
            <p14:xfrm>
              <a:off x="6917861" y="4017812"/>
              <a:ext cx="129600" cy="176760"/>
            </p14:xfrm>
          </p:contentPart>
        </mc:Choice>
        <mc:Fallback>
          <p:pic>
            <p:nvPicPr>
              <p:cNvPr id="164" name="Ink 163">
                <a:extLst>
                  <a:ext uri="{FF2B5EF4-FFF2-40B4-BE49-F238E27FC236}">
                    <a16:creationId xmlns:a16="http://schemas.microsoft.com/office/drawing/2014/main" id="{070B53E2-54A3-E508-F5B0-0CB973BC1A46}"/>
                  </a:ext>
                </a:extLst>
              </p:cNvPr>
              <p:cNvPicPr/>
              <p:nvPr/>
            </p:nvPicPr>
            <p:blipFill>
              <a:blip r:embed="rId121"/>
              <a:stretch>
                <a:fillRect/>
              </a:stretch>
            </p:blipFill>
            <p:spPr>
              <a:xfrm>
                <a:off x="6902381" y="4002692"/>
                <a:ext cx="160200" cy="207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22">
            <p14:nvContentPartPr>
              <p14:cNvPr id="165" name="Ink 164">
                <a:extLst>
                  <a:ext uri="{FF2B5EF4-FFF2-40B4-BE49-F238E27FC236}">
                    <a16:creationId xmlns:a16="http://schemas.microsoft.com/office/drawing/2014/main" id="{C536EB96-F80B-7C56-6919-0D4E1129A9A9}"/>
                  </a:ext>
                </a:extLst>
              </p14:cNvPr>
              <p14:cNvContentPartPr/>
              <p14:nvPr/>
            </p14:nvContentPartPr>
            <p14:xfrm>
              <a:off x="7133501" y="3977852"/>
              <a:ext cx="144720" cy="201960"/>
            </p14:xfrm>
          </p:contentPart>
        </mc:Choice>
        <mc:Fallback>
          <p:pic>
            <p:nvPicPr>
              <p:cNvPr id="165" name="Ink 164">
                <a:extLst>
                  <a:ext uri="{FF2B5EF4-FFF2-40B4-BE49-F238E27FC236}">
                    <a16:creationId xmlns:a16="http://schemas.microsoft.com/office/drawing/2014/main" id="{C536EB96-F80B-7C56-6919-0D4E1129A9A9}"/>
                  </a:ext>
                </a:extLst>
              </p:cNvPr>
              <p:cNvPicPr/>
              <p:nvPr/>
            </p:nvPicPr>
            <p:blipFill>
              <a:blip r:embed="rId123"/>
              <a:stretch>
                <a:fillRect/>
              </a:stretch>
            </p:blipFill>
            <p:spPr>
              <a:xfrm>
                <a:off x="7118021" y="3962732"/>
                <a:ext cx="175320" cy="2325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24">
            <p14:nvContentPartPr>
              <p14:cNvPr id="166" name="Ink 165">
                <a:extLst>
                  <a:ext uri="{FF2B5EF4-FFF2-40B4-BE49-F238E27FC236}">
                    <a16:creationId xmlns:a16="http://schemas.microsoft.com/office/drawing/2014/main" id="{66EA2EAD-D0D6-2C28-6480-5C1A2755CCFB}"/>
                  </a:ext>
                </a:extLst>
              </p14:cNvPr>
              <p14:cNvContentPartPr/>
              <p14:nvPr/>
            </p14:nvContentPartPr>
            <p14:xfrm>
              <a:off x="7309901" y="3975332"/>
              <a:ext cx="98640" cy="214920"/>
            </p14:xfrm>
          </p:contentPart>
        </mc:Choice>
        <mc:Fallback>
          <p:pic>
            <p:nvPicPr>
              <p:cNvPr id="166" name="Ink 165">
                <a:extLst>
                  <a:ext uri="{FF2B5EF4-FFF2-40B4-BE49-F238E27FC236}">
                    <a16:creationId xmlns:a16="http://schemas.microsoft.com/office/drawing/2014/main" id="{66EA2EAD-D0D6-2C28-6480-5C1A2755CCFB}"/>
                  </a:ext>
                </a:extLst>
              </p:cNvPr>
              <p:cNvPicPr/>
              <p:nvPr/>
            </p:nvPicPr>
            <p:blipFill>
              <a:blip r:embed="rId125"/>
              <a:stretch>
                <a:fillRect/>
              </a:stretch>
            </p:blipFill>
            <p:spPr>
              <a:xfrm>
                <a:off x="7294781" y="3959852"/>
                <a:ext cx="129240" cy="2455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26">
            <p14:nvContentPartPr>
              <p14:cNvPr id="167" name="Ink 166">
                <a:extLst>
                  <a:ext uri="{FF2B5EF4-FFF2-40B4-BE49-F238E27FC236}">
                    <a16:creationId xmlns:a16="http://schemas.microsoft.com/office/drawing/2014/main" id="{44F04EBB-8C72-48A2-0D3E-4AE8AA65A87D}"/>
                  </a:ext>
                </a:extLst>
              </p14:cNvPr>
              <p14:cNvContentPartPr/>
              <p14:nvPr/>
            </p14:nvContentPartPr>
            <p14:xfrm>
              <a:off x="7587101" y="3973172"/>
              <a:ext cx="77760" cy="10800"/>
            </p14:xfrm>
          </p:contentPart>
        </mc:Choice>
        <mc:Fallback>
          <p:pic>
            <p:nvPicPr>
              <p:cNvPr id="167" name="Ink 166">
                <a:extLst>
                  <a:ext uri="{FF2B5EF4-FFF2-40B4-BE49-F238E27FC236}">
                    <a16:creationId xmlns:a16="http://schemas.microsoft.com/office/drawing/2014/main" id="{44F04EBB-8C72-48A2-0D3E-4AE8AA65A87D}"/>
                  </a:ext>
                </a:extLst>
              </p:cNvPr>
              <p:cNvPicPr/>
              <p:nvPr/>
            </p:nvPicPr>
            <p:blipFill>
              <a:blip r:embed="rId127"/>
              <a:stretch>
                <a:fillRect/>
              </a:stretch>
            </p:blipFill>
            <p:spPr>
              <a:xfrm>
                <a:off x="7571981" y="3957692"/>
                <a:ext cx="108360" cy="414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28">
            <p14:nvContentPartPr>
              <p14:cNvPr id="168" name="Ink 167">
                <a:extLst>
                  <a:ext uri="{FF2B5EF4-FFF2-40B4-BE49-F238E27FC236}">
                    <a16:creationId xmlns:a16="http://schemas.microsoft.com/office/drawing/2014/main" id="{28368141-F63A-BA2E-10CF-7A6375422CFE}"/>
                  </a:ext>
                </a:extLst>
              </p14:cNvPr>
              <p14:cNvContentPartPr/>
              <p14:nvPr/>
            </p14:nvContentPartPr>
            <p14:xfrm>
              <a:off x="7574501" y="4068572"/>
              <a:ext cx="100440" cy="14400"/>
            </p14:xfrm>
          </p:contentPart>
        </mc:Choice>
        <mc:Fallback>
          <p:pic>
            <p:nvPicPr>
              <p:cNvPr id="168" name="Ink 167">
                <a:extLst>
                  <a:ext uri="{FF2B5EF4-FFF2-40B4-BE49-F238E27FC236}">
                    <a16:creationId xmlns:a16="http://schemas.microsoft.com/office/drawing/2014/main" id="{28368141-F63A-BA2E-10CF-7A6375422CFE}"/>
                  </a:ext>
                </a:extLst>
              </p:cNvPr>
              <p:cNvPicPr/>
              <p:nvPr/>
            </p:nvPicPr>
            <p:blipFill>
              <a:blip r:embed="rId129"/>
              <a:stretch>
                <a:fillRect/>
              </a:stretch>
            </p:blipFill>
            <p:spPr>
              <a:xfrm>
                <a:off x="7559381" y="4053452"/>
                <a:ext cx="130680" cy="446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30">
            <p14:nvContentPartPr>
              <p14:cNvPr id="169" name="Ink 168">
                <a:extLst>
                  <a:ext uri="{FF2B5EF4-FFF2-40B4-BE49-F238E27FC236}">
                    <a16:creationId xmlns:a16="http://schemas.microsoft.com/office/drawing/2014/main" id="{6DD844C6-1291-FA73-BFC3-7F5A55782A89}"/>
                  </a:ext>
                </a:extLst>
              </p14:cNvPr>
              <p14:cNvContentPartPr/>
              <p14:nvPr/>
            </p14:nvContentPartPr>
            <p14:xfrm>
              <a:off x="7868621" y="3915932"/>
              <a:ext cx="38520" cy="219960"/>
            </p14:xfrm>
          </p:contentPart>
        </mc:Choice>
        <mc:Fallback>
          <p:pic>
            <p:nvPicPr>
              <p:cNvPr id="169" name="Ink 168">
                <a:extLst>
                  <a:ext uri="{FF2B5EF4-FFF2-40B4-BE49-F238E27FC236}">
                    <a16:creationId xmlns:a16="http://schemas.microsoft.com/office/drawing/2014/main" id="{6DD844C6-1291-FA73-BFC3-7F5A55782A89}"/>
                  </a:ext>
                </a:extLst>
              </p:cNvPr>
              <p:cNvPicPr/>
              <p:nvPr/>
            </p:nvPicPr>
            <p:blipFill>
              <a:blip r:embed="rId131"/>
              <a:stretch>
                <a:fillRect/>
              </a:stretch>
            </p:blipFill>
            <p:spPr>
              <a:xfrm>
                <a:off x="7853501" y="3900812"/>
                <a:ext cx="69120" cy="2505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32">
            <p14:nvContentPartPr>
              <p14:cNvPr id="170" name="Ink 169">
                <a:extLst>
                  <a:ext uri="{FF2B5EF4-FFF2-40B4-BE49-F238E27FC236}">
                    <a16:creationId xmlns:a16="http://schemas.microsoft.com/office/drawing/2014/main" id="{2D11FB60-DEE8-13D9-EE4C-F333979F5188}"/>
                  </a:ext>
                </a:extLst>
              </p14:cNvPr>
              <p14:cNvContentPartPr/>
              <p14:nvPr/>
            </p14:nvContentPartPr>
            <p14:xfrm>
              <a:off x="7884461" y="3881012"/>
              <a:ext cx="122400" cy="159840"/>
            </p14:xfrm>
          </p:contentPart>
        </mc:Choice>
        <mc:Fallback>
          <p:pic>
            <p:nvPicPr>
              <p:cNvPr id="170" name="Ink 169">
                <a:extLst>
                  <a:ext uri="{FF2B5EF4-FFF2-40B4-BE49-F238E27FC236}">
                    <a16:creationId xmlns:a16="http://schemas.microsoft.com/office/drawing/2014/main" id="{2D11FB60-DEE8-13D9-EE4C-F333979F5188}"/>
                  </a:ext>
                </a:extLst>
              </p:cNvPr>
              <p:cNvPicPr/>
              <p:nvPr/>
            </p:nvPicPr>
            <p:blipFill>
              <a:blip r:embed="rId133"/>
              <a:stretch>
                <a:fillRect/>
              </a:stretch>
            </p:blipFill>
            <p:spPr>
              <a:xfrm>
                <a:off x="7868981" y="3865892"/>
                <a:ext cx="153000" cy="1904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34">
            <p14:nvContentPartPr>
              <p14:cNvPr id="171" name="Ink 170">
                <a:extLst>
                  <a:ext uri="{FF2B5EF4-FFF2-40B4-BE49-F238E27FC236}">
                    <a16:creationId xmlns:a16="http://schemas.microsoft.com/office/drawing/2014/main" id="{21D75BF4-449D-CD07-3122-7D5CCCEA2225}"/>
                  </a:ext>
                </a:extLst>
              </p14:cNvPr>
              <p14:cNvContentPartPr/>
              <p14:nvPr/>
            </p14:nvContentPartPr>
            <p14:xfrm>
              <a:off x="8078501" y="3892892"/>
              <a:ext cx="83160" cy="228240"/>
            </p14:xfrm>
          </p:contentPart>
        </mc:Choice>
        <mc:Fallback>
          <p:pic>
            <p:nvPicPr>
              <p:cNvPr id="171" name="Ink 170">
                <a:extLst>
                  <a:ext uri="{FF2B5EF4-FFF2-40B4-BE49-F238E27FC236}">
                    <a16:creationId xmlns:a16="http://schemas.microsoft.com/office/drawing/2014/main" id="{21D75BF4-449D-CD07-3122-7D5CCCEA2225}"/>
                  </a:ext>
                </a:extLst>
              </p:cNvPr>
              <p:cNvPicPr/>
              <p:nvPr/>
            </p:nvPicPr>
            <p:blipFill>
              <a:blip r:embed="rId135"/>
              <a:stretch>
                <a:fillRect/>
              </a:stretch>
            </p:blipFill>
            <p:spPr>
              <a:xfrm>
                <a:off x="8063381" y="3877772"/>
                <a:ext cx="113760" cy="2588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36">
            <p14:nvContentPartPr>
              <p14:cNvPr id="172" name="Ink 171">
                <a:extLst>
                  <a:ext uri="{FF2B5EF4-FFF2-40B4-BE49-F238E27FC236}">
                    <a16:creationId xmlns:a16="http://schemas.microsoft.com/office/drawing/2014/main" id="{698AE11E-E70B-154E-730A-5707D513B05D}"/>
                  </a:ext>
                </a:extLst>
              </p14:cNvPr>
              <p14:cNvContentPartPr/>
              <p14:nvPr/>
            </p14:nvContentPartPr>
            <p14:xfrm>
              <a:off x="8259581" y="3894692"/>
              <a:ext cx="157680" cy="200520"/>
            </p14:xfrm>
          </p:contentPart>
        </mc:Choice>
        <mc:Fallback>
          <p:pic>
            <p:nvPicPr>
              <p:cNvPr id="172" name="Ink 171">
                <a:extLst>
                  <a:ext uri="{FF2B5EF4-FFF2-40B4-BE49-F238E27FC236}">
                    <a16:creationId xmlns:a16="http://schemas.microsoft.com/office/drawing/2014/main" id="{698AE11E-E70B-154E-730A-5707D513B05D}"/>
                  </a:ext>
                </a:extLst>
              </p:cNvPr>
              <p:cNvPicPr/>
              <p:nvPr/>
            </p:nvPicPr>
            <p:blipFill>
              <a:blip r:embed="rId137"/>
              <a:stretch>
                <a:fillRect/>
              </a:stretch>
            </p:blipFill>
            <p:spPr>
              <a:xfrm>
                <a:off x="8244461" y="3879212"/>
                <a:ext cx="187920" cy="231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38">
            <p14:nvContentPartPr>
              <p14:cNvPr id="173" name="Ink 172">
                <a:extLst>
                  <a:ext uri="{FF2B5EF4-FFF2-40B4-BE49-F238E27FC236}">
                    <a16:creationId xmlns:a16="http://schemas.microsoft.com/office/drawing/2014/main" id="{61A96F29-8CBE-4379-458C-71BDB6771586}"/>
                  </a:ext>
                </a:extLst>
              </p14:cNvPr>
              <p14:cNvContentPartPr/>
              <p14:nvPr/>
            </p14:nvContentPartPr>
            <p14:xfrm>
              <a:off x="8300981" y="4003772"/>
              <a:ext cx="66600" cy="39600"/>
            </p14:xfrm>
          </p:contentPart>
        </mc:Choice>
        <mc:Fallback>
          <p:pic>
            <p:nvPicPr>
              <p:cNvPr id="173" name="Ink 172">
                <a:extLst>
                  <a:ext uri="{FF2B5EF4-FFF2-40B4-BE49-F238E27FC236}">
                    <a16:creationId xmlns:a16="http://schemas.microsoft.com/office/drawing/2014/main" id="{61A96F29-8CBE-4379-458C-71BDB6771586}"/>
                  </a:ext>
                </a:extLst>
              </p:cNvPr>
              <p:cNvPicPr/>
              <p:nvPr/>
            </p:nvPicPr>
            <p:blipFill>
              <a:blip r:embed="rId139"/>
              <a:stretch>
                <a:fillRect/>
              </a:stretch>
            </p:blipFill>
            <p:spPr>
              <a:xfrm>
                <a:off x="8285861" y="3988652"/>
                <a:ext cx="97200" cy="702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40">
            <p14:nvContentPartPr>
              <p14:cNvPr id="174" name="Ink 173">
                <a:extLst>
                  <a:ext uri="{FF2B5EF4-FFF2-40B4-BE49-F238E27FC236}">
                    <a16:creationId xmlns:a16="http://schemas.microsoft.com/office/drawing/2014/main" id="{E5D06B5F-E970-C0D0-BC32-C4B8911C7041}"/>
                  </a:ext>
                </a:extLst>
              </p14:cNvPr>
              <p14:cNvContentPartPr/>
              <p14:nvPr/>
            </p14:nvContentPartPr>
            <p14:xfrm>
              <a:off x="8471981" y="3864092"/>
              <a:ext cx="49320" cy="303840"/>
            </p14:xfrm>
          </p:contentPart>
        </mc:Choice>
        <mc:Fallback>
          <p:pic>
            <p:nvPicPr>
              <p:cNvPr id="174" name="Ink 173">
                <a:extLst>
                  <a:ext uri="{FF2B5EF4-FFF2-40B4-BE49-F238E27FC236}">
                    <a16:creationId xmlns:a16="http://schemas.microsoft.com/office/drawing/2014/main" id="{E5D06B5F-E970-C0D0-BC32-C4B8911C7041}"/>
                  </a:ext>
                </a:extLst>
              </p:cNvPr>
              <p:cNvPicPr/>
              <p:nvPr/>
            </p:nvPicPr>
            <p:blipFill>
              <a:blip r:embed="rId141"/>
              <a:stretch>
                <a:fillRect/>
              </a:stretch>
            </p:blipFill>
            <p:spPr>
              <a:xfrm>
                <a:off x="8456501" y="3848972"/>
                <a:ext cx="79560" cy="3344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42">
            <p14:nvContentPartPr>
              <p14:cNvPr id="175" name="Ink 174">
                <a:extLst>
                  <a:ext uri="{FF2B5EF4-FFF2-40B4-BE49-F238E27FC236}">
                    <a16:creationId xmlns:a16="http://schemas.microsoft.com/office/drawing/2014/main" id="{CAB6513E-CC31-7D58-6C09-CB1C07E1E1EE}"/>
                  </a:ext>
                </a:extLst>
              </p14:cNvPr>
              <p14:cNvContentPartPr/>
              <p14:nvPr/>
            </p14:nvContentPartPr>
            <p14:xfrm>
              <a:off x="8607701" y="3883892"/>
              <a:ext cx="142200" cy="193680"/>
            </p14:xfrm>
          </p:contentPart>
        </mc:Choice>
        <mc:Fallback>
          <p:pic>
            <p:nvPicPr>
              <p:cNvPr id="175" name="Ink 174">
                <a:extLst>
                  <a:ext uri="{FF2B5EF4-FFF2-40B4-BE49-F238E27FC236}">
                    <a16:creationId xmlns:a16="http://schemas.microsoft.com/office/drawing/2014/main" id="{CAB6513E-CC31-7D58-6C09-CB1C07E1E1EE}"/>
                  </a:ext>
                </a:extLst>
              </p:cNvPr>
              <p:cNvPicPr/>
              <p:nvPr/>
            </p:nvPicPr>
            <p:blipFill>
              <a:blip r:embed="rId143"/>
              <a:stretch>
                <a:fillRect/>
              </a:stretch>
            </p:blipFill>
            <p:spPr>
              <a:xfrm>
                <a:off x="8592221" y="3868772"/>
                <a:ext cx="172800" cy="2239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44">
            <p14:nvContentPartPr>
              <p14:cNvPr id="176" name="Ink 175">
                <a:extLst>
                  <a:ext uri="{FF2B5EF4-FFF2-40B4-BE49-F238E27FC236}">
                    <a16:creationId xmlns:a16="http://schemas.microsoft.com/office/drawing/2014/main" id="{4649AF5E-94B4-FD54-149B-CB5B974511F8}"/>
                  </a:ext>
                </a:extLst>
              </p14:cNvPr>
              <p14:cNvContentPartPr/>
              <p14:nvPr/>
            </p14:nvContentPartPr>
            <p14:xfrm>
              <a:off x="8829101" y="3878852"/>
              <a:ext cx="100440" cy="228960"/>
            </p14:xfrm>
          </p:contentPart>
        </mc:Choice>
        <mc:Fallback>
          <p:pic>
            <p:nvPicPr>
              <p:cNvPr id="176" name="Ink 175">
                <a:extLst>
                  <a:ext uri="{FF2B5EF4-FFF2-40B4-BE49-F238E27FC236}">
                    <a16:creationId xmlns:a16="http://schemas.microsoft.com/office/drawing/2014/main" id="{4649AF5E-94B4-FD54-149B-CB5B974511F8}"/>
                  </a:ext>
                </a:extLst>
              </p:cNvPr>
              <p:cNvPicPr/>
              <p:nvPr/>
            </p:nvPicPr>
            <p:blipFill>
              <a:blip r:embed="rId145"/>
              <a:stretch>
                <a:fillRect/>
              </a:stretch>
            </p:blipFill>
            <p:spPr>
              <a:xfrm>
                <a:off x="8813981" y="3863372"/>
                <a:ext cx="131040" cy="2595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46">
            <p14:nvContentPartPr>
              <p14:cNvPr id="177" name="Ink 176">
                <a:extLst>
                  <a:ext uri="{FF2B5EF4-FFF2-40B4-BE49-F238E27FC236}">
                    <a16:creationId xmlns:a16="http://schemas.microsoft.com/office/drawing/2014/main" id="{CFB82003-B08D-253F-1AFC-E077AD076FE5}"/>
                  </a:ext>
                </a:extLst>
              </p14:cNvPr>
              <p14:cNvContentPartPr/>
              <p14:nvPr/>
            </p14:nvContentPartPr>
            <p14:xfrm>
              <a:off x="9051941" y="3945092"/>
              <a:ext cx="360" cy="360"/>
            </p14:xfrm>
          </p:contentPart>
        </mc:Choice>
        <mc:Fallback>
          <p:pic>
            <p:nvPicPr>
              <p:cNvPr id="177" name="Ink 176">
                <a:extLst>
                  <a:ext uri="{FF2B5EF4-FFF2-40B4-BE49-F238E27FC236}">
                    <a16:creationId xmlns:a16="http://schemas.microsoft.com/office/drawing/2014/main" id="{CFB82003-B08D-253F-1AFC-E077AD076FE5}"/>
                  </a:ext>
                </a:extLst>
              </p:cNvPr>
              <p:cNvPicPr/>
              <p:nvPr/>
            </p:nvPicPr>
            <p:blipFill>
              <a:blip r:embed="rId147"/>
              <a:stretch>
                <a:fillRect/>
              </a:stretch>
            </p:blipFill>
            <p:spPr>
              <a:xfrm>
                <a:off x="9036821" y="3929972"/>
                <a:ext cx="30960" cy="309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48">
            <p14:nvContentPartPr>
              <p14:cNvPr id="178" name="Ink 177">
                <a:extLst>
                  <a:ext uri="{FF2B5EF4-FFF2-40B4-BE49-F238E27FC236}">
                    <a16:creationId xmlns:a16="http://schemas.microsoft.com/office/drawing/2014/main" id="{EBDAFC3C-67A3-E68C-ADC7-56D2F76E6CB7}"/>
                  </a:ext>
                </a:extLst>
              </p14:cNvPr>
              <p14:cNvContentPartPr/>
              <p14:nvPr/>
            </p14:nvContentPartPr>
            <p14:xfrm>
              <a:off x="9163901" y="3817292"/>
              <a:ext cx="125640" cy="221040"/>
            </p14:xfrm>
          </p:contentPart>
        </mc:Choice>
        <mc:Fallback>
          <p:pic>
            <p:nvPicPr>
              <p:cNvPr id="178" name="Ink 177">
                <a:extLst>
                  <a:ext uri="{FF2B5EF4-FFF2-40B4-BE49-F238E27FC236}">
                    <a16:creationId xmlns:a16="http://schemas.microsoft.com/office/drawing/2014/main" id="{EBDAFC3C-67A3-E68C-ADC7-56D2F76E6CB7}"/>
                  </a:ext>
                </a:extLst>
              </p:cNvPr>
              <p:cNvPicPr/>
              <p:nvPr/>
            </p:nvPicPr>
            <p:blipFill>
              <a:blip r:embed="rId149"/>
              <a:stretch>
                <a:fillRect/>
              </a:stretch>
            </p:blipFill>
            <p:spPr>
              <a:xfrm>
                <a:off x="9148781" y="3802172"/>
                <a:ext cx="156240" cy="2516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50">
            <p14:nvContentPartPr>
              <p14:cNvPr id="179" name="Ink 178">
                <a:extLst>
                  <a:ext uri="{FF2B5EF4-FFF2-40B4-BE49-F238E27FC236}">
                    <a16:creationId xmlns:a16="http://schemas.microsoft.com/office/drawing/2014/main" id="{A84FA9D8-E550-FC6A-D02B-E3354CAC7609}"/>
                  </a:ext>
                </a:extLst>
              </p14:cNvPr>
              <p14:cNvContentPartPr/>
              <p14:nvPr/>
            </p14:nvContentPartPr>
            <p14:xfrm>
              <a:off x="9335261" y="3838532"/>
              <a:ext cx="105840" cy="145440"/>
            </p14:xfrm>
          </p:contentPart>
        </mc:Choice>
        <mc:Fallback>
          <p:pic>
            <p:nvPicPr>
              <p:cNvPr id="179" name="Ink 178">
                <a:extLst>
                  <a:ext uri="{FF2B5EF4-FFF2-40B4-BE49-F238E27FC236}">
                    <a16:creationId xmlns:a16="http://schemas.microsoft.com/office/drawing/2014/main" id="{A84FA9D8-E550-FC6A-D02B-E3354CAC7609}"/>
                  </a:ext>
                </a:extLst>
              </p:cNvPr>
              <p:cNvPicPr/>
              <p:nvPr/>
            </p:nvPicPr>
            <p:blipFill>
              <a:blip r:embed="rId151"/>
              <a:stretch>
                <a:fillRect/>
              </a:stretch>
            </p:blipFill>
            <p:spPr>
              <a:xfrm>
                <a:off x="9320141" y="3823412"/>
                <a:ext cx="136440" cy="1760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52">
            <p14:nvContentPartPr>
              <p14:cNvPr id="180" name="Ink 179">
                <a:extLst>
                  <a:ext uri="{FF2B5EF4-FFF2-40B4-BE49-F238E27FC236}">
                    <a16:creationId xmlns:a16="http://schemas.microsoft.com/office/drawing/2014/main" id="{20185BE8-9CDA-9E28-AAA2-EF33213EA61E}"/>
                  </a:ext>
                </a:extLst>
              </p14:cNvPr>
              <p14:cNvContentPartPr/>
              <p14:nvPr/>
            </p14:nvContentPartPr>
            <p14:xfrm>
              <a:off x="9488981" y="3861212"/>
              <a:ext cx="19080" cy="136080"/>
            </p14:xfrm>
          </p:contentPart>
        </mc:Choice>
        <mc:Fallback>
          <p:pic>
            <p:nvPicPr>
              <p:cNvPr id="180" name="Ink 179">
                <a:extLst>
                  <a:ext uri="{FF2B5EF4-FFF2-40B4-BE49-F238E27FC236}">
                    <a16:creationId xmlns:a16="http://schemas.microsoft.com/office/drawing/2014/main" id="{20185BE8-9CDA-9E28-AAA2-EF33213EA61E}"/>
                  </a:ext>
                </a:extLst>
              </p:cNvPr>
              <p:cNvPicPr/>
              <p:nvPr/>
            </p:nvPicPr>
            <p:blipFill>
              <a:blip r:embed="rId153"/>
              <a:stretch>
                <a:fillRect/>
              </a:stretch>
            </p:blipFill>
            <p:spPr>
              <a:xfrm>
                <a:off x="9473861" y="3846092"/>
                <a:ext cx="49680" cy="166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54">
            <p14:nvContentPartPr>
              <p14:cNvPr id="181" name="Ink 180">
                <a:extLst>
                  <a:ext uri="{FF2B5EF4-FFF2-40B4-BE49-F238E27FC236}">
                    <a16:creationId xmlns:a16="http://schemas.microsoft.com/office/drawing/2014/main" id="{A0957A89-DEFC-0484-B676-AF22BA63CE98}"/>
                  </a:ext>
                </a:extLst>
              </p14:cNvPr>
              <p14:cNvContentPartPr/>
              <p14:nvPr/>
            </p14:nvContentPartPr>
            <p14:xfrm>
              <a:off x="9514181" y="3839972"/>
              <a:ext cx="101880" cy="149760"/>
            </p14:xfrm>
          </p:contentPart>
        </mc:Choice>
        <mc:Fallback>
          <p:pic>
            <p:nvPicPr>
              <p:cNvPr id="181" name="Ink 180">
                <a:extLst>
                  <a:ext uri="{FF2B5EF4-FFF2-40B4-BE49-F238E27FC236}">
                    <a16:creationId xmlns:a16="http://schemas.microsoft.com/office/drawing/2014/main" id="{A0957A89-DEFC-0484-B676-AF22BA63CE98}"/>
                  </a:ext>
                </a:extLst>
              </p:cNvPr>
              <p:cNvPicPr/>
              <p:nvPr/>
            </p:nvPicPr>
            <p:blipFill>
              <a:blip r:embed="rId155"/>
              <a:stretch>
                <a:fillRect/>
              </a:stretch>
            </p:blipFill>
            <p:spPr>
              <a:xfrm>
                <a:off x="9499061" y="3824492"/>
                <a:ext cx="132480" cy="180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56">
            <p14:nvContentPartPr>
              <p14:cNvPr id="182" name="Ink 181">
                <a:extLst>
                  <a:ext uri="{FF2B5EF4-FFF2-40B4-BE49-F238E27FC236}">
                    <a16:creationId xmlns:a16="http://schemas.microsoft.com/office/drawing/2014/main" id="{2C867D96-3543-311B-B612-18BCFBBD047E}"/>
                  </a:ext>
                </a:extLst>
              </p14:cNvPr>
              <p14:cNvContentPartPr/>
              <p14:nvPr/>
            </p14:nvContentPartPr>
            <p14:xfrm>
              <a:off x="9652421" y="3804332"/>
              <a:ext cx="115920" cy="259560"/>
            </p14:xfrm>
          </p:contentPart>
        </mc:Choice>
        <mc:Fallback>
          <p:pic>
            <p:nvPicPr>
              <p:cNvPr id="182" name="Ink 181">
                <a:extLst>
                  <a:ext uri="{FF2B5EF4-FFF2-40B4-BE49-F238E27FC236}">
                    <a16:creationId xmlns:a16="http://schemas.microsoft.com/office/drawing/2014/main" id="{2C867D96-3543-311B-B612-18BCFBBD047E}"/>
                  </a:ext>
                </a:extLst>
              </p:cNvPr>
              <p:cNvPicPr/>
              <p:nvPr/>
            </p:nvPicPr>
            <p:blipFill>
              <a:blip r:embed="rId157"/>
              <a:stretch>
                <a:fillRect/>
              </a:stretch>
            </p:blipFill>
            <p:spPr>
              <a:xfrm>
                <a:off x="9636941" y="3788852"/>
                <a:ext cx="146520" cy="2901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58">
            <p14:nvContentPartPr>
              <p14:cNvPr id="183" name="Ink 182">
                <a:extLst>
                  <a:ext uri="{FF2B5EF4-FFF2-40B4-BE49-F238E27FC236}">
                    <a16:creationId xmlns:a16="http://schemas.microsoft.com/office/drawing/2014/main" id="{9DC2877A-8195-56CC-5911-415165EB7961}"/>
                  </a:ext>
                </a:extLst>
              </p14:cNvPr>
              <p14:cNvContentPartPr/>
              <p14:nvPr/>
            </p14:nvContentPartPr>
            <p14:xfrm>
              <a:off x="10004861" y="3796772"/>
              <a:ext cx="247680" cy="135720"/>
            </p14:xfrm>
          </p:contentPart>
        </mc:Choice>
        <mc:Fallback>
          <p:pic>
            <p:nvPicPr>
              <p:cNvPr id="183" name="Ink 182">
                <a:extLst>
                  <a:ext uri="{FF2B5EF4-FFF2-40B4-BE49-F238E27FC236}">
                    <a16:creationId xmlns:a16="http://schemas.microsoft.com/office/drawing/2014/main" id="{9DC2877A-8195-56CC-5911-415165EB7961}"/>
                  </a:ext>
                </a:extLst>
              </p:cNvPr>
              <p:cNvPicPr/>
              <p:nvPr/>
            </p:nvPicPr>
            <p:blipFill>
              <a:blip r:embed="rId159"/>
              <a:stretch>
                <a:fillRect/>
              </a:stretch>
            </p:blipFill>
            <p:spPr>
              <a:xfrm>
                <a:off x="9989741" y="3781292"/>
                <a:ext cx="277920" cy="1659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60">
            <p14:nvContentPartPr>
              <p14:cNvPr id="184" name="Ink 183">
                <a:extLst>
                  <a:ext uri="{FF2B5EF4-FFF2-40B4-BE49-F238E27FC236}">
                    <a16:creationId xmlns:a16="http://schemas.microsoft.com/office/drawing/2014/main" id="{4D3B53CA-F148-6B9E-4D06-E538D767998C}"/>
                  </a:ext>
                </a:extLst>
              </p14:cNvPr>
              <p14:cNvContentPartPr/>
              <p14:nvPr/>
            </p14:nvContentPartPr>
            <p14:xfrm>
              <a:off x="10352621" y="3785612"/>
              <a:ext cx="76320" cy="177840"/>
            </p14:xfrm>
          </p:contentPart>
        </mc:Choice>
        <mc:Fallback>
          <p:pic>
            <p:nvPicPr>
              <p:cNvPr id="184" name="Ink 183">
                <a:extLst>
                  <a:ext uri="{FF2B5EF4-FFF2-40B4-BE49-F238E27FC236}">
                    <a16:creationId xmlns:a16="http://schemas.microsoft.com/office/drawing/2014/main" id="{4D3B53CA-F148-6B9E-4D06-E538D767998C}"/>
                  </a:ext>
                </a:extLst>
              </p:cNvPr>
              <p:cNvPicPr/>
              <p:nvPr/>
            </p:nvPicPr>
            <p:blipFill>
              <a:blip r:embed="rId161"/>
              <a:stretch>
                <a:fillRect/>
              </a:stretch>
            </p:blipFill>
            <p:spPr>
              <a:xfrm>
                <a:off x="10337501" y="3770132"/>
                <a:ext cx="106560" cy="2084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62">
            <p14:nvContentPartPr>
              <p14:cNvPr id="185" name="Ink 184">
                <a:extLst>
                  <a:ext uri="{FF2B5EF4-FFF2-40B4-BE49-F238E27FC236}">
                    <a16:creationId xmlns:a16="http://schemas.microsoft.com/office/drawing/2014/main" id="{819CC15D-E3ED-9D5D-3B32-D326CBB9B580}"/>
                  </a:ext>
                </a:extLst>
              </p14:cNvPr>
              <p14:cNvContentPartPr/>
              <p14:nvPr/>
            </p14:nvContentPartPr>
            <p14:xfrm>
              <a:off x="10326341" y="3766892"/>
              <a:ext cx="204840" cy="197640"/>
            </p14:xfrm>
          </p:contentPart>
        </mc:Choice>
        <mc:Fallback>
          <p:pic>
            <p:nvPicPr>
              <p:cNvPr id="185" name="Ink 184">
                <a:extLst>
                  <a:ext uri="{FF2B5EF4-FFF2-40B4-BE49-F238E27FC236}">
                    <a16:creationId xmlns:a16="http://schemas.microsoft.com/office/drawing/2014/main" id="{819CC15D-E3ED-9D5D-3B32-D326CBB9B580}"/>
                  </a:ext>
                </a:extLst>
              </p:cNvPr>
              <p:cNvPicPr/>
              <p:nvPr/>
            </p:nvPicPr>
            <p:blipFill>
              <a:blip r:embed="rId163"/>
              <a:stretch>
                <a:fillRect/>
              </a:stretch>
            </p:blipFill>
            <p:spPr>
              <a:xfrm>
                <a:off x="10311221" y="3751412"/>
                <a:ext cx="235080" cy="2282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64">
            <p14:nvContentPartPr>
              <p14:cNvPr id="186" name="Ink 185">
                <a:extLst>
                  <a:ext uri="{FF2B5EF4-FFF2-40B4-BE49-F238E27FC236}">
                    <a16:creationId xmlns:a16="http://schemas.microsoft.com/office/drawing/2014/main" id="{B0606887-8A7D-BCAF-B97C-8052E840FA9C}"/>
                  </a:ext>
                </a:extLst>
              </p14:cNvPr>
              <p14:cNvContentPartPr/>
              <p14:nvPr/>
            </p14:nvContentPartPr>
            <p14:xfrm>
              <a:off x="6301181" y="4608212"/>
              <a:ext cx="142560" cy="208440"/>
            </p14:xfrm>
          </p:contentPart>
        </mc:Choice>
        <mc:Fallback>
          <p:pic>
            <p:nvPicPr>
              <p:cNvPr id="186" name="Ink 185">
                <a:extLst>
                  <a:ext uri="{FF2B5EF4-FFF2-40B4-BE49-F238E27FC236}">
                    <a16:creationId xmlns:a16="http://schemas.microsoft.com/office/drawing/2014/main" id="{B0606887-8A7D-BCAF-B97C-8052E840FA9C}"/>
                  </a:ext>
                </a:extLst>
              </p:cNvPr>
              <p:cNvPicPr/>
              <p:nvPr/>
            </p:nvPicPr>
            <p:blipFill>
              <a:blip r:embed="rId165"/>
              <a:stretch>
                <a:fillRect/>
              </a:stretch>
            </p:blipFill>
            <p:spPr>
              <a:xfrm>
                <a:off x="6286061" y="4592732"/>
                <a:ext cx="173160" cy="2386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66">
            <p14:nvContentPartPr>
              <p14:cNvPr id="187" name="Ink 186">
                <a:extLst>
                  <a:ext uri="{FF2B5EF4-FFF2-40B4-BE49-F238E27FC236}">
                    <a16:creationId xmlns:a16="http://schemas.microsoft.com/office/drawing/2014/main" id="{F4593ACE-6AF6-30B4-2917-3839C0ACFBF9}"/>
                  </a:ext>
                </a:extLst>
              </p14:cNvPr>
              <p14:cNvContentPartPr/>
              <p14:nvPr/>
            </p14:nvContentPartPr>
            <p14:xfrm>
              <a:off x="6485861" y="4613252"/>
              <a:ext cx="99000" cy="199440"/>
            </p14:xfrm>
          </p:contentPart>
        </mc:Choice>
        <mc:Fallback>
          <p:pic>
            <p:nvPicPr>
              <p:cNvPr id="187" name="Ink 186">
                <a:extLst>
                  <a:ext uri="{FF2B5EF4-FFF2-40B4-BE49-F238E27FC236}">
                    <a16:creationId xmlns:a16="http://schemas.microsoft.com/office/drawing/2014/main" id="{F4593ACE-6AF6-30B4-2917-3839C0ACFBF9}"/>
                  </a:ext>
                </a:extLst>
              </p:cNvPr>
              <p:cNvPicPr/>
              <p:nvPr/>
            </p:nvPicPr>
            <p:blipFill>
              <a:blip r:embed="rId167"/>
              <a:stretch>
                <a:fillRect/>
              </a:stretch>
            </p:blipFill>
            <p:spPr>
              <a:xfrm>
                <a:off x="6470381" y="4597772"/>
                <a:ext cx="129600" cy="2296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68">
            <p14:nvContentPartPr>
              <p14:cNvPr id="188" name="Ink 187">
                <a:extLst>
                  <a:ext uri="{FF2B5EF4-FFF2-40B4-BE49-F238E27FC236}">
                    <a16:creationId xmlns:a16="http://schemas.microsoft.com/office/drawing/2014/main" id="{9B52D63A-1A53-7BD6-E70E-31A8A4CECE7D}"/>
                  </a:ext>
                </a:extLst>
              </p14:cNvPr>
              <p14:cNvContentPartPr/>
              <p14:nvPr/>
            </p14:nvContentPartPr>
            <p14:xfrm>
              <a:off x="6648581" y="4608932"/>
              <a:ext cx="178200" cy="195120"/>
            </p14:xfrm>
          </p:contentPart>
        </mc:Choice>
        <mc:Fallback>
          <p:pic>
            <p:nvPicPr>
              <p:cNvPr id="188" name="Ink 187">
                <a:extLst>
                  <a:ext uri="{FF2B5EF4-FFF2-40B4-BE49-F238E27FC236}">
                    <a16:creationId xmlns:a16="http://schemas.microsoft.com/office/drawing/2014/main" id="{9B52D63A-1A53-7BD6-E70E-31A8A4CECE7D}"/>
                  </a:ext>
                </a:extLst>
              </p:cNvPr>
              <p:cNvPicPr/>
              <p:nvPr/>
            </p:nvPicPr>
            <p:blipFill>
              <a:blip r:embed="rId169"/>
              <a:stretch>
                <a:fillRect/>
              </a:stretch>
            </p:blipFill>
            <p:spPr>
              <a:xfrm>
                <a:off x="6633461" y="4593812"/>
                <a:ext cx="208800" cy="2253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70">
            <p14:nvContentPartPr>
              <p14:cNvPr id="189" name="Ink 188">
                <a:extLst>
                  <a:ext uri="{FF2B5EF4-FFF2-40B4-BE49-F238E27FC236}">
                    <a16:creationId xmlns:a16="http://schemas.microsoft.com/office/drawing/2014/main" id="{35693DF3-7DB1-982D-697F-7EE5AA061962}"/>
                  </a:ext>
                </a:extLst>
              </p14:cNvPr>
              <p14:cNvContentPartPr/>
              <p14:nvPr/>
            </p14:nvContentPartPr>
            <p14:xfrm>
              <a:off x="6690701" y="4734212"/>
              <a:ext cx="28080" cy="19800"/>
            </p14:xfrm>
          </p:contentPart>
        </mc:Choice>
        <mc:Fallback>
          <p:pic>
            <p:nvPicPr>
              <p:cNvPr id="189" name="Ink 188">
                <a:extLst>
                  <a:ext uri="{FF2B5EF4-FFF2-40B4-BE49-F238E27FC236}">
                    <a16:creationId xmlns:a16="http://schemas.microsoft.com/office/drawing/2014/main" id="{35693DF3-7DB1-982D-697F-7EE5AA061962}"/>
                  </a:ext>
                </a:extLst>
              </p:cNvPr>
              <p:cNvPicPr/>
              <p:nvPr/>
            </p:nvPicPr>
            <p:blipFill>
              <a:blip r:embed="rId171"/>
              <a:stretch>
                <a:fillRect/>
              </a:stretch>
            </p:blipFill>
            <p:spPr>
              <a:xfrm>
                <a:off x="6675221" y="4719092"/>
                <a:ext cx="58680" cy="500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72">
            <p14:nvContentPartPr>
              <p14:cNvPr id="190" name="Ink 189">
                <a:extLst>
                  <a:ext uri="{FF2B5EF4-FFF2-40B4-BE49-F238E27FC236}">
                    <a16:creationId xmlns:a16="http://schemas.microsoft.com/office/drawing/2014/main" id="{FD54F5C5-D51B-9737-83A7-00E4DC172AE3}"/>
                  </a:ext>
                </a:extLst>
              </p14:cNvPr>
              <p14:cNvContentPartPr/>
              <p14:nvPr/>
            </p14:nvContentPartPr>
            <p14:xfrm>
              <a:off x="6717341" y="4726652"/>
              <a:ext cx="81000" cy="9720"/>
            </p14:xfrm>
          </p:contentPart>
        </mc:Choice>
        <mc:Fallback>
          <p:pic>
            <p:nvPicPr>
              <p:cNvPr id="190" name="Ink 189">
                <a:extLst>
                  <a:ext uri="{FF2B5EF4-FFF2-40B4-BE49-F238E27FC236}">
                    <a16:creationId xmlns:a16="http://schemas.microsoft.com/office/drawing/2014/main" id="{FD54F5C5-D51B-9737-83A7-00E4DC172AE3}"/>
                  </a:ext>
                </a:extLst>
              </p:cNvPr>
              <p:cNvPicPr/>
              <p:nvPr/>
            </p:nvPicPr>
            <p:blipFill>
              <a:blip r:embed="rId173"/>
              <a:stretch>
                <a:fillRect/>
              </a:stretch>
            </p:blipFill>
            <p:spPr>
              <a:xfrm>
                <a:off x="6701861" y="4711532"/>
                <a:ext cx="111240" cy="40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74">
            <p14:nvContentPartPr>
              <p14:cNvPr id="191" name="Ink 190">
                <a:extLst>
                  <a:ext uri="{FF2B5EF4-FFF2-40B4-BE49-F238E27FC236}">
                    <a16:creationId xmlns:a16="http://schemas.microsoft.com/office/drawing/2014/main" id="{68479CEE-6161-CC1D-A7A4-DF254D527C64}"/>
                  </a:ext>
                </a:extLst>
              </p14:cNvPr>
              <p14:cNvContentPartPr/>
              <p14:nvPr/>
            </p14:nvContentPartPr>
            <p14:xfrm>
              <a:off x="6894461" y="4636652"/>
              <a:ext cx="146160" cy="138240"/>
            </p14:xfrm>
          </p:contentPart>
        </mc:Choice>
        <mc:Fallback>
          <p:pic>
            <p:nvPicPr>
              <p:cNvPr id="191" name="Ink 190">
                <a:extLst>
                  <a:ext uri="{FF2B5EF4-FFF2-40B4-BE49-F238E27FC236}">
                    <a16:creationId xmlns:a16="http://schemas.microsoft.com/office/drawing/2014/main" id="{68479CEE-6161-CC1D-A7A4-DF254D527C64}"/>
                  </a:ext>
                </a:extLst>
              </p:cNvPr>
              <p:cNvPicPr/>
              <p:nvPr/>
            </p:nvPicPr>
            <p:blipFill>
              <a:blip r:embed="rId175"/>
              <a:stretch>
                <a:fillRect/>
              </a:stretch>
            </p:blipFill>
            <p:spPr>
              <a:xfrm>
                <a:off x="6879341" y="4621532"/>
                <a:ext cx="176760" cy="1684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76">
            <p14:nvContentPartPr>
              <p14:cNvPr id="192" name="Ink 191">
                <a:extLst>
                  <a:ext uri="{FF2B5EF4-FFF2-40B4-BE49-F238E27FC236}">
                    <a16:creationId xmlns:a16="http://schemas.microsoft.com/office/drawing/2014/main" id="{65C0282D-5E69-2736-224D-EAC21B0A37EF}"/>
                  </a:ext>
                </a:extLst>
              </p14:cNvPr>
              <p14:cNvContentPartPr/>
              <p14:nvPr/>
            </p14:nvContentPartPr>
            <p14:xfrm>
              <a:off x="7129901" y="4583732"/>
              <a:ext cx="137160" cy="176760"/>
            </p14:xfrm>
          </p:contentPart>
        </mc:Choice>
        <mc:Fallback>
          <p:pic>
            <p:nvPicPr>
              <p:cNvPr id="192" name="Ink 191">
                <a:extLst>
                  <a:ext uri="{FF2B5EF4-FFF2-40B4-BE49-F238E27FC236}">
                    <a16:creationId xmlns:a16="http://schemas.microsoft.com/office/drawing/2014/main" id="{65C0282D-5E69-2736-224D-EAC21B0A37EF}"/>
                  </a:ext>
                </a:extLst>
              </p:cNvPr>
              <p:cNvPicPr/>
              <p:nvPr/>
            </p:nvPicPr>
            <p:blipFill>
              <a:blip r:embed="rId177"/>
              <a:stretch>
                <a:fillRect/>
              </a:stretch>
            </p:blipFill>
            <p:spPr>
              <a:xfrm>
                <a:off x="7114781" y="4568612"/>
                <a:ext cx="167400" cy="207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78">
            <p14:nvContentPartPr>
              <p14:cNvPr id="193" name="Ink 192">
                <a:extLst>
                  <a:ext uri="{FF2B5EF4-FFF2-40B4-BE49-F238E27FC236}">
                    <a16:creationId xmlns:a16="http://schemas.microsoft.com/office/drawing/2014/main" id="{19B6E301-3C51-FA53-F974-71142EC247B8}"/>
                  </a:ext>
                </a:extLst>
              </p14:cNvPr>
              <p14:cNvContentPartPr/>
              <p14:nvPr/>
            </p14:nvContentPartPr>
            <p14:xfrm>
              <a:off x="7310261" y="4583732"/>
              <a:ext cx="64800" cy="180720"/>
            </p14:xfrm>
          </p:contentPart>
        </mc:Choice>
        <mc:Fallback>
          <p:pic>
            <p:nvPicPr>
              <p:cNvPr id="193" name="Ink 192">
                <a:extLst>
                  <a:ext uri="{FF2B5EF4-FFF2-40B4-BE49-F238E27FC236}">
                    <a16:creationId xmlns:a16="http://schemas.microsoft.com/office/drawing/2014/main" id="{19B6E301-3C51-FA53-F974-71142EC247B8}"/>
                  </a:ext>
                </a:extLst>
              </p:cNvPr>
              <p:cNvPicPr/>
              <p:nvPr/>
            </p:nvPicPr>
            <p:blipFill>
              <a:blip r:embed="rId179"/>
              <a:stretch>
                <a:fillRect/>
              </a:stretch>
            </p:blipFill>
            <p:spPr>
              <a:xfrm>
                <a:off x="7295141" y="4568612"/>
                <a:ext cx="95400" cy="2109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80">
            <p14:nvContentPartPr>
              <p14:cNvPr id="194" name="Ink 193">
                <a:extLst>
                  <a:ext uri="{FF2B5EF4-FFF2-40B4-BE49-F238E27FC236}">
                    <a16:creationId xmlns:a16="http://schemas.microsoft.com/office/drawing/2014/main" id="{A0B1FC61-4F58-ECE4-34F0-5DA6941448A8}"/>
                  </a:ext>
                </a:extLst>
              </p14:cNvPr>
              <p14:cNvContentPartPr/>
              <p14:nvPr/>
            </p14:nvContentPartPr>
            <p14:xfrm>
              <a:off x="7520501" y="4574372"/>
              <a:ext cx="143640" cy="30960"/>
            </p14:xfrm>
          </p:contentPart>
        </mc:Choice>
        <mc:Fallback>
          <p:pic>
            <p:nvPicPr>
              <p:cNvPr id="194" name="Ink 193">
                <a:extLst>
                  <a:ext uri="{FF2B5EF4-FFF2-40B4-BE49-F238E27FC236}">
                    <a16:creationId xmlns:a16="http://schemas.microsoft.com/office/drawing/2014/main" id="{A0B1FC61-4F58-ECE4-34F0-5DA6941448A8}"/>
                  </a:ext>
                </a:extLst>
              </p:cNvPr>
              <p:cNvPicPr/>
              <p:nvPr/>
            </p:nvPicPr>
            <p:blipFill>
              <a:blip r:embed="rId181"/>
              <a:stretch>
                <a:fillRect/>
              </a:stretch>
            </p:blipFill>
            <p:spPr>
              <a:xfrm>
                <a:off x="7505021" y="4559252"/>
                <a:ext cx="174240" cy="615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82">
            <p14:nvContentPartPr>
              <p14:cNvPr id="195" name="Ink 194">
                <a:extLst>
                  <a:ext uri="{FF2B5EF4-FFF2-40B4-BE49-F238E27FC236}">
                    <a16:creationId xmlns:a16="http://schemas.microsoft.com/office/drawing/2014/main" id="{AF7B94A0-5D1B-C30D-289A-09D4BD58BA2D}"/>
                  </a:ext>
                </a:extLst>
              </p14:cNvPr>
              <p14:cNvContentPartPr/>
              <p14:nvPr/>
            </p14:nvContentPartPr>
            <p14:xfrm>
              <a:off x="7576661" y="4640612"/>
              <a:ext cx="95760" cy="6480"/>
            </p14:xfrm>
          </p:contentPart>
        </mc:Choice>
        <mc:Fallback>
          <p:pic>
            <p:nvPicPr>
              <p:cNvPr id="195" name="Ink 194">
                <a:extLst>
                  <a:ext uri="{FF2B5EF4-FFF2-40B4-BE49-F238E27FC236}">
                    <a16:creationId xmlns:a16="http://schemas.microsoft.com/office/drawing/2014/main" id="{AF7B94A0-5D1B-C30D-289A-09D4BD58BA2D}"/>
                  </a:ext>
                </a:extLst>
              </p:cNvPr>
              <p:cNvPicPr/>
              <p:nvPr/>
            </p:nvPicPr>
            <p:blipFill>
              <a:blip r:embed="rId183"/>
              <a:stretch>
                <a:fillRect/>
              </a:stretch>
            </p:blipFill>
            <p:spPr>
              <a:xfrm>
                <a:off x="7561181" y="4625132"/>
                <a:ext cx="126360" cy="370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84">
            <p14:nvContentPartPr>
              <p14:cNvPr id="196" name="Ink 195">
                <a:extLst>
                  <a:ext uri="{FF2B5EF4-FFF2-40B4-BE49-F238E27FC236}">
                    <a16:creationId xmlns:a16="http://schemas.microsoft.com/office/drawing/2014/main" id="{DCF9140C-2DB7-0405-DEE4-21589E82EF4E}"/>
                  </a:ext>
                </a:extLst>
              </p14:cNvPr>
              <p14:cNvContentPartPr/>
              <p14:nvPr/>
            </p14:nvContentPartPr>
            <p14:xfrm>
              <a:off x="7903181" y="4531892"/>
              <a:ext cx="128880" cy="200160"/>
            </p14:xfrm>
          </p:contentPart>
        </mc:Choice>
        <mc:Fallback>
          <p:pic>
            <p:nvPicPr>
              <p:cNvPr id="196" name="Ink 195">
                <a:extLst>
                  <a:ext uri="{FF2B5EF4-FFF2-40B4-BE49-F238E27FC236}">
                    <a16:creationId xmlns:a16="http://schemas.microsoft.com/office/drawing/2014/main" id="{DCF9140C-2DB7-0405-DEE4-21589E82EF4E}"/>
                  </a:ext>
                </a:extLst>
              </p:cNvPr>
              <p:cNvPicPr/>
              <p:nvPr/>
            </p:nvPicPr>
            <p:blipFill>
              <a:blip r:embed="rId185"/>
              <a:stretch>
                <a:fillRect/>
              </a:stretch>
            </p:blipFill>
            <p:spPr>
              <a:xfrm>
                <a:off x="7888061" y="4516412"/>
                <a:ext cx="159480" cy="2307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86">
            <p14:nvContentPartPr>
              <p14:cNvPr id="197" name="Ink 196">
                <a:extLst>
                  <a:ext uri="{FF2B5EF4-FFF2-40B4-BE49-F238E27FC236}">
                    <a16:creationId xmlns:a16="http://schemas.microsoft.com/office/drawing/2014/main" id="{FB7776EA-C51E-DE18-745B-5ECD8F4DD690}"/>
                  </a:ext>
                </a:extLst>
              </p14:cNvPr>
              <p14:cNvContentPartPr/>
              <p14:nvPr/>
            </p14:nvContentPartPr>
            <p14:xfrm>
              <a:off x="8115941" y="4508852"/>
              <a:ext cx="113400" cy="223200"/>
            </p14:xfrm>
          </p:contentPart>
        </mc:Choice>
        <mc:Fallback>
          <p:pic>
            <p:nvPicPr>
              <p:cNvPr id="197" name="Ink 196">
                <a:extLst>
                  <a:ext uri="{FF2B5EF4-FFF2-40B4-BE49-F238E27FC236}">
                    <a16:creationId xmlns:a16="http://schemas.microsoft.com/office/drawing/2014/main" id="{FB7776EA-C51E-DE18-745B-5ECD8F4DD690}"/>
                  </a:ext>
                </a:extLst>
              </p:cNvPr>
              <p:cNvPicPr/>
              <p:nvPr/>
            </p:nvPicPr>
            <p:blipFill>
              <a:blip r:embed="rId187"/>
              <a:stretch>
                <a:fillRect/>
              </a:stretch>
            </p:blipFill>
            <p:spPr>
              <a:xfrm>
                <a:off x="8100461" y="4493372"/>
                <a:ext cx="144000" cy="2538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88">
            <p14:nvContentPartPr>
              <p14:cNvPr id="198" name="Ink 197">
                <a:extLst>
                  <a:ext uri="{FF2B5EF4-FFF2-40B4-BE49-F238E27FC236}">
                    <a16:creationId xmlns:a16="http://schemas.microsoft.com/office/drawing/2014/main" id="{C8C7A811-65C2-9D2F-2BAA-0C3D4E090122}"/>
                  </a:ext>
                </a:extLst>
              </p14:cNvPr>
              <p14:cNvContentPartPr/>
              <p14:nvPr/>
            </p14:nvContentPartPr>
            <p14:xfrm>
              <a:off x="8310701" y="4535852"/>
              <a:ext cx="164880" cy="183240"/>
            </p14:xfrm>
          </p:contentPart>
        </mc:Choice>
        <mc:Fallback>
          <p:pic>
            <p:nvPicPr>
              <p:cNvPr id="198" name="Ink 197">
                <a:extLst>
                  <a:ext uri="{FF2B5EF4-FFF2-40B4-BE49-F238E27FC236}">
                    <a16:creationId xmlns:a16="http://schemas.microsoft.com/office/drawing/2014/main" id="{C8C7A811-65C2-9D2F-2BAA-0C3D4E090122}"/>
                  </a:ext>
                </a:extLst>
              </p:cNvPr>
              <p:cNvPicPr/>
              <p:nvPr/>
            </p:nvPicPr>
            <p:blipFill>
              <a:blip r:embed="rId189"/>
              <a:stretch>
                <a:fillRect/>
              </a:stretch>
            </p:blipFill>
            <p:spPr>
              <a:xfrm>
                <a:off x="8295581" y="4520732"/>
                <a:ext cx="195480" cy="2138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90">
            <p14:nvContentPartPr>
              <p14:cNvPr id="199" name="Ink 198">
                <a:extLst>
                  <a:ext uri="{FF2B5EF4-FFF2-40B4-BE49-F238E27FC236}">
                    <a16:creationId xmlns:a16="http://schemas.microsoft.com/office/drawing/2014/main" id="{9874C91D-A7DC-ECF0-141B-24E2238C681F}"/>
                  </a:ext>
                </a:extLst>
              </p14:cNvPr>
              <p14:cNvContentPartPr/>
              <p14:nvPr/>
            </p14:nvContentPartPr>
            <p14:xfrm>
              <a:off x="8507261" y="4501652"/>
              <a:ext cx="60480" cy="207720"/>
            </p14:xfrm>
          </p:contentPart>
        </mc:Choice>
        <mc:Fallback>
          <p:pic>
            <p:nvPicPr>
              <p:cNvPr id="199" name="Ink 198">
                <a:extLst>
                  <a:ext uri="{FF2B5EF4-FFF2-40B4-BE49-F238E27FC236}">
                    <a16:creationId xmlns:a16="http://schemas.microsoft.com/office/drawing/2014/main" id="{9874C91D-A7DC-ECF0-141B-24E2238C681F}"/>
                  </a:ext>
                </a:extLst>
              </p:cNvPr>
              <p:cNvPicPr/>
              <p:nvPr/>
            </p:nvPicPr>
            <p:blipFill>
              <a:blip r:embed="rId191"/>
              <a:stretch>
                <a:fillRect/>
              </a:stretch>
            </p:blipFill>
            <p:spPr>
              <a:xfrm>
                <a:off x="8492141" y="4486532"/>
                <a:ext cx="91080" cy="238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92">
            <p14:nvContentPartPr>
              <p14:cNvPr id="200" name="Ink 199">
                <a:extLst>
                  <a:ext uri="{FF2B5EF4-FFF2-40B4-BE49-F238E27FC236}">
                    <a16:creationId xmlns:a16="http://schemas.microsoft.com/office/drawing/2014/main" id="{EE987086-B128-ECC1-9898-E8DFB8BC9161}"/>
                  </a:ext>
                </a:extLst>
              </p14:cNvPr>
              <p14:cNvContentPartPr/>
              <p14:nvPr/>
            </p14:nvContentPartPr>
            <p14:xfrm>
              <a:off x="8639021" y="4536932"/>
              <a:ext cx="149760" cy="162360"/>
            </p14:xfrm>
          </p:contentPart>
        </mc:Choice>
        <mc:Fallback>
          <p:pic>
            <p:nvPicPr>
              <p:cNvPr id="200" name="Ink 199">
                <a:extLst>
                  <a:ext uri="{FF2B5EF4-FFF2-40B4-BE49-F238E27FC236}">
                    <a16:creationId xmlns:a16="http://schemas.microsoft.com/office/drawing/2014/main" id="{EE987086-B128-ECC1-9898-E8DFB8BC9161}"/>
                  </a:ext>
                </a:extLst>
              </p:cNvPr>
              <p:cNvPicPr/>
              <p:nvPr/>
            </p:nvPicPr>
            <p:blipFill>
              <a:blip r:embed="rId193"/>
              <a:stretch>
                <a:fillRect/>
              </a:stretch>
            </p:blipFill>
            <p:spPr>
              <a:xfrm>
                <a:off x="8623901" y="4521812"/>
                <a:ext cx="180360" cy="1929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94">
            <p14:nvContentPartPr>
              <p14:cNvPr id="201" name="Ink 200">
                <a:extLst>
                  <a:ext uri="{FF2B5EF4-FFF2-40B4-BE49-F238E27FC236}">
                    <a16:creationId xmlns:a16="http://schemas.microsoft.com/office/drawing/2014/main" id="{51448BFF-A53F-712F-EE79-1B4E9B015896}"/>
                  </a:ext>
                </a:extLst>
              </p14:cNvPr>
              <p14:cNvContentPartPr/>
              <p14:nvPr/>
            </p14:nvContentPartPr>
            <p14:xfrm>
              <a:off x="8712821" y="4646372"/>
              <a:ext cx="80280" cy="34560"/>
            </p14:xfrm>
          </p:contentPart>
        </mc:Choice>
        <mc:Fallback>
          <p:pic>
            <p:nvPicPr>
              <p:cNvPr id="201" name="Ink 200">
                <a:extLst>
                  <a:ext uri="{FF2B5EF4-FFF2-40B4-BE49-F238E27FC236}">
                    <a16:creationId xmlns:a16="http://schemas.microsoft.com/office/drawing/2014/main" id="{51448BFF-A53F-712F-EE79-1B4E9B015896}"/>
                  </a:ext>
                </a:extLst>
              </p:cNvPr>
              <p:cNvPicPr/>
              <p:nvPr/>
            </p:nvPicPr>
            <p:blipFill>
              <a:blip r:embed="rId195"/>
              <a:stretch>
                <a:fillRect/>
              </a:stretch>
            </p:blipFill>
            <p:spPr>
              <a:xfrm>
                <a:off x="8697701" y="4630892"/>
                <a:ext cx="110880" cy="648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96">
            <p14:nvContentPartPr>
              <p14:cNvPr id="202" name="Ink 201">
                <a:extLst>
                  <a:ext uri="{FF2B5EF4-FFF2-40B4-BE49-F238E27FC236}">
                    <a16:creationId xmlns:a16="http://schemas.microsoft.com/office/drawing/2014/main" id="{8B89C148-5DCB-DD3F-F4CE-E3443B7BCB3E}"/>
                  </a:ext>
                </a:extLst>
              </p14:cNvPr>
              <p14:cNvContentPartPr/>
              <p14:nvPr/>
            </p14:nvContentPartPr>
            <p14:xfrm>
              <a:off x="8825501" y="4526132"/>
              <a:ext cx="63360" cy="254520"/>
            </p14:xfrm>
          </p:contentPart>
        </mc:Choice>
        <mc:Fallback>
          <p:pic>
            <p:nvPicPr>
              <p:cNvPr id="202" name="Ink 201">
                <a:extLst>
                  <a:ext uri="{FF2B5EF4-FFF2-40B4-BE49-F238E27FC236}">
                    <a16:creationId xmlns:a16="http://schemas.microsoft.com/office/drawing/2014/main" id="{8B89C148-5DCB-DD3F-F4CE-E3443B7BCB3E}"/>
                  </a:ext>
                </a:extLst>
              </p:cNvPr>
              <p:cNvPicPr/>
              <p:nvPr/>
            </p:nvPicPr>
            <p:blipFill>
              <a:blip r:embed="rId197"/>
              <a:stretch>
                <a:fillRect/>
              </a:stretch>
            </p:blipFill>
            <p:spPr>
              <a:xfrm>
                <a:off x="8810381" y="4511012"/>
                <a:ext cx="93960" cy="285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98">
            <p14:nvContentPartPr>
              <p14:cNvPr id="203" name="Ink 202">
                <a:extLst>
                  <a:ext uri="{FF2B5EF4-FFF2-40B4-BE49-F238E27FC236}">
                    <a16:creationId xmlns:a16="http://schemas.microsoft.com/office/drawing/2014/main" id="{F8CF17E4-FB79-7626-1A7D-78CD75EAC749}"/>
                  </a:ext>
                </a:extLst>
              </p14:cNvPr>
              <p14:cNvContentPartPr/>
              <p14:nvPr/>
            </p14:nvContentPartPr>
            <p14:xfrm>
              <a:off x="9038981" y="4667252"/>
              <a:ext cx="19440" cy="3240"/>
            </p14:xfrm>
          </p:contentPart>
        </mc:Choice>
        <mc:Fallback>
          <p:pic>
            <p:nvPicPr>
              <p:cNvPr id="203" name="Ink 202">
                <a:extLst>
                  <a:ext uri="{FF2B5EF4-FFF2-40B4-BE49-F238E27FC236}">
                    <a16:creationId xmlns:a16="http://schemas.microsoft.com/office/drawing/2014/main" id="{F8CF17E4-FB79-7626-1A7D-78CD75EAC749}"/>
                  </a:ext>
                </a:extLst>
              </p:cNvPr>
              <p:cNvPicPr/>
              <p:nvPr/>
            </p:nvPicPr>
            <p:blipFill>
              <a:blip r:embed="rId199"/>
              <a:stretch>
                <a:fillRect/>
              </a:stretch>
            </p:blipFill>
            <p:spPr>
              <a:xfrm>
                <a:off x="9023861" y="4652132"/>
                <a:ext cx="50040" cy="334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00">
            <p14:nvContentPartPr>
              <p14:cNvPr id="204" name="Ink 203">
                <a:extLst>
                  <a:ext uri="{FF2B5EF4-FFF2-40B4-BE49-F238E27FC236}">
                    <a16:creationId xmlns:a16="http://schemas.microsoft.com/office/drawing/2014/main" id="{62E9CF52-6EDB-F50A-CE4F-2B2886C35326}"/>
                  </a:ext>
                </a:extLst>
              </p14:cNvPr>
              <p14:cNvContentPartPr/>
              <p14:nvPr/>
            </p14:nvContentPartPr>
            <p14:xfrm>
              <a:off x="9131861" y="4500212"/>
              <a:ext cx="145080" cy="191160"/>
            </p14:xfrm>
          </p:contentPart>
        </mc:Choice>
        <mc:Fallback>
          <p:pic>
            <p:nvPicPr>
              <p:cNvPr id="204" name="Ink 203">
                <a:extLst>
                  <a:ext uri="{FF2B5EF4-FFF2-40B4-BE49-F238E27FC236}">
                    <a16:creationId xmlns:a16="http://schemas.microsoft.com/office/drawing/2014/main" id="{62E9CF52-6EDB-F50A-CE4F-2B2886C35326}"/>
                  </a:ext>
                </a:extLst>
              </p:cNvPr>
              <p:cNvPicPr/>
              <p:nvPr/>
            </p:nvPicPr>
            <p:blipFill>
              <a:blip r:embed="rId201"/>
              <a:stretch>
                <a:fillRect/>
              </a:stretch>
            </p:blipFill>
            <p:spPr>
              <a:xfrm>
                <a:off x="9116741" y="4485092"/>
                <a:ext cx="175320" cy="2214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02">
            <p14:nvContentPartPr>
              <p14:cNvPr id="205" name="Ink 204">
                <a:extLst>
                  <a:ext uri="{FF2B5EF4-FFF2-40B4-BE49-F238E27FC236}">
                    <a16:creationId xmlns:a16="http://schemas.microsoft.com/office/drawing/2014/main" id="{B0CCBDB6-BC48-1720-2D75-B9A4F16B554C}"/>
                  </a:ext>
                </a:extLst>
              </p14:cNvPr>
              <p14:cNvContentPartPr/>
              <p14:nvPr/>
            </p14:nvContentPartPr>
            <p14:xfrm>
              <a:off x="9317981" y="4524692"/>
              <a:ext cx="109080" cy="167040"/>
            </p14:xfrm>
          </p:contentPart>
        </mc:Choice>
        <mc:Fallback>
          <p:pic>
            <p:nvPicPr>
              <p:cNvPr id="205" name="Ink 204">
                <a:extLst>
                  <a:ext uri="{FF2B5EF4-FFF2-40B4-BE49-F238E27FC236}">
                    <a16:creationId xmlns:a16="http://schemas.microsoft.com/office/drawing/2014/main" id="{B0CCBDB6-BC48-1720-2D75-B9A4F16B554C}"/>
                  </a:ext>
                </a:extLst>
              </p:cNvPr>
              <p:cNvPicPr/>
              <p:nvPr/>
            </p:nvPicPr>
            <p:blipFill>
              <a:blip r:embed="rId203"/>
              <a:stretch>
                <a:fillRect/>
              </a:stretch>
            </p:blipFill>
            <p:spPr>
              <a:xfrm>
                <a:off x="9302861" y="4509572"/>
                <a:ext cx="139320" cy="1972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04">
            <p14:nvContentPartPr>
              <p14:cNvPr id="206" name="Ink 205">
                <a:extLst>
                  <a:ext uri="{FF2B5EF4-FFF2-40B4-BE49-F238E27FC236}">
                    <a16:creationId xmlns:a16="http://schemas.microsoft.com/office/drawing/2014/main" id="{0F7BCBE6-E355-BA9C-4F5A-FC2C87FB0263}"/>
                  </a:ext>
                </a:extLst>
              </p14:cNvPr>
              <p14:cNvContentPartPr/>
              <p14:nvPr/>
            </p14:nvContentPartPr>
            <p14:xfrm>
              <a:off x="9490421" y="4488332"/>
              <a:ext cx="141480" cy="175320"/>
            </p14:xfrm>
          </p:contentPart>
        </mc:Choice>
        <mc:Fallback>
          <p:pic>
            <p:nvPicPr>
              <p:cNvPr id="206" name="Ink 205">
                <a:extLst>
                  <a:ext uri="{FF2B5EF4-FFF2-40B4-BE49-F238E27FC236}">
                    <a16:creationId xmlns:a16="http://schemas.microsoft.com/office/drawing/2014/main" id="{0F7BCBE6-E355-BA9C-4F5A-FC2C87FB0263}"/>
                  </a:ext>
                </a:extLst>
              </p:cNvPr>
              <p:cNvPicPr/>
              <p:nvPr/>
            </p:nvPicPr>
            <p:blipFill>
              <a:blip r:embed="rId205"/>
              <a:stretch>
                <a:fillRect/>
              </a:stretch>
            </p:blipFill>
            <p:spPr>
              <a:xfrm>
                <a:off x="9475301" y="4473212"/>
                <a:ext cx="171720" cy="2059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06">
            <p14:nvContentPartPr>
              <p14:cNvPr id="207" name="Ink 206">
                <a:extLst>
                  <a:ext uri="{FF2B5EF4-FFF2-40B4-BE49-F238E27FC236}">
                    <a16:creationId xmlns:a16="http://schemas.microsoft.com/office/drawing/2014/main" id="{EF8A2E9D-D3AC-8EEB-2932-BDB7989AE7CD}"/>
                  </a:ext>
                </a:extLst>
              </p14:cNvPr>
              <p14:cNvContentPartPr/>
              <p14:nvPr/>
            </p14:nvContentPartPr>
            <p14:xfrm>
              <a:off x="9532541" y="4575812"/>
              <a:ext cx="83520" cy="82800"/>
            </p14:xfrm>
          </p:contentPart>
        </mc:Choice>
        <mc:Fallback>
          <p:pic>
            <p:nvPicPr>
              <p:cNvPr id="207" name="Ink 206">
                <a:extLst>
                  <a:ext uri="{FF2B5EF4-FFF2-40B4-BE49-F238E27FC236}">
                    <a16:creationId xmlns:a16="http://schemas.microsoft.com/office/drawing/2014/main" id="{EF8A2E9D-D3AC-8EEB-2932-BDB7989AE7CD}"/>
                  </a:ext>
                </a:extLst>
              </p:cNvPr>
              <p:cNvPicPr/>
              <p:nvPr/>
            </p:nvPicPr>
            <p:blipFill>
              <a:blip r:embed="rId207"/>
              <a:stretch>
                <a:fillRect/>
              </a:stretch>
            </p:blipFill>
            <p:spPr>
              <a:xfrm>
                <a:off x="9517421" y="4560332"/>
                <a:ext cx="113760" cy="1130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08">
            <p14:nvContentPartPr>
              <p14:cNvPr id="208" name="Ink 207">
                <a:extLst>
                  <a:ext uri="{FF2B5EF4-FFF2-40B4-BE49-F238E27FC236}">
                    <a16:creationId xmlns:a16="http://schemas.microsoft.com/office/drawing/2014/main" id="{C5A8C3FE-9596-381F-4B50-D039E18D573B}"/>
                  </a:ext>
                </a:extLst>
              </p14:cNvPr>
              <p14:cNvContentPartPr/>
              <p14:nvPr/>
            </p14:nvContentPartPr>
            <p14:xfrm>
              <a:off x="9648101" y="4490492"/>
              <a:ext cx="91440" cy="205200"/>
            </p14:xfrm>
          </p:contentPart>
        </mc:Choice>
        <mc:Fallback>
          <p:pic>
            <p:nvPicPr>
              <p:cNvPr id="208" name="Ink 207">
                <a:extLst>
                  <a:ext uri="{FF2B5EF4-FFF2-40B4-BE49-F238E27FC236}">
                    <a16:creationId xmlns:a16="http://schemas.microsoft.com/office/drawing/2014/main" id="{C5A8C3FE-9596-381F-4B50-D039E18D573B}"/>
                  </a:ext>
                </a:extLst>
              </p:cNvPr>
              <p:cNvPicPr/>
              <p:nvPr/>
            </p:nvPicPr>
            <p:blipFill>
              <a:blip r:embed="rId209"/>
              <a:stretch>
                <a:fillRect/>
              </a:stretch>
            </p:blipFill>
            <p:spPr>
              <a:xfrm>
                <a:off x="9632981" y="4475372"/>
                <a:ext cx="122040" cy="2358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10">
            <p14:nvContentPartPr>
              <p14:cNvPr id="209" name="Ink 208">
                <a:extLst>
                  <a:ext uri="{FF2B5EF4-FFF2-40B4-BE49-F238E27FC236}">
                    <a16:creationId xmlns:a16="http://schemas.microsoft.com/office/drawing/2014/main" id="{011CAF5A-2466-E2F2-77E5-29FC54F821B7}"/>
                  </a:ext>
                </a:extLst>
              </p14:cNvPr>
              <p14:cNvContentPartPr/>
              <p14:nvPr/>
            </p14:nvContentPartPr>
            <p14:xfrm>
              <a:off x="9944381" y="4416692"/>
              <a:ext cx="244800" cy="149760"/>
            </p14:xfrm>
          </p:contentPart>
        </mc:Choice>
        <mc:Fallback>
          <p:pic>
            <p:nvPicPr>
              <p:cNvPr id="209" name="Ink 208">
                <a:extLst>
                  <a:ext uri="{FF2B5EF4-FFF2-40B4-BE49-F238E27FC236}">
                    <a16:creationId xmlns:a16="http://schemas.microsoft.com/office/drawing/2014/main" id="{011CAF5A-2466-E2F2-77E5-29FC54F821B7}"/>
                  </a:ext>
                </a:extLst>
              </p:cNvPr>
              <p:cNvPicPr/>
              <p:nvPr/>
            </p:nvPicPr>
            <p:blipFill>
              <a:blip r:embed="rId211"/>
              <a:stretch>
                <a:fillRect/>
              </a:stretch>
            </p:blipFill>
            <p:spPr>
              <a:xfrm>
                <a:off x="9929261" y="4401212"/>
                <a:ext cx="275040" cy="180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12">
            <p14:nvContentPartPr>
              <p14:cNvPr id="210" name="Ink 209">
                <a:extLst>
                  <a:ext uri="{FF2B5EF4-FFF2-40B4-BE49-F238E27FC236}">
                    <a16:creationId xmlns:a16="http://schemas.microsoft.com/office/drawing/2014/main" id="{F520C792-62A6-9A0B-EDCB-E14C230348DF}"/>
                  </a:ext>
                </a:extLst>
              </p14:cNvPr>
              <p14:cNvContentPartPr/>
              <p14:nvPr/>
            </p14:nvContentPartPr>
            <p14:xfrm>
              <a:off x="10258301" y="4435412"/>
              <a:ext cx="84240" cy="160200"/>
            </p14:xfrm>
          </p:contentPart>
        </mc:Choice>
        <mc:Fallback>
          <p:pic>
            <p:nvPicPr>
              <p:cNvPr id="210" name="Ink 209">
                <a:extLst>
                  <a:ext uri="{FF2B5EF4-FFF2-40B4-BE49-F238E27FC236}">
                    <a16:creationId xmlns:a16="http://schemas.microsoft.com/office/drawing/2014/main" id="{F520C792-62A6-9A0B-EDCB-E14C230348DF}"/>
                  </a:ext>
                </a:extLst>
              </p:cNvPr>
              <p:cNvPicPr/>
              <p:nvPr/>
            </p:nvPicPr>
            <p:blipFill>
              <a:blip r:embed="rId213"/>
              <a:stretch>
                <a:fillRect/>
              </a:stretch>
            </p:blipFill>
            <p:spPr>
              <a:xfrm>
                <a:off x="10242821" y="4420292"/>
                <a:ext cx="114840" cy="1908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14">
            <p14:nvContentPartPr>
              <p14:cNvPr id="211" name="Ink 210">
                <a:extLst>
                  <a:ext uri="{FF2B5EF4-FFF2-40B4-BE49-F238E27FC236}">
                    <a16:creationId xmlns:a16="http://schemas.microsoft.com/office/drawing/2014/main" id="{5A998F1D-2F07-ACBA-1B9A-415E9CE5E090}"/>
                  </a:ext>
                </a:extLst>
              </p14:cNvPr>
              <p14:cNvContentPartPr/>
              <p14:nvPr/>
            </p14:nvContentPartPr>
            <p14:xfrm>
              <a:off x="10398701" y="4455572"/>
              <a:ext cx="49680" cy="134280"/>
            </p14:xfrm>
          </p:contentPart>
        </mc:Choice>
        <mc:Fallback>
          <p:pic>
            <p:nvPicPr>
              <p:cNvPr id="211" name="Ink 210">
                <a:extLst>
                  <a:ext uri="{FF2B5EF4-FFF2-40B4-BE49-F238E27FC236}">
                    <a16:creationId xmlns:a16="http://schemas.microsoft.com/office/drawing/2014/main" id="{5A998F1D-2F07-ACBA-1B9A-415E9CE5E090}"/>
                  </a:ext>
                </a:extLst>
              </p:cNvPr>
              <p:cNvPicPr/>
              <p:nvPr/>
            </p:nvPicPr>
            <p:blipFill>
              <a:blip r:embed="rId215"/>
              <a:stretch>
                <a:fillRect/>
              </a:stretch>
            </p:blipFill>
            <p:spPr>
              <a:xfrm>
                <a:off x="10383581" y="4440452"/>
                <a:ext cx="80280" cy="1648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16">
            <p14:nvContentPartPr>
              <p14:cNvPr id="212" name="Ink 211">
                <a:extLst>
                  <a:ext uri="{FF2B5EF4-FFF2-40B4-BE49-F238E27FC236}">
                    <a16:creationId xmlns:a16="http://schemas.microsoft.com/office/drawing/2014/main" id="{21AF5E0F-BC35-90DA-8E56-587ABCA2A9A7}"/>
                  </a:ext>
                </a:extLst>
              </p14:cNvPr>
              <p14:cNvContentPartPr/>
              <p14:nvPr/>
            </p14:nvContentPartPr>
            <p14:xfrm>
              <a:off x="10268381" y="4354052"/>
              <a:ext cx="319320" cy="320760"/>
            </p14:xfrm>
          </p:contentPart>
        </mc:Choice>
        <mc:Fallback>
          <p:pic>
            <p:nvPicPr>
              <p:cNvPr id="212" name="Ink 211">
                <a:extLst>
                  <a:ext uri="{FF2B5EF4-FFF2-40B4-BE49-F238E27FC236}">
                    <a16:creationId xmlns:a16="http://schemas.microsoft.com/office/drawing/2014/main" id="{21AF5E0F-BC35-90DA-8E56-587ABCA2A9A7}"/>
                  </a:ext>
                </a:extLst>
              </p:cNvPr>
              <p:cNvPicPr/>
              <p:nvPr/>
            </p:nvPicPr>
            <p:blipFill>
              <a:blip r:embed="rId217"/>
              <a:stretch>
                <a:fillRect/>
              </a:stretch>
            </p:blipFill>
            <p:spPr>
              <a:xfrm>
                <a:off x="10253261" y="4338932"/>
                <a:ext cx="349920" cy="3513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18">
            <p14:nvContentPartPr>
              <p14:cNvPr id="213" name="Ink 212">
                <a:extLst>
                  <a:ext uri="{FF2B5EF4-FFF2-40B4-BE49-F238E27FC236}">
                    <a16:creationId xmlns:a16="http://schemas.microsoft.com/office/drawing/2014/main" id="{FC1BB648-A032-EE48-6F4B-3FD38DB1994F}"/>
                  </a:ext>
                </a:extLst>
              </p14:cNvPr>
              <p14:cNvContentPartPr/>
              <p14:nvPr/>
            </p14:nvContentPartPr>
            <p14:xfrm>
              <a:off x="5915621" y="4149572"/>
              <a:ext cx="134640" cy="566640"/>
            </p14:xfrm>
          </p:contentPart>
        </mc:Choice>
        <mc:Fallback>
          <p:pic>
            <p:nvPicPr>
              <p:cNvPr id="213" name="Ink 212">
                <a:extLst>
                  <a:ext uri="{FF2B5EF4-FFF2-40B4-BE49-F238E27FC236}">
                    <a16:creationId xmlns:a16="http://schemas.microsoft.com/office/drawing/2014/main" id="{FC1BB648-A032-EE48-6F4B-3FD38DB1994F}"/>
                  </a:ext>
                </a:extLst>
              </p:cNvPr>
              <p:cNvPicPr/>
              <p:nvPr/>
            </p:nvPicPr>
            <p:blipFill>
              <a:blip r:embed="rId219"/>
              <a:stretch>
                <a:fillRect/>
              </a:stretch>
            </p:blipFill>
            <p:spPr>
              <a:xfrm>
                <a:off x="5900501" y="4134452"/>
                <a:ext cx="164880" cy="5972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20">
            <p14:nvContentPartPr>
              <p14:cNvPr id="214" name="Ink 213">
                <a:extLst>
                  <a:ext uri="{FF2B5EF4-FFF2-40B4-BE49-F238E27FC236}">
                    <a16:creationId xmlns:a16="http://schemas.microsoft.com/office/drawing/2014/main" id="{6CE49D28-7468-DB7A-ED22-D625FCD72C7B}"/>
                  </a:ext>
                </a:extLst>
              </p14:cNvPr>
              <p14:cNvContentPartPr/>
              <p14:nvPr/>
            </p14:nvContentPartPr>
            <p14:xfrm>
              <a:off x="5845421" y="5259812"/>
              <a:ext cx="146160" cy="217080"/>
            </p14:xfrm>
          </p:contentPart>
        </mc:Choice>
        <mc:Fallback>
          <p:pic>
            <p:nvPicPr>
              <p:cNvPr id="214" name="Ink 213">
                <a:extLst>
                  <a:ext uri="{FF2B5EF4-FFF2-40B4-BE49-F238E27FC236}">
                    <a16:creationId xmlns:a16="http://schemas.microsoft.com/office/drawing/2014/main" id="{6CE49D28-7468-DB7A-ED22-D625FCD72C7B}"/>
                  </a:ext>
                </a:extLst>
              </p:cNvPr>
              <p:cNvPicPr/>
              <p:nvPr/>
            </p:nvPicPr>
            <p:blipFill>
              <a:blip r:embed="rId221"/>
              <a:stretch>
                <a:fillRect/>
              </a:stretch>
            </p:blipFill>
            <p:spPr>
              <a:xfrm>
                <a:off x="5830301" y="5244692"/>
                <a:ext cx="176760" cy="2476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22">
            <p14:nvContentPartPr>
              <p14:cNvPr id="215" name="Ink 214">
                <a:extLst>
                  <a:ext uri="{FF2B5EF4-FFF2-40B4-BE49-F238E27FC236}">
                    <a16:creationId xmlns:a16="http://schemas.microsoft.com/office/drawing/2014/main" id="{AA08014D-C011-B2AE-C26D-926C3732BFB2}"/>
                  </a:ext>
                </a:extLst>
              </p14:cNvPr>
              <p14:cNvContentPartPr/>
              <p14:nvPr/>
            </p14:nvContentPartPr>
            <p14:xfrm>
              <a:off x="6034421" y="5254412"/>
              <a:ext cx="81720" cy="225000"/>
            </p14:xfrm>
          </p:contentPart>
        </mc:Choice>
        <mc:Fallback>
          <p:pic>
            <p:nvPicPr>
              <p:cNvPr id="215" name="Ink 214">
                <a:extLst>
                  <a:ext uri="{FF2B5EF4-FFF2-40B4-BE49-F238E27FC236}">
                    <a16:creationId xmlns:a16="http://schemas.microsoft.com/office/drawing/2014/main" id="{AA08014D-C011-B2AE-C26D-926C3732BFB2}"/>
                  </a:ext>
                </a:extLst>
              </p:cNvPr>
              <p:cNvPicPr/>
              <p:nvPr/>
            </p:nvPicPr>
            <p:blipFill>
              <a:blip r:embed="rId223"/>
              <a:stretch>
                <a:fillRect/>
              </a:stretch>
            </p:blipFill>
            <p:spPr>
              <a:xfrm>
                <a:off x="6018941" y="5238932"/>
                <a:ext cx="112320" cy="255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24">
            <p14:nvContentPartPr>
              <p14:cNvPr id="216" name="Ink 215">
                <a:extLst>
                  <a:ext uri="{FF2B5EF4-FFF2-40B4-BE49-F238E27FC236}">
                    <a16:creationId xmlns:a16="http://schemas.microsoft.com/office/drawing/2014/main" id="{45127ECF-C342-538F-AF23-92B3976D06E1}"/>
                  </a:ext>
                </a:extLst>
              </p14:cNvPr>
              <p14:cNvContentPartPr/>
              <p14:nvPr/>
            </p14:nvContentPartPr>
            <p14:xfrm>
              <a:off x="6178061" y="5268812"/>
              <a:ext cx="153000" cy="214200"/>
            </p14:xfrm>
          </p:contentPart>
        </mc:Choice>
        <mc:Fallback>
          <p:pic>
            <p:nvPicPr>
              <p:cNvPr id="216" name="Ink 215">
                <a:extLst>
                  <a:ext uri="{FF2B5EF4-FFF2-40B4-BE49-F238E27FC236}">
                    <a16:creationId xmlns:a16="http://schemas.microsoft.com/office/drawing/2014/main" id="{45127ECF-C342-538F-AF23-92B3976D06E1}"/>
                  </a:ext>
                </a:extLst>
              </p:cNvPr>
              <p:cNvPicPr/>
              <p:nvPr/>
            </p:nvPicPr>
            <p:blipFill>
              <a:blip r:embed="rId225"/>
              <a:stretch>
                <a:fillRect/>
              </a:stretch>
            </p:blipFill>
            <p:spPr>
              <a:xfrm>
                <a:off x="6162581" y="5253692"/>
                <a:ext cx="183600" cy="2448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26">
            <p14:nvContentPartPr>
              <p14:cNvPr id="217" name="Ink 216">
                <a:extLst>
                  <a:ext uri="{FF2B5EF4-FFF2-40B4-BE49-F238E27FC236}">
                    <a16:creationId xmlns:a16="http://schemas.microsoft.com/office/drawing/2014/main" id="{6F023816-4841-4E12-BF81-8FE215822E10}"/>
                  </a:ext>
                </a:extLst>
              </p14:cNvPr>
              <p14:cNvContentPartPr/>
              <p14:nvPr/>
            </p14:nvContentPartPr>
            <p14:xfrm>
              <a:off x="6193901" y="5354852"/>
              <a:ext cx="115200" cy="57240"/>
            </p14:xfrm>
          </p:contentPart>
        </mc:Choice>
        <mc:Fallback>
          <p:pic>
            <p:nvPicPr>
              <p:cNvPr id="217" name="Ink 216">
                <a:extLst>
                  <a:ext uri="{FF2B5EF4-FFF2-40B4-BE49-F238E27FC236}">
                    <a16:creationId xmlns:a16="http://schemas.microsoft.com/office/drawing/2014/main" id="{6F023816-4841-4E12-BF81-8FE215822E10}"/>
                  </a:ext>
                </a:extLst>
              </p:cNvPr>
              <p:cNvPicPr/>
              <p:nvPr/>
            </p:nvPicPr>
            <p:blipFill>
              <a:blip r:embed="rId227"/>
              <a:stretch>
                <a:fillRect/>
              </a:stretch>
            </p:blipFill>
            <p:spPr>
              <a:xfrm>
                <a:off x="6178421" y="5339372"/>
                <a:ext cx="145800" cy="878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28">
            <p14:nvContentPartPr>
              <p14:cNvPr id="218" name="Ink 217">
                <a:extLst>
                  <a:ext uri="{FF2B5EF4-FFF2-40B4-BE49-F238E27FC236}">
                    <a16:creationId xmlns:a16="http://schemas.microsoft.com/office/drawing/2014/main" id="{8D6093D8-62CE-FACB-CBA0-8F705BB7D6ED}"/>
                  </a:ext>
                </a:extLst>
              </p14:cNvPr>
              <p14:cNvContentPartPr/>
              <p14:nvPr/>
            </p14:nvContentPartPr>
            <p14:xfrm>
              <a:off x="6396221" y="5282492"/>
              <a:ext cx="23400" cy="185760"/>
            </p14:xfrm>
          </p:contentPart>
        </mc:Choice>
        <mc:Fallback>
          <p:pic>
            <p:nvPicPr>
              <p:cNvPr id="218" name="Ink 217">
                <a:extLst>
                  <a:ext uri="{FF2B5EF4-FFF2-40B4-BE49-F238E27FC236}">
                    <a16:creationId xmlns:a16="http://schemas.microsoft.com/office/drawing/2014/main" id="{8D6093D8-62CE-FACB-CBA0-8F705BB7D6ED}"/>
                  </a:ext>
                </a:extLst>
              </p:cNvPr>
              <p:cNvPicPr/>
              <p:nvPr/>
            </p:nvPicPr>
            <p:blipFill>
              <a:blip r:embed="rId229"/>
              <a:stretch>
                <a:fillRect/>
              </a:stretch>
            </p:blipFill>
            <p:spPr>
              <a:xfrm>
                <a:off x="6381101" y="5267012"/>
                <a:ext cx="54000" cy="2163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30">
            <p14:nvContentPartPr>
              <p14:cNvPr id="219" name="Ink 218">
                <a:extLst>
                  <a:ext uri="{FF2B5EF4-FFF2-40B4-BE49-F238E27FC236}">
                    <a16:creationId xmlns:a16="http://schemas.microsoft.com/office/drawing/2014/main" id="{46531462-85D7-9BFE-4B69-91128AA03930}"/>
                  </a:ext>
                </a:extLst>
              </p14:cNvPr>
              <p14:cNvContentPartPr/>
              <p14:nvPr/>
            </p14:nvContentPartPr>
            <p14:xfrm>
              <a:off x="6490901" y="5314172"/>
              <a:ext cx="145440" cy="179280"/>
            </p14:xfrm>
          </p:contentPart>
        </mc:Choice>
        <mc:Fallback>
          <p:pic>
            <p:nvPicPr>
              <p:cNvPr id="219" name="Ink 218">
                <a:extLst>
                  <a:ext uri="{FF2B5EF4-FFF2-40B4-BE49-F238E27FC236}">
                    <a16:creationId xmlns:a16="http://schemas.microsoft.com/office/drawing/2014/main" id="{46531462-85D7-9BFE-4B69-91128AA03930}"/>
                  </a:ext>
                </a:extLst>
              </p:cNvPr>
              <p:cNvPicPr/>
              <p:nvPr/>
            </p:nvPicPr>
            <p:blipFill>
              <a:blip r:embed="rId231"/>
              <a:stretch>
                <a:fillRect/>
              </a:stretch>
            </p:blipFill>
            <p:spPr>
              <a:xfrm>
                <a:off x="6475781" y="5299052"/>
                <a:ext cx="176040" cy="2098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32">
            <p14:nvContentPartPr>
              <p14:cNvPr id="220" name="Ink 219">
                <a:extLst>
                  <a:ext uri="{FF2B5EF4-FFF2-40B4-BE49-F238E27FC236}">
                    <a16:creationId xmlns:a16="http://schemas.microsoft.com/office/drawing/2014/main" id="{888DCDE8-700B-DDF9-A293-BB535FC5EAFF}"/>
                  </a:ext>
                </a:extLst>
              </p14:cNvPr>
              <p14:cNvContentPartPr/>
              <p14:nvPr/>
            </p14:nvContentPartPr>
            <p14:xfrm>
              <a:off x="6717701" y="5257652"/>
              <a:ext cx="93600" cy="207720"/>
            </p14:xfrm>
          </p:contentPart>
        </mc:Choice>
        <mc:Fallback>
          <p:pic>
            <p:nvPicPr>
              <p:cNvPr id="220" name="Ink 219">
                <a:extLst>
                  <a:ext uri="{FF2B5EF4-FFF2-40B4-BE49-F238E27FC236}">
                    <a16:creationId xmlns:a16="http://schemas.microsoft.com/office/drawing/2014/main" id="{888DCDE8-700B-DDF9-A293-BB535FC5EAFF}"/>
                  </a:ext>
                </a:extLst>
              </p:cNvPr>
              <p:cNvPicPr/>
              <p:nvPr/>
            </p:nvPicPr>
            <p:blipFill>
              <a:blip r:embed="rId233"/>
              <a:stretch>
                <a:fillRect/>
              </a:stretch>
            </p:blipFill>
            <p:spPr>
              <a:xfrm>
                <a:off x="6702581" y="5242532"/>
                <a:ext cx="124200" cy="238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34">
            <p14:nvContentPartPr>
              <p14:cNvPr id="221" name="Ink 220">
                <a:extLst>
                  <a:ext uri="{FF2B5EF4-FFF2-40B4-BE49-F238E27FC236}">
                    <a16:creationId xmlns:a16="http://schemas.microsoft.com/office/drawing/2014/main" id="{93AA8A37-C339-E1F5-C13B-1417E008F199}"/>
                  </a:ext>
                </a:extLst>
              </p14:cNvPr>
              <p14:cNvContentPartPr/>
              <p14:nvPr/>
            </p14:nvContentPartPr>
            <p14:xfrm>
              <a:off x="6831821" y="5358812"/>
              <a:ext cx="23760" cy="14040"/>
            </p14:xfrm>
          </p:contentPart>
        </mc:Choice>
        <mc:Fallback>
          <p:pic>
            <p:nvPicPr>
              <p:cNvPr id="221" name="Ink 220">
                <a:extLst>
                  <a:ext uri="{FF2B5EF4-FFF2-40B4-BE49-F238E27FC236}">
                    <a16:creationId xmlns:a16="http://schemas.microsoft.com/office/drawing/2014/main" id="{93AA8A37-C339-E1F5-C13B-1417E008F199}"/>
                  </a:ext>
                </a:extLst>
              </p:cNvPr>
              <p:cNvPicPr/>
              <p:nvPr/>
            </p:nvPicPr>
            <p:blipFill>
              <a:blip r:embed="rId235"/>
              <a:stretch>
                <a:fillRect/>
              </a:stretch>
            </p:blipFill>
            <p:spPr>
              <a:xfrm>
                <a:off x="6816341" y="5343332"/>
                <a:ext cx="54000" cy="442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36">
            <p14:nvContentPartPr>
              <p14:cNvPr id="222" name="Ink 221">
                <a:extLst>
                  <a:ext uri="{FF2B5EF4-FFF2-40B4-BE49-F238E27FC236}">
                    <a16:creationId xmlns:a16="http://schemas.microsoft.com/office/drawing/2014/main" id="{F45881CA-3049-3C7A-5A56-3233B19A44D6}"/>
                  </a:ext>
                </a:extLst>
              </p14:cNvPr>
              <p14:cNvContentPartPr/>
              <p14:nvPr/>
            </p14:nvContentPartPr>
            <p14:xfrm>
              <a:off x="7002101" y="5240732"/>
              <a:ext cx="135000" cy="248400"/>
            </p14:xfrm>
          </p:contentPart>
        </mc:Choice>
        <mc:Fallback>
          <p:pic>
            <p:nvPicPr>
              <p:cNvPr id="222" name="Ink 221">
                <a:extLst>
                  <a:ext uri="{FF2B5EF4-FFF2-40B4-BE49-F238E27FC236}">
                    <a16:creationId xmlns:a16="http://schemas.microsoft.com/office/drawing/2014/main" id="{F45881CA-3049-3C7A-5A56-3233B19A44D6}"/>
                  </a:ext>
                </a:extLst>
              </p:cNvPr>
              <p:cNvPicPr/>
              <p:nvPr/>
            </p:nvPicPr>
            <p:blipFill>
              <a:blip r:embed="rId237"/>
              <a:stretch>
                <a:fillRect/>
              </a:stretch>
            </p:blipFill>
            <p:spPr>
              <a:xfrm>
                <a:off x="6986981" y="5225252"/>
                <a:ext cx="165240" cy="279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38">
            <p14:nvContentPartPr>
              <p14:cNvPr id="223" name="Ink 222">
                <a:extLst>
                  <a:ext uri="{FF2B5EF4-FFF2-40B4-BE49-F238E27FC236}">
                    <a16:creationId xmlns:a16="http://schemas.microsoft.com/office/drawing/2014/main" id="{A9963AED-4E68-F5A5-FCCA-A863C20CAE68}"/>
                  </a:ext>
                </a:extLst>
              </p14:cNvPr>
              <p14:cNvContentPartPr/>
              <p14:nvPr/>
            </p14:nvContentPartPr>
            <p14:xfrm>
              <a:off x="7177781" y="5253332"/>
              <a:ext cx="82800" cy="199080"/>
            </p14:xfrm>
          </p:contentPart>
        </mc:Choice>
        <mc:Fallback>
          <p:pic>
            <p:nvPicPr>
              <p:cNvPr id="223" name="Ink 222">
                <a:extLst>
                  <a:ext uri="{FF2B5EF4-FFF2-40B4-BE49-F238E27FC236}">
                    <a16:creationId xmlns:a16="http://schemas.microsoft.com/office/drawing/2014/main" id="{A9963AED-4E68-F5A5-FCCA-A863C20CAE68}"/>
                  </a:ext>
                </a:extLst>
              </p:cNvPr>
              <p:cNvPicPr/>
              <p:nvPr/>
            </p:nvPicPr>
            <p:blipFill>
              <a:blip r:embed="rId239"/>
              <a:stretch>
                <a:fillRect/>
              </a:stretch>
            </p:blipFill>
            <p:spPr>
              <a:xfrm>
                <a:off x="7162661" y="5238212"/>
                <a:ext cx="113040" cy="229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40">
            <p14:nvContentPartPr>
              <p14:cNvPr id="224" name="Ink 223">
                <a:extLst>
                  <a:ext uri="{FF2B5EF4-FFF2-40B4-BE49-F238E27FC236}">
                    <a16:creationId xmlns:a16="http://schemas.microsoft.com/office/drawing/2014/main" id="{A80C69C6-F80B-8BBE-0D8F-0B9968214C64}"/>
                  </a:ext>
                </a:extLst>
              </p14:cNvPr>
              <p14:cNvContentPartPr/>
              <p14:nvPr/>
            </p14:nvContentPartPr>
            <p14:xfrm>
              <a:off x="7319981" y="5258372"/>
              <a:ext cx="145080" cy="188640"/>
            </p14:xfrm>
          </p:contentPart>
        </mc:Choice>
        <mc:Fallback>
          <p:pic>
            <p:nvPicPr>
              <p:cNvPr id="224" name="Ink 223">
                <a:extLst>
                  <a:ext uri="{FF2B5EF4-FFF2-40B4-BE49-F238E27FC236}">
                    <a16:creationId xmlns:a16="http://schemas.microsoft.com/office/drawing/2014/main" id="{A80C69C6-F80B-8BBE-0D8F-0B9968214C64}"/>
                  </a:ext>
                </a:extLst>
              </p:cNvPr>
              <p:cNvPicPr/>
              <p:nvPr/>
            </p:nvPicPr>
            <p:blipFill>
              <a:blip r:embed="rId241"/>
              <a:stretch>
                <a:fillRect/>
              </a:stretch>
            </p:blipFill>
            <p:spPr>
              <a:xfrm>
                <a:off x="7304501" y="5243252"/>
                <a:ext cx="175680" cy="2192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42">
            <p14:nvContentPartPr>
              <p14:cNvPr id="225" name="Ink 224">
                <a:extLst>
                  <a:ext uri="{FF2B5EF4-FFF2-40B4-BE49-F238E27FC236}">
                    <a16:creationId xmlns:a16="http://schemas.microsoft.com/office/drawing/2014/main" id="{17934E52-A403-F00C-6F22-BE2B72B72948}"/>
                  </a:ext>
                </a:extLst>
              </p14:cNvPr>
              <p14:cNvContentPartPr/>
              <p14:nvPr/>
            </p14:nvContentPartPr>
            <p14:xfrm>
              <a:off x="7535621" y="5258732"/>
              <a:ext cx="56880" cy="187920"/>
            </p14:xfrm>
          </p:contentPart>
        </mc:Choice>
        <mc:Fallback>
          <p:pic>
            <p:nvPicPr>
              <p:cNvPr id="225" name="Ink 224">
                <a:extLst>
                  <a:ext uri="{FF2B5EF4-FFF2-40B4-BE49-F238E27FC236}">
                    <a16:creationId xmlns:a16="http://schemas.microsoft.com/office/drawing/2014/main" id="{17934E52-A403-F00C-6F22-BE2B72B72948}"/>
                  </a:ext>
                </a:extLst>
              </p:cNvPr>
              <p:cNvPicPr/>
              <p:nvPr/>
            </p:nvPicPr>
            <p:blipFill>
              <a:blip r:embed="rId243"/>
              <a:stretch>
                <a:fillRect/>
              </a:stretch>
            </p:blipFill>
            <p:spPr>
              <a:xfrm>
                <a:off x="7520501" y="5243612"/>
                <a:ext cx="87480" cy="2185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44">
            <p14:nvContentPartPr>
              <p14:cNvPr id="226" name="Ink 225">
                <a:extLst>
                  <a:ext uri="{FF2B5EF4-FFF2-40B4-BE49-F238E27FC236}">
                    <a16:creationId xmlns:a16="http://schemas.microsoft.com/office/drawing/2014/main" id="{07F711A2-0862-2C2C-33C7-C2DE648959F9}"/>
                  </a:ext>
                </a:extLst>
              </p14:cNvPr>
              <p14:cNvContentPartPr/>
              <p14:nvPr/>
            </p14:nvContentPartPr>
            <p14:xfrm>
              <a:off x="7723901" y="5291492"/>
              <a:ext cx="108720" cy="10440"/>
            </p14:xfrm>
          </p:contentPart>
        </mc:Choice>
        <mc:Fallback>
          <p:pic>
            <p:nvPicPr>
              <p:cNvPr id="226" name="Ink 225">
                <a:extLst>
                  <a:ext uri="{FF2B5EF4-FFF2-40B4-BE49-F238E27FC236}">
                    <a16:creationId xmlns:a16="http://schemas.microsoft.com/office/drawing/2014/main" id="{07F711A2-0862-2C2C-33C7-C2DE648959F9}"/>
                  </a:ext>
                </a:extLst>
              </p:cNvPr>
              <p:cNvPicPr/>
              <p:nvPr/>
            </p:nvPicPr>
            <p:blipFill>
              <a:blip r:embed="rId245"/>
              <a:stretch>
                <a:fillRect/>
              </a:stretch>
            </p:blipFill>
            <p:spPr>
              <a:xfrm>
                <a:off x="7708781" y="5276012"/>
                <a:ext cx="139320" cy="410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46">
            <p14:nvContentPartPr>
              <p14:cNvPr id="227" name="Ink 226">
                <a:extLst>
                  <a:ext uri="{FF2B5EF4-FFF2-40B4-BE49-F238E27FC236}">
                    <a16:creationId xmlns:a16="http://schemas.microsoft.com/office/drawing/2014/main" id="{48CB377C-4C61-1122-2F88-794D970F190F}"/>
                  </a:ext>
                </a:extLst>
              </p14:cNvPr>
              <p14:cNvContentPartPr/>
              <p14:nvPr/>
            </p14:nvContentPartPr>
            <p14:xfrm>
              <a:off x="7762781" y="5372492"/>
              <a:ext cx="74880" cy="10440"/>
            </p14:xfrm>
          </p:contentPart>
        </mc:Choice>
        <mc:Fallback>
          <p:pic>
            <p:nvPicPr>
              <p:cNvPr id="227" name="Ink 226">
                <a:extLst>
                  <a:ext uri="{FF2B5EF4-FFF2-40B4-BE49-F238E27FC236}">
                    <a16:creationId xmlns:a16="http://schemas.microsoft.com/office/drawing/2014/main" id="{48CB377C-4C61-1122-2F88-794D970F190F}"/>
                  </a:ext>
                </a:extLst>
              </p:cNvPr>
              <p:cNvPicPr/>
              <p:nvPr/>
            </p:nvPicPr>
            <p:blipFill>
              <a:blip r:embed="rId247"/>
              <a:stretch>
                <a:fillRect/>
              </a:stretch>
            </p:blipFill>
            <p:spPr>
              <a:xfrm>
                <a:off x="7747661" y="5357372"/>
                <a:ext cx="105120" cy="406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48">
            <p14:nvContentPartPr>
              <p14:cNvPr id="228" name="Ink 227">
                <a:extLst>
                  <a:ext uri="{FF2B5EF4-FFF2-40B4-BE49-F238E27FC236}">
                    <a16:creationId xmlns:a16="http://schemas.microsoft.com/office/drawing/2014/main" id="{B743DBA2-7CA9-5DBF-2C3A-CAF63BBADECF}"/>
                  </a:ext>
                </a:extLst>
              </p14:cNvPr>
              <p14:cNvContentPartPr/>
              <p14:nvPr/>
            </p14:nvContentPartPr>
            <p14:xfrm>
              <a:off x="8102621" y="5146412"/>
              <a:ext cx="124200" cy="198360"/>
            </p14:xfrm>
          </p:contentPart>
        </mc:Choice>
        <mc:Fallback>
          <p:pic>
            <p:nvPicPr>
              <p:cNvPr id="228" name="Ink 227">
                <a:extLst>
                  <a:ext uri="{FF2B5EF4-FFF2-40B4-BE49-F238E27FC236}">
                    <a16:creationId xmlns:a16="http://schemas.microsoft.com/office/drawing/2014/main" id="{B743DBA2-7CA9-5DBF-2C3A-CAF63BBADECF}"/>
                  </a:ext>
                </a:extLst>
              </p:cNvPr>
              <p:cNvPicPr/>
              <p:nvPr/>
            </p:nvPicPr>
            <p:blipFill>
              <a:blip r:embed="rId249"/>
              <a:stretch>
                <a:fillRect/>
              </a:stretch>
            </p:blipFill>
            <p:spPr>
              <a:xfrm>
                <a:off x="8087501" y="5131292"/>
                <a:ext cx="154440" cy="2289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50">
            <p14:nvContentPartPr>
              <p14:cNvPr id="229" name="Ink 228">
                <a:extLst>
                  <a:ext uri="{FF2B5EF4-FFF2-40B4-BE49-F238E27FC236}">
                    <a16:creationId xmlns:a16="http://schemas.microsoft.com/office/drawing/2014/main" id="{4A77FC29-92B1-0CDC-79E0-771E4D41CF65}"/>
                  </a:ext>
                </a:extLst>
              </p14:cNvPr>
              <p14:cNvContentPartPr/>
              <p14:nvPr/>
            </p14:nvContentPartPr>
            <p14:xfrm>
              <a:off x="8311781" y="5147132"/>
              <a:ext cx="118080" cy="207360"/>
            </p14:xfrm>
          </p:contentPart>
        </mc:Choice>
        <mc:Fallback>
          <p:pic>
            <p:nvPicPr>
              <p:cNvPr id="229" name="Ink 228">
                <a:extLst>
                  <a:ext uri="{FF2B5EF4-FFF2-40B4-BE49-F238E27FC236}">
                    <a16:creationId xmlns:a16="http://schemas.microsoft.com/office/drawing/2014/main" id="{4A77FC29-92B1-0CDC-79E0-771E4D41CF65}"/>
                  </a:ext>
                </a:extLst>
              </p:cNvPr>
              <p:cNvPicPr/>
              <p:nvPr/>
            </p:nvPicPr>
            <p:blipFill>
              <a:blip r:embed="rId251"/>
              <a:stretch>
                <a:fillRect/>
              </a:stretch>
            </p:blipFill>
            <p:spPr>
              <a:xfrm>
                <a:off x="8296661" y="5132012"/>
                <a:ext cx="148320" cy="2379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52">
            <p14:nvContentPartPr>
              <p14:cNvPr id="230" name="Ink 229">
                <a:extLst>
                  <a:ext uri="{FF2B5EF4-FFF2-40B4-BE49-F238E27FC236}">
                    <a16:creationId xmlns:a16="http://schemas.microsoft.com/office/drawing/2014/main" id="{08DD48C0-0C61-04AF-5982-BAC2BCB0D090}"/>
                  </a:ext>
                </a:extLst>
              </p14:cNvPr>
              <p14:cNvContentPartPr/>
              <p14:nvPr/>
            </p14:nvContentPartPr>
            <p14:xfrm>
              <a:off x="8493581" y="5135612"/>
              <a:ext cx="137160" cy="226800"/>
            </p14:xfrm>
          </p:contentPart>
        </mc:Choice>
        <mc:Fallback>
          <p:pic>
            <p:nvPicPr>
              <p:cNvPr id="230" name="Ink 229">
                <a:extLst>
                  <a:ext uri="{FF2B5EF4-FFF2-40B4-BE49-F238E27FC236}">
                    <a16:creationId xmlns:a16="http://schemas.microsoft.com/office/drawing/2014/main" id="{08DD48C0-0C61-04AF-5982-BAC2BCB0D090}"/>
                  </a:ext>
                </a:extLst>
              </p:cNvPr>
              <p:cNvPicPr/>
              <p:nvPr/>
            </p:nvPicPr>
            <p:blipFill>
              <a:blip r:embed="rId253"/>
              <a:stretch>
                <a:fillRect/>
              </a:stretch>
            </p:blipFill>
            <p:spPr>
              <a:xfrm>
                <a:off x="8478461" y="5120492"/>
                <a:ext cx="167760" cy="2574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54">
            <p14:nvContentPartPr>
              <p14:cNvPr id="231" name="Ink 230">
                <a:extLst>
                  <a:ext uri="{FF2B5EF4-FFF2-40B4-BE49-F238E27FC236}">
                    <a16:creationId xmlns:a16="http://schemas.microsoft.com/office/drawing/2014/main" id="{DB4DDF5F-C75E-667E-11EF-4BF58F17FF00}"/>
                  </a:ext>
                </a:extLst>
              </p14:cNvPr>
              <p14:cNvContentPartPr/>
              <p14:nvPr/>
            </p14:nvContentPartPr>
            <p14:xfrm>
              <a:off x="8698421" y="5154692"/>
              <a:ext cx="28800" cy="199800"/>
            </p14:xfrm>
          </p:contentPart>
        </mc:Choice>
        <mc:Fallback>
          <p:pic>
            <p:nvPicPr>
              <p:cNvPr id="231" name="Ink 230">
                <a:extLst>
                  <a:ext uri="{FF2B5EF4-FFF2-40B4-BE49-F238E27FC236}">
                    <a16:creationId xmlns:a16="http://schemas.microsoft.com/office/drawing/2014/main" id="{DB4DDF5F-C75E-667E-11EF-4BF58F17FF00}"/>
                  </a:ext>
                </a:extLst>
              </p:cNvPr>
              <p:cNvPicPr/>
              <p:nvPr/>
            </p:nvPicPr>
            <p:blipFill>
              <a:blip r:embed="rId255"/>
              <a:stretch>
                <a:fillRect/>
              </a:stretch>
            </p:blipFill>
            <p:spPr>
              <a:xfrm>
                <a:off x="8683301" y="5139572"/>
                <a:ext cx="59400" cy="2304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56">
            <p14:nvContentPartPr>
              <p14:cNvPr id="232" name="Ink 231">
                <a:extLst>
                  <a:ext uri="{FF2B5EF4-FFF2-40B4-BE49-F238E27FC236}">
                    <a16:creationId xmlns:a16="http://schemas.microsoft.com/office/drawing/2014/main" id="{95E539C2-E3E2-EA5A-E254-C270B319F844}"/>
                  </a:ext>
                </a:extLst>
              </p14:cNvPr>
              <p14:cNvContentPartPr/>
              <p14:nvPr/>
            </p14:nvContentPartPr>
            <p14:xfrm>
              <a:off x="8816141" y="5159732"/>
              <a:ext cx="125640" cy="177480"/>
            </p14:xfrm>
          </p:contentPart>
        </mc:Choice>
        <mc:Fallback>
          <p:pic>
            <p:nvPicPr>
              <p:cNvPr id="232" name="Ink 231">
                <a:extLst>
                  <a:ext uri="{FF2B5EF4-FFF2-40B4-BE49-F238E27FC236}">
                    <a16:creationId xmlns:a16="http://schemas.microsoft.com/office/drawing/2014/main" id="{95E539C2-E3E2-EA5A-E254-C270B319F844}"/>
                  </a:ext>
                </a:extLst>
              </p:cNvPr>
              <p:cNvPicPr/>
              <p:nvPr/>
            </p:nvPicPr>
            <p:blipFill>
              <a:blip r:embed="rId257"/>
              <a:stretch>
                <a:fillRect/>
              </a:stretch>
            </p:blipFill>
            <p:spPr>
              <a:xfrm>
                <a:off x="8801021" y="5144612"/>
                <a:ext cx="156240" cy="2080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58">
            <p14:nvContentPartPr>
              <p14:cNvPr id="233" name="Ink 232">
                <a:extLst>
                  <a:ext uri="{FF2B5EF4-FFF2-40B4-BE49-F238E27FC236}">
                    <a16:creationId xmlns:a16="http://schemas.microsoft.com/office/drawing/2014/main" id="{3F294FD9-8AC8-B7E9-2818-D2D7E17CB511}"/>
                  </a:ext>
                </a:extLst>
              </p14:cNvPr>
              <p14:cNvContentPartPr/>
              <p14:nvPr/>
            </p14:nvContentPartPr>
            <p14:xfrm>
              <a:off x="8840621" y="5256932"/>
              <a:ext cx="80640" cy="26280"/>
            </p14:xfrm>
          </p:contentPart>
        </mc:Choice>
        <mc:Fallback>
          <p:pic>
            <p:nvPicPr>
              <p:cNvPr id="233" name="Ink 232">
                <a:extLst>
                  <a:ext uri="{FF2B5EF4-FFF2-40B4-BE49-F238E27FC236}">
                    <a16:creationId xmlns:a16="http://schemas.microsoft.com/office/drawing/2014/main" id="{3F294FD9-8AC8-B7E9-2818-D2D7E17CB511}"/>
                  </a:ext>
                </a:extLst>
              </p:cNvPr>
              <p:cNvPicPr/>
              <p:nvPr/>
            </p:nvPicPr>
            <p:blipFill>
              <a:blip r:embed="rId259"/>
              <a:stretch>
                <a:fillRect/>
              </a:stretch>
            </p:blipFill>
            <p:spPr>
              <a:xfrm>
                <a:off x="8825501" y="5241812"/>
                <a:ext cx="111240" cy="568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60">
            <p14:nvContentPartPr>
              <p14:cNvPr id="234" name="Ink 233">
                <a:extLst>
                  <a:ext uri="{FF2B5EF4-FFF2-40B4-BE49-F238E27FC236}">
                    <a16:creationId xmlns:a16="http://schemas.microsoft.com/office/drawing/2014/main" id="{182A5816-F309-D690-6FE2-8D15B8EDB91A}"/>
                  </a:ext>
                </a:extLst>
              </p14:cNvPr>
              <p14:cNvContentPartPr/>
              <p14:nvPr/>
            </p14:nvContentPartPr>
            <p14:xfrm>
              <a:off x="8996861" y="5126972"/>
              <a:ext cx="77040" cy="252360"/>
            </p14:xfrm>
          </p:contentPart>
        </mc:Choice>
        <mc:Fallback>
          <p:pic>
            <p:nvPicPr>
              <p:cNvPr id="234" name="Ink 233">
                <a:extLst>
                  <a:ext uri="{FF2B5EF4-FFF2-40B4-BE49-F238E27FC236}">
                    <a16:creationId xmlns:a16="http://schemas.microsoft.com/office/drawing/2014/main" id="{182A5816-F309-D690-6FE2-8D15B8EDB91A}"/>
                  </a:ext>
                </a:extLst>
              </p:cNvPr>
              <p:cNvPicPr/>
              <p:nvPr/>
            </p:nvPicPr>
            <p:blipFill>
              <a:blip r:embed="rId261"/>
              <a:stretch>
                <a:fillRect/>
              </a:stretch>
            </p:blipFill>
            <p:spPr>
              <a:xfrm>
                <a:off x="8981741" y="5111852"/>
                <a:ext cx="107640" cy="2829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62">
            <p14:nvContentPartPr>
              <p14:cNvPr id="235" name="Ink 234">
                <a:extLst>
                  <a:ext uri="{FF2B5EF4-FFF2-40B4-BE49-F238E27FC236}">
                    <a16:creationId xmlns:a16="http://schemas.microsoft.com/office/drawing/2014/main" id="{AC6F0AF9-6E74-52CC-EF37-534BCD600D8E}"/>
                  </a:ext>
                </a:extLst>
              </p14:cNvPr>
              <p14:cNvContentPartPr/>
              <p14:nvPr/>
            </p14:nvContentPartPr>
            <p14:xfrm>
              <a:off x="9161381" y="5233892"/>
              <a:ext cx="4320" cy="15840"/>
            </p14:xfrm>
          </p:contentPart>
        </mc:Choice>
        <mc:Fallback>
          <p:pic>
            <p:nvPicPr>
              <p:cNvPr id="235" name="Ink 234">
                <a:extLst>
                  <a:ext uri="{FF2B5EF4-FFF2-40B4-BE49-F238E27FC236}">
                    <a16:creationId xmlns:a16="http://schemas.microsoft.com/office/drawing/2014/main" id="{AC6F0AF9-6E74-52CC-EF37-534BCD600D8E}"/>
                  </a:ext>
                </a:extLst>
              </p:cNvPr>
              <p:cNvPicPr/>
              <p:nvPr/>
            </p:nvPicPr>
            <p:blipFill>
              <a:blip r:embed="rId263"/>
              <a:stretch>
                <a:fillRect/>
              </a:stretch>
            </p:blipFill>
            <p:spPr>
              <a:xfrm>
                <a:off x="9146261" y="5218412"/>
                <a:ext cx="34920" cy="464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64">
            <p14:nvContentPartPr>
              <p14:cNvPr id="236" name="Ink 235">
                <a:extLst>
                  <a:ext uri="{FF2B5EF4-FFF2-40B4-BE49-F238E27FC236}">
                    <a16:creationId xmlns:a16="http://schemas.microsoft.com/office/drawing/2014/main" id="{DFD8F429-893D-0280-BB5C-F315BC764DAD}"/>
                  </a:ext>
                </a:extLst>
              </p14:cNvPr>
              <p14:cNvContentPartPr/>
              <p14:nvPr/>
            </p14:nvContentPartPr>
            <p14:xfrm>
              <a:off x="9350741" y="5102492"/>
              <a:ext cx="149760" cy="191160"/>
            </p14:xfrm>
          </p:contentPart>
        </mc:Choice>
        <mc:Fallback>
          <p:pic>
            <p:nvPicPr>
              <p:cNvPr id="236" name="Ink 235">
                <a:extLst>
                  <a:ext uri="{FF2B5EF4-FFF2-40B4-BE49-F238E27FC236}">
                    <a16:creationId xmlns:a16="http://schemas.microsoft.com/office/drawing/2014/main" id="{DFD8F429-893D-0280-BB5C-F315BC764DAD}"/>
                  </a:ext>
                </a:extLst>
              </p:cNvPr>
              <p:cNvPicPr/>
              <p:nvPr/>
            </p:nvPicPr>
            <p:blipFill>
              <a:blip r:embed="rId265"/>
              <a:stretch>
                <a:fillRect/>
              </a:stretch>
            </p:blipFill>
            <p:spPr>
              <a:xfrm>
                <a:off x="9335261" y="5087012"/>
                <a:ext cx="180000" cy="2217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66">
            <p14:nvContentPartPr>
              <p14:cNvPr id="237" name="Ink 236">
                <a:extLst>
                  <a:ext uri="{FF2B5EF4-FFF2-40B4-BE49-F238E27FC236}">
                    <a16:creationId xmlns:a16="http://schemas.microsoft.com/office/drawing/2014/main" id="{9C29CC0E-7A04-5B8D-209D-7F86C2041129}"/>
                  </a:ext>
                </a:extLst>
              </p14:cNvPr>
              <p14:cNvContentPartPr/>
              <p14:nvPr/>
            </p14:nvContentPartPr>
            <p14:xfrm>
              <a:off x="9577181" y="5107892"/>
              <a:ext cx="112680" cy="170280"/>
            </p14:xfrm>
          </p:contentPart>
        </mc:Choice>
        <mc:Fallback>
          <p:pic>
            <p:nvPicPr>
              <p:cNvPr id="237" name="Ink 236">
                <a:extLst>
                  <a:ext uri="{FF2B5EF4-FFF2-40B4-BE49-F238E27FC236}">
                    <a16:creationId xmlns:a16="http://schemas.microsoft.com/office/drawing/2014/main" id="{9C29CC0E-7A04-5B8D-209D-7F86C2041129}"/>
                  </a:ext>
                </a:extLst>
              </p:cNvPr>
              <p:cNvPicPr/>
              <p:nvPr/>
            </p:nvPicPr>
            <p:blipFill>
              <a:blip r:embed="rId267"/>
              <a:stretch>
                <a:fillRect/>
              </a:stretch>
            </p:blipFill>
            <p:spPr>
              <a:xfrm>
                <a:off x="9562061" y="5092412"/>
                <a:ext cx="143280" cy="2008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68">
            <p14:nvContentPartPr>
              <p14:cNvPr id="238" name="Ink 237">
                <a:extLst>
                  <a:ext uri="{FF2B5EF4-FFF2-40B4-BE49-F238E27FC236}">
                    <a16:creationId xmlns:a16="http://schemas.microsoft.com/office/drawing/2014/main" id="{8CFB28CA-7DF9-A1F6-9845-E044CC923726}"/>
                  </a:ext>
                </a:extLst>
              </p14:cNvPr>
              <p14:cNvContentPartPr/>
              <p14:nvPr/>
            </p14:nvContentPartPr>
            <p14:xfrm>
              <a:off x="9746021" y="5101052"/>
              <a:ext cx="145080" cy="222480"/>
            </p14:xfrm>
          </p:contentPart>
        </mc:Choice>
        <mc:Fallback>
          <p:pic>
            <p:nvPicPr>
              <p:cNvPr id="238" name="Ink 237">
                <a:extLst>
                  <a:ext uri="{FF2B5EF4-FFF2-40B4-BE49-F238E27FC236}">
                    <a16:creationId xmlns:a16="http://schemas.microsoft.com/office/drawing/2014/main" id="{8CFB28CA-7DF9-A1F6-9845-E044CC923726}"/>
                  </a:ext>
                </a:extLst>
              </p:cNvPr>
              <p:cNvPicPr/>
              <p:nvPr/>
            </p:nvPicPr>
            <p:blipFill>
              <a:blip r:embed="rId269"/>
              <a:stretch>
                <a:fillRect/>
              </a:stretch>
            </p:blipFill>
            <p:spPr>
              <a:xfrm>
                <a:off x="9730541" y="5085932"/>
                <a:ext cx="175680" cy="2530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70">
            <p14:nvContentPartPr>
              <p14:cNvPr id="239" name="Ink 238">
                <a:extLst>
                  <a:ext uri="{FF2B5EF4-FFF2-40B4-BE49-F238E27FC236}">
                    <a16:creationId xmlns:a16="http://schemas.microsoft.com/office/drawing/2014/main" id="{57C10746-05CD-A17F-E960-261B8D8EDBA7}"/>
                  </a:ext>
                </a:extLst>
              </p14:cNvPr>
              <p14:cNvContentPartPr/>
              <p14:nvPr/>
            </p14:nvContentPartPr>
            <p14:xfrm>
              <a:off x="9783101" y="5229572"/>
              <a:ext cx="52200" cy="38880"/>
            </p14:xfrm>
          </p:contentPart>
        </mc:Choice>
        <mc:Fallback>
          <p:pic>
            <p:nvPicPr>
              <p:cNvPr id="239" name="Ink 238">
                <a:extLst>
                  <a:ext uri="{FF2B5EF4-FFF2-40B4-BE49-F238E27FC236}">
                    <a16:creationId xmlns:a16="http://schemas.microsoft.com/office/drawing/2014/main" id="{57C10746-05CD-A17F-E960-261B8D8EDBA7}"/>
                  </a:ext>
                </a:extLst>
              </p:cNvPr>
              <p:cNvPicPr/>
              <p:nvPr/>
            </p:nvPicPr>
            <p:blipFill>
              <a:blip r:embed="rId271"/>
              <a:stretch>
                <a:fillRect/>
              </a:stretch>
            </p:blipFill>
            <p:spPr>
              <a:xfrm>
                <a:off x="9767981" y="5214452"/>
                <a:ext cx="82440" cy="694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72">
            <p14:nvContentPartPr>
              <p14:cNvPr id="240" name="Ink 239">
                <a:extLst>
                  <a:ext uri="{FF2B5EF4-FFF2-40B4-BE49-F238E27FC236}">
                    <a16:creationId xmlns:a16="http://schemas.microsoft.com/office/drawing/2014/main" id="{294B0482-FAFF-021A-B165-ED4B3CA67452}"/>
                  </a:ext>
                </a:extLst>
              </p14:cNvPr>
              <p14:cNvContentPartPr/>
              <p14:nvPr/>
            </p14:nvContentPartPr>
            <p14:xfrm>
              <a:off x="9930341" y="5132012"/>
              <a:ext cx="96480" cy="223200"/>
            </p14:xfrm>
          </p:contentPart>
        </mc:Choice>
        <mc:Fallback>
          <p:pic>
            <p:nvPicPr>
              <p:cNvPr id="240" name="Ink 239">
                <a:extLst>
                  <a:ext uri="{FF2B5EF4-FFF2-40B4-BE49-F238E27FC236}">
                    <a16:creationId xmlns:a16="http://schemas.microsoft.com/office/drawing/2014/main" id="{294B0482-FAFF-021A-B165-ED4B3CA67452}"/>
                  </a:ext>
                </a:extLst>
              </p:cNvPr>
              <p:cNvPicPr/>
              <p:nvPr/>
            </p:nvPicPr>
            <p:blipFill>
              <a:blip r:embed="rId273"/>
              <a:stretch>
                <a:fillRect/>
              </a:stretch>
            </p:blipFill>
            <p:spPr>
              <a:xfrm>
                <a:off x="9915221" y="5116892"/>
                <a:ext cx="127080" cy="2538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74">
            <p14:nvContentPartPr>
              <p14:cNvPr id="241" name="Ink 240">
                <a:extLst>
                  <a:ext uri="{FF2B5EF4-FFF2-40B4-BE49-F238E27FC236}">
                    <a16:creationId xmlns:a16="http://schemas.microsoft.com/office/drawing/2014/main" id="{01019DFB-8394-B715-268D-5D34FE76D8D6}"/>
                  </a:ext>
                </a:extLst>
              </p14:cNvPr>
              <p14:cNvContentPartPr/>
              <p14:nvPr/>
            </p14:nvContentPartPr>
            <p14:xfrm>
              <a:off x="10231661" y="5108252"/>
              <a:ext cx="271080" cy="131400"/>
            </p14:xfrm>
          </p:contentPart>
        </mc:Choice>
        <mc:Fallback>
          <p:pic>
            <p:nvPicPr>
              <p:cNvPr id="241" name="Ink 240">
                <a:extLst>
                  <a:ext uri="{FF2B5EF4-FFF2-40B4-BE49-F238E27FC236}">
                    <a16:creationId xmlns:a16="http://schemas.microsoft.com/office/drawing/2014/main" id="{01019DFB-8394-B715-268D-5D34FE76D8D6}"/>
                  </a:ext>
                </a:extLst>
              </p:cNvPr>
              <p:cNvPicPr/>
              <p:nvPr/>
            </p:nvPicPr>
            <p:blipFill>
              <a:blip r:embed="rId275"/>
              <a:stretch>
                <a:fillRect/>
              </a:stretch>
            </p:blipFill>
            <p:spPr>
              <a:xfrm>
                <a:off x="10216541" y="5093132"/>
                <a:ext cx="301320" cy="162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76">
            <p14:nvContentPartPr>
              <p14:cNvPr id="242" name="Ink 241">
                <a:extLst>
                  <a:ext uri="{FF2B5EF4-FFF2-40B4-BE49-F238E27FC236}">
                    <a16:creationId xmlns:a16="http://schemas.microsoft.com/office/drawing/2014/main" id="{8278AF20-F539-B437-7D54-7CA8DEB5C974}"/>
                  </a:ext>
                </a:extLst>
              </p14:cNvPr>
              <p14:cNvContentPartPr/>
              <p14:nvPr/>
            </p14:nvContentPartPr>
            <p14:xfrm>
              <a:off x="10725581" y="5062892"/>
              <a:ext cx="15120" cy="162360"/>
            </p14:xfrm>
          </p:contentPart>
        </mc:Choice>
        <mc:Fallback>
          <p:pic>
            <p:nvPicPr>
              <p:cNvPr id="242" name="Ink 241">
                <a:extLst>
                  <a:ext uri="{FF2B5EF4-FFF2-40B4-BE49-F238E27FC236}">
                    <a16:creationId xmlns:a16="http://schemas.microsoft.com/office/drawing/2014/main" id="{8278AF20-F539-B437-7D54-7CA8DEB5C974}"/>
                  </a:ext>
                </a:extLst>
              </p:cNvPr>
              <p:cNvPicPr/>
              <p:nvPr/>
            </p:nvPicPr>
            <p:blipFill>
              <a:blip r:embed="rId277"/>
              <a:stretch>
                <a:fillRect/>
              </a:stretch>
            </p:blipFill>
            <p:spPr>
              <a:xfrm>
                <a:off x="10710461" y="5047412"/>
                <a:ext cx="45720" cy="1929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78">
            <p14:nvContentPartPr>
              <p14:cNvPr id="243" name="Ink 242">
                <a:extLst>
                  <a:ext uri="{FF2B5EF4-FFF2-40B4-BE49-F238E27FC236}">
                    <a16:creationId xmlns:a16="http://schemas.microsoft.com/office/drawing/2014/main" id="{F707516C-7104-9B11-29EB-98BACCB356C0}"/>
                  </a:ext>
                </a:extLst>
              </p14:cNvPr>
              <p14:cNvContentPartPr/>
              <p14:nvPr/>
            </p14:nvContentPartPr>
            <p14:xfrm>
              <a:off x="10801541" y="5111492"/>
              <a:ext cx="46440" cy="122760"/>
            </p14:xfrm>
          </p:contentPart>
        </mc:Choice>
        <mc:Fallback>
          <p:pic>
            <p:nvPicPr>
              <p:cNvPr id="243" name="Ink 242">
                <a:extLst>
                  <a:ext uri="{FF2B5EF4-FFF2-40B4-BE49-F238E27FC236}">
                    <a16:creationId xmlns:a16="http://schemas.microsoft.com/office/drawing/2014/main" id="{F707516C-7104-9B11-29EB-98BACCB356C0}"/>
                  </a:ext>
                </a:extLst>
              </p:cNvPr>
              <p:cNvPicPr/>
              <p:nvPr/>
            </p:nvPicPr>
            <p:blipFill>
              <a:blip r:embed="rId279"/>
              <a:stretch>
                <a:fillRect/>
              </a:stretch>
            </p:blipFill>
            <p:spPr>
              <a:xfrm>
                <a:off x="10786421" y="5096372"/>
                <a:ext cx="76680" cy="1533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80">
            <p14:nvContentPartPr>
              <p14:cNvPr id="244" name="Ink 243">
                <a:extLst>
                  <a:ext uri="{FF2B5EF4-FFF2-40B4-BE49-F238E27FC236}">
                    <a16:creationId xmlns:a16="http://schemas.microsoft.com/office/drawing/2014/main" id="{D97EFC21-DBE1-46A6-9F4A-62B21D44944A}"/>
                  </a:ext>
                </a:extLst>
              </p14:cNvPr>
              <p14:cNvContentPartPr/>
              <p14:nvPr/>
            </p14:nvContentPartPr>
            <p14:xfrm>
              <a:off x="10874981" y="5130212"/>
              <a:ext cx="24120" cy="158400"/>
            </p14:xfrm>
          </p:contentPart>
        </mc:Choice>
        <mc:Fallback>
          <p:pic>
            <p:nvPicPr>
              <p:cNvPr id="244" name="Ink 243">
                <a:extLst>
                  <a:ext uri="{FF2B5EF4-FFF2-40B4-BE49-F238E27FC236}">
                    <a16:creationId xmlns:a16="http://schemas.microsoft.com/office/drawing/2014/main" id="{D97EFC21-DBE1-46A6-9F4A-62B21D44944A}"/>
                  </a:ext>
                </a:extLst>
              </p:cNvPr>
              <p:cNvPicPr/>
              <p:nvPr/>
            </p:nvPicPr>
            <p:blipFill>
              <a:blip r:embed="rId281"/>
              <a:stretch>
                <a:fillRect/>
              </a:stretch>
            </p:blipFill>
            <p:spPr>
              <a:xfrm>
                <a:off x="10859861" y="5115092"/>
                <a:ext cx="54720" cy="189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82">
            <p14:nvContentPartPr>
              <p14:cNvPr id="245" name="Ink 244">
                <a:extLst>
                  <a:ext uri="{FF2B5EF4-FFF2-40B4-BE49-F238E27FC236}">
                    <a16:creationId xmlns:a16="http://schemas.microsoft.com/office/drawing/2014/main" id="{AFE6CF23-5C77-90BE-BD46-F9F284D945CB}"/>
                  </a:ext>
                </a:extLst>
              </p14:cNvPr>
              <p14:cNvContentPartPr/>
              <p14:nvPr/>
            </p14:nvContentPartPr>
            <p14:xfrm>
              <a:off x="10657901" y="4971092"/>
              <a:ext cx="346320" cy="397080"/>
            </p14:xfrm>
          </p:contentPart>
        </mc:Choice>
        <mc:Fallback>
          <p:pic>
            <p:nvPicPr>
              <p:cNvPr id="245" name="Ink 244">
                <a:extLst>
                  <a:ext uri="{FF2B5EF4-FFF2-40B4-BE49-F238E27FC236}">
                    <a16:creationId xmlns:a16="http://schemas.microsoft.com/office/drawing/2014/main" id="{AFE6CF23-5C77-90BE-BD46-F9F284D945CB}"/>
                  </a:ext>
                </a:extLst>
              </p:cNvPr>
              <p:cNvPicPr/>
              <p:nvPr/>
            </p:nvPicPr>
            <p:blipFill>
              <a:blip r:embed="rId283"/>
              <a:stretch>
                <a:fillRect/>
              </a:stretch>
            </p:blipFill>
            <p:spPr>
              <a:xfrm>
                <a:off x="10642781" y="4955612"/>
                <a:ext cx="376920" cy="427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84">
            <p14:nvContentPartPr>
              <p14:cNvPr id="246" name="Ink 245">
                <a:extLst>
                  <a:ext uri="{FF2B5EF4-FFF2-40B4-BE49-F238E27FC236}">
                    <a16:creationId xmlns:a16="http://schemas.microsoft.com/office/drawing/2014/main" id="{5158EE0D-D436-B730-F43B-EA8E98A909E4}"/>
                  </a:ext>
                </a:extLst>
              </p14:cNvPr>
              <p14:cNvContentPartPr/>
              <p14:nvPr/>
            </p14:nvContentPartPr>
            <p14:xfrm>
              <a:off x="6166181" y="5699372"/>
              <a:ext cx="132120" cy="204840"/>
            </p14:xfrm>
          </p:contentPart>
        </mc:Choice>
        <mc:Fallback>
          <p:pic>
            <p:nvPicPr>
              <p:cNvPr id="246" name="Ink 245">
                <a:extLst>
                  <a:ext uri="{FF2B5EF4-FFF2-40B4-BE49-F238E27FC236}">
                    <a16:creationId xmlns:a16="http://schemas.microsoft.com/office/drawing/2014/main" id="{5158EE0D-D436-B730-F43B-EA8E98A909E4}"/>
                  </a:ext>
                </a:extLst>
              </p:cNvPr>
              <p:cNvPicPr/>
              <p:nvPr/>
            </p:nvPicPr>
            <p:blipFill>
              <a:blip r:embed="rId285"/>
              <a:stretch>
                <a:fillRect/>
              </a:stretch>
            </p:blipFill>
            <p:spPr>
              <a:xfrm>
                <a:off x="6150701" y="5684252"/>
                <a:ext cx="162360" cy="2350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86">
            <p14:nvContentPartPr>
              <p14:cNvPr id="247" name="Ink 246">
                <a:extLst>
                  <a:ext uri="{FF2B5EF4-FFF2-40B4-BE49-F238E27FC236}">
                    <a16:creationId xmlns:a16="http://schemas.microsoft.com/office/drawing/2014/main" id="{BF25942A-1F56-96D6-B2B8-DFAD67C0CBED}"/>
                  </a:ext>
                </a:extLst>
              </p14:cNvPr>
              <p14:cNvContentPartPr/>
              <p14:nvPr/>
            </p14:nvContentPartPr>
            <p14:xfrm>
              <a:off x="6335021" y="5747252"/>
              <a:ext cx="76680" cy="180000"/>
            </p14:xfrm>
          </p:contentPart>
        </mc:Choice>
        <mc:Fallback>
          <p:pic>
            <p:nvPicPr>
              <p:cNvPr id="247" name="Ink 246">
                <a:extLst>
                  <a:ext uri="{FF2B5EF4-FFF2-40B4-BE49-F238E27FC236}">
                    <a16:creationId xmlns:a16="http://schemas.microsoft.com/office/drawing/2014/main" id="{BF25942A-1F56-96D6-B2B8-DFAD67C0CBED}"/>
                  </a:ext>
                </a:extLst>
              </p:cNvPr>
              <p:cNvPicPr/>
              <p:nvPr/>
            </p:nvPicPr>
            <p:blipFill>
              <a:blip r:embed="rId287"/>
              <a:stretch>
                <a:fillRect/>
              </a:stretch>
            </p:blipFill>
            <p:spPr>
              <a:xfrm>
                <a:off x="6319541" y="5732132"/>
                <a:ext cx="106920" cy="210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88">
            <p14:nvContentPartPr>
              <p14:cNvPr id="248" name="Ink 247">
                <a:extLst>
                  <a:ext uri="{FF2B5EF4-FFF2-40B4-BE49-F238E27FC236}">
                    <a16:creationId xmlns:a16="http://schemas.microsoft.com/office/drawing/2014/main" id="{16892DAD-53D6-2DBE-51C5-6E052E92E5E9}"/>
                  </a:ext>
                </a:extLst>
              </p14:cNvPr>
              <p14:cNvContentPartPr/>
              <p14:nvPr/>
            </p14:nvContentPartPr>
            <p14:xfrm>
              <a:off x="6507101" y="5769572"/>
              <a:ext cx="159480" cy="174960"/>
            </p14:xfrm>
          </p:contentPart>
        </mc:Choice>
        <mc:Fallback>
          <p:pic>
            <p:nvPicPr>
              <p:cNvPr id="248" name="Ink 247">
                <a:extLst>
                  <a:ext uri="{FF2B5EF4-FFF2-40B4-BE49-F238E27FC236}">
                    <a16:creationId xmlns:a16="http://schemas.microsoft.com/office/drawing/2014/main" id="{16892DAD-53D6-2DBE-51C5-6E052E92E5E9}"/>
                  </a:ext>
                </a:extLst>
              </p:cNvPr>
              <p:cNvPicPr/>
              <p:nvPr/>
            </p:nvPicPr>
            <p:blipFill>
              <a:blip r:embed="rId289"/>
              <a:stretch>
                <a:fillRect/>
              </a:stretch>
            </p:blipFill>
            <p:spPr>
              <a:xfrm>
                <a:off x="6491621" y="5754452"/>
                <a:ext cx="190080" cy="2052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90">
            <p14:nvContentPartPr>
              <p14:cNvPr id="249" name="Ink 248">
                <a:extLst>
                  <a:ext uri="{FF2B5EF4-FFF2-40B4-BE49-F238E27FC236}">
                    <a16:creationId xmlns:a16="http://schemas.microsoft.com/office/drawing/2014/main" id="{5D5F6AD3-4853-4A5C-24D8-07DEC0C25536}"/>
                  </a:ext>
                </a:extLst>
              </p14:cNvPr>
              <p14:cNvContentPartPr/>
              <p14:nvPr/>
            </p14:nvContentPartPr>
            <p14:xfrm>
              <a:off x="6727781" y="5761292"/>
              <a:ext cx="47520" cy="209520"/>
            </p14:xfrm>
          </p:contentPart>
        </mc:Choice>
        <mc:Fallback>
          <p:pic>
            <p:nvPicPr>
              <p:cNvPr id="249" name="Ink 248">
                <a:extLst>
                  <a:ext uri="{FF2B5EF4-FFF2-40B4-BE49-F238E27FC236}">
                    <a16:creationId xmlns:a16="http://schemas.microsoft.com/office/drawing/2014/main" id="{5D5F6AD3-4853-4A5C-24D8-07DEC0C25536}"/>
                  </a:ext>
                </a:extLst>
              </p:cNvPr>
              <p:cNvPicPr/>
              <p:nvPr/>
            </p:nvPicPr>
            <p:blipFill>
              <a:blip r:embed="rId291"/>
              <a:stretch>
                <a:fillRect/>
              </a:stretch>
            </p:blipFill>
            <p:spPr>
              <a:xfrm>
                <a:off x="6712301" y="5746172"/>
                <a:ext cx="78120" cy="240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92">
            <p14:nvContentPartPr>
              <p14:cNvPr id="250" name="Ink 249">
                <a:extLst>
                  <a:ext uri="{FF2B5EF4-FFF2-40B4-BE49-F238E27FC236}">
                    <a16:creationId xmlns:a16="http://schemas.microsoft.com/office/drawing/2014/main" id="{8F8DA0F2-E12F-F04B-E531-17970FF2B60E}"/>
                  </a:ext>
                </a:extLst>
              </p14:cNvPr>
              <p14:cNvContentPartPr/>
              <p14:nvPr/>
            </p14:nvContentPartPr>
            <p14:xfrm>
              <a:off x="6889421" y="5766332"/>
              <a:ext cx="120600" cy="199800"/>
            </p14:xfrm>
          </p:contentPart>
        </mc:Choice>
        <mc:Fallback>
          <p:pic>
            <p:nvPicPr>
              <p:cNvPr id="250" name="Ink 249">
                <a:extLst>
                  <a:ext uri="{FF2B5EF4-FFF2-40B4-BE49-F238E27FC236}">
                    <a16:creationId xmlns:a16="http://schemas.microsoft.com/office/drawing/2014/main" id="{8F8DA0F2-E12F-F04B-E531-17970FF2B60E}"/>
                  </a:ext>
                </a:extLst>
              </p:cNvPr>
              <p:cNvPicPr/>
              <p:nvPr/>
            </p:nvPicPr>
            <p:blipFill>
              <a:blip r:embed="rId293"/>
              <a:stretch>
                <a:fillRect/>
              </a:stretch>
            </p:blipFill>
            <p:spPr>
              <a:xfrm>
                <a:off x="6874301" y="5751212"/>
                <a:ext cx="150840" cy="2300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94">
            <p14:nvContentPartPr>
              <p14:cNvPr id="251" name="Ink 250">
                <a:extLst>
                  <a:ext uri="{FF2B5EF4-FFF2-40B4-BE49-F238E27FC236}">
                    <a16:creationId xmlns:a16="http://schemas.microsoft.com/office/drawing/2014/main" id="{3DEF0496-9DFF-75F6-1C75-52A19635AF1E}"/>
                  </a:ext>
                </a:extLst>
              </p14:cNvPr>
              <p14:cNvContentPartPr/>
              <p14:nvPr/>
            </p14:nvContentPartPr>
            <p14:xfrm>
              <a:off x="6918581" y="5870012"/>
              <a:ext cx="82080" cy="41760"/>
            </p14:xfrm>
          </p:contentPart>
        </mc:Choice>
        <mc:Fallback>
          <p:pic>
            <p:nvPicPr>
              <p:cNvPr id="251" name="Ink 250">
                <a:extLst>
                  <a:ext uri="{FF2B5EF4-FFF2-40B4-BE49-F238E27FC236}">
                    <a16:creationId xmlns:a16="http://schemas.microsoft.com/office/drawing/2014/main" id="{3DEF0496-9DFF-75F6-1C75-52A19635AF1E}"/>
                  </a:ext>
                </a:extLst>
              </p:cNvPr>
              <p:cNvPicPr/>
              <p:nvPr/>
            </p:nvPicPr>
            <p:blipFill>
              <a:blip r:embed="rId295"/>
              <a:stretch>
                <a:fillRect/>
              </a:stretch>
            </p:blipFill>
            <p:spPr>
              <a:xfrm>
                <a:off x="6903461" y="5854532"/>
                <a:ext cx="112680" cy="72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96">
            <p14:nvContentPartPr>
              <p14:cNvPr id="252" name="Ink 251">
                <a:extLst>
                  <a:ext uri="{FF2B5EF4-FFF2-40B4-BE49-F238E27FC236}">
                    <a16:creationId xmlns:a16="http://schemas.microsoft.com/office/drawing/2014/main" id="{BB660C1C-B680-E3C3-6A40-C6346CBD2AD4}"/>
                  </a:ext>
                </a:extLst>
              </p14:cNvPr>
              <p14:cNvContentPartPr/>
              <p14:nvPr/>
            </p14:nvContentPartPr>
            <p14:xfrm>
              <a:off x="7044581" y="5762012"/>
              <a:ext cx="69480" cy="244080"/>
            </p14:xfrm>
          </p:contentPart>
        </mc:Choice>
        <mc:Fallback>
          <p:pic>
            <p:nvPicPr>
              <p:cNvPr id="252" name="Ink 251">
                <a:extLst>
                  <a:ext uri="{FF2B5EF4-FFF2-40B4-BE49-F238E27FC236}">
                    <a16:creationId xmlns:a16="http://schemas.microsoft.com/office/drawing/2014/main" id="{BB660C1C-B680-E3C3-6A40-C6346CBD2AD4}"/>
                  </a:ext>
                </a:extLst>
              </p:cNvPr>
              <p:cNvPicPr/>
              <p:nvPr/>
            </p:nvPicPr>
            <p:blipFill>
              <a:blip r:embed="rId297"/>
              <a:stretch>
                <a:fillRect/>
              </a:stretch>
            </p:blipFill>
            <p:spPr>
              <a:xfrm>
                <a:off x="7029461" y="5746532"/>
                <a:ext cx="100080" cy="2746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98">
            <p14:nvContentPartPr>
              <p14:cNvPr id="253" name="Ink 252">
                <a:extLst>
                  <a:ext uri="{FF2B5EF4-FFF2-40B4-BE49-F238E27FC236}">
                    <a16:creationId xmlns:a16="http://schemas.microsoft.com/office/drawing/2014/main" id="{D8AE4252-CAFF-092B-E3A0-637344CAA3F8}"/>
                  </a:ext>
                </a:extLst>
              </p14:cNvPr>
              <p14:cNvContentPartPr/>
              <p14:nvPr/>
            </p14:nvContentPartPr>
            <p14:xfrm>
              <a:off x="7342661" y="5832572"/>
              <a:ext cx="165960" cy="5400"/>
            </p14:xfrm>
          </p:contentPart>
        </mc:Choice>
        <mc:Fallback>
          <p:pic>
            <p:nvPicPr>
              <p:cNvPr id="253" name="Ink 252">
                <a:extLst>
                  <a:ext uri="{FF2B5EF4-FFF2-40B4-BE49-F238E27FC236}">
                    <a16:creationId xmlns:a16="http://schemas.microsoft.com/office/drawing/2014/main" id="{D8AE4252-CAFF-092B-E3A0-637344CAA3F8}"/>
                  </a:ext>
                </a:extLst>
              </p:cNvPr>
              <p:cNvPicPr/>
              <p:nvPr/>
            </p:nvPicPr>
            <p:blipFill>
              <a:blip r:embed="rId299"/>
              <a:stretch>
                <a:fillRect/>
              </a:stretch>
            </p:blipFill>
            <p:spPr>
              <a:xfrm>
                <a:off x="7327181" y="5817092"/>
                <a:ext cx="196560" cy="356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00">
            <p14:nvContentPartPr>
              <p14:cNvPr id="254" name="Ink 253">
                <a:extLst>
                  <a:ext uri="{FF2B5EF4-FFF2-40B4-BE49-F238E27FC236}">
                    <a16:creationId xmlns:a16="http://schemas.microsoft.com/office/drawing/2014/main" id="{54818279-A70C-98A1-15E1-08D0A9856BF6}"/>
                  </a:ext>
                </a:extLst>
              </p14:cNvPr>
              <p14:cNvContentPartPr/>
              <p14:nvPr/>
            </p14:nvContentPartPr>
            <p14:xfrm>
              <a:off x="7377581" y="5891972"/>
              <a:ext cx="184320" cy="28080"/>
            </p14:xfrm>
          </p:contentPart>
        </mc:Choice>
        <mc:Fallback>
          <p:pic>
            <p:nvPicPr>
              <p:cNvPr id="254" name="Ink 253">
                <a:extLst>
                  <a:ext uri="{FF2B5EF4-FFF2-40B4-BE49-F238E27FC236}">
                    <a16:creationId xmlns:a16="http://schemas.microsoft.com/office/drawing/2014/main" id="{54818279-A70C-98A1-15E1-08D0A9856BF6}"/>
                  </a:ext>
                </a:extLst>
              </p:cNvPr>
              <p:cNvPicPr/>
              <p:nvPr/>
            </p:nvPicPr>
            <p:blipFill>
              <a:blip r:embed="rId301"/>
              <a:stretch>
                <a:fillRect/>
              </a:stretch>
            </p:blipFill>
            <p:spPr>
              <a:xfrm>
                <a:off x="7362461" y="5876492"/>
                <a:ext cx="214920" cy="58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02">
            <p14:nvContentPartPr>
              <p14:cNvPr id="255" name="Ink 254">
                <a:extLst>
                  <a:ext uri="{FF2B5EF4-FFF2-40B4-BE49-F238E27FC236}">
                    <a16:creationId xmlns:a16="http://schemas.microsoft.com/office/drawing/2014/main" id="{388670C9-9735-7A08-A41D-03896FC29F29}"/>
                  </a:ext>
                </a:extLst>
              </p14:cNvPr>
              <p14:cNvContentPartPr/>
              <p14:nvPr/>
            </p14:nvContentPartPr>
            <p14:xfrm>
              <a:off x="7984901" y="5618732"/>
              <a:ext cx="112680" cy="181080"/>
            </p14:xfrm>
          </p:contentPart>
        </mc:Choice>
        <mc:Fallback>
          <p:pic>
            <p:nvPicPr>
              <p:cNvPr id="255" name="Ink 254">
                <a:extLst>
                  <a:ext uri="{FF2B5EF4-FFF2-40B4-BE49-F238E27FC236}">
                    <a16:creationId xmlns:a16="http://schemas.microsoft.com/office/drawing/2014/main" id="{388670C9-9735-7A08-A41D-03896FC29F29}"/>
                  </a:ext>
                </a:extLst>
              </p:cNvPr>
              <p:cNvPicPr/>
              <p:nvPr/>
            </p:nvPicPr>
            <p:blipFill>
              <a:blip r:embed="rId303"/>
              <a:stretch>
                <a:fillRect/>
              </a:stretch>
            </p:blipFill>
            <p:spPr>
              <a:xfrm>
                <a:off x="7969781" y="5603252"/>
                <a:ext cx="143280" cy="2116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04">
            <p14:nvContentPartPr>
              <p14:cNvPr id="256" name="Ink 255">
                <a:extLst>
                  <a:ext uri="{FF2B5EF4-FFF2-40B4-BE49-F238E27FC236}">
                    <a16:creationId xmlns:a16="http://schemas.microsoft.com/office/drawing/2014/main" id="{EA952B8D-7520-4657-918B-162C06AD4BFB}"/>
                  </a:ext>
                </a:extLst>
              </p14:cNvPr>
              <p14:cNvContentPartPr/>
              <p14:nvPr/>
            </p14:nvContentPartPr>
            <p14:xfrm>
              <a:off x="8176061" y="5635652"/>
              <a:ext cx="36720" cy="180720"/>
            </p14:xfrm>
          </p:contentPart>
        </mc:Choice>
        <mc:Fallback>
          <p:pic>
            <p:nvPicPr>
              <p:cNvPr id="256" name="Ink 255">
                <a:extLst>
                  <a:ext uri="{FF2B5EF4-FFF2-40B4-BE49-F238E27FC236}">
                    <a16:creationId xmlns:a16="http://schemas.microsoft.com/office/drawing/2014/main" id="{EA952B8D-7520-4657-918B-162C06AD4BFB}"/>
                  </a:ext>
                </a:extLst>
              </p:cNvPr>
              <p:cNvPicPr/>
              <p:nvPr/>
            </p:nvPicPr>
            <p:blipFill>
              <a:blip r:embed="rId305"/>
              <a:stretch>
                <a:fillRect/>
              </a:stretch>
            </p:blipFill>
            <p:spPr>
              <a:xfrm>
                <a:off x="8160581" y="5620172"/>
                <a:ext cx="67320" cy="211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06">
            <p14:nvContentPartPr>
              <p14:cNvPr id="257" name="Ink 256">
                <a:extLst>
                  <a:ext uri="{FF2B5EF4-FFF2-40B4-BE49-F238E27FC236}">
                    <a16:creationId xmlns:a16="http://schemas.microsoft.com/office/drawing/2014/main" id="{BB5C73CF-D098-D727-B3F6-8299FF82DFCE}"/>
                  </a:ext>
                </a:extLst>
              </p14:cNvPr>
              <p14:cNvContentPartPr/>
              <p14:nvPr/>
            </p14:nvContentPartPr>
            <p14:xfrm>
              <a:off x="8312501" y="5616212"/>
              <a:ext cx="149760" cy="198720"/>
            </p14:xfrm>
          </p:contentPart>
        </mc:Choice>
        <mc:Fallback>
          <p:pic>
            <p:nvPicPr>
              <p:cNvPr id="257" name="Ink 256">
                <a:extLst>
                  <a:ext uri="{FF2B5EF4-FFF2-40B4-BE49-F238E27FC236}">
                    <a16:creationId xmlns:a16="http://schemas.microsoft.com/office/drawing/2014/main" id="{BB5C73CF-D098-D727-B3F6-8299FF82DFCE}"/>
                  </a:ext>
                </a:extLst>
              </p:cNvPr>
              <p:cNvPicPr/>
              <p:nvPr/>
            </p:nvPicPr>
            <p:blipFill>
              <a:blip r:embed="rId307"/>
              <a:stretch>
                <a:fillRect/>
              </a:stretch>
            </p:blipFill>
            <p:spPr>
              <a:xfrm>
                <a:off x="8297021" y="5601092"/>
                <a:ext cx="180360" cy="2289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08">
            <p14:nvContentPartPr>
              <p14:cNvPr id="258" name="Ink 257">
                <a:extLst>
                  <a:ext uri="{FF2B5EF4-FFF2-40B4-BE49-F238E27FC236}">
                    <a16:creationId xmlns:a16="http://schemas.microsoft.com/office/drawing/2014/main" id="{2B01C37F-28A1-E3DF-D7FA-51B893F8B847}"/>
                  </a:ext>
                </a:extLst>
              </p14:cNvPr>
              <p14:cNvContentPartPr/>
              <p14:nvPr/>
            </p14:nvContentPartPr>
            <p14:xfrm>
              <a:off x="8356781" y="5736452"/>
              <a:ext cx="96120" cy="43560"/>
            </p14:xfrm>
          </p:contentPart>
        </mc:Choice>
        <mc:Fallback>
          <p:pic>
            <p:nvPicPr>
              <p:cNvPr id="258" name="Ink 257">
                <a:extLst>
                  <a:ext uri="{FF2B5EF4-FFF2-40B4-BE49-F238E27FC236}">
                    <a16:creationId xmlns:a16="http://schemas.microsoft.com/office/drawing/2014/main" id="{2B01C37F-28A1-E3DF-D7FA-51B893F8B847}"/>
                  </a:ext>
                </a:extLst>
              </p:cNvPr>
              <p:cNvPicPr/>
              <p:nvPr/>
            </p:nvPicPr>
            <p:blipFill>
              <a:blip r:embed="rId309"/>
              <a:stretch>
                <a:fillRect/>
              </a:stretch>
            </p:blipFill>
            <p:spPr>
              <a:xfrm>
                <a:off x="8341661" y="5721332"/>
                <a:ext cx="126720" cy="741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10">
            <p14:nvContentPartPr>
              <p14:cNvPr id="259" name="Ink 258">
                <a:extLst>
                  <a:ext uri="{FF2B5EF4-FFF2-40B4-BE49-F238E27FC236}">
                    <a16:creationId xmlns:a16="http://schemas.microsoft.com/office/drawing/2014/main" id="{80785AB7-3929-E547-C23B-9A83DC7A2692}"/>
                  </a:ext>
                </a:extLst>
              </p14:cNvPr>
              <p14:cNvContentPartPr/>
              <p14:nvPr/>
            </p14:nvContentPartPr>
            <p14:xfrm>
              <a:off x="8551181" y="5679572"/>
              <a:ext cx="16560" cy="137520"/>
            </p14:xfrm>
          </p:contentPart>
        </mc:Choice>
        <mc:Fallback>
          <p:pic>
            <p:nvPicPr>
              <p:cNvPr id="259" name="Ink 258">
                <a:extLst>
                  <a:ext uri="{FF2B5EF4-FFF2-40B4-BE49-F238E27FC236}">
                    <a16:creationId xmlns:a16="http://schemas.microsoft.com/office/drawing/2014/main" id="{80785AB7-3929-E547-C23B-9A83DC7A2692}"/>
                  </a:ext>
                </a:extLst>
              </p:cNvPr>
              <p:cNvPicPr/>
              <p:nvPr/>
            </p:nvPicPr>
            <p:blipFill>
              <a:blip r:embed="rId311"/>
              <a:stretch>
                <a:fillRect/>
              </a:stretch>
            </p:blipFill>
            <p:spPr>
              <a:xfrm>
                <a:off x="8536061" y="5664092"/>
                <a:ext cx="47160" cy="1677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12">
            <p14:nvContentPartPr>
              <p14:cNvPr id="260" name="Ink 259">
                <a:extLst>
                  <a:ext uri="{FF2B5EF4-FFF2-40B4-BE49-F238E27FC236}">
                    <a16:creationId xmlns:a16="http://schemas.microsoft.com/office/drawing/2014/main" id="{53815C6D-5E12-AD22-7250-8CD495844670}"/>
                  </a:ext>
                </a:extLst>
              </p14:cNvPr>
              <p14:cNvContentPartPr/>
              <p14:nvPr/>
            </p14:nvContentPartPr>
            <p14:xfrm>
              <a:off x="8654141" y="5620532"/>
              <a:ext cx="145800" cy="205920"/>
            </p14:xfrm>
          </p:contentPart>
        </mc:Choice>
        <mc:Fallback>
          <p:pic>
            <p:nvPicPr>
              <p:cNvPr id="260" name="Ink 259">
                <a:extLst>
                  <a:ext uri="{FF2B5EF4-FFF2-40B4-BE49-F238E27FC236}">
                    <a16:creationId xmlns:a16="http://schemas.microsoft.com/office/drawing/2014/main" id="{53815C6D-5E12-AD22-7250-8CD495844670}"/>
                  </a:ext>
                </a:extLst>
              </p:cNvPr>
              <p:cNvPicPr/>
              <p:nvPr/>
            </p:nvPicPr>
            <p:blipFill>
              <a:blip r:embed="rId313"/>
              <a:stretch>
                <a:fillRect/>
              </a:stretch>
            </p:blipFill>
            <p:spPr>
              <a:xfrm>
                <a:off x="8638661" y="5605412"/>
                <a:ext cx="176400" cy="2365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14">
            <p14:nvContentPartPr>
              <p14:cNvPr id="261" name="Ink 260">
                <a:extLst>
                  <a:ext uri="{FF2B5EF4-FFF2-40B4-BE49-F238E27FC236}">
                    <a16:creationId xmlns:a16="http://schemas.microsoft.com/office/drawing/2014/main" id="{3C6B6E6F-8A31-B3D2-7752-E7BD38B814B4}"/>
                  </a:ext>
                </a:extLst>
              </p14:cNvPr>
              <p14:cNvContentPartPr/>
              <p14:nvPr/>
            </p14:nvContentPartPr>
            <p14:xfrm>
              <a:off x="8814341" y="5611532"/>
              <a:ext cx="89280" cy="220320"/>
            </p14:xfrm>
          </p:contentPart>
        </mc:Choice>
        <mc:Fallback>
          <p:pic>
            <p:nvPicPr>
              <p:cNvPr id="261" name="Ink 260">
                <a:extLst>
                  <a:ext uri="{FF2B5EF4-FFF2-40B4-BE49-F238E27FC236}">
                    <a16:creationId xmlns:a16="http://schemas.microsoft.com/office/drawing/2014/main" id="{3C6B6E6F-8A31-B3D2-7752-E7BD38B814B4}"/>
                  </a:ext>
                </a:extLst>
              </p:cNvPr>
              <p:cNvPicPr/>
              <p:nvPr/>
            </p:nvPicPr>
            <p:blipFill>
              <a:blip r:embed="rId315"/>
              <a:stretch>
                <a:fillRect/>
              </a:stretch>
            </p:blipFill>
            <p:spPr>
              <a:xfrm>
                <a:off x="8798861" y="5596052"/>
                <a:ext cx="119880" cy="2505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16">
            <p14:nvContentPartPr>
              <p14:cNvPr id="262" name="Ink 261">
                <a:extLst>
                  <a:ext uri="{FF2B5EF4-FFF2-40B4-BE49-F238E27FC236}">
                    <a16:creationId xmlns:a16="http://schemas.microsoft.com/office/drawing/2014/main" id="{1DE86BC6-080F-E3A2-F05E-02C343DD26E9}"/>
                  </a:ext>
                </a:extLst>
              </p14:cNvPr>
              <p14:cNvContentPartPr/>
              <p14:nvPr/>
            </p14:nvContentPartPr>
            <p14:xfrm>
              <a:off x="9042581" y="5704052"/>
              <a:ext cx="30240" cy="8640"/>
            </p14:xfrm>
          </p:contentPart>
        </mc:Choice>
        <mc:Fallback>
          <p:pic>
            <p:nvPicPr>
              <p:cNvPr id="262" name="Ink 261">
                <a:extLst>
                  <a:ext uri="{FF2B5EF4-FFF2-40B4-BE49-F238E27FC236}">
                    <a16:creationId xmlns:a16="http://schemas.microsoft.com/office/drawing/2014/main" id="{1DE86BC6-080F-E3A2-F05E-02C343DD26E9}"/>
                  </a:ext>
                </a:extLst>
              </p:cNvPr>
              <p:cNvPicPr/>
              <p:nvPr/>
            </p:nvPicPr>
            <p:blipFill>
              <a:blip r:embed="rId317"/>
              <a:stretch>
                <a:fillRect/>
              </a:stretch>
            </p:blipFill>
            <p:spPr>
              <a:xfrm>
                <a:off x="9027461" y="5688932"/>
                <a:ext cx="60840" cy="392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18">
            <p14:nvContentPartPr>
              <p14:cNvPr id="263" name="Ink 262">
                <a:extLst>
                  <a:ext uri="{FF2B5EF4-FFF2-40B4-BE49-F238E27FC236}">
                    <a16:creationId xmlns:a16="http://schemas.microsoft.com/office/drawing/2014/main" id="{A00E9F56-F517-42F4-1AD9-8C87EB94B774}"/>
                  </a:ext>
                </a:extLst>
              </p14:cNvPr>
              <p14:cNvContentPartPr/>
              <p14:nvPr/>
            </p14:nvContentPartPr>
            <p14:xfrm>
              <a:off x="9160301" y="5625932"/>
              <a:ext cx="112680" cy="186480"/>
            </p14:xfrm>
          </p:contentPart>
        </mc:Choice>
        <mc:Fallback>
          <p:pic>
            <p:nvPicPr>
              <p:cNvPr id="263" name="Ink 262">
                <a:extLst>
                  <a:ext uri="{FF2B5EF4-FFF2-40B4-BE49-F238E27FC236}">
                    <a16:creationId xmlns:a16="http://schemas.microsoft.com/office/drawing/2014/main" id="{A00E9F56-F517-42F4-1AD9-8C87EB94B774}"/>
                  </a:ext>
                </a:extLst>
              </p:cNvPr>
              <p:cNvPicPr/>
              <p:nvPr/>
            </p:nvPicPr>
            <p:blipFill>
              <a:blip r:embed="rId319"/>
              <a:stretch>
                <a:fillRect/>
              </a:stretch>
            </p:blipFill>
            <p:spPr>
              <a:xfrm>
                <a:off x="9145181" y="5610812"/>
                <a:ext cx="143280" cy="2170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20">
            <p14:nvContentPartPr>
              <p14:cNvPr id="264" name="Ink 263">
                <a:extLst>
                  <a:ext uri="{FF2B5EF4-FFF2-40B4-BE49-F238E27FC236}">
                    <a16:creationId xmlns:a16="http://schemas.microsoft.com/office/drawing/2014/main" id="{4027540E-C9BA-ABF9-10C8-FB520B95DAF6}"/>
                  </a:ext>
                </a:extLst>
              </p14:cNvPr>
              <p14:cNvContentPartPr/>
              <p14:nvPr/>
            </p14:nvContentPartPr>
            <p14:xfrm>
              <a:off x="9333101" y="5615492"/>
              <a:ext cx="73080" cy="186120"/>
            </p14:xfrm>
          </p:contentPart>
        </mc:Choice>
        <mc:Fallback>
          <p:pic>
            <p:nvPicPr>
              <p:cNvPr id="264" name="Ink 263">
                <a:extLst>
                  <a:ext uri="{FF2B5EF4-FFF2-40B4-BE49-F238E27FC236}">
                    <a16:creationId xmlns:a16="http://schemas.microsoft.com/office/drawing/2014/main" id="{4027540E-C9BA-ABF9-10C8-FB520B95DAF6}"/>
                  </a:ext>
                </a:extLst>
              </p:cNvPr>
              <p:cNvPicPr/>
              <p:nvPr/>
            </p:nvPicPr>
            <p:blipFill>
              <a:blip r:embed="rId321"/>
              <a:stretch>
                <a:fillRect/>
              </a:stretch>
            </p:blipFill>
            <p:spPr>
              <a:xfrm>
                <a:off x="9317981" y="5600372"/>
                <a:ext cx="103680" cy="216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22">
            <p14:nvContentPartPr>
              <p14:cNvPr id="265" name="Ink 264">
                <a:extLst>
                  <a:ext uri="{FF2B5EF4-FFF2-40B4-BE49-F238E27FC236}">
                    <a16:creationId xmlns:a16="http://schemas.microsoft.com/office/drawing/2014/main" id="{B38EF8D0-04F6-045B-1BB8-AC4A8289A69F}"/>
                  </a:ext>
                </a:extLst>
              </p14:cNvPr>
              <p14:cNvContentPartPr/>
              <p14:nvPr/>
            </p14:nvContentPartPr>
            <p14:xfrm>
              <a:off x="9477461" y="5609012"/>
              <a:ext cx="104760" cy="209520"/>
            </p14:xfrm>
          </p:contentPart>
        </mc:Choice>
        <mc:Fallback>
          <p:pic>
            <p:nvPicPr>
              <p:cNvPr id="265" name="Ink 264">
                <a:extLst>
                  <a:ext uri="{FF2B5EF4-FFF2-40B4-BE49-F238E27FC236}">
                    <a16:creationId xmlns:a16="http://schemas.microsoft.com/office/drawing/2014/main" id="{B38EF8D0-04F6-045B-1BB8-AC4A8289A69F}"/>
                  </a:ext>
                </a:extLst>
              </p:cNvPr>
              <p:cNvPicPr/>
              <p:nvPr/>
            </p:nvPicPr>
            <p:blipFill>
              <a:blip r:embed="rId323"/>
              <a:stretch>
                <a:fillRect/>
              </a:stretch>
            </p:blipFill>
            <p:spPr>
              <a:xfrm>
                <a:off x="9462341" y="5593892"/>
                <a:ext cx="135360" cy="240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24">
            <p14:nvContentPartPr>
              <p14:cNvPr id="266" name="Ink 265">
                <a:extLst>
                  <a:ext uri="{FF2B5EF4-FFF2-40B4-BE49-F238E27FC236}">
                    <a16:creationId xmlns:a16="http://schemas.microsoft.com/office/drawing/2014/main" id="{DBE3E18C-DFA6-7E1E-4CE1-EEEC1102B23D}"/>
                  </a:ext>
                </a:extLst>
              </p14:cNvPr>
              <p14:cNvContentPartPr/>
              <p14:nvPr/>
            </p14:nvContentPartPr>
            <p14:xfrm>
              <a:off x="9559901" y="5620892"/>
              <a:ext cx="129240" cy="250560"/>
            </p14:xfrm>
          </p:contentPart>
        </mc:Choice>
        <mc:Fallback>
          <p:pic>
            <p:nvPicPr>
              <p:cNvPr id="266" name="Ink 265">
                <a:extLst>
                  <a:ext uri="{FF2B5EF4-FFF2-40B4-BE49-F238E27FC236}">
                    <a16:creationId xmlns:a16="http://schemas.microsoft.com/office/drawing/2014/main" id="{DBE3E18C-DFA6-7E1E-4CE1-EEEC1102B23D}"/>
                  </a:ext>
                </a:extLst>
              </p:cNvPr>
              <p:cNvPicPr/>
              <p:nvPr/>
            </p:nvPicPr>
            <p:blipFill>
              <a:blip r:embed="rId325"/>
              <a:stretch>
                <a:fillRect/>
              </a:stretch>
            </p:blipFill>
            <p:spPr>
              <a:xfrm>
                <a:off x="9544781" y="5605412"/>
                <a:ext cx="159840" cy="2808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26">
            <p14:nvContentPartPr>
              <p14:cNvPr id="267" name="Ink 266">
                <a:extLst>
                  <a:ext uri="{FF2B5EF4-FFF2-40B4-BE49-F238E27FC236}">
                    <a16:creationId xmlns:a16="http://schemas.microsoft.com/office/drawing/2014/main" id="{5D5C777B-FD10-E5A8-3288-30D4D518C46B}"/>
                  </a:ext>
                </a:extLst>
              </p14:cNvPr>
              <p14:cNvContentPartPr/>
              <p14:nvPr/>
            </p14:nvContentPartPr>
            <p14:xfrm>
              <a:off x="8250221" y="5900972"/>
              <a:ext cx="1412640" cy="122040"/>
            </p14:xfrm>
          </p:contentPart>
        </mc:Choice>
        <mc:Fallback>
          <p:pic>
            <p:nvPicPr>
              <p:cNvPr id="267" name="Ink 266">
                <a:extLst>
                  <a:ext uri="{FF2B5EF4-FFF2-40B4-BE49-F238E27FC236}">
                    <a16:creationId xmlns:a16="http://schemas.microsoft.com/office/drawing/2014/main" id="{5D5C777B-FD10-E5A8-3288-30D4D518C46B}"/>
                  </a:ext>
                </a:extLst>
              </p:cNvPr>
              <p:cNvPicPr/>
              <p:nvPr/>
            </p:nvPicPr>
            <p:blipFill>
              <a:blip r:embed="rId327"/>
              <a:stretch>
                <a:fillRect/>
              </a:stretch>
            </p:blipFill>
            <p:spPr>
              <a:xfrm>
                <a:off x="8234741" y="5885852"/>
                <a:ext cx="1443240" cy="1526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28">
            <p14:nvContentPartPr>
              <p14:cNvPr id="268" name="Ink 267">
                <a:extLst>
                  <a:ext uri="{FF2B5EF4-FFF2-40B4-BE49-F238E27FC236}">
                    <a16:creationId xmlns:a16="http://schemas.microsoft.com/office/drawing/2014/main" id="{7AB0380F-2D13-3A16-0C81-7362EEB66D0D}"/>
                  </a:ext>
                </a:extLst>
              </p14:cNvPr>
              <p14:cNvContentPartPr/>
              <p14:nvPr/>
            </p14:nvContentPartPr>
            <p14:xfrm>
              <a:off x="8731541" y="6059012"/>
              <a:ext cx="114120" cy="192960"/>
            </p14:xfrm>
          </p:contentPart>
        </mc:Choice>
        <mc:Fallback>
          <p:pic>
            <p:nvPicPr>
              <p:cNvPr id="268" name="Ink 267">
                <a:extLst>
                  <a:ext uri="{FF2B5EF4-FFF2-40B4-BE49-F238E27FC236}">
                    <a16:creationId xmlns:a16="http://schemas.microsoft.com/office/drawing/2014/main" id="{7AB0380F-2D13-3A16-0C81-7362EEB66D0D}"/>
                  </a:ext>
                </a:extLst>
              </p:cNvPr>
              <p:cNvPicPr/>
              <p:nvPr/>
            </p:nvPicPr>
            <p:blipFill>
              <a:blip r:embed="rId329"/>
              <a:stretch>
                <a:fillRect/>
              </a:stretch>
            </p:blipFill>
            <p:spPr>
              <a:xfrm>
                <a:off x="8716061" y="6043892"/>
                <a:ext cx="144720" cy="2235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30">
            <p14:nvContentPartPr>
              <p14:cNvPr id="269" name="Ink 268">
                <a:extLst>
                  <a:ext uri="{FF2B5EF4-FFF2-40B4-BE49-F238E27FC236}">
                    <a16:creationId xmlns:a16="http://schemas.microsoft.com/office/drawing/2014/main" id="{05A0EC5B-2795-7C14-C979-87B582D46A35}"/>
                  </a:ext>
                </a:extLst>
              </p14:cNvPr>
              <p14:cNvContentPartPr/>
              <p14:nvPr/>
            </p14:nvContentPartPr>
            <p14:xfrm>
              <a:off x="8913341" y="6102212"/>
              <a:ext cx="72720" cy="174240"/>
            </p14:xfrm>
          </p:contentPart>
        </mc:Choice>
        <mc:Fallback>
          <p:pic>
            <p:nvPicPr>
              <p:cNvPr id="269" name="Ink 268">
                <a:extLst>
                  <a:ext uri="{FF2B5EF4-FFF2-40B4-BE49-F238E27FC236}">
                    <a16:creationId xmlns:a16="http://schemas.microsoft.com/office/drawing/2014/main" id="{05A0EC5B-2795-7C14-C979-87B582D46A35}"/>
                  </a:ext>
                </a:extLst>
              </p:cNvPr>
              <p:cNvPicPr/>
              <p:nvPr/>
            </p:nvPicPr>
            <p:blipFill>
              <a:blip r:embed="rId331"/>
              <a:stretch>
                <a:fillRect/>
              </a:stretch>
            </p:blipFill>
            <p:spPr>
              <a:xfrm>
                <a:off x="8898221" y="6086732"/>
                <a:ext cx="103320" cy="2048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32">
            <p14:nvContentPartPr>
              <p14:cNvPr id="270" name="Ink 269">
                <a:extLst>
                  <a:ext uri="{FF2B5EF4-FFF2-40B4-BE49-F238E27FC236}">
                    <a16:creationId xmlns:a16="http://schemas.microsoft.com/office/drawing/2014/main" id="{29C4A661-4DF8-13E7-936F-427054EA7EAC}"/>
                  </a:ext>
                </a:extLst>
              </p14:cNvPr>
              <p14:cNvContentPartPr/>
              <p14:nvPr/>
            </p14:nvContentPartPr>
            <p14:xfrm>
              <a:off x="9076421" y="6104732"/>
              <a:ext cx="153720" cy="188640"/>
            </p14:xfrm>
          </p:contentPart>
        </mc:Choice>
        <mc:Fallback>
          <p:pic>
            <p:nvPicPr>
              <p:cNvPr id="270" name="Ink 269">
                <a:extLst>
                  <a:ext uri="{FF2B5EF4-FFF2-40B4-BE49-F238E27FC236}">
                    <a16:creationId xmlns:a16="http://schemas.microsoft.com/office/drawing/2014/main" id="{29C4A661-4DF8-13E7-936F-427054EA7EAC}"/>
                  </a:ext>
                </a:extLst>
              </p:cNvPr>
              <p:cNvPicPr/>
              <p:nvPr/>
            </p:nvPicPr>
            <p:blipFill>
              <a:blip r:embed="rId333"/>
              <a:stretch>
                <a:fillRect/>
              </a:stretch>
            </p:blipFill>
            <p:spPr>
              <a:xfrm>
                <a:off x="9061301" y="6089252"/>
                <a:ext cx="184320" cy="2192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34">
            <p14:nvContentPartPr>
              <p14:cNvPr id="271" name="Ink 270">
                <a:extLst>
                  <a:ext uri="{FF2B5EF4-FFF2-40B4-BE49-F238E27FC236}">
                    <a16:creationId xmlns:a16="http://schemas.microsoft.com/office/drawing/2014/main" id="{1FECBFBA-B2BF-2A0B-8510-216A01672697}"/>
                  </a:ext>
                </a:extLst>
              </p14:cNvPr>
              <p14:cNvContentPartPr/>
              <p14:nvPr/>
            </p14:nvContentPartPr>
            <p14:xfrm>
              <a:off x="9132221" y="6200852"/>
              <a:ext cx="86400" cy="42120"/>
            </p14:xfrm>
          </p:contentPart>
        </mc:Choice>
        <mc:Fallback>
          <p:pic>
            <p:nvPicPr>
              <p:cNvPr id="271" name="Ink 270">
                <a:extLst>
                  <a:ext uri="{FF2B5EF4-FFF2-40B4-BE49-F238E27FC236}">
                    <a16:creationId xmlns:a16="http://schemas.microsoft.com/office/drawing/2014/main" id="{1FECBFBA-B2BF-2A0B-8510-216A01672697}"/>
                  </a:ext>
                </a:extLst>
              </p:cNvPr>
              <p:cNvPicPr/>
              <p:nvPr/>
            </p:nvPicPr>
            <p:blipFill>
              <a:blip r:embed="rId335"/>
              <a:stretch>
                <a:fillRect/>
              </a:stretch>
            </p:blipFill>
            <p:spPr>
              <a:xfrm>
                <a:off x="9116741" y="6185372"/>
                <a:ext cx="116640" cy="72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36">
            <p14:nvContentPartPr>
              <p14:cNvPr id="272" name="Ink 271">
                <a:extLst>
                  <a:ext uri="{FF2B5EF4-FFF2-40B4-BE49-F238E27FC236}">
                    <a16:creationId xmlns:a16="http://schemas.microsoft.com/office/drawing/2014/main" id="{4CEE9CC7-C3AC-7540-5DFA-E5A150A6A6A5}"/>
                  </a:ext>
                </a:extLst>
              </p14:cNvPr>
              <p14:cNvContentPartPr/>
              <p14:nvPr/>
            </p14:nvContentPartPr>
            <p14:xfrm>
              <a:off x="9240941" y="6100772"/>
              <a:ext cx="123120" cy="238320"/>
            </p14:xfrm>
          </p:contentPart>
        </mc:Choice>
        <mc:Fallback>
          <p:pic>
            <p:nvPicPr>
              <p:cNvPr id="272" name="Ink 271">
                <a:extLst>
                  <a:ext uri="{FF2B5EF4-FFF2-40B4-BE49-F238E27FC236}">
                    <a16:creationId xmlns:a16="http://schemas.microsoft.com/office/drawing/2014/main" id="{4CEE9CC7-C3AC-7540-5DFA-E5A150A6A6A5}"/>
                  </a:ext>
                </a:extLst>
              </p:cNvPr>
              <p:cNvPicPr/>
              <p:nvPr/>
            </p:nvPicPr>
            <p:blipFill>
              <a:blip r:embed="rId337"/>
              <a:stretch>
                <a:fillRect/>
              </a:stretch>
            </p:blipFill>
            <p:spPr>
              <a:xfrm>
                <a:off x="9225821" y="6085652"/>
                <a:ext cx="153720" cy="2689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38">
            <p14:nvContentPartPr>
              <p14:cNvPr id="273" name="Ink 272">
                <a:extLst>
                  <a:ext uri="{FF2B5EF4-FFF2-40B4-BE49-F238E27FC236}">
                    <a16:creationId xmlns:a16="http://schemas.microsoft.com/office/drawing/2014/main" id="{FF517391-2D0D-24E6-9AED-4833D1C4C19F}"/>
                  </a:ext>
                </a:extLst>
              </p14:cNvPr>
              <p14:cNvContentPartPr/>
              <p14:nvPr/>
            </p14:nvContentPartPr>
            <p14:xfrm>
              <a:off x="9972821" y="5761652"/>
              <a:ext cx="535680" cy="180720"/>
            </p14:xfrm>
          </p:contentPart>
        </mc:Choice>
        <mc:Fallback>
          <p:pic>
            <p:nvPicPr>
              <p:cNvPr id="273" name="Ink 272">
                <a:extLst>
                  <a:ext uri="{FF2B5EF4-FFF2-40B4-BE49-F238E27FC236}">
                    <a16:creationId xmlns:a16="http://schemas.microsoft.com/office/drawing/2014/main" id="{FF517391-2D0D-24E6-9AED-4833D1C4C19F}"/>
                  </a:ext>
                </a:extLst>
              </p:cNvPr>
              <p:cNvPicPr/>
              <p:nvPr/>
            </p:nvPicPr>
            <p:blipFill>
              <a:blip r:embed="rId339"/>
              <a:stretch>
                <a:fillRect/>
              </a:stretch>
            </p:blipFill>
            <p:spPr>
              <a:xfrm>
                <a:off x="9957341" y="5746172"/>
                <a:ext cx="566280" cy="211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40">
            <p14:nvContentPartPr>
              <p14:cNvPr id="274" name="Ink 273">
                <a:extLst>
                  <a:ext uri="{FF2B5EF4-FFF2-40B4-BE49-F238E27FC236}">
                    <a16:creationId xmlns:a16="http://schemas.microsoft.com/office/drawing/2014/main" id="{6B1938D1-7D21-137B-DF57-ACEE9C2C44BB}"/>
                  </a:ext>
                </a:extLst>
              </p14:cNvPr>
              <p14:cNvContentPartPr/>
              <p14:nvPr/>
            </p14:nvContentPartPr>
            <p14:xfrm>
              <a:off x="10710821" y="5710532"/>
              <a:ext cx="178920" cy="180360"/>
            </p14:xfrm>
          </p:contentPart>
        </mc:Choice>
        <mc:Fallback>
          <p:pic>
            <p:nvPicPr>
              <p:cNvPr id="274" name="Ink 273">
                <a:extLst>
                  <a:ext uri="{FF2B5EF4-FFF2-40B4-BE49-F238E27FC236}">
                    <a16:creationId xmlns:a16="http://schemas.microsoft.com/office/drawing/2014/main" id="{6B1938D1-7D21-137B-DF57-ACEE9C2C44BB}"/>
                  </a:ext>
                </a:extLst>
              </p:cNvPr>
              <p:cNvPicPr/>
              <p:nvPr/>
            </p:nvPicPr>
            <p:blipFill>
              <a:blip r:embed="rId341"/>
              <a:stretch>
                <a:fillRect/>
              </a:stretch>
            </p:blipFill>
            <p:spPr>
              <a:xfrm>
                <a:off x="10695341" y="5695052"/>
                <a:ext cx="209520" cy="2109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42">
            <p14:nvContentPartPr>
              <p14:cNvPr id="275" name="Ink 274">
                <a:extLst>
                  <a:ext uri="{FF2B5EF4-FFF2-40B4-BE49-F238E27FC236}">
                    <a16:creationId xmlns:a16="http://schemas.microsoft.com/office/drawing/2014/main" id="{8156EB93-D0E9-6D13-B761-BF9B8EDB7D0C}"/>
                  </a:ext>
                </a:extLst>
              </p14:cNvPr>
              <p14:cNvContentPartPr/>
              <p14:nvPr/>
            </p14:nvContentPartPr>
            <p14:xfrm>
              <a:off x="10671941" y="5786492"/>
              <a:ext cx="49320" cy="136800"/>
            </p14:xfrm>
          </p:contentPart>
        </mc:Choice>
        <mc:Fallback>
          <p:pic>
            <p:nvPicPr>
              <p:cNvPr id="275" name="Ink 274">
                <a:extLst>
                  <a:ext uri="{FF2B5EF4-FFF2-40B4-BE49-F238E27FC236}">
                    <a16:creationId xmlns:a16="http://schemas.microsoft.com/office/drawing/2014/main" id="{8156EB93-D0E9-6D13-B761-BF9B8EDB7D0C}"/>
                  </a:ext>
                </a:extLst>
              </p:cNvPr>
              <p:cNvPicPr/>
              <p:nvPr/>
            </p:nvPicPr>
            <p:blipFill>
              <a:blip r:embed="rId343"/>
              <a:stretch>
                <a:fillRect/>
              </a:stretch>
            </p:blipFill>
            <p:spPr>
              <a:xfrm>
                <a:off x="10656461" y="5771012"/>
                <a:ext cx="79920" cy="1670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44">
            <p14:nvContentPartPr>
              <p14:cNvPr id="276" name="Ink 275">
                <a:extLst>
                  <a:ext uri="{FF2B5EF4-FFF2-40B4-BE49-F238E27FC236}">
                    <a16:creationId xmlns:a16="http://schemas.microsoft.com/office/drawing/2014/main" id="{9DED1E6D-F02B-45BE-0F5D-BF11AEE7D675}"/>
                  </a:ext>
                </a:extLst>
              </p14:cNvPr>
              <p14:cNvContentPartPr/>
              <p14:nvPr/>
            </p14:nvContentPartPr>
            <p14:xfrm>
              <a:off x="10599581" y="5641412"/>
              <a:ext cx="364320" cy="374400"/>
            </p14:xfrm>
          </p:contentPart>
        </mc:Choice>
        <mc:Fallback>
          <p:pic>
            <p:nvPicPr>
              <p:cNvPr id="276" name="Ink 275">
                <a:extLst>
                  <a:ext uri="{FF2B5EF4-FFF2-40B4-BE49-F238E27FC236}">
                    <a16:creationId xmlns:a16="http://schemas.microsoft.com/office/drawing/2014/main" id="{9DED1E6D-F02B-45BE-0F5D-BF11AEE7D675}"/>
                  </a:ext>
                </a:extLst>
              </p:cNvPr>
              <p:cNvPicPr/>
              <p:nvPr/>
            </p:nvPicPr>
            <p:blipFill>
              <a:blip r:embed="rId345"/>
              <a:stretch>
                <a:fillRect/>
              </a:stretch>
            </p:blipFill>
            <p:spPr>
              <a:xfrm>
                <a:off x="10584461" y="5625932"/>
                <a:ext cx="394920" cy="405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46">
            <p14:nvContentPartPr>
              <p14:cNvPr id="277" name="Ink 276">
                <a:extLst>
                  <a:ext uri="{FF2B5EF4-FFF2-40B4-BE49-F238E27FC236}">
                    <a16:creationId xmlns:a16="http://schemas.microsoft.com/office/drawing/2014/main" id="{24D030A8-B5DA-4192-1B14-D32FF449A675}"/>
                  </a:ext>
                </a:extLst>
              </p14:cNvPr>
              <p14:cNvContentPartPr/>
              <p14:nvPr/>
            </p14:nvContentPartPr>
            <p14:xfrm>
              <a:off x="5972861" y="5707292"/>
              <a:ext cx="10080" cy="480960"/>
            </p14:xfrm>
          </p:contentPart>
        </mc:Choice>
        <mc:Fallback>
          <p:pic>
            <p:nvPicPr>
              <p:cNvPr id="277" name="Ink 276">
                <a:extLst>
                  <a:ext uri="{FF2B5EF4-FFF2-40B4-BE49-F238E27FC236}">
                    <a16:creationId xmlns:a16="http://schemas.microsoft.com/office/drawing/2014/main" id="{24D030A8-B5DA-4192-1B14-D32FF449A675}"/>
                  </a:ext>
                </a:extLst>
              </p:cNvPr>
              <p:cNvPicPr/>
              <p:nvPr/>
            </p:nvPicPr>
            <p:blipFill>
              <a:blip r:embed="rId347"/>
              <a:stretch>
                <a:fillRect/>
              </a:stretch>
            </p:blipFill>
            <p:spPr>
              <a:xfrm>
                <a:off x="5957381" y="5692172"/>
                <a:ext cx="40680" cy="5115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48">
            <p14:nvContentPartPr>
              <p14:cNvPr id="278" name="Ink 277">
                <a:extLst>
                  <a:ext uri="{FF2B5EF4-FFF2-40B4-BE49-F238E27FC236}">
                    <a16:creationId xmlns:a16="http://schemas.microsoft.com/office/drawing/2014/main" id="{597D3E54-30C7-61D2-2A39-A47B2183521B}"/>
                  </a:ext>
                </a:extLst>
              </p14:cNvPr>
              <p14:cNvContentPartPr/>
              <p14:nvPr/>
            </p14:nvContentPartPr>
            <p14:xfrm>
              <a:off x="5890781" y="5462132"/>
              <a:ext cx="5152320" cy="1223280"/>
            </p14:xfrm>
          </p:contentPart>
        </mc:Choice>
        <mc:Fallback>
          <p:pic>
            <p:nvPicPr>
              <p:cNvPr id="278" name="Ink 277">
                <a:extLst>
                  <a:ext uri="{FF2B5EF4-FFF2-40B4-BE49-F238E27FC236}">
                    <a16:creationId xmlns:a16="http://schemas.microsoft.com/office/drawing/2014/main" id="{597D3E54-30C7-61D2-2A39-A47B2183521B}"/>
                  </a:ext>
                </a:extLst>
              </p:cNvPr>
              <p:cNvPicPr/>
              <p:nvPr/>
            </p:nvPicPr>
            <p:blipFill>
              <a:blip r:embed="rId349"/>
              <a:stretch>
                <a:fillRect/>
              </a:stretch>
            </p:blipFill>
            <p:spPr>
              <a:xfrm>
                <a:off x="5875661" y="5447012"/>
                <a:ext cx="5182920" cy="1253520"/>
              </a:xfrm>
              <a:prstGeom prst="rect">
                <a:avLst/>
              </a:prstGeom>
            </p:spPr>
          </p:pic>
        </mc:Fallback>
      </mc:AlternateContent>
      <p:grpSp>
        <p:nvGrpSpPr>
          <p:cNvPr id="281" name="Group 280">
            <a:extLst>
              <a:ext uri="{FF2B5EF4-FFF2-40B4-BE49-F238E27FC236}">
                <a16:creationId xmlns:a16="http://schemas.microsoft.com/office/drawing/2014/main" id="{83526253-6CB3-DDF3-DA62-5420B04E2D26}"/>
              </a:ext>
            </a:extLst>
          </p:cNvPr>
          <p:cNvGrpSpPr/>
          <p:nvPr/>
        </p:nvGrpSpPr>
        <p:grpSpPr>
          <a:xfrm>
            <a:off x="963461" y="5226332"/>
            <a:ext cx="383040" cy="329400"/>
            <a:chOff x="963461" y="5226332"/>
            <a:chExt cx="383040" cy="3294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350">
              <p14:nvContentPartPr>
                <p14:cNvPr id="279" name="Ink 278">
                  <a:extLst>
                    <a:ext uri="{FF2B5EF4-FFF2-40B4-BE49-F238E27FC236}">
                      <a16:creationId xmlns:a16="http://schemas.microsoft.com/office/drawing/2014/main" id="{4E98ECD0-DB21-22C8-9713-E4EEBDC5CA6F}"/>
                    </a:ext>
                  </a:extLst>
                </p14:cNvPr>
                <p14:cNvContentPartPr/>
                <p14:nvPr/>
              </p14:nvContentPartPr>
              <p14:xfrm>
                <a:off x="963461" y="5226332"/>
                <a:ext cx="290160" cy="128880"/>
              </p14:xfrm>
            </p:contentPart>
          </mc:Choice>
          <mc:Fallback>
            <p:pic>
              <p:nvPicPr>
                <p:cNvPr id="279" name="Ink 278">
                  <a:extLst>
                    <a:ext uri="{FF2B5EF4-FFF2-40B4-BE49-F238E27FC236}">
                      <a16:creationId xmlns:a16="http://schemas.microsoft.com/office/drawing/2014/main" id="{4E98ECD0-DB21-22C8-9713-E4EEBDC5CA6F}"/>
                    </a:ext>
                  </a:extLst>
                </p:cNvPr>
                <p:cNvPicPr/>
                <p:nvPr/>
              </p:nvPicPr>
              <p:blipFill>
                <a:blip r:embed="rId351"/>
                <a:stretch>
                  <a:fillRect/>
                </a:stretch>
              </p:blipFill>
              <p:spPr>
                <a:xfrm>
                  <a:off x="948341" y="5210852"/>
                  <a:ext cx="320760" cy="159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52">
              <p14:nvContentPartPr>
                <p14:cNvPr id="280" name="Ink 279">
                  <a:extLst>
                    <a:ext uri="{FF2B5EF4-FFF2-40B4-BE49-F238E27FC236}">
                      <a16:creationId xmlns:a16="http://schemas.microsoft.com/office/drawing/2014/main" id="{FBA5A322-9EC8-C445-7D9D-EA81DDB33CF3}"/>
                    </a:ext>
                  </a:extLst>
                </p14:cNvPr>
                <p14:cNvContentPartPr/>
                <p14:nvPr/>
              </p14:nvContentPartPr>
              <p14:xfrm>
                <a:off x="1105301" y="5348012"/>
                <a:ext cx="241200" cy="207720"/>
              </p14:xfrm>
            </p:contentPart>
          </mc:Choice>
          <mc:Fallback>
            <p:pic>
              <p:nvPicPr>
                <p:cNvPr id="280" name="Ink 279">
                  <a:extLst>
                    <a:ext uri="{FF2B5EF4-FFF2-40B4-BE49-F238E27FC236}">
                      <a16:creationId xmlns:a16="http://schemas.microsoft.com/office/drawing/2014/main" id="{FBA5A322-9EC8-C445-7D9D-EA81DDB33CF3}"/>
                    </a:ext>
                  </a:extLst>
                </p:cNvPr>
                <p:cNvPicPr/>
                <p:nvPr/>
              </p:nvPicPr>
              <p:blipFill>
                <a:blip r:embed="rId353"/>
                <a:stretch>
                  <a:fillRect/>
                </a:stretch>
              </p:blipFill>
              <p:spPr>
                <a:xfrm>
                  <a:off x="1090181" y="5332892"/>
                  <a:ext cx="271440" cy="2383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84" name="Group 283">
            <a:extLst>
              <a:ext uri="{FF2B5EF4-FFF2-40B4-BE49-F238E27FC236}">
                <a16:creationId xmlns:a16="http://schemas.microsoft.com/office/drawing/2014/main" id="{0D9E414D-564D-DDDA-B9B7-228470301815}"/>
              </a:ext>
            </a:extLst>
          </p:cNvPr>
          <p:cNvGrpSpPr/>
          <p:nvPr/>
        </p:nvGrpSpPr>
        <p:grpSpPr>
          <a:xfrm>
            <a:off x="5807621" y="6077732"/>
            <a:ext cx="139320" cy="193320"/>
            <a:chOff x="5807621" y="6077732"/>
            <a:chExt cx="139320" cy="1933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354">
              <p14:nvContentPartPr>
                <p14:cNvPr id="282" name="Ink 281">
                  <a:extLst>
                    <a:ext uri="{FF2B5EF4-FFF2-40B4-BE49-F238E27FC236}">
                      <a16:creationId xmlns:a16="http://schemas.microsoft.com/office/drawing/2014/main" id="{D9EDD76B-FD32-9492-3FE9-B54C3816C3EF}"/>
                    </a:ext>
                  </a:extLst>
                </p14:cNvPr>
                <p14:cNvContentPartPr/>
                <p14:nvPr/>
              </p14:nvContentPartPr>
              <p14:xfrm>
                <a:off x="5835701" y="6077732"/>
                <a:ext cx="66600" cy="65520"/>
              </p14:xfrm>
            </p:contentPart>
          </mc:Choice>
          <mc:Fallback>
            <p:pic>
              <p:nvPicPr>
                <p:cNvPr id="282" name="Ink 281">
                  <a:extLst>
                    <a:ext uri="{FF2B5EF4-FFF2-40B4-BE49-F238E27FC236}">
                      <a16:creationId xmlns:a16="http://schemas.microsoft.com/office/drawing/2014/main" id="{D9EDD76B-FD32-9492-3FE9-B54C3816C3EF}"/>
                    </a:ext>
                  </a:extLst>
                </p:cNvPr>
                <p:cNvPicPr/>
                <p:nvPr/>
              </p:nvPicPr>
              <p:blipFill>
                <a:blip r:embed="rId355"/>
                <a:stretch>
                  <a:fillRect/>
                </a:stretch>
              </p:blipFill>
              <p:spPr>
                <a:xfrm>
                  <a:off x="5820581" y="6062612"/>
                  <a:ext cx="97200" cy="95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56">
              <p14:nvContentPartPr>
                <p14:cNvPr id="283" name="Ink 282">
                  <a:extLst>
                    <a:ext uri="{FF2B5EF4-FFF2-40B4-BE49-F238E27FC236}">
                      <a16:creationId xmlns:a16="http://schemas.microsoft.com/office/drawing/2014/main" id="{193836AD-DBC6-91FC-55A0-83A24DF92D4C}"/>
                    </a:ext>
                  </a:extLst>
                </p14:cNvPr>
                <p14:cNvContentPartPr/>
                <p14:nvPr/>
              </p14:nvContentPartPr>
              <p14:xfrm>
                <a:off x="5807621" y="6165932"/>
                <a:ext cx="139320" cy="105120"/>
              </p14:xfrm>
            </p:contentPart>
          </mc:Choice>
          <mc:Fallback>
            <p:pic>
              <p:nvPicPr>
                <p:cNvPr id="283" name="Ink 282">
                  <a:extLst>
                    <a:ext uri="{FF2B5EF4-FFF2-40B4-BE49-F238E27FC236}">
                      <a16:creationId xmlns:a16="http://schemas.microsoft.com/office/drawing/2014/main" id="{193836AD-DBC6-91FC-55A0-83A24DF92D4C}"/>
                    </a:ext>
                  </a:extLst>
                </p:cNvPr>
                <p:cNvPicPr/>
                <p:nvPr/>
              </p:nvPicPr>
              <p:blipFill>
                <a:blip r:embed="rId357"/>
                <a:stretch>
                  <a:fillRect/>
                </a:stretch>
              </p:blipFill>
              <p:spPr>
                <a:xfrm>
                  <a:off x="5792141" y="6150812"/>
                  <a:ext cx="169560" cy="13572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376777927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28CFC-444F-8296-2A02-1288304AE8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E5956B-929F-98FF-0C43-6E7813FEC25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F2375ED3-37A8-1501-FFFC-73026308213D}"/>
              </a:ext>
            </a:extLst>
          </p:cNvPr>
          <p:cNvGrpSpPr/>
          <p:nvPr/>
        </p:nvGrpSpPr>
        <p:grpSpPr>
          <a:xfrm>
            <a:off x="3735461" y="2899292"/>
            <a:ext cx="654120" cy="265680"/>
            <a:chOff x="3735461" y="2899292"/>
            <a:chExt cx="654120" cy="26568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">
              <p14:nvContentPartPr>
                <p14:cNvPr id="27" name="Ink 26">
                  <a:extLst>
                    <a:ext uri="{FF2B5EF4-FFF2-40B4-BE49-F238E27FC236}">
                      <a16:creationId xmlns:a16="http://schemas.microsoft.com/office/drawing/2014/main" id="{1B10A9DC-9D20-E1A4-A52F-A2D599DBFD22}"/>
                    </a:ext>
                  </a:extLst>
                </p14:cNvPr>
                <p14:cNvContentPartPr/>
                <p14:nvPr/>
              </p14:nvContentPartPr>
              <p14:xfrm>
                <a:off x="3735461" y="2940692"/>
                <a:ext cx="10080" cy="224280"/>
              </p14:xfrm>
            </p:contentPart>
          </mc:Choice>
          <mc:Fallback>
            <p:pic>
              <p:nvPicPr>
                <p:cNvPr id="27" name="Ink 26">
                  <a:extLst>
                    <a:ext uri="{FF2B5EF4-FFF2-40B4-BE49-F238E27FC236}">
                      <a16:creationId xmlns:a16="http://schemas.microsoft.com/office/drawing/2014/main" id="{1B10A9DC-9D20-E1A4-A52F-A2D599DBFD22}"/>
                    </a:ext>
                  </a:extLst>
                </p:cNvPr>
                <p:cNvPicPr/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3719981" y="2925572"/>
                  <a:ext cx="40680" cy="254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">
              <p14:nvContentPartPr>
                <p14:cNvPr id="28" name="Ink 27">
                  <a:extLst>
                    <a:ext uri="{FF2B5EF4-FFF2-40B4-BE49-F238E27FC236}">
                      <a16:creationId xmlns:a16="http://schemas.microsoft.com/office/drawing/2014/main" id="{591FF0DF-C056-56EC-FFAF-220D4DB46833}"/>
                    </a:ext>
                  </a:extLst>
                </p14:cNvPr>
                <p14:cNvContentPartPr/>
                <p14:nvPr/>
              </p14:nvContentPartPr>
              <p14:xfrm>
                <a:off x="3845621" y="3066332"/>
                <a:ext cx="7200" cy="12600"/>
              </p14:xfrm>
            </p:contentPart>
          </mc:Choice>
          <mc:Fallback>
            <p:pic>
              <p:nvPicPr>
                <p:cNvPr id="28" name="Ink 27">
                  <a:extLst>
                    <a:ext uri="{FF2B5EF4-FFF2-40B4-BE49-F238E27FC236}">
                      <a16:creationId xmlns:a16="http://schemas.microsoft.com/office/drawing/2014/main" id="{591FF0DF-C056-56EC-FFAF-220D4DB46833}"/>
                    </a:ext>
                  </a:extLst>
                </p:cNvPr>
                <p:cNvPicPr/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3830141" y="3050852"/>
                  <a:ext cx="37440" cy="43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">
              <p14:nvContentPartPr>
                <p14:cNvPr id="29" name="Ink 28">
                  <a:extLst>
                    <a:ext uri="{FF2B5EF4-FFF2-40B4-BE49-F238E27FC236}">
                      <a16:creationId xmlns:a16="http://schemas.microsoft.com/office/drawing/2014/main" id="{30D91210-1A51-A7F8-6C14-85701CD1AF20}"/>
                    </a:ext>
                  </a:extLst>
                </p14:cNvPr>
                <p14:cNvContentPartPr/>
                <p14:nvPr/>
              </p14:nvContentPartPr>
              <p14:xfrm>
                <a:off x="3920861" y="2954012"/>
                <a:ext cx="142200" cy="178560"/>
              </p14:xfrm>
            </p:contentPart>
          </mc:Choice>
          <mc:Fallback>
            <p:pic>
              <p:nvPicPr>
                <p:cNvPr id="29" name="Ink 28">
                  <a:extLst>
                    <a:ext uri="{FF2B5EF4-FFF2-40B4-BE49-F238E27FC236}">
                      <a16:creationId xmlns:a16="http://schemas.microsoft.com/office/drawing/2014/main" id="{30D91210-1A51-A7F8-6C14-85701CD1AF20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3905381" y="2938892"/>
                  <a:ext cx="172800" cy="209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">
              <p14:nvContentPartPr>
                <p14:cNvPr id="30" name="Ink 29">
                  <a:extLst>
                    <a:ext uri="{FF2B5EF4-FFF2-40B4-BE49-F238E27FC236}">
                      <a16:creationId xmlns:a16="http://schemas.microsoft.com/office/drawing/2014/main" id="{9F880752-C3A7-2450-B6DD-B26C6E62D289}"/>
                    </a:ext>
                  </a:extLst>
                </p14:cNvPr>
                <p14:cNvContentPartPr/>
                <p14:nvPr/>
              </p14:nvContentPartPr>
              <p14:xfrm>
                <a:off x="3940301" y="2907572"/>
                <a:ext cx="147600" cy="146880"/>
              </p14:xfrm>
            </p:contentPart>
          </mc:Choice>
          <mc:Fallback>
            <p:pic>
              <p:nvPicPr>
                <p:cNvPr id="30" name="Ink 29">
                  <a:extLst>
                    <a:ext uri="{FF2B5EF4-FFF2-40B4-BE49-F238E27FC236}">
                      <a16:creationId xmlns:a16="http://schemas.microsoft.com/office/drawing/2014/main" id="{9F880752-C3A7-2450-B6DD-B26C6E62D289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3924821" y="2892452"/>
                  <a:ext cx="177840" cy="177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">
              <p14:nvContentPartPr>
                <p14:cNvPr id="31" name="Ink 30">
                  <a:extLst>
                    <a:ext uri="{FF2B5EF4-FFF2-40B4-BE49-F238E27FC236}">
                      <a16:creationId xmlns:a16="http://schemas.microsoft.com/office/drawing/2014/main" id="{A3A29D8C-4335-4DE3-0786-6043AF58AD99}"/>
                    </a:ext>
                  </a:extLst>
                </p14:cNvPr>
                <p14:cNvContentPartPr/>
                <p14:nvPr/>
              </p14:nvContentPartPr>
              <p14:xfrm>
                <a:off x="4222181" y="2899292"/>
                <a:ext cx="44280" cy="215280"/>
              </p14:xfrm>
            </p:contentPart>
          </mc:Choice>
          <mc:Fallback>
            <p:pic>
              <p:nvPicPr>
                <p:cNvPr id="31" name="Ink 30">
                  <a:extLst>
                    <a:ext uri="{FF2B5EF4-FFF2-40B4-BE49-F238E27FC236}">
                      <a16:creationId xmlns:a16="http://schemas.microsoft.com/office/drawing/2014/main" id="{A3A29D8C-4335-4DE3-0786-6043AF58AD99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4207061" y="2884172"/>
                  <a:ext cx="74880" cy="245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">
              <p14:nvContentPartPr>
                <p14:cNvPr id="32" name="Ink 31">
                  <a:extLst>
                    <a:ext uri="{FF2B5EF4-FFF2-40B4-BE49-F238E27FC236}">
                      <a16:creationId xmlns:a16="http://schemas.microsoft.com/office/drawing/2014/main" id="{44FA1E11-0A7A-981E-A52C-E11E0CB04F6D}"/>
                    </a:ext>
                  </a:extLst>
                </p14:cNvPr>
                <p14:cNvContentPartPr/>
                <p14:nvPr/>
              </p14:nvContentPartPr>
              <p14:xfrm>
                <a:off x="4193381" y="2997572"/>
                <a:ext cx="17640" cy="42480"/>
              </p14:xfrm>
            </p:contentPart>
          </mc:Choice>
          <mc:Fallback>
            <p:pic>
              <p:nvPicPr>
                <p:cNvPr id="32" name="Ink 31">
                  <a:extLst>
                    <a:ext uri="{FF2B5EF4-FFF2-40B4-BE49-F238E27FC236}">
                      <a16:creationId xmlns:a16="http://schemas.microsoft.com/office/drawing/2014/main" id="{44FA1E11-0A7A-981E-A52C-E11E0CB04F6D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4177901" y="2982452"/>
                  <a:ext cx="48240" cy="73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">
              <p14:nvContentPartPr>
                <p14:cNvPr id="33" name="Ink 32">
                  <a:extLst>
                    <a:ext uri="{FF2B5EF4-FFF2-40B4-BE49-F238E27FC236}">
                      <a16:creationId xmlns:a16="http://schemas.microsoft.com/office/drawing/2014/main" id="{C461E442-4617-EDEF-07B6-3F7AD2C67F47}"/>
                    </a:ext>
                  </a:extLst>
                </p14:cNvPr>
                <p14:cNvContentPartPr/>
                <p14:nvPr/>
              </p14:nvContentPartPr>
              <p14:xfrm>
                <a:off x="4370501" y="3039332"/>
                <a:ext cx="19080" cy="13320"/>
              </p14:xfrm>
            </p:contentPart>
          </mc:Choice>
          <mc:Fallback>
            <p:pic>
              <p:nvPicPr>
                <p:cNvPr id="33" name="Ink 32">
                  <a:extLst>
                    <a:ext uri="{FF2B5EF4-FFF2-40B4-BE49-F238E27FC236}">
                      <a16:creationId xmlns:a16="http://schemas.microsoft.com/office/drawing/2014/main" id="{C461E442-4617-EDEF-07B6-3F7AD2C67F47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4355381" y="3024212"/>
                  <a:ext cx="49680" cy="4392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16">
            <p14:nvContentPartPr>
              <p14:cNvPr id="34" name="Ink 33">
                <a:extLst>
                  <a:ext uri="{FF2B5EF4-FFF2-40B4-BE49-F238E27FC236}">
                    <a16:creationId xmlns:a16="http://schemas.microsoft.com/office/drawing/2014/main" id="{EB5D5297-282F-0FC2-6698-5AFEE2BFF21F}"/>
                  </a:ext>
                </a:extLst>
              </p14:cNvPr>
              <p14:cNvContentPartPr/>
              <p14:nvPr/>
            </p14:nvContentPartPr>
            <p14:xfrm>
              <a:off x="3900701" y="3289532"/>
              <a:ext cx="300600" cy="47880"/>
            </p14:xfrm>
          </p:contentPart>
        </mc:Choice>
        <mc:Fallback>
          <p:pic>
            <p:nvPicPr>
              <p:cNvPr id="34" name="Ink 33">
                <a:extLst>
                  <a:ext uri="{FF2B5EF4-FFF2-40B4-BE49-F238E27FC236}">
                    <a16:creationId xmlns:a16="http://schemas.microsoft.com/office/drawing/2014/main" id="{EB5D5297-282F-0FC2-6698-5AFEE2BFF21F}"/>
                  </a:ext>
                </a:extLst>
              </p:cNvPr>
              <p:cNvPicPr/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3885581" y="3274052"/>
                <a:ext cx="330840" cy="784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8">
            <p14:nvContentPartPr>
              <p14:cNvPr id="35" name="Ink 34">
                <a:extLst>
                  <a:ext uri="{FF2B5EF4-FFF2-40B4-BE49-F238E27FC236}">
                    <a16:creationId xmlns:a16="http://schemas.microsoft.com/office/drawing/2014/main" id="{E13AA914-E63F-3028-AA1E-544C69D60F1D}"/>
                  </a:ext>
                </a:extLst>
              </p14:cNvPr>
              <p14:cNvContentPartPr/>
              <p14:nvPr/>
            </p14:nvContentPartPr>
            <p14:xfrm>
              <a:off x="3830141" y="3459812"/>
              <a:ext cx="368640" cy="45000"/>
            </p14:xfrm>
          </p:contentPart>
        </mc:Choice>
        <mc:Fallback>
          <p:pic>
            <p:nvPicPr>
              <p:cNvPr id="35" name="Ink 34">
                <a:extLst>
                  <a:ext uri="{FF2B5EF4-FFF2-40B4-BE49-F238E27FC236}">
                    <a16:creationId xmlns:a16="http://schemas.microsoft.com/office/drawing/2014/main" id="{E13AA914-E63F-3028-AA1E-544C69D60F1D}"/>
                  </a:ext>
                </a:extLst>
              </p:cNvPr>
              <p:cNvPicPr/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3815021" y="3444692"/>
                <a:ext cx="399240" cy="75240"/>
              </a:xfrm>
              <a:prstGeom prst="rect">
                <a:avLst/>
              </a:prstGeom>
            </p:spPr>
          </p:pic>
        </mc:Fallback>
      </mc:AlternateContent>
      <p:grpSp>
        <p:nvGrpSpPr>
          <p:cNvPr id="64" name="Group 63">
            <a:extLst>
              <a:ext uri="{FF2B5EF4-FFF2-40B4-BE49-F238E27FC236}">
                <a16:creationId xmlns:a16="http://schemas.microsoft.com/office/drawing/2014/main" id="{6A581747-D372-D08D-342A-41573D968534}"/>
              </a:ext>
            </a:extLst>
          </p:cNvPr>
          <p:cNvGrpSpPr/>
          <p:nvPr/>
        </p:nvGrpSpPr>
        <p:grpSpPr>
          <a:xfrm>
            <a:off x="5423501" y="2425172"/>
            <a:ext cx="1806840" cy="338040"/>
            <a:chOff x="5423501" y="2425172"/>
            <a:chExt cx="1806840" cy="3380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0">
              <p14:nvContentPartPr>
                <p14:cNvPr id="37" name="Ink 36">
                  <a:extLst>
                    <a:ext uri="{FF2B5EF4-FFF2-40B4-BE49-F238E27FC236}">
                      <a16:creationId xmlns:a16="http://schemas.microsoft.com/office/drawing/2014/main" id="{46780695-5F2C-029F-F861-18FE6C22837F}"/>
                    </a:ext>
                  </a:extLst>
                </p14:cNvPr>
                <p14:cNvContentPartPr/>
                <p14:nvPr/>
              </p14:nvContentPartPr>
              <p14:xfrm>
                <a:off x="5423501" y="2478452"/>
                <a:ext cx="117720" cy="239400"/>
              </p14:xfrm>
            </p:contentPart>
          </mc:Choice>
          <mc:Fallback>
            <p:pic>
              <p:nvPicPr>
                <p:cNvPr id="37" name="Ink 36">
                  <a:extLst>
                    <a:ext uri="{FF2B5EF4-FFF2-40B4-BE49-F238E27FC236}">
                      <a16:creationId xmlns:a16="http://schemas.microsoft.com/office/drawing/2014/main" id="{46780695-5F2C-029F-F861-18FE6C22837F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5408381" y="2462972"/>
                  <a:ext cx="148320" cy="269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2">
              <p14:nvContentPartPr>
                <p14:cNvPr id="38" name="Ink 37">
                  <a:extLst>
                    <a:ext uri="{FF2B5EF4-FFF2-40B4-BE49-F238E27FC236}">
                      <a16:creationId xmlns:a16="http://schemas.microsoft.com/office/drawing/2014/main" id="{B8C1EB88-906C-4A20-C0DB-DD871835103A}"/>
                    </a:ext>
                  </a:extLst>
                </p14:cNvPr>
                <p14:cNvContentPartPr/>
                <p14:nvPr/>
              </p14:nvContentPartPr>
              <p14:xfrm>
                <a:off x="5611781" y="2453252"/>
                <a:ext cx="112680" cy="309960"/>
              </p14:xfrm>
            </p:contentPart>
          </mc:Choice>
          <mc:Fallback>
            <p:pic>
              <p:nvPicPr>
                <p:cNvPr id="38" name="Ink 37">
                  <a:extLst>
                    <a:ext uri="{FF2B5EF4-FFF2-40B4-BE49-F238E27FC236}">
                      <a16:creationId xmlns:a16="http://schemas.microsoft.com/office/drawing/2014/main" id="{B8C1EB88-906C-4A20-C0DB-DD871835103A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5596661" y="2438132"/>
                  <a:ext cx="142920" cy="340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4">
              <p14:nvContentPartPr>
                <p14:cNvPr id="39" name="Ink 38">
                  <a:extLst>
                    <a:ext uri="{FF2B5EF4-FFF2-40B4-BE49-F238E27FC236}">
                      <a16:creationId xmlns:a16="http://schemas.microsoft.com/office/drawing/2014/main" id="{F2E83A51-73AA-C60E-37AA-166E5AF05BC0}"/>
                    </a:ext>
                  </a:extLst>
                </p14:cNvPr>
                <p14:cNvContentPartPr/>
                <p14:nvPr/>
              </p14:nvContentPartPr>
              <p14:xfrm>
                <a:off x="6314861" y="2434892"/>
                <a:ext cx="14760" cy="318960"/>
              </p14:xfrm>
            </p:contentPart>
          </mc:Choice>
          <mc:Fallback>
            <p:pic>
              <p:nvPicPr>
                <p:cNvPr id="39" name="Ink 38">
                  <a:extLst>
                    <a:ext uri="{FF2B5EF4-FFF2-40B4-BE49-F238E27FC236}">
                      <a16:creationId xmlns:a16="http://schemas.microsoft.com/office/drawing/2014/main" id="{F2E83A51-73AA-C60E-37AA-166E5AF05BC0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6299741" y="2419772"/>
                  <a:ext cx="45360" cy="349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6">
              <p14:nvContentPartPr>
                <p14:cNvPr id="40" name="Ink 39">
                  <a:extLst>
                    <a:ext uri="{FF2B5EF4-FFF2-40B4-BE49-F238E27FC236}">
                      <a16:creationId xmlns:a16="http://schemas.microsoft.com/office/drawing/2014/main" id="{70EE3265-CDF6-C553-1AEF-0A8CD3D28AE6}"/>
                    </a:ext>
                  </a:extLst>
                </p14:cNvPr>
                <p14:cNvContentPartPr/>
                <p14:nvPr/>
              </p14:nvContentPartPr>
              <p14:xfrm>
                <a:off x="6429341" y="2505092"/>
                <a:ext cx="232200" cy="184320"/>
              </p14:xfrm>
            </p:contentPart>
          </mc:Choice>
          <mc:Fallback>
            <p:pic>
              <p:nvPicPr>
                <p:cNvPr id="40" name="Ink 39">
                  <a:extLst>
                    <a:ext uri="{FF2B5EF4-FFF2-40B4-BE49-F238E27FC236}">
                      <a16:creationId xmlns:a16="http://schemas.microsoft.com/office/drawing/2014/main" id="{70EE3265-CDF6-C553-1AEF-0A8CD3D28AE6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6413861" y="2489972"/>
                  <a:ext cx="262800" cy="214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8">
              <p14:nvContentPartPr>
                <p14:cNvPr id="41" name="Ink 40">
                  <a:extLst>
                    <a:ext uri="{FF2B5EF4-FFF2-40B4-BE49-F238E27FC236}">
                      <a16:creationId xmlns:a16="http://schemas.microsoft.com/office/drawing/2014/main" id="{6B60C207-ECCB-026E-93E6-64E34D45D49F}"/>
                    </a:ext>
                  </a:extLst>
                </p14:cNvPr>
                <p14:cNvContentPartPr/>
                <p14:nvPr/>
              </p14:nvContentPartPr>
              <p14:xfrm>
                <a:off x="6672701" y="2556572"/>
                <a:ext cx="124200" cy="111240"/>
              </p14:xfrm>
            </p:contentPart>
          </mc:Choice>
          <mc:Fallback>
            <p:pic>
              <p:nvPicPr>
                <p:cNvPr id="41" name="Ink 40">
                  <a:extLst>
                    <a:ext uri="{FF2B5EF4-FFF2-40B4-BE49-F238E27FC236}">
                      <a16:creationId xmlns:a16="http://schemas.microsoft.com/office/drawing/2014/main" id="{6B60C207-ECCB-026E-93E6-64E34D45D49F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6657581" y="2541092"/>
                  <a:ext cx="154800" cy="141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0">
              <p14:nvContentPartPr>
                <p14:cNvPr id="42" name="Ink 41">
                  <a:extLst>
                    <a:ext uri="{FF2B5EF4-FFF2-40B4-BE49-F238E27FC236}">
                      <a16:creationId xmlns:a16="http://schemas.microsoft.com/office/drawing/2014/main" id="{74DB50DB-BBDF-7CA9-4D11-DDB96B5EECBB}"/>
                    </a:ext>
                  </a:extLst>
                </p14:cNvPr>
                <p14:cNvContentPartPr/>
                <p14:nvPr/>
              </p14:nvContentPartPr>
              <p14:xfrm>
                <a:off x="6849821" y="2564852"/>
                <a:ext cx="38160" cy="101880"/>
              </p14:xfrm>
            </p:contentPart>
          </mc:Choice>
          <mc:Fallback>
            <p:pic>
              <p:nvPicPr>
                <p:cNvPr id="42" name="Ink 41">
                  <a:extLst>
                    <a:ext uri="{FF2B5EF4-FFF2-40B4-BE49-F238E27FC236}">
                      <a16:creationId xmlns:a16="http://schemas.microsoft.com/office/drawing/2014/main" id="{74DB50DB-BBDF-7CA9-4D11-DDB96B5EECBB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6834341" y="2549732"/>
                  <a:ext cx="68400" cy="132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2">
              <p14:nvContentPartPr>
                <p14:cNvPr id="43" name="Ink 42">
                  <a:extLst>
                    <a:ext uri="{FF2B5EF4-FFF2-40B4-BE49-F238E27FC236}">
                      <a16:creationId xmlns:a16="http://schemas.microsoft.com/office/drawing/2014/main" id="{12F753AB-7F58-F8BC-2E91-50B7806F5969}"/>
                    </a:ext>
                  </a:extLst>
                </p14:cNvPr>
                <p14:cNvContentPartPr/>
                <p14:nvPr/>
              </p14:nvContentPartPr>
              <p14:xfrm>
                <a:off x="6823901" y="2425172"/>
                <a:ext cx="26640" cy="107640"/>
              </p14:xfrm>
            </p:contentPart>
          </mc:Choice>
          <mc:Fallback>
            <p:pic>
              <p:nvPicPr>
                <p:cNvPr id="43" name="Ink 42">
                  <a:extLst>
                    <a:ext uri="{FF2B5EF4-FFF2-40B4-BE49-F238E27FC236}">
                      <a16:creationId xmlns:a16="http://schemas.microsoft.com/office/drawing/2014/main" id="{12F753AB-7F58-F8BC-2E91-50B7806F5969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6808781" y="2410052"/>
                  <a:ext cx="56880" cy="138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4">
              <p14:nvContentPartPr>
                <p14:cNvPr id="44" name="Ink 43">
                  <a:extLst>
                    <a:ext uri="{FF2B5EF4-FFF2-40B4-BE49-F238E27FC236}">
                      <a16:creationId xmlns:a16="http://schemas.microsoft.com/office/drawing/2014/main" id="{4866A627-2DEA-DC58-7C65-34251CF79901}"/>
                    </a:ext>
                  </a:extLst>
                </p14:cNvPr>
                <p14:cNvContentPartPr/>
                <p14:nvPr/>
              </p14:nvContentPartPr>
              <p14:xfrm>
                <a:off x="6962861" y="2425172"/>
                <a:ext cx="52560" cy="118080"/>
              </p14:xfrm>
            </p:contentPart>
          </mc:Choice>
          <mc:Fallback>
            <p:pic>
              <p:nvPicPr>
                <p:cNvPr id="44" name="Ink 43">
                  <a:extLst>
                    <a:ext uri="{FF2B5EF4-FFF2-40B4-BE49-F238E27FC236}">
                      <a16:creationId xmlns:a16="http://schemas.microsoft.com/office/drawing/2014/main" id="{4866A627-2DEA-DC58-7C65-34251CF79901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6947741" y="2410052"/>
                  <a:ext cx="82800" cy="148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6">
              <p14:nvContentPartPr>
                <p14:cNvPr id="45" name="Ink 44">
                  <a:extLst>
                    <a:ext uri="{FF2B5EF4-FFF2-40B4-BE49-F238E27FC236}">
                      <a16:creationId xmlns:a16="http://schemas.microsoft.com/office/drawing/2014/main" id="{5E2585F7-162C-A96F-263A-854580743879}"/>
                    </a:ext>
                  </a:extLst>
                </p14:cNvPr>
                <p14:cNvContentPartPr/>
                <p14:nvPr/>
              </p14:nvContentPartPr>
              <p14:xfrm>
                <a:off x="6965021" y="2541812"/>
                <a:ext cx="108360" cy="162000"/>
              </p14:xfrm>
            </p:contentPart>
          </mc:Choice>
          <mc:Fallback>
            <p:pic>
              <p:nvPicPr>
                <p:cNvPr id="45" name="Ink 44">
                  <a:extLst>
                    <a:ext uri="{FF2B5EF4-FFF2-40B4-BE49-F238E27FC236}">
                      <a16:creationId xmlns:a16="http://schemas.microsoft.com/office/drawing/2014/main" id="{5E2585F7-162C-A96F-263A-854580743879}"/>
                    </a:ext>
                  </a:extLst>
                </p:cNvPr>
                <p:cNvPicPr/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6949901" y="2526692"/>
                  <a:ext cx="138960" cy="192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8">
              <p14:nvContentPartPr>
                <p14:cNvPr id="46" name="Ink 45">
                  <a:extLst>
                    <a:ext uri="{FF2B5EF4-FFF2-40B4-BE49-F238E27FC236}">
                      <a16:creationId xmlns:a16="http://schemas.microsoft.com/office/drawing/2014/main" id="{6138E1D2-70BB-7E7F-1F4F-96DD44C63A42}"/>
                    </a:ext>
                  </a:extLst>
                </p14:cNvPr>
                <p14:cNvContentPartPr/>
                <p14:nvPr/>
              </p14:nvContentPartPr>
              <p14:xfrm>
                <a:off x="6931541" y="2456492"/>
                <a:ext cx="167400" cy="266400"/>
              </p14:xfrm>
            </p:contentPart>
          </mc:Choice>
          <mc:Fallback>
            <p:pic>
              <p:nvPicPr>
                <p:cNvPr id="46" name="Ink 45">
                  <a:extLst>
                    <a:ext uri="{FF2B5EF4-FFF2-40B4-BE49-F238E27FC236}">
                      <a16:creationId xmlns:a16="http://schemas.microsoft.com/office/drawing/2014/main" id="{6138E1D2-70BB-7E7F-1F4F-96DD44C63A42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6916061" y="2441372"/>
                  <a:ext cx="197640" cy="297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0">
              <p14:nvContentPartPr>
                <p14:cNvPr id="47" name="Ink 46">
                  <a:extLst>
                    <a:ext uri="{FF2B5EF4-FFF2-40B4-BE49-F238E27FC236}">
                      <a16:creationId xmlns:a16="http://schemas.microsoft.com/office/drawing/2014/main" id="{5BCBDAE8-3805-6793-FC8D-AF9A39356449}"/>
                    </a:ext>
                  </a:extLst>
                </p14:cNvPr>
                <p14:cNvContentPartPr/>
                <p14:nvPr/>
              </p14:nvContentPartPr>
              <p14:xfrm>
                <a:off x="7150781" y="2453252"/>
                <a:ext cx="79560" cy="288000"/>
              </p14:xfrm>
            </p:contentPart>
          </mc:Choice>
          <mc:Fallback>
            <p:pic>
              <p:nvPicPr>
                <p:cNvPr id="47" name="Ink 46">
                  <a:extLst>
                    <a:ext uri="{FF2B5EF4-FFF2-40B4-BE49-F238E27FC236}">
                      <a16:creationId xmlns:a16="http://schemas.microsoft.com/office/drawing/2014/main" id="{5BCBDAE8-3805-6793-FC8D-AF9A39356449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7135301" y="2437772"/>
                  <a:ext cx="110160" cy="318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2">
              <p14:nvContentPartPr>
                <p14:cNvPr id="50" name="Ink 49">
                  <a:extLst>
                    <a:ext uri="{FF2B5EF4-FFF2-40B4-BE49-F238E27FC236}">
                      <a16:creationId xmlns:a16="http://schemas.microsoft.com/office/drawing/2014/main" id="{1E187B6D-7A7C-B4B8-4136-087C9F2F1480}"/>
                    </a:ext>
                  </a:extLst>
                </p14:cNvPr>
                <p14:cNvContentPartPr/>
                <p14:nvPr/>
              </p14:nvContentPartPr>
              <p14:xfrm>
                <a:off x="5836781" y="2562692"/>
                <a:ext cx="126360" cy="29160"/>
              </p14:xfrm>
            </p:contentPart>
          </mc:Choice>
          <mc:Fallback>
            <p:pic>
              <p:nvPicPr>
                <p:cNvPr id="50" name="Ink 49">
                  <a:extLst>
                    <a:ext uri="{FF2B5EF4-FFF2-40B4-BE49-F238E27FC236}">
                      <a16:creationId xmlns:a16="http://schemas.microsoft.com/office/drawing/2014/main" id="{1E187B6D-7A7C-B4B8-4136-087C9F2F1480}"/>
                    </a:ext>
                  </a:extLst>
                </p:cNvPr>
                <p:cNvPicPr/>
                <p:nvPr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5821301" y="2547572"/>
                  <a:ext cx="156600" cy="59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4">
              <p14:nvContentPartPr>
                <p14:cNvPr id="51" name="Ink 50">
                  <a:extLst>
                    <a:ext uri="{FF2B5EF4-FFF2-40B4-BE49-F238E27FC236}">
                      <a16:creationId xmlns:a16="http://schemas.microsoft.com/office/drawing/2014/main" id="{44447F33-5798-CF76-4F4F-E2090163EF65}"/>
                    </a:ext>
                  </a:extLst>
                </p14:cNvPr>
                <p14:cNvContentPartPr/>
                <p14:nvPr/>
              </p14:nvContentPartPr>
              <p14:xfrm>
                <a:off x="5872061" y="2510492"/>
                <a:ext cx="14040" cy="197280"/>
              </p14:xfrm>
            </p:contentPart>
          </mc:Choice>
          <mc:Fallback>
            <p:pic>
              <p:nvPicPr>
                <p:cNvPr id="51" name="Ink 50">
                  <a:extLst>
                    <a:ext uri="{FF2B5EF4-FFF2-40B4-BE49-F238E27FC236}">
                      <a16:creationId xmlns:a16="http://schemas.microsoft.com/office/drawing/2014/main" id="{44447F33-5798-CF76-4F4F-E2090163EF65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5856941" y="2495372"/>
                  <a:ext cx="44280" cy="227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6">
              <p14:nvContentPartPr>
                <p14:cNvPr id="52" name="Ink 51">
                  <a:extLst>
                    <a:ext uri="{FF2B5EF4-FFF2-40B4-BE49-F238E27FC236}">
                      <a16:creationId xmlns:a16="http://schemas.microsoft.com/office/drawing/2014/main" id="{C3140067-89C6-0014-09B3-B8512C7B13F9}"/>
                    </a:ext>
                  </a:extLst>
                </p14:cNvPr>
                <p14:cNvContentPartPr/>
                <p14:nvPr/>
              </p14:nvContentPartPr>
              <p14:xfrm>
                <a:off x="6030461" y="2562332"/>
                <a:ext cx="107280" cy="118440"/>
              </p14:xfrm>
            </p:contentPart>
          </mc:Choice>
          <mc:Fallback>
            <p:pic>
              <p:nvPicPr>
                <p:cNvPr id="52" name="Ink 51">
                  <a:extLst>
                    <a:ext uri="{FF2B5EF4-FFF2-40B4-BE49-F238E27FC236}">
                      <a16:creationId xmlns:a16="http://schemas.microsoft.com/office/drawing/2014/main" id="{C3140067-89C6-0014-09B3-B8512C7B13F9}"/>
                    </a:ext>
                  </a:extLst>
                </p:cNvPr>
                <p:cNvPicPr/>
                <p:nvPr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6014981" y="2546852"/>
                  <a:ext cx="137880" cy="149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8">
              <p14:nvContentPartPr>
                <p14:cNvPr id="53" name="Ink 52">
                  <a:extLst>
                    <a:ext uri="{FF2B5EF4-FFF2-40B4-BE49-F238E27FC236}">
                      <a16:creationId xmlns:a16="http://schemas.microsoft.com/office/drawing/2014/main" id="{6ED48772-7192-50AB-A980-26860BCF4AA2}"/>
                    </a:ext>
                  </a:extLst>
                </p14:cNvPr>
                <p14:cNvContentPartPr/>
                <p14:nvPr/>
              </p14:nvContentPartPr>
              <p14:xfrm>
                <a:off x="6201101" y="2566292"/>
                <a:ext cx="88560" cy="101880"/>
              </p14:xfrm>
            </p:contentPart>
          </mc:Choice>
          <mc:Fallback>
            <p:pic>
              <p:nvPicPr>
                <p:cNvPr id="53" name="Ink 52">
                  <a:extLst>
                    <a:ext uri="{FF2B5EF4-FFF2-40B4-BE49-F238E27FC236}">
                      <a16:creationId xmlns:a16="http://schemas.microsoft.com/office/drawing/2014/main" id="{6ED48772-7192-50AB-A980-26860BCF4AA2}"/>
                    </a:ext>
                  </a:extLst>
                </p:cNvPr>
                <p:cNvPicPr/>
                <p:nvPr/>
              </p:nvPicPr>
              <p:blipFill>
                <a:blip r:embed="rId49"/>
                <a:stretch>
                  <a:fillRect/>
                </a:stretch>
              </p:blipFill>
              <p:spPr>
                <a:xfrm>
                  <a:off x="6185981" y="2551172"/>
                  <a:ext cx="118800" cy="1324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9847C99A-9193-6E48-F24A-232838511D16}"/>
              </a:ext>
            </a:extLst>
          </p:cNvPr>
          <p:cNvGrpSpPr/>
          <p:nvPr/>
        </p:nvGrpSpPr>
        <p:grpSpPr>
          <a:xfrm>
            <a:off x="7413941" y="2541092"/>
            <a:ext cx="150120" cy="121320"/>
            <a:chOff x="7413941" y="2541092"/>
            <a:chExt cx="150120" cy="1213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50">
              <p14:nvContentPartPr>
                <p14:cNvPr id="54" name="Ink 53">
                  <a:extLst>
                    <a:ext uri="{FF2B5EF4-FFF2-40B4-BE49-F238E27FC236}">
                      <a16:creationId xmlns:a16="http://schemas.microsoft.com/office/drawing/2014/main" id="{7A166C8D-8FBB-E7A1-E0AC-C3ECC9376FF5}"/>
                    </a:ext>
                  </a:extLst>
                </p14:cNvPr>
                <p14:cNvContentPartPr/>
                <p14:nvPr/>
              </p14:nvContentPartPr>
              <p14:xfrm>
                <a:off x="7413941" y="2541092"/>
                <a:ext cx="120240" cy="25560"/>
              </p14:xfrm>
            </p:contentPart>
          </mc:Choice>
          <mc:Fallback>
            <p:pic>
              <p:nvPicPr>
                <p:cNvPr id="54" name="Ink 53">
                  <a:extLst>
                    <a:ext uri="{FF2B5EF4-FFF2-40B4-BE49-F238E27FC236}">
                      <a16:creationId xmlns:a16="http://schemas.microsoft.com/office/drawing/2014/main" id="{7A166C8D-8FBB-E7A1-E0AC-C3ECC9376FF5}"/>
                    </a:ext>
                  </a:extLst>
                </p:cNvPr>
                <p:cNvPicPr/>
                <p:nvPr/>
              </p:nvPicPr>
              <p:blipFill>
                <a:blip r:embed="rId51"/>
                <a:stretch>
                  <a:fillRect/>
                </a:stretch>
              </p:blipFill>
              <p:spPr>
                <a:xfrm>
                  <a:off x="7398821" y="2525972"/>
                  <a:ext cx="150840" cy="55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2">
              <p14:nvContentPartPr>
                <p14:cNvPr id="55" name="Ink 54">
                  <a:extLst>
                    <a:ext uri="{FF2B5EF4-FFF2-40B4-BE49-F238E27FC236}">
                      <a16:creationId xmlns:a16="http://schemas.microsoft.com/office/drawing/2014/main" id="{89CDE5C1-A7B3-998D-F520-31D62473F9D1}"/>
                    </a:ext>
                  </a:extLst>
                </p14:cNvPr>
                <p14:cNvContentPartPr/>
                <p14:nvPr/>
              </p14:nvContentPartPr>
              <p14:xfrm>
                <a:off x="7425461" y="2644052"/>
                <a:ext cx="138600" cy="18360"/>
              </p14:xfrm>
            </p:contentPart>
          </mc:Choice>
          <mc:Fallback>
            <p:pic>
              <p:nvPicPr>
                <p:cNvPr id="55" name="Ink 54">
                  <a:extLst>
                    <a:ext uri="{FF2B5EF4-FFF2-40B4-BE49-F238E27FC236}">
                      <a16:creationId xmlns:a16="http://schemas.microsoft.com/office/drawing/2014/main" id="{89CDE5C1-A7B3-998D-F520-31D62473F9D1}"/>
                    </a:ext>
                  </a:extLst>
                </p:cNvPr>
                <p:cNvPicPr/>
                <p:nvPr/>
              </p:nvPicPr>
              <p:blipFill>
                <a:blip r:embed="rId53"/>
                <a:stretch>
                  <a:fillRect/>
                </a:stretch>
              </p:blipFill>
              <p:spPr>
                <a:xfrm>
                  <a:off x="7410341" y="2628572"/>
                  <a:ext cx="168840" cy="486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6EC5BB26-5E15-5E33-C43C-266889E7BB3B}"/>
              </a:ext>
            </a:extLst>
          </p:cNvPr>
          <p:cNvGrpSpPr/>
          <p:nvPr/>
        </p:nvGrpSpPr>
        <p:grpSpPr>
          <a:xfrm>
            <a:off x="7734701" y="2445332"/>
            <a:ext cx="509760" cy="248040"/>
            <a:chOff x="7734701" y="2445332"/>
            <a:chExt cx="509760" cy="2480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54">
              <p14:nvContentPartPr>
                <p14:cNvPr id="56" name="Ink 55">
                  <a:extLst>
                    <a:ext uri="{FF2B5EF4-FFF2-40B4-BE49-F238E27FC236}">
                      <a16:creationId xmlns:a16="http://schemas.microsoft.com/office/drawing/2014/main" id="{A2E17BDF-3368-6C03-C869-F4D53A16EA76}"/>
                    </a:ext>
                  </a:extLst>
                </p14:cNvPr>
                <p14:cNvContentPartPr/>
                <p14:nvPr/>
              </p14:nvContentPartPr>
              <p14:xfrm>
                <a:off x="7734701" y="2445332"/>
                <a:ext cx="124200" cy="248040"/>
              </p14:xfrm>
            </p:contentPart>
          </mc:Choice>
          <mc:Fallback>
            <p:pic>
              <p:nvPicPr>
                <p:cNvPr id="56" name="Ink 55">
                  <a:extLst>
                    <a:ext uri="{FF2B5EF4-FFF2-40B4-BE49-F238E27FC236}">
                      <a16:creationId xmlns:a16="http://schemas.microsoft.com/office/drawing/2014/main" id="{A2E17BDF-3368-6C03-C869-F4D53A16EA76}"/>
                    </a:ext>
                  </a:extLst>
                </p:cNvPr>
                <p:cNvPicPr/>
                <p:nvPr/>
              </p:nvPicPr>
              <p:blipFill>
                <a:blip r:embed="rId55"/>
                <a:stretch>
                  <a:fillRect/>
                </a:stretch>
              </p:blipFill>
              <p:spPr>
                <a:xfrm>
                  <a:off x="7719221" y="2429852"/>
                  <a:ext cx="154800" cy="278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6">
              <p14:nvContentPartPr>
                <p14:cNvPr id="57" name="Ink 56">
                  <a:extLst>
                    <a:ext uri="{FF2B5EF4-FFF2-40B4-BE49-F238E27FC236}">
                      <a16:creationId xmlns:a16="http://schemas.microsoft.com/office/drawing/2014/main" id="{482D8A16-8A71-5357-DC7D-76DC9738800F}"/>
                    </a:ext>
                  </a:extLst>
                </p14:cNvPr>
                <p14:cNvContentPartPr/>
                <p14:nvPr/>
              </p14:nvContentPartPr>
              <p14:xfrm>
                <a:off x="7918661" y="2522372"/>
                <a:ext cx="77760" cy="103680"/>
              </p14:xfrm>
            </p:contentPart>
          </mc:Choice>
          <mc:Fallback>
            <p:pic>
              <p:nvPicPr>
                <p:cNvPr id="57" name="Ink 56">
                  <a:extLst>
                    <a:ext uri="{FF2B5EF4-FFF2-40B4-BE49-F238E27FC236}">
                      <a16:creationId xmlns:a16="http://schemas.microsoft.com/office/drawing/2014/main" id="{482D8A16-8A71-5357-DC7D-76DC9738800F}"/>
                    </a:ext>
                  </a:extLst>
                </p:cNvPr>
                <p:cNvPicPr/>
                <p:nvPr/>
              </p:nvPicPr>
              <p:blipFill>
                <a:blip r:embed="rId57"/>
                <a:stretch>
                  <a:fillRect/>
                </a:stretch>
              </p:blipFill>
              <p:spPr>
                <a:xfrm>
                  <a:off x="7903541" y="2507252"/>
                  <a:ext cx="108000" cy="134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8">
              <p14:nvContentPartPr>
                <p14:cNvPr id="58" name="Ink 57">
                  <a:extLst>
                    <a:ext uri="{FF2B5EF4-FFF2-40B4-BE49-F238E27FC236}">
                      <a16:creationId xmlns:a16="http://schemas.microsoft.com/office/drawing/2014/main" id="{0F43F528-DD15-D203-E63E-A3D616C99035}"/>
                    </a:ext>
                  </a:extLst>
                </p14:cNvPr>
                <p14:cNvContentPartPr/>
                <p14:nvPr/>
              </p14:nvContentPartPr>
              <p14:xfrm>
                <a:off x="8119181" y="2464052"/>
                <a:ext cx="57240" cy="213840"/>
              </p14:xfrm>
            </p:contentPart>
          </mc:Choice>
          <mc:Fallback>
            <p:pic>
              <p:nvPicPr>
                <p:cNvPr id="58" name="Ink 57">
                  <a:extLst>
                    <a:ext uri="{FF2B5EF4-FFF2-40B4-BE49-F238E27FC236}">
                      <a16:creationId xmlns:a16="http://schemas.microsoft.com/office/drawing/2014/main" id="{0F43F528-DD15-D203-E63E-A3D616C99035}"/>
                    </a:ext>
                  </a:extLst>
                </p:cNvPr>
                <p:cNvPicPr/>
                <p:nvPr/>
              </p:nvPicPr>
              <p:blipFill>
                <a:blip r:embed="rId59"/>
                <a:stretch>
                  <a:fillRect/>
                </a:stretch>
              </p:blipFill>
              <p:spPr>
                <a:xfrm>
                  <a:off x="8104061" y="2448932"/>
                  <a:ext cx="87840" cy="244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0">
              <p14:nvContentPartPr>
                <p14:cNvPr id="59" name="Ink 58">
                  <a:extLst>
                    <a:ext uri="{FF2B5EF4-FFF2-40B4-BE49-F238E27FC236}">
                      <a16:creationId xmlns:a16="http://schemas.microsoft.com/office/drawing/2014/main" id="{249F4F88-EB01-81FD-D4BF-59D3BA5D8F8C}"/>
                    </a:ext>
                  </a:extLst>
                </p14:cNvPr>
                <p14:cNvContentPartPr/>
                <p14:nvPr/>
              </p14:nvContentPartPr>
              <p14:xfrm>
                <a:off x="8077061" y="2562332"/>
                <a:ext cx="7200" cy="39960"/>
              </p14:xfrm>
            </p:contentPart>
          </mc:Choice>
          <mc:Fallback>
            <p:pic>
              <p:nvPicPr>
                <p:cNvPr id="59" name="Ink 58">
                  <a:extLst>
                    <a:ext uri="{FF2B5EF4-FFF2-40B4-BE49-F238E27FC236}">
                      <a16:creationId xmlns:a16="http://schemas.microsoft.com/office/drawing/2014/main" id="{249F4F88-EB01-81FD-D4BF-59D3BA5D8F8C}"/>
                    </a:ext>
                  </a:extLst>
                </p:cNvPr>
                <p:cNvPicPr/>
                <p:nvPr/>
              </p:nvPicPr>
              <p:blipFill>
                <a:blip r:embed="rId61"/>
                <a:stretch>
                  <a:fillRect/>
                </a:stretch>
              </p:blipFill>
              <p:spPr>
                <a:xfrm>
                  <a:off x="8061941" y="2547212"/>
                  <a:ext cx="37800" cy="70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2">
              <p14:nvContentPartPr>
                <p14:cNvPr id="60" name="Ink 59">
                  <a:extLst>
                    <a:ext uri="{FF2B5EF4-FFF2-40B4-BE49-F238E27FC236}">
                      <a16:creationId xmlns:a16="http://schemas.microsoft.com/office/drawing/2014/main" id="{D1863F35-4741-AFE5-265A-AE1059782C44}"/>
                    </a:ext>
                  </a:extLst>
                </p14:cNvPr>
                <p14:cNvContentPartPr/>
                <p14:nvPr/>
              </p14:nvContentPartPr>
              <p14:xfrm>
                <a:off x="8220341" y="2637572"/>
                <a:ext cx="24120" cy="24480"/>
              </p14:xfrm>
            </p:contentPart>
          </mc:Choice>
          <mc:Fallback>
            <p:pic>
              <p:nvPicPr>
                <p:cNvPr id="60" name="Ink 59">
                  <a:extLst>
                    <a:ext uri="{FF2B5EF4-FFF2-40B4-BE49-F238E27FC236}">
                      <a16:creationId xmlns:a16="http://schemas.microsoft.com/office/drawing/2014/main" id="{D1863F35-4741-AFE5-265A-AE1059782C44}"/>
                    </a:ext>
                  </a:extLst>
                </p:cNvPr>
                <p:cNvPicPr/>
                <p:nvPr/>
              </p:nvPicPr>
              <p:blipFill>
                <a:blip r:embed="rId63"/>
                <a:stretch>
                  <a:fillRect/>
                </a:stretch>
              </p:blipFill>
              <p:spPr>
                <a:xfrm>
                  <a:off x="8205221" y="2622452"/>
                  <a:ext cx="54720" cy="5508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64">
            <p14:nvContentPartPr>
              <p14:cNvPr id="61" name="Ink 60">
                <a:extLst>
                  <a:ext uri="{FF2B5EF4-FFF2-40B4-BE49-F238E27FC236}">
                    <a16:creationId xmlns:a16="http://schemas.microsoft.com/office/drawing/2014/main" id="{C809AE5F-A472-5BDC-7AE1-002465DEEE9C}"/>
                  </a:ext>
                </a:extLst>
              </p14:cNvPr>
              <p14:cNvContentPartPr/>
              <p14:nvPr/>
            </p14:nvContentPartPr>
            <p14:xfrm>
              <a:off x="7908581" y="2885252"/>
              <a:ext cx="77760" cy="12960"/>
            </p14:xfrm>
          </p:contentPart>
        </mc:Choice>
        <mc:Fallback>
          <p:pic>
            <p:nvPicPr>
              <p:cNvPr id="61" name="Ink 60">
                <a:extLst>
                  <a:ext uri="{FF2B5EF4-FFF2-40B4-BE49-F238E27FC236}">
                    <a16:creationId xmlns:a16="http://schemas.microsoft.com/office/drawing/2014/main" id="{C809AE5F-A472-5BDC-7AE1-002465DEEE9C}"/>
                  </a:ext>
                </a:extLst>
              </p:cNvPr>
              <p:cNvPicPr/>
              <p:nvPr/>
            </p:nvPicPr>
            <p:blipFill>
              <a:blip r:embed="rId65"/>
              <a:stretch>
                <a:fillRect/>
              </a:stretch>
            </p:blipFill>
            <p:spPr>
              <a:xfrm>
                <a:off x="7893101" y="2870132"/>
                <a:ext cx="108360" cy="43560"/>
              </a:xfrm>
              <a:prstGeom prst="rect">
                <a:avLst/>
              </a:prstGeom>
            </p:spPr>
          </p:pic>
        </mc:Fallback>
      </mc:AlternateContent>
      <p:grpSp>
        <p:nvGrpSpPr>
          <p:cNvPr id="84" name="Group 83">
            <a:extLst>
              <a:ext uri="{FF2B5EF4-FFF2-40B4-BE49-F238E27FC236}">
                <a16:creationId xmlns:a16="http://schemas.microsoft.com/office/drawing/2014/main" id="{79EF864C-0756-5583-2A17-56F4099B7DE9}"/>
              </a:ext>
            </a:extLst>
          </p:cNvPr>
          <p:cNvGrpSpPr/>
          <p:nvPr/>
        </p:nvGrpSpPr>
        <p:grpSpPr>
          <a:xfrm>
            <a:off x="7754141" y="3107732"/>
            <a:ext cx="538560" cy="208080"/>
            <a:chOff x="7754141" y="3107732"/>
            <a:chExt cx="538560" cy="20808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66">
              <p14:nvContentPartPr>
                <p14:cNvPr id="80" name="Ink 79">
                  <a:extLst>
                    <a:ext uri="{FF2B5EF4-FFF2-40B4-BE49-F238E27FC236}">
                      <a16:creationId xmlns:a16="http://schemas.microsoft.com/office/drawing/2014/main" id="{34DB468F-1A2B-3A45-F2D2-8114B5E29F8F}"/>
                    </a:ext>
                  </a:extLst>
                </p14:cNvPr>
                <p14:cNvContentPartPr/>
                <p14:nvPr/>
              </p14:nvContentPartPr>
              <p14:xfrm>
                <a:off x="7754141" y="3107732"/>
                <a:ext cx="237240" cy="122760"/>
              </p14:xfrm>
            </p:contentPart>
          </mc:Choice>
          <mc:Fallback>
            <p:pic>
              <p:nvPicPr>
                <p:cNvPr id="80" name="Ink 79">
                  <a:extLst>
                    <a:ext uri="{FF2B5EF4-FFF2-40B4-BE49-F238E27FC236}">
                      <a16:creationId xmlns:a16="http://schemas.microsoft.com/office/drawing/2014/main" id="{34DB468F-1A2B-3A45-F2D2-8114B5E29F8F}"/>
                    </a:ext>
                  </a:extLst>
                </p:cNvPr>
                <p:cNvPicPr/>
                <p:nvPr/>
              </p:nvPicPr>
              <p:blipFill>
                <a:blip r:embed="rId67"/>
                <a:stretch>
                  <a:fillRect/>
                </a:stretch>
              </p:blipFill>
              <p:spPr>
                <a:xfrm>
                  <a:off x="7738661" y="3092612"/>
                  <a:ext cx="267840" cy="153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8">
              <p14:nvContentPartPr>
                <p14:cNvPr id="81" name="Ink 80">
                  <a:extLst>
                    <a:ext uri="{FF2B5EF4-FFF2-40B4-BE49-F238E27FC236}">
                      <a16:creationId xmlns:a16="http://schemas.microsoft.com/office/drawing/2014/main" id="{D038F9DF-350B-66E7-64ED-7DD7ACBAB5EC}"/>
                    </a:ext>
                  </a:extLst>
                </p14:cNvPr>
                <p14:cNvContentPartPr/>
                <p14:nvPr/>
              </p14:nvContentPartPr>
              <p14:xfrm>
                <a:off x="8137541" y="3113852"/>
                <a:ext cx="59760" cy="181080"/>
              </p14:xfrm>
            </p:contentPart>
          </mc:Choice>
          <mc:Fallback>
            <p:pic>
              <p:nvPicPr>
                <p:cNvPr id="81" name="Ink 80">
                  <a:extLst>
                    <a:ext uri="{FF2B5EF4-FFF2-40B4-BE49-F238E27FC236}">
                      <a16:creationId xmlns:a16="http://schemas.microsoft.com/office/drawing/2014/main" id="{D038F9DF-350B-66E7-64ED-7DD7ACBAB5EC}"/>
                    </a:ext>
                  </a:extLst>
                </p:cNvPr>
                <p:cNvPicPr/>
                <p:nvPr/>
              </p:nvPicPr>
              <p:blipFill>
                <a:blip r:embed="rId69"/>
                <a:stretch>
                  <a:fillRect/>
                </a:stretch>
              </p:blipFill>
              <p:spPr>
                <a:xfrm>
                  <a:off x="8122421" y="3098732"/>
                  <a:ext cx="90360" cy="211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0">
              <p14:nvContentPartPr>
                <p14:cNvPr id="82" name="Ink 81">
                  <a:extLst>
                    <a:ext uri="{FF2B5EF4-FFF2-40B4-BE49-F238E27FC236}">
                      <a16:creationId xmlns:a16="http://schemas.microsoft.com/office/drawing/2014/main" id="{7D7EE2B4-449E-CCC9-560F-8088D9D45E9B}"/>
                    </a:ext>
                  </a:extLst>
                </p14:cNvPr>
                <p14:cNvContentPartPr/>
                <p14:nvPr/>
              </p14:nvContentPartPr>
              <p14:xfrm>
                <a:off x="8101181" y="3179372"/>
                <a:ext cx="21600" cy="48960"/>
              </p14:xfrm>
            </p:contentPart>
          </mc:Choice>
          <mc:Fallback>
            <p:pic>
              <p:nvPicPr>
                <p:cNvPr id="82" name="Ink 81">
                  <a:extLst>
                    <a:ext uri="{FF2B5EF4-FFF2-40B4-BE49-F238E27FC236}">
                      <a16:creationId xmlns:a16="http://schemas.microsoft.com/office/drawing/2014/main" id="{7D7EE2B4-449E-CCC9-560F-8088D9D45E9B}"/>
                    </a:ext>
                  </a:extLst>
                </p:cNvPr>
                <p:cNvPicPr/>
                <p:nvPr/>
              </p:nvPicPr>
              <p:blipFill>
                <a:blip r:embed="rId71"/>
                <a:stretch>
                  <a:fillRect/>
                </a:stretch>
              </p:blipFill>
              <p:spPr>
                <a:xfrm>
                  <a:off x="8085701" y="3163892"/>
                  <a:ext cx="52200" cy="79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2">
              <p14:nvContentPartPr>
                <p14:cNvPr id="83" name="Ink 82">
                  <a:extLst>
                    <a:ext uri="{FF2B5EF4-FFF2-40B4-BE49-F238E27FC236}">
                      <a16:creationId xmlns:a16="http://schemas.microsoft.com/office/drawing/2014/main" id="{A548F327-E60B-1011-504C-6A3AB12A4925}"/>
                    </a:ext>
                  </a:extLst>
                </p14:cNvPr>
                <p14:cNvContentPartPr/>
                <p14:nvPr/>
              </p14:nvContentPartPr>
              <p14:xfrm>
                <a:off x="8277581" y="3291692"/>
                <a:ext cx="15120" cy="24120"/>
              </p14:xfrm>
            </p:contentPart>
          </mc:Choice>
          <mc:Fallback>
            <p:pic>
              <p:nvPicPr>
                <p:cNvPr id="83" name="Ink 82">
                  <a:extLst>
                    <a:ext uri="{FF2B5EF4-FFF2-40B4-BE49-F238E27FC236}">
                      <a16:creationId xmlns:a16="http://schemas.microsoft.com/office/drawing/2014/main" id="{A548F327-E60B-1011-504C-6A3AB12A4925}"/>
                    </a:ext>
                  </a:extLst>
                </p:cNvPr>
                <p:cNvPicPr/>
                <p:nvPr/>
              </p:nvPicPr>
              <p:blipFill>
                <a:blip r:embed="rId73"/>
                <a:stretch>
                  <a:fillRect/>
                </a:stretch>
              </p:blipFill>
              <p:spPr>
                <a:xfrm>
                  <a:off x="8262461" y="3276572"/>
                  <a:ext cx="45720" cy="5472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74">
            <p14:nvContentPartPr>
              <p14:cNvPr id="86" name="Ink 85">
                <a:extLst>
                  <a:ext uri="{FF2B5EF4-FFF2-40B4-BE49-F238E27FC236}">
                    <a16:creationId xmlns:a16="http://schemas.microsoft.com/office/drawing/2014/main" id="{1046BFE5-54DB-5C42-E52D-16A964AA4756}"/>
                  </a:ext>
                </a:extLst>
              </p14:cNvPr>
              <p14:cNvContentPartPr/>
              <p14:nvPr/>
            </p14:nvContentPartPr>
            <p14:xfrm>
              <a:off x="2075501" y="3239852"/>
              <a:ext cx="67320" cy="127800"/>
            </p14:xfrm>
          </p:contentPart>
        </mc:Choice>
        <mc:Fallback>
          <p:pic>
            <p:nvPicPr>
              <p:cNvPr id="86" name="Ink 85">
                <a:extLst>
                  <a:ext uri="{FF2B5EF4-FFF2-40B4-BE49-F238E27FC236}">
                    <a16:creationId xmlns:a16="http://schemas.microsoft.com/office/drawing/2014/main" id="{1046BFE5-54DB-5C42-E52D-16A964AA4756}"/>
                  </a:ext>
                </a:extLst>
              </p:cNvPr>
              <p:cNvPicPr/>
              <p:nvPr/>
            </p:nvPicPr>
            <p:blipFill>
              <a:blip r:embed="rId75"/>
              <a:stretch>
                <a:fillRect/>
              </a:stretch>
            </p:blipFill>
            <p:spPr>
              <a:xfrm>
                <a:off x="2060381" y="3224732"/>
                <a:ext cx="97920" cy="1580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76">
            <p14:nvContentPartPr>
              <p14:cNvPr id="88" name="Ink 87">
                <a:extLst>
                  <a:ext uri="{FF2B5EF4-FFF2-40B4-BE49-F238E27FC236}">
                    <a16:creationId xmlns:a16="http://schemas.microsoft.com/office/drawing/2014/main" id="{9C44F8DB-EA0C-58AB-BA57-34852064E09F}"/>
                  </a:ext>
                </a:extLst>
              </p14:cNvPr>
              <p14:cNvContentPartPr/>
              <p14:nvPr/>
            </p14:nvContentPartPr>
            <p14:xfrm>
              <a:off x="6842621" y="2144732"/>
              <a:ext cx="108360" cy="70560"/>
            </p14:xfrm>
          </p:contentPart>
        </mc:Choice>
        <mc:Fallback>
          <p:pic>
            <p:nvPicPr>
              <p:cNvPr id="88" name="Ink 87">
                <a:extLst>
                  <a:ext uri="{FF2B5EF4-FFF2-40B4-BE49-F238E27FC236}">
                    <a16:creationId xmlns:a16="http://schemas.microsoft.com/office/drawing/2014/main" id="{9C44F8DB-EA0C-58AB-BA57-34852064E09F}"/>
                  </a:ext>
                </a:extLst>
              </p:cNvPr>
              <p:cNvPicPr/>
              <p:nvPr/>
            </p:nvPicPr>
            <p:blipFill>
              <a:blip r:embed="rId77"/>
              <a:stretch>
                <a:fillRect/>
              </a:stretch>
            </p:blipFill>
            <p:spPr>
              <a:xfrm>
                <a:off x="6827501" y="2129612"/>
                <a:ext cx="138600" cy="101160"/>
              </a:xfrm>
              <a:prstGeom prst="rect">
                <a:avLst/>
              </a:prstGeom>
            </p:spPr>
          </p:pic>
        </mc:Fallback>
      </mc:AlternateContent>
      <p:grpSp>
        <p:nvGrpSpPr>
          <p:cNvPr id="122" name="Group 121">
            <a:extLst>
              <a:ext uri="{FF2B5EF4-FFF2-40B4-BE49-F238E27FC236}">
                <a16:creationId xmlns:a16="http://schemas.microsoft.com/office/drawing/2014/main" id="{EC9A48BA-0476-8909-8602-B62F58A61AE5}"/>
              </a:ext>
            </a:extLst>
          </p:cNvPr>
          <p:cNvGrpSpPr/>
          <p:nvPr/>
        </p:nvGrpSpPr>
        <p:grpSpPr>
          <a:xfrm>
            <a:off x="5307221" y="4333892"/>
            <a:ext cx="1131480" cy="262800"/>
            <a:chOff x="5307221" y="4333892"/>
            <a:chExt cx="1131480" cy="2628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78">
              <p14:nvContentPartPr>
                <p14:cNvPr id="116" name="Ink 115">
                  <a:extLst>
                    <a:ext uri="{FF2B5EF4-FFF2-40B4-BE49-F238E27FC236}">
                      <a16:creationId xmlns:a16="http://schemas.microsoft.com/office/drawing/2014/main" id="{1832AFC3-DF45-E10D-FA57-A5453CEFFBA3}"/>
                    </a:ext>
                  </a:extLst>
                </p14:cNvPr>
                <p14:cNvContentPartPr/>
                <p14:nvPr/>
              </p14:nvContentPartPr>
              <p14:xfrm>
                <a:off x="5307221" y="4352972"/>
                <a:ext cx="154800" cy="242640"/>
              </p14:xfrm>
            </p:contentPart>
          </mc:Choice>
          <mc:Fallback>
            <p:pic>
              <p:nvPicPr>
                <p:cNvPr id="116" name="Ink 115">
                  <a:extLst>
                    <a:ext uri="{FF2B5EF4-FFF2-40B4-BE49-F238E27FC236}">
                      <a16:creationId xmlns:a16="http://schemas.microsoft.com/office/drawing/2014/main" id="{1832AFC3-DF45-E10D-FA57-A5453CEFFBA3}"/>
                    </a:ext>
                  </a:extLst>
                </p:cNvPr>
                <p:cNvPicPr/>
                <p:nvPr/>
              </p:nvPicPr>
              <p:blipFill>
                <a:blip r:embed="rId79"/>
                <a:stretch>
                  <a:fillRect/>
                </a:stretch>
              </p:blipFill>
              <p:spPr>
                <a:xfrm>
                  <a:off x="5292101" y="4337492"/>
                  <a:ext cx="185040" cy="273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0">
              <p14:nvContentPartPr>
                <p14:cNvPr id="117" name="Ink 116">
                  <a:extLst>
                    <a:ext uri="{FF2B5EF4-FFF2-40B4-BE49-F238E27FC236}">
                      <a16:creationId xmlns:a16="http://schemas.microsoft.com/office/drawing/2014/main" id="{A2070FF6-6FBB-9049-7173-BE644BA7CD99}"/>
                    </a:ext>
                  </a:extLst>
                </p14:cNvPr>
                <p14:cNvContentPartPr/>
                <p14:nvPr/>
              </p14:nvContentPartPr>
              <p14:xfrm>
                <a:off x="5563541" y="4333892"/>
                <a:ext cx="96840" cy="262800"/>
              </p14:xfrm>
            </p:contentPart>
          </mc:Choice>
          <mc:Fallback>
            <p:pic>
              <p:nvPicPr>
                <p:cNvPr id="117" name="Ink 116">
                  <a:extLst>
                    <a:ext uri="{FF2B5EF4-FFF2-40B4-BE49-F238E27FC236}">
                      <a16:creationId xmlns:a16="http://schemas.microsoft.com/office/drawing/2014/main" id="{A2070FF6-6FBB-9049-7173-BE644BA7CD99}"/>
                    </a:ext>
                  </a:extLst>
                </p:cNvPr>
                <p:cNvPicPr/>
                <p:nvPr/>
              </p:nvPicPr>
              <p:blipFill>
                <a:blip r:embed="rId81"/>
                <a:stretch>
                  <a:fillRect/>
                </a:stretch>
              </p:blipFill>
              <p:spPr>
                <a:xfrm>
                  <a:off x="5548421" y="4318412"/>
                  <a:ext cx="127440" cy="293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2">
              <p14:nvContentPartPr>
                <p14:cNvPr id="118" name="Ink 117">
                  <a:extLst>
                    <a:ext uri="{FF2B5EF4-FFF2-40B4-BE49-F238E27FC236}">
                      <a16:creationId xmlns:a16="http://schemas.microsoft.com/office/drawing/2014/main" id="{1C78A562-FA34-8E9C-8FE9-9A10EDFC95DE}"/>
                    </a:ext>
                  </a:extLst>
                </p14:cNvPr>
                <p14:cNvContentPartPr/>
                <p14:nvPr/>
              </p14:nvContentPartPr>
              <p14:xfrm>
                <a:off x="5774861" y="4468172"/>
                <a:ext cx="128880" cy="5760"/>
              </p14:xfrm>
            </p:contentPart>
          </mc:Choice>
          <mc:Fallback>
            <p:pic>
              <p:nvPicPr>
                <p:cNvPr id="118" name="Ink 117">
                  <a:extLst>
                    <a:ext uri="{FF2B5EF4-FFF2-40B4-BE49-F238E27FC236}">
                      <a16:creationId xmlns:a16="http://schemas.microsoft.com/office/drawing/2014/main" id="{1C78A562-FA34-8E9C-8FE9-9A10EDFC95DE}"/>
                    </a:ext>
                  </a:extLst>
                </p:cNvPr>
                <p:cNvPicPr/>
                <p:nvPr/>
              </p:nvPicPr>
              <p:blipFill>
                <a:blip r:embed="rId83"/>
                <a:stretch>
                  <a:fillRect/>
                </a:stretch>
              </p:blipFill>
              <p:spPr>
                <a:xfrm>
                  <a:off x="5759741" y="4453052"/>
                  <a:ext cx="159120" cy="36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4">
              <p14:nvContentPartPr>
                <p14:cNvPr id="119" name="Ink 118">
                  <a:extLst>
                    <a:ext uri="{FF2B5EF4-FFF2-40B4-BE49-F238E27FC236}">
                      <a16:creationId xmlns:a16="http://schemas.microsoft.com/office/drawing/2014/main" id="{68AFC8C2-FD55-6E5F-98F9-04BF01EA2EA9}"/>
                    </a:ext>
                  </a:extLst>
                </p14:cNvPr>
                <p14:cNvContentPartPr/>
                <p14:nvPr/>
              </p14:nvContentPartPr>
              <p14:xfrm>
                <a:off x="6017861" y="4397972"/>
                <a:ext cx="103680" cy="167040"/>
              </p14:xfrm>
            </p:contentPart>
          </mc:Choice>
          <mc:Fallback>
            <p:pic>
              <p:nvPicPr>
                <p:cNvPr id="119" name="Ink 118">
                  <a:extLst>
                    <a:ext uri="{FF2B5EF4-FFF2-40B4-BE49-F238E27FC236}">
                      <a16:creationId xmlns:a16="http://schemas.microsoft.com/office/drawing/2014/main" id="{68AFC8C2-FD55-6E5F-98F9-04BF01EA2EA9}"/>
                    </a:ext>
                  </a:extLst>
                </p:cNvPr>
                <p:cNvPicPr/>
                <p:nvPr/>
              </p:nvPicPr>
              <p:blipFill>
                <a:blip r:embed="rId85"/>
                <a:stretch>
                  <a:fillRect/>
                </a:stretch>
              </p:blipFill>
              <p:spPr>
                <a:xfrm>
                  <a:off x="6002381" y="4382852"/>
                  <a:ext cx="134280" cy="197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6">
              <p14:nvContentPartPr>
                <p14:cNvPr id="120" name="Ink 119">
                  <a:extLst>
                    <a:ext uri="{FF2B5EF4-FFF2-40B4-BE49-F238E27FC236}">
                      <a16:creationId xmlns:a16="http://schemas.microsoft.com/office/drawing/2014/main" id="{7CFCE277-3445-A27E-261D-B4D7FD362B0F}"/>
                    </a:ext>
                  </a:extLst>
                </p14:cNvPr>
                <p14:cNvContentPartPr/>
                <p14:nvPr/>
              </p14:nvContentPartPr>
              <p14:xfrm>
                <a:off x="6181301" y="4413452"/>
                <a:ext cx="122040" cy="138240"/>
              </p14:xfrm>
            </p:contentPart>
          </mc:Choice>
          <mc:Fallback>
            <p:pic>
              <p:nvPicPr>
                <p:cNvPr id="120" name="Ink 119">
                  <a:extLst>
                    <a:ext uri="{FF2B5EF4-FFF2-40B4-BE49-F238E27FC236}">
                      <a16:creationId xmlns:a16="http://schemas.microsoft.com/office/drawing/2014/main" id="{7CFCE277-3445-A27E-261D-B4D7FD362B0F}"/>
                    </a:ext>
                  </a:extLst>
                </p:cNvPr>
                <p:cNvPicPr/>
                <p:nvPr/>
              </p:nvPicPr>
              <p:blipFill>
                <a:blip r:embed="rId87"/>
                <a:stretch>
                  <a:fillRect/>
                </a:stretch>
              </p:blipFill>
              <p:spPr>
                <a:xfrm>
                  <a:off x="6166181" y="4398332"/>
                  <a:ext cx="152280" cy="168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8">
              <p14:nvContentPartPr>
                <p14:cNvPr id="121" name="Ink 120">
                  <a:extLst>
                    <a:ext uri="{FF2B5EF4-FFF2-40B4-BE49-F238E27FC236}">
                      <a16:creationId xmlns:a16="http://schemas.microsoft.com/office/drawing/2014/main" id="{AC9DCF78-E337-C577-077E-FF40B6C90DC9}"/>
                    </a:ext>
                  </a:extLst>
                </p14:cNvPr>
                <p14:cNvContentPartPr/>
                <p14:nvPr/>
              </p14:nvContentPartPr>
              <p14:xfrm>
                <a:off x="6370661" y="4386092"/>
                <a:ext cx="68040" cy="192960"/>
              </p14:xfrm>
            </p:contentPart>
          </mc:Choice>
          <mc:Fallback>
            <p:pic>
              <p:nvPicPr>
                <p:cNvPr id="121" name="Ink 120">
                  <a:extLst>
                    <a:ext uri="{FF2B5EF4-FFF2-40B4-BE49-F238E27FC236}">
                      <a16:creationId xmlns:a16="http://schemas.microsoft.com/office/drawing/2014/main" id="{AC9DCF78-E337-C577-077E-FF40B6C90DC9}"/>
                    </a:ext>
                  </a:extLst>
                </p:cNvPr>
                <p:cNvPicPr/>
                <p:nvPr/>
              </p:nvPicPr>
              <p:blipFill>
                <a:blip r:embed="rId89"/>
                <a:stretch>
                  <a:fillRect/>
                </a:stretch>
              </p:blipFill>
              <p:spPr>
                <a:xfrm>
                  <a:off x="6355541" y="4370972"/>
                  <a:ext cx="98280" cy="2235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87CB585F-5420-4597-9D0F-40D7157B6725}"/>
              </a:ext>
            </a:extLst>
          </p:cNvPr>
          <p:cNvGrpSpPr/>
          <p:nvPr/>
        </p:nvGrpSpPr>
        <p:grpSpPr>
          <a:xfrm>
            <a:off x="6629501" y="4323092"/>
            <a:ext cx="1292400" cy="253440"/>
            <a:chOff x="6629501" y="4323092"/>
            <a:chExt cx="1292400" cy="2534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90">
              <p14:nvContentPartPr>
                <p14:cNvPr id="123" name="Ink 122">
                  <a:extLst>
                    <a:ext uri="{FF2B5EF4-FFF2-40B4-BE49-F238E27FC236}">
                      <a16:creationId xmlns:a16="http://schemas.microsoft.com/office/drawing/2014/main" id="{D68745B3-0006-20BA-9144-5767F3A604CB}"/>
                    </a:ext>
                  </a:extLst>
                </p14:cNvPr>
                <p14:cNvContentPartPr/>
                <p14:nvPr/>
              </p14:nvContentPartPr>
              <p14:xfrm>
                <a:off x="6629501" y="4359452"/>
                <a:ext cx="293040" cy="159120"/>
              </p14:xfrm>
            </p:contentPart>
          </mc:Choice>
          <mc:Fallback>
            <p:pic>
              <p:nvPicPr>
                <p:cNvPr id="123" name="Ink 122">
                  <a:extLst>
                    <a:ext uri="{FF2B5EF4-FFF2-40B4-BE49-F238E27FC236}">
                      <a16:creationId xmlns:a16="http://schemas.microsoft.com/office/drawing/2014/main" id="{D68745B3-0006-20BA-9144-5767F3A604CB}"/>
                    </a:ext>
                  </a:extLst>
                </p:cNvPr>
                <p:cNvPicPr/>
                <p:nvPr/>
              </p:nvPicPr>
              <p:blipFill>
                <a:blip r:embed="rId91"/>
                <a:stretch>
                  <a:fillRect/>
                </a:stretch>
              </p:blipFill>
              <p:spPr>
                <a:xfrm>
                  <a:off x="6614021" y="4344332"/>
                  <a:ext cx="323280" cy="189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2">
              <p14:nvContentPartPr>
                <p14:cNvPr id="124" name="Ink 123">
                  <a:extLst>
                    <a:ext uri="{FF2B5EF4-FFF2-40B4-BE49-F238E27FC236}">
                      <a16:creationId xmlns:a16="http://schemas.microsoft.com/office/drawing/2014/main" id="{5EC4E205-1DD5-CF9D-F1F7-4423F85C159F}"/>
                    </a:ext>
                  </a:extLst>
                </p14:cNvPr>
                <p14:cNvContentPartPr/>
                <p14:nvPr/>
              </p14:nvContentPartPr>
              <p14:xfrm>
                <a:off x="6959621" y="4395812"/>
                <a:ext cx="149760" cy="125640"/>
              </p14:xfrm>
            </p:contentPart>
          </mc:Choice>
          <mc:Fallback>
            <p:pic>
              <p:nvPicPr>
                <p:cNvPr id="124" name="Ink 123">
                  <a:extLst>
                    <a:ext uri="{FF2B5EF4-FFF2-40B4-BE49-F238E27FC236}">
                      <a16:creationId xmlns:a16="http://schemas.microsoft.com/office/drawing/2014/main" id="{5EC4E205-1DD5-CF9D-F1F7-4423F85C159F}"/>
                    </a:ext>
                  </a:extLst>
                </p:cNvPr>
                <p:cNvPicPr/>
                <p:nvPr/>
              </p:nvPicPr>
              <p:blipFill>
                <a:blip r:embed="rId93"/>
                <a:stretch>
                  <a:fillRect/>
                </a:stretch>
              </p:blipFill>
              <p:spPr>
                <a:xfrm>
                  <a:off x="6944501" y="4380692"/>
                  <a:ext cx="180360" cy="155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4">
              <p14:nvContentPartPr>
                <p14:cNvPr id="125" name="Ink 124">
                  <a:extLst>
                    <a:ext uri="{FF2B5EF4-FFF2-40B4-BE49-F238E27FC236}">
                      <a16:creationId xmlns:a16="http://schemas.microsoft.com/office/drawing/2014/main" id="{9507562A-36EC-3920-E546-882E1D0E2883}"/>
                    </a:ext>
                  </a:extLst>
                </p14:cNvPr>
                <p14:cNvContentPartPr/>
                <p14:nvPr/>
              </p14:nvContentPartPr>
              <p14:xfrm>
                <a:off x="7145381" y="4445132"/>
                <a:ext cx="96120" cy="19800"/>
              </p14:xfrm>
            </p:contentPart>
          </mc:Choice>
          <mc:Fallback>
            <p:pic>
              <p:nvPicPr>
                <p:cNvPr id="125" name="Ink 124">
                  <a:extLst>
                    <a:ext uri="{FF2B5EF4-FFF2-40B4-BE49-F238E27FC236}">
                      <a16:creationId xmlns:a16="http://schemas.microsoft.com/office/drawing/2014/main" id="{9507562A-36EC-3920-E546-882E1D0E2883}"/>
                    </a:ext>
                  </a:extLst>
                </p:cNvPr>
                <p:cNvPicPr/>
                <p:nvPr/>
              </p:nvPicPr>
              <p:blipFill>
                <a:blip r:embed="rId95"/>
                <a:stretch>
                  <a:fillRect/>
                </a:stretch>
              </p:blipFill>
              <p:spPr>
                <a:xfrm>
                  <a:off x="7130261" y="4430012"/>
                  <a:ext cx="126360" cy="50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6">
              <p14:nvContentPartPr>
                <p14:cNvPr id="126" name="Ink 125">
                  <a:extLst>
                    <a:ext uri="{FF2B5EF4-FFF2-40B4-BE49-F238E27FC236}">
                      <a16:creationId xmlns:a16="http://schemas.microsoft.com/office/drawing/2014/main" id="{889420AF-8625-BE60-63D0-F1BEDC739FA3}"/>
                    </a:ext>
                  </a:extLst>
                </p14:cNvPr>
                <p14:cNvContentPartPr/>
                <p14:nvPr/>
              </p14:nvContentPartPr>
              <p14:xfrm>
                <a:off x="7271021" y="4406972"/>
                <a:ext cx="133920" cy="123480"/>
              </p14:xfrm>
            </p:contentPart>
          </mc:Choice>
          <mc:Fallback>
            <p:pic>
              <p:nvPicPr>
                <p:cNvPr id="126" name="Ink 125">
                  <a:extLst>
                    <a:ext uri="{FF2B5EF4-FFF2-40B4-BE49-F238E27FC236}">
                      <a16:creationId xmlns:a16="http://schemas.microsoft.com/office/drawing/2014/main" id="{889420AF-8625-BE60-63D0-F1BEDC739FA3}"/>
                    </a:ext>
                  </a:extLst>
                </p:cNvPr>
                <p:cNvPicPr/>
                <p:nvPr/>
              </p:nvPicPr>
              <p:blipFill>
                <a:blip r:embed="rId97"/>
                <a:stretch>
                  <a:fillRect/>
                </a:stretch>
              </p:blipFill>
              <p:spPr>
                <a:xfrm>
                  <a:off x="7255901" y="4391852"/>
                  <a:ext cx="164520" cy="153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8">
              <p14:nvContentPartPr>
                <p14:cNvPr id="127" name="Ink 126">
                  <a:extLst>
                    <a:ext uri="{FF2B5EF4-FFF2-40B4-BE49-F238E27FC236}">
                      <a16:creationId xmlns:a16="http://schemas.microsoft.com/office/drawing/2014/main" id="{82208AC1-57F7-E427-8DCD-967C813BE777}"/>
                    </a:ext>
                  </a:extLst>
                </p14:cNvPr>
                <p14:cNvContentPartPr/>
                <p14:nvPr/>
              </p14:nvContentPartPr>
              <p14:xfrm>
                <a:off x="7488101" y="4410932"/>
                <a:ext cx="54720" cy="107280"/>
              </p14:xfrm>
            </p:contentPart>
          </mc:Choice>
          <mc:Fallback>
            <p:pic>
              <p:nvPicPr>
                <p:cNvPr id="127" name="Ink 126">
                  <a:extLst>
                    <a:ext uri="{FF2B5EF4-FFF2-40B4-BE49-F238E27FC236}">
                      <a16:creationId xmlns:a16="http://schemas.microsoft.com/office/drawing/2014/main" id="{82208AC1-57F7-E427-8DCD-967C813BE777}"/>
                    </a:ext>
                  </a:extLst>
                </p:cNvPr>
                <p:cNvPicPr/>
                <p:nvPr/>
              </p:nvPicPr>
              <p:blipFill>
                <a:blip r:embed="rId99"/>
                <a:stretch>
                  <a:fillRect/>
                </a:stretch>
              </p:blipFill>
              <p:spPr>
                <a:xfrm>
                  <a:off x="7472981" y="4395812"/>
                  <a:ext cx="84960" cy="137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0">
              <p14:nvContentPartPr>
                <p14:cNvPr id="128" name="Ink 127">
                  <a:extLst>
                    <a:ext uri="{FF2B5EF4-FFF2-40B4-BE49-F238E27FC236}">
                      <a16:creationId xmlns:a16="http://schemas.microsoft.com/office/drawing/2014/main" id="{A7F79366-7DF5-9C52-5D8B-30B6547E3020}"/>
                    </a:ext>
                  </a:extLst>
                </p14:cNvPr>
                <p14:cNvContentPartPr/>
                <p14:nvPr/>
              </p14:nvContentPartPr>
              <p14:xfrm>
                <a:off x="7600061" y="4408052"/>
                <a:ext cx="47160" cy="98280"/>
              </p14:xfrm>
            </p:contentPart>
          </mc:Choice>
          <mc:Fallback>
            <p:pic>
              <p:nvPicPr>
                <p:cNvPr id="128" name="Ink 127">
                  <a:extLst>
                    <a:ext uri="{FF2B5EF4-FFF2-40B4-BE49-F238E27FC236}">
                      <a16:creationId xmlns:a16="http://schemas.microsoft.com/office/drawing/2014/main" id="{A7F79366-7DF5-9C52-5D8B-30B6547E3020}"/>
                    </a:ext>
                  </a:extLst>
                </p:cNvPr>
                <p:cNvPicPr/>
                <p:nvPr/>
              </p:nvPicPr>
              <p:blipFill>
                <a:blip r:embed="rId101"/>
                <a:stretch>
                  <a:fillRect/>
                </a:stretch>
              </p:blipFill>
              <p:spPr>
                <a:xfrm>
                  <a:off x="7584941" y="4392572"/>
                  <a:ext cx="77400" cy="128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2">
              <p14:nvContentPartPr>
                <p14:cNvPr id="129" name="Ink 128">
                  <a:extLst>
                    <a:ext uri="{FF2B5EF4-FFF2-40B4-BE49-F238E27FC236}">
                      <a16:creationId xmlns:a16="http://schemas.microsoft.com/office/drawing/2014/main" id="{E388CC24-EB43-B6D7-A5B6-0FD11CA771B1}"/>
                    </a:ext>
                  </a:extLst>
                </p14:cNvPr>
                <p14:cNvContentPartPr/>
                <p14:nvPr/>
              </p14:nvContentPartPr>
              <p14:xfrm>
                <a:off x="7587461" y="4323092"/>
                <a:ext cx="32040" cy="37080"/>
              </p14:xfrm>
            </p:contentPart>
          </mc:Choice>
          <mc:Fallback>
            <p:pic>
              <p:nvPicPr>
                <p:cNvPr id="129" name="Ink 128">
                  <a:extLst>
                    <a:ext uri="{FF2B5EF4-FFF2-40B4-BE49-F238E27FC236}">
                      <a16:creationId xmlns:a16="http://schemas.microsoft.com/office/drawing/2014/main" id="{E388CC24-EB43-B6D7-A5B6-0FD11CA771B1}"/>
                    </a:ext>
                  </a:extLst>
                </p:cNvPr>
                <p:cNvPicPr/>
                <p:nvPr/>
              </p:nvPicPr>
              <p:blipFill>
                <a:blip r:embed="rId103"/>
                <a:stretch>
                  <a:fillRect/>
                </a:stretch>
              </p:blipFill>
              <p:spPr>
                <a:xfrm>
                  <a:off x="7572341" y="4307612"/>
                  <a:ext cx="62640" cy="67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4">
              <p14:nvContentPartPr>
                <p14:cNvPr id="130" name="Ink 129">
                  <a:extLst>
                    <a:ext uri="{FF2B5EF4-FFF2-40B4-BE49-F238E27FC236}">
                      <a16:creationId xmlns:a16="http://schemas.microsoft.com/office/drawing/2014/main" id="{A7521C45-3CC5-06DA-783D-E7FF6A95F0FE}"/>
                    </a:ext>
                  </a:extLst>
                </p14:cNvPr>
                <p14:cNvContentPartPr/>
                <p14:nvPr/>
              </p14:nvContentPartPr>
              <p14:xfrm>
                <a:off x="7680701" y="4347212"/>
                <a:ext cx="118440" cy="162000"/>
              </p14:xfrm>
            </p:contentPart>
          </mc:Choice>
          <mc:Fallback>
            <p:pic>
              <p:nvPicPr>
                <p:cNvPr id="130" name="Ink 129">
                  <a:extLst>
                    <a:ext uri="{FF2B5EF4-FFF2-40B4-BE49-F238E27FC236}">
                      <a16:creationId xmlns:a16="http://schemas.microsoft.com/office/drawing/2014/main" id="{A7521C45-3CC5-06DA-783D-E7FF6A95F0FE}"/>
                    </a:ext>
                  </a:extLst>
                </p:cNvPr>
                <p:cNvPicPr/>
                <p:nvPr/>
              </p:nvPicPr>
              <p:blipFill>
                <a:blip r:embed="rId105"/>
                <a:stretch>
                  <a:fillRect/>
                </a:stretch>
              </p:blipFill>
              <p:spPr>
                <a:xfrm>
                  <a:off x="7665221" y="4331732"/>
                  <a:ext cx="149040" cy="192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6">
              <p14:nvContentPartPr>
                <p14:cNvPr id="131" name="Ink 130">
                  <a:extLst>
                    <a:ext uri="{FF2B5EF4-FFF2-40B4-BE49-F238E27FC236}">
                      <a16:creationId xmlns:a16="http://schemas.microsoft.com/office/drawing/2014/main" id="{576F5018-A521-770F-61B1-78983D1A0C57}"/>
                    </a:ext>
                  </a:extLst>
                </p14:cNvPr>
                <p14:cNvContentPartPr/>
                <p14:nvPr/>
              </p14:nvContentPartPr>
              <p14:xfrm>
                <a:off x="7824701" y="4345052"/>
                <a:ext cx="97200" cy="231480"/>
              </p14:xfrm>
            </p:contentPart>
          </mc:Choice>
          <mc:Fallback>
            <p:pic>
              <p:nvPicPr>
                <p:cNvPr id="131" name="Ink 130">
                  <a:extLst>
                    <a:ext uri="{FF2B5EF4-FFF2-40B4-BE49-F238E27FC236}">
                      <a16:creationId xmlns:a16="http://schemas.microsoft.com/office/drawing/2014/main" id="{576F5018-A521-770F-61B1-78983D1A0C57}"/>
                    </a:ext>
                  </a:extLst>
                </p:cNvPr>
                <p:cNvPicPr/>
                <p:nvPr/>
              </p:nvPicPr>
              <p:blipFill>
                <a:blip r:embed="rId107"/>
                <a:stretch>
                  <a:fillRect/>
                </a:stretch>
              </p:blipFill>
              <p:spPr>
                <a:xfrm>
                  <a:off x="7809581" y="4329572"/>
                  <a:ext cx="127800" cy="26172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108">
            <p14:nvContentPartPr>
              <p14:cNvPr id="141" name="Ink 140">
                <a:extLst>
                  <a:ext uri="{FF2B5EF4-FFF2-40B4-BE49-F238E27FC236}">
                    <a16:creationId xmlns:a16="http://schemas.microsoft.com/office/drawing/2014/main" id="{1BC41FC4-93FC-C591-1F8E-013A59BEBE39}"/>
                  </a:ext>
                </a:extLst>
              </p14:cNvPr>
              <p14:cNvContentPartPr/>
              <p14:nvPr/>
            </p14:nvContentPartPr>
            <p14:xfrm>
              <a:off x="8455421" y="2388452"/>
              <a:ext cx="221760" cy="600840"/>
            </p14:xfrm>
          </p:contentPart>
        </mc:Choice>
        <mc:Fallback>
          <p:pic>
            <p:nvPicPr>
              <p:cNvPr id="141" name="Ink 140">
                <a:extLst>
                  <a:ext uri="{FF2B5EF4-FFF2-40B4-BE49-F238E27FC236}">
                    <a16:creationId xmlns:a16="http://schemas.microsoft.com/office/drawing/2014/main" id="{1BC41FC4-93FC-C591-1F8E-013A59BEBE39}"/>
                  </a:ext>
                </a:extLst>
              </p:cNvPr>
              <p:cNvPicPr/>
              <p:nvPr/>
            </p:nvPicPr>
            <p:blipFill>
              <a:blip r:embed="rId109"/>
              <a:stretch>
                <a:fillRect/>
              </a:stretch>
            </p:blipFill>
            <p:spPr>
              <a:xfrm>
                <a:off x="8439941" y="2372972"/>
                <a:ext cx="252360" cy="6314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10">
            <p14:nvContentPartPr>
              <p14:cNvPr id="132" name="Ink 131">
                <a:extLst>
                  <a:ext uri="{FF2B5EF4-FFF2-40B4-BE49-F238E27FC236}">
                    <a16:creationId xmlns:a16="http://schemas.microsoft.com/office/drawing/2014/main" id="{D7D6A2B3-079E-5F26-04E8-3D5215974454}"/>
                  </a:ext>
                </a:extLst>
              </p14:cNvPr>
              <p14:cNvContentPartPr/>
              <p14:nvPr/>
            </p14:nvContentPartPr>
            <p14:xfrm>
              <a:off x="8171741" y="4394012"/>
              <a:ext cx="45360" cy="7560"/>
            </p14:xfrm>
          </p:contentPart>
        </mc:Choice>
        <mc:Fallback>
          <p:pic>
            <p:nvPicPr>
              <p:cNvPr id="132" name="Ink 131">
                <a:extLst>
                  <a:ext uri="{FF2B5EF4-FFF2-40B4-BE49-F238E27FC236}">
                    <a16:creationId xmlns:a16="http://schemas.microsoft.com/office/drawing/2014/main" id="{D7D6A2B3-079E-5F26-04E8-3D5215974454}"/>
                  </a:ext>
                </a:extLst>
              </p:cNvPr>
              <p:cNvPicPr/>
              <p:nvPr/>
            </p:nvPicPr>
            <p:blipFill>
              <a:blip r:embed="rId111"/>
              <a:stretch>
                <a:fillRect/>
              </a:stretch>
            </p:blipFill>
            <p:spPr>
              <a:xfrm>
                <a:off x="8156621" y="4378532"/>
                <a:ext cx="75960" cy="381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12">
            <p14:nvContentPartPr>
              <p14:cNvPr id="133" name="Ink 132">
                <a:extLst>
                  <a:ext uri="{FF2B5EF4-FFF2-40B4-BE49-F238E27FC236}">
                    <a16:creationId xmlns:a16="http://schemas.microsoft.com/office/drawing/2014/main" id="{9C68123B-DC49-D627-EBD6-401D34138A03}"/>
                  </a:ext>
                </a:extLst>
              </p14:cNvPr>
              <p14:cNvContentPartPr/>
              <p14:nvPr/>
            </p14:nvContentPartPr>
            <p14:xfrm>
              <a:off x="8186141" y="4457012"/>
              <a:ext cx="49680" cy="15840"/>
            </p14:xfrm>
          </p:contentPart>
        </mc:Choice>
        <mc:Fallback>
          <p:pic>
            <p:nvPicPr>
              <p:cNvPr id="133" name="Ink 132">
                <a:extLst>
                  <a:ext uri="{FF2B5EF4-FFF2-40B4-BE49-F238E27FC236}">
                    <a16:creationId xmlns:a16="http://schemas.microsoft.com/office/drawing/2014/main" id="{9C68123B-DC49-D627-EBD6-401D34138A03}"/>
                  </a:ext>
                </a:extLst>
              </p:cNvPr>
              <p:cNvPicPr/>
              <p:nvPr/>
            </p:nvPicPr>
            <p:blipFill>
              <a:blip r:embed="rId113"/>
              <a:stretch>
                <a:fillRect/>
              </a:stretch>
            </p:blipFill>
            <p:spPr>
              <a:xfrm>
                <a:off x="8170661" y="4441892"/>
                <a:ext cx="80280" cy="464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14">
            <p14:nvContentPartPr>
              <p14:cNvPr id="136" name="Ink 135">
                <a:extLst>
                  <a:ext uri="{FF2B5EF4-FFF2-40B4-BE49-F238E27FC236}">
                    <a16:creationId xmlns:a16="http://schemas.microsoft.com/office/drawing/2014/main" id="{EBFC6F91-2DE1-C2C3-513B-47C0FA457B6B}"/>
                  </a:ext>
                </a:extLst>
              </p14:cNvPr>
              <p14:cNvContentPartPr/>
              <p14:nvPr/>
            </p14:nvContentPartPr>
            <p14:xfrm>
              <a:off x="8507621" y="4307972"/>
              <a:ext cx="94680" cy="254880"/>
            </p14:xfrm>
          </p:contentPart>
        </mc:Choice>
        <mc:Fallback>
          <p:pic>
            <p:nvPicPr>
              <p:cNvPr id="136" name="Ink 135">
                <a:extLst>
                  <a:ext uri="{FF2B5EF4-FFF2-40B4-BE49-F238E27FC236}">
                    <a16:creationId xmlns:a16="http://schemas.microsoft.com/office/drawing/2014/main" id="{EBFC6F91-2DE1-C2C3-513B-47C0FA457B6B}"/>
                  </a:ext>
                </a:extLst>
              </p:cNvPr>
              <p:cNvPicPr/>
              <p:nvPr/>
            </p:nvPicPr>
            <p:blipFill>
              <a:blip r:embed="rId115"/>
              <a:stretch>
                <a:fillRect/>
              </a:stretch>
            </p:blipFill>
            <p:spPr>
              <a:xfrm>
                <a:off x="8492141" y="4292492"/>
                <a:ext cx="124920" cy="2854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16">
            <p14:nvContentPartPr>
              <p14:cNvPr id="137" name="Ink 136">
                <a:extLst>
                  <a:ext uri="{FF2B5EF4-FFF2-40B4-BE49-F238E27FC236}">
                    <a16:creationId xmlns:a16="http://schemas.microsoft.com/office/drawing/2014/main" id="{646022A0-4A55-7498-45F6-19D6061BEAE2}"/>
                  </a:ext>
                </a:extLst>
              </p14:cNvPr>
              <p14:cNvContentPartPr/>
              <p14:nvPr/>
            </p14:nvContentPartPr>
            <p14:xfrm>
              <a:off x="8723981" y="4350812"/>
              <a:ext cx="70200" cy="178920"/>
            </p14:xfrm>
          </p:contentPart>
        </mc:Choice>
        <mc:Fallback>
          <p:pic>
            <p:nvPicPr>
              <p:cNvPr id="137" name="Ink 136">
                <a:extLst>
                  <a:ext uri="{FF2B5EF4-FFF2-40B4-BE49-F238E27FC236}">
                    <a16:creationId xmlns:a16="http://schemas.microsoft.com/office/drawing/2014/main" id="{646022A0-4A55-7498-45F6-19D6061BEAE2}"/>
                  </a:ext>
                </a:extLst>
              </p:cNvPr>
              <p:cNvPicPr/>
              <p:nvPr/>
            </p:nvPicPr>
            <p:blipFill>
              <a:blip r:embed="rId117"/>
              <a:stretch>
                <a:fillRect/>
              </a:stretch>
            </p:blipFill>
            <p:spPr>
              <a:xfrm>
                <a:off x="8708501" y="4335332"/>
                <a:ext cx="100800" cy="2095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18">
            <p14:nvContentPartPr>
              <p14:cNvPr id="138" name="Ink 137">
                <a:extLst>
                  <a:ext uri="{FF2B5EF4-FFF2-40B4-BE49-F238E27FC236}">
                    <a16:creationId xmlns:a16="http://schemas.microsoft.com/office/drawing/2014/main" id="{F16DEBDF-D41F-8639-3BBF-500D26A71984}"/>
                  </a:ext>
                </a:extLst>
              </p14:cNvPr>
              <p14:cNvContentPartPr/>
              <p14:nvPr/>
            </p14:nvContentPartPr>
            <p14:xfrm>
              <a:off x="8878061" y="4340372"/>
              <a:ext cx="68040" cy="212760"/>
            </p14:xfrm>
          </p:contentPart>
        </mc:Choice>
        <mc:Fallback>
          <p:pic>
            <p:nvPicPr>
              <p:cNvPr id="138" name="Ink 137">
                <a:extLst>
                  <a:ext uri="{FF2B5EF4-FFF2-40B4-BE49-F238E27FC236}">
                    <a16:creationId xmlns:a16="http://schemas.microsoft.com/office/drawing/2014/main" id="{F16DEBDF-D41F-8639-3BBF-500D26A71984}"/>
                  </a:ext>
                </a:extLst>
              </p:cNvPr>
              <p:cNvPicPr/>
              <p:nvPr/>
            </p:nvPicPr>
            <p:blipFill>
              <a:blip r:embed="rId119"/>
              <a:stretch>
                <a:fillRect/>
              </a:stretch>
            </p:blipFill>
            <p:spPr>
              <a:xfrm>
                <a:off x="8862581" y="4325252"/>
                <a:ext cx="98280" cy="2433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20">
            <p14:nvContentPartPr>
              <p14:cNvPr id="139" name="Ink 138">
                <a:extLst>
                  <a:ext uri="{FF2B5EF4-FFF2-40B4-BE49-F238E27FC236}">
                    <a16:creationId xmlns:a16="http://schemas.microsoft.com/office/drawing/2014/main" id="{F8565260-5186-5458-EC7F-BD5FFC9D7708}"/>
                  </a:ext>
                </a:extLst>
              </p14:cNvPr>
              <p14:cNvContentPartPr/>
              <p14:nvPr/>
            </p14:nvContentPartPr>
            <p14:xfrm>
              <a:off x="8968781" y="4424252"/>
              <a:ext cx="41040" cy="9000"/>
            </p14:xfrm>
          </p:contentPart>
        </mc:Choice>
        <mc:Fallback>
          <p:pic>
            <p:nvPicPr>
              <p:cNvPr id="139" name="Ink 138">
                <a:extLst>
                  <a:ext uri="{FF2B5EF4-FFF2-40B4-BE49-F238E27FC236}">
                    <a16:creationId xmlns:a16="http://schemas.microsoft.com/office/drawing/2014/main" id="{F8565260-5186-5458-EC7F-BD5FFC9D7708}"/>
                  </a:ext>
                </a:extLst>
              </p:cNvPr>
              <p:cNvPicPr/>
              <p:nvPr/>
            </p:nvPicPr>
            <p:blipFill>
              <a:blip r:embed="rId121"/>
              <a:stretch>
                <a:fillRect/>
              </a:stretch>
            </p:blipFill>
            <p:spPr>
              <a:xfrm>
                <a:off x="8953301" y="4409132"/>
                <a:ext cx="71640" cy="39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22">
            <p14:nvContentPartPr>
              <p14:cNvPr id="140" name="Ink 139">
                <a:extLst>
                  <a:ext uri="{FF2B5EF4-FFF2-40B4-BE49-F238E27FC236}">
                    <a16:creationId xmlns:a16="http://schemas.microsoft.com/office/drawing/2014/main" id="{B3AB8EAC-7F4C-8FC9-7795-9FDD75FFF855}"/>
                  </a:ext>
                </a:extLst>
              </p14:cNvPr>
              <p14:cNvContentPartPr/>
              <p14:nvPr/>
            </p14:nvContentPartPr>
            <p14:xfrm>
              <a:off x="9119981" y="4487612"/>
              <a:ext cx="9000" cy="6840"/>
            </p14:xfrm>
          </p:contentPart>
        </mc:Choice>
        <mc:Fallback>
          <p:pic>
            <p:nvPicPr>
              <p:cNvPr id="140" name="Ink 139">
                <a:extLst>
                  <a:ext uri="{FF2B5EF4-FFF2-40B4-BE49-F238E27FC236}">
                    <a16:creationId xmlns:a16="http://schemas.microsoft.com/office/drawing/2014/main" id="{B3AB8EAC-7F4C-8FC9-7795-9FDD75FFF855}"/>
                  </a:ext>
                </a:extLst>
              </p:cNvPr>
              <p:cNvPicPr/>
              <p:nvPr/>
            </p:nvPicPr>
            <p:blipFill>
              <a:blip r:embed="rId123"/>
              <a:stretch>
                <a:fillRect/>
              </a:stretch>
            </p:blipFill>
            <p:spPr>
              <a:xfrm>
                <a:off x="9104861" y="4472492"/>
                <a:ext cx="39600" cy="370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24">
            <p14:nvContentPartPr>
              <p14:cNvPr id="142" name="Ink 141">
                <a:extLst>
                  <a:ext uri="{FF2B5EF4-FFF2-40B4-BE49-F238E27FC236}">
                    <a16:creationId xmlns:a16="http://schemas.microsoft.com/office/drawing/2014/main" id="{A06EEA82-09CF-2904-00FB-C6BC7607A524}"/>
                  </a:ext>
                </a:extLst>
              </p14:cNvPr>
              <p14:cNvContentPartPr/>
              <p14:nvPr/>
            </p14:nvContentPartPr>
            <p14:xfrm>
              <a:off x="9200261" y="3855812"/>
              <a:ext cx="153000" cy="672120"/>
            </p14:xfrm>
          </p:contentPart>
        </mc:Choice>
        <mc:Fallback>
          <p:pic>
            <p:nvPicPr>
              <p:cNvPr id="142" name="Ink 141">
                <a:extLst>
                  <a:ext uri="{FF2B5EF4-FFF2-40B4-BE49-F238E27FC236}">
                    <a16:creationId xmlns:a16="http://schemas.microsoft.com/office/drawing/2014/main" id="{A06EEA82-09CF-2904-00FB-C6BC7607A524}"/>
                  </a:ext>
                </a:extLst>
              </p:cNvPr>
              <p:cNvPicPr/>
              <p:nvPr/>
            </p:nvPicPr>
            <p:blipFill>
              <a:blip r:embed="rId125"/>
              <a:stretch>
                <a:fillRect/>
              </a:stretch>
            </p:blipFill>
            <p:spPr>
              <a:xfrm>
                <a:off x="9185141" y="3840692"/>
                <a:ext cx="183240" cy="702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26">
            <p14:nvContentPartPr>
              <p14:cNvPr id="143" name="Ink 142">
                <a:extLst>
                  <a:ext uri="{FF2B5EF4-FFF2-40B4-BE49-F238E27FC236}">
                    <a16:creationId xmlns:a16="http://schemas.microsoft.com/office/drawing/2014/main" id="{E34AFB38-04E3-BED1-A395-2DE32F5DC9CF}"/>
                  </a:ext>
                </a:extLst>
              </p14:cNvPr>
              <p14:cNvContentPartPr/>
              <p14:nvPr/>
            </p14:nvContentPartPr>
            <p14:xfrm>
              <a:off x="8817581" y="4384292"/>
              <a:ext cx="6480" cy="2520"/>
            </p14:xfrm>
          </p:contentPart>
        </mc:Choice>
        <mc:Fallback>
          <p:pic>
            <p:nvPicPr>
              <p:cNvPr id="143" name="Ink 142">
                <a:extLst>
                  <a:ext uri="{FF2B5EF4-FFF2-40B4-BE49-F238E27FC236}">
                    <a16:creationId xmlns:a16="http://schemas.microsoft.com/office/drawing/2014/main" id="{E34AFB38-04E3-BED1-A395-2DE32F5DC9CF}"/>
                  </a:ext>
                </a:extLst>
              </p:cNvPr>
              <p:cNvPicPr/>
              <p:nvPr/>
            </p:nvPicPr>
            <p:blipFill>
              <a:blip r:embed="rId127"/>
              <a:stretch>
                <a:fillRect/>
              </a:stretch>
            </p:blipFill>
            <p:spPr>
              <a:xfrm>
                <a:off x="8802101" y="4368812"/>
                <a:ext cx="37080" cy="33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28">
            <p14:nvContentPartPr>
              <p14:cNvPr id="145" name="Ink 144">
                <a:extLst>
                  <a:ext uri="{FF2B5EF4-FFF2-40B4-BE49-F238E27FC236}">
                    <a16:creationId xmlns:a16="http://schemas.microsoft.com/office/drawing/2014/main" id="{D3365135-3111-8879-6562-398D6CB60B77}"/>
                  </a:ext>
                </a:extLst>
              </p14:cNvPr>
              <p14:cNvContentPartPr/>
              <p14:nvPr/>
            </p14:nvContentPartPr>
            <p14:xfrm>
              <a:off x="6774581" y="2082092"/>
              <a:ext cx="303840" cy="167400"/>
            </p14:xfrm>
          </p:contentPart>
        </mc:Choice>
        <mc:Fallback>
          <p:pic>
            <p:nvPicPr>
              <p:cNvPr id="145" name="Ink 144">
                <a:extLst>
                  <a:ext uri="{FF2B5EF4-FFF2-40B4-BE49-F238E27FC236}">
                    <a16:creationId xmlns:a16="http://schemas.microsoft.com/office/drawing/2014/main" id="{D3365135-3111-8879-6562-398D6CB60B77}"/>
                  </a:ext>
                </a:extLst>
              </p:cNvPr>
              <p:cNvPicPr/>
              <p:nvPr/>
            </p:nvPicPr>
            <p:blipFill>
              <a:blip r:embed="rId129"/>
              <a:stretch>
                <a:fillRect/>
              </a:stretch>
            </p:blipFill>
            <p:spPr>
              <a:xfrm>
                <a:off x="6759101" y="2066612"/>
                <a:ext cx="334080" cy="1976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30">
            <p14:nvContentPartPr>
              <p14:cNvPr id="146" name="Ink 145">
                <a:extLst>
                  <a:ext uri="{FF2B5EF4-FFF2-40B4-BE49-F238E27FC236}">
                    <a16:creationId xmlns:a16="http://schemas.microsoft.com/office/drawing/2014/main" id="{7E5553BF-34C3-5CEE-A93E-A37A5E223FC3}"/>
                  </a:ext>
                </a:extLst>
              </p14:cNvPr>
              <p14:cNvContentPartPr/>
              <p14:nvPr/>
            </p14:nvContentPartPr>
            <p14:xfrm>
              <a:off x="5809781" y="2170292"/>
              <a:ext cx="191520" cy="92880"/>
            </p14:xfrm>
          </p:contentPart>
        </mc:Choice>
        <mc:Fallback>
          <p:pic>
            <p:nvPicPr>
              <p:cNvPr id="146" name="Ink 145">
                <a:extLst>
                  <a:ext uri="{FF2B5EF4-FFF2-40B4-BE49-F238E27FC236}">
                    <a16:creationId xmlns:a16="http://schemas.microsoft.com/office/drawing/2014/main" id="{7E5553BF-34C3-5CEE-A93E-A37A5E223FC3}"/>
                  </a:ext>
                </a:extLst>
              </p:cNvPr>
              <p:cNvPicPr/>
              <p:nvPr/>
            </p:nvPicPr>
            <p:blipFill>
              <a:blip r:embed="rId131"/>
              <a:stretch>
                <a:fillRect/>
              </a:stretch>
            </p:blipFill>
            <p:spPr>
              <a:xfrm>
                <a:off x="5794301" y="2155172"/>
                <a:ext cx="221760" cy="123480"/>
              </a:xfrm>
              <a:prstGeom prst="rect">
                <a:avLst/>
              </a:prstGeom>
            </p:spPr>
          </p:pic>
        </mc:Fallback>
      </mc:AlternateContent>
      <p:grpSp>
        <p:nvGrpSpPr>
          <p:cNvPr id="163" name="Group 162">
            <a:extLst>
              <a:ext uri="{FF2B5EF4-FFF2-40B4-BE49-F238E27FC236}">
                <a16:creationId xmlns:a16="http://schemas.microsoft.com/office/drawing/2014/main" id="{540E2DA5-176C-8293-01B5-856B41FD7619}"/>
              </a:ext>
            </a:extLst>
          </p:cNvPr>
          <p:cNvGrpSpPr/>
          <p:nvPr/>
        </p:nvGrpSpPr>
        <p:grpSpPr>
          <a:xfrm>
            <a:off x="8785901" y="2240852"/>
            <a:ext cx="832320" cy="261720"/>
            <a:chOff x="8785901" y="2240852"/>
            <a:chExt cx="832320" cy="2617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32">
              <p14:nvContentPartPr>
                <p14:cNvPr id="147" name="Ink 146">
                  <a:extLst>
                    <a:ext uri="{FF2B5EF4-FFF2-40B4-BE49-F238E27FC236}">
                      <a16:creationId xmlns:a16="http://schemas.microsoft.com/office/drawing/2014/main" id="{D2091A82-E9C6-CE63-DAF2-E9B242D37681}"/>
                    </a:ext>
                  </a:extLst>
                </p14:cNvPr>
                <p14:cNvContentPartPr/>
                <p14:nvPr/>
              </p14:nvContentPartPr>
              <p14:xfrm>
                <a:off x="8785901" y="2430572"/>
                <a:ext cx="190800" cy="60480"/>
              </p14:xfrm>
            </p:contentPart>
          </mc:Choice>
          <mc:Fallback>
            <p:pic>
              <p:nvPicPr>
                <p:cNvPr id="147" name="Ink 146">
                  <a:extLst>
                    <a:ext uri="{FF2B5EF4-FFF2-40B4-BE49-F238E27FC236}">
                      <a16:creationId xmlns:a16="http://schemas.microsoft.com/office/drawing/2014/main" id="{D2091A82-E9C6-CE63-DAF2-E9B242D37681}"/>
                    </a:ext>
                  </a:extLst>
                </p:cNvPr>
                <p:cNvPicPr/>
                <p:nvPr/>
              </p:nvPicPr>
              <p:blipFill>
                <a:blip r:embed="rId133"/>
                <a:stretch>
                  <a:fillRect/>
                </a:stretch>
              </p:blipFill>
              <p:spPr>
                <a:xfrm>
                  <a:off x="8770781" y="2415092"/>
                  <a:ext cx="221400" cy="91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34">
              <p14:nvContentPartPr>
                <p14:cNvPr id="148" name="Ink 147">
                  <a:extLst>
                    <a:ext uri="{FF2B5EF4-FFF2-40B4-BE49-F238E27FC236}">
                      <a16:creationId xmlns:a16="http://schemas.microsoft.com/office/drawing/2014/main" id="{DE0CCDFB-47B5-15C2-93FC-7A01A99E3A0F}"/>
                    </a:ext>
                  </a:extLst>
                </p14:cNvPr>
                <p14:cNvContentPartPr/>
                <p14:nvPr/>
              </p14:nvContentPartPr>
              <p14:xfrm>
                <a:off x="9122141" y="2268932"/>
                <a:ext cx="79200" cy="233640"/>
              </p14:xfrm>
            </p:contentPart>
          </mc:Choice>
          <mc:Fallback>
            <p:pic>
              <p:nvPicPr>
                <p:cNvPr id="148" name="Ink 147">
                  <a:extLst>
                    <a:ext uri="{FF2B5EF4-FFF2-40B4-BE49-F238E27FC236}">
                      <a16:creationId xmlns:a16="http://schemas.microsoft.com/office/drawing/2014/main" id="{DE0CCDFB-47B5-15C2-93FC-7A01A99E3A0F}"/>
                    </a:ext>
                  </a:extLst>
                </p:cNvPr>
                <p:cNvPicPr/>
                <p:nvPr/>
              </p:nvPicPr>
              <p:blipFill>
                <a:blip r:embed="rId135"/>
                <a:stretch>
                  <a:fillRect/>
                </a:stretch>
              </p:blipFill>
              <p:spPr>
                <a:xfrm>
                  <a:off x="9107021" y="2253812"/>
                  <a:ext cx="109800" cy="264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36">
              <p14:nvContentPartPr>
                <p14:cNvPr id="149" name="Ink 148">
                  <a:extLst>
                    <a:ext uri="{FF2B5EF4-FFF2-40B4-BE49-F238E27FC236}">
                      <a16:creationId xmlns:a16="http://schemas.microsoft.com/office/drawing/2014/main" id="{5177EEAC-C759-B2E8-189E-54B659E375AE}"/>
                    </a:ext>
                  </a:extLst>
                </p14:cNvPr>
                <p14:cNvContentPartPr/>
                <p14:nvPr/>
              </p14:nvContentPartPr>
              <p14:xfrm>
                <a:off x="9048341" y="2240852"/>
                <a:ext cx="172800" cy="84240"/>
              </p14:xfrm>
            </p:contentPart>
          </mc:Choice>
          <mc:Fallback>
            <p:pic>
              <p:nvPicPr>
                <p:cNvPr id="149" name="Ink 148">
                  <a:extLst>
                    <a:ext uri="{FF2B5EF4-FFF2-40B4-BE49-F238E27FC236}">
                      <a16:creationId xmlns:a16="http://schemas.microsoft.com/office/drawing/2014/main" id="{5177EEAC-C759-B2E8-189E-54B659E375AE}"/>
                    </a:ext>
                  </a:extLst>
                </p:cNvPr>
                <p:cNvPicPr/>
                <p:nvPr/>
              </p:nvPicPr>
              <p:blipFill>
                <a:blip r:embed="rId137"/>
                <a:stretch>
                  <a:fillRect/>
                </a:stretch>
              </p:blipFill>
              <p:spPr>
                <a:xfrm>
                  <a:off x="9032861" y="2225372"/>
                  <a:ext cx="203400" cy="114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38">
              <p14:nvContentPartPr>
                <p14:cNvPr id="150" name="Ink 149">
                  <a:extLst>
                    <a:ext uri="{FF2B5EF4-FFF2-40B4-BE49-F238E27FC236}">
                      <a16:creationId xmlns:a16="http://schemas.microsoft.com/office/drawing/2014/main" id="{D9680264-B76F-BC9B-CCC9-703935B0872E}"/>
                    </a:ext>
                  </a:extLst>
                </p14:cNvPr>
                <p14:cNvContentPartPr/>
                <p14:nvPr/>
              </p14:nvContentPartPr>
              <p14:xfrm>
                <a:off x="9260381" y="2336972"/>
                <a:ext cx="245880" cy="157680"/>
              </p14:xfrm>
            </p:contentPart>
          </mc:Choice>
          <mc:Fallback>
            <p:pic>
              <p:nvPicPr>
                <p:cNvPr id="150" name="Ink 149">
                  <a:extLst>
                    <a:ext uri="{FF2B5EF4-FFF2-40B4-BE49-F238E27FC236}">
                      <a16:creationId xmlns:a16="http://schemas.microsoft.com/office/drawing/2014/main" id="{D9680264-B76F-BC9B-CCC9-703935B0872E}"/>
                    </a:ext>
                  </a:extLst>
                </p:cNvPr>
                <p:cNvPicPr/>
                <p:nvPr/>
              </p:nvPicPr>
              <p:blipFill>
                <a:blip r:embed="rId139"/>
                <a:stretch>
                  <a:fillRect/>
                </a:stretch>
              </p:blipFill>
              <p:spPr>
                <a:xfrm>
                  <a:off x="9245261" y="2321852"/>
                  <a:ext cx="276120" cy="188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0">
              <p14:nvContentPartPr>
                <p14:cNvPr id="151" name="Ink 150">
                  <a:extLst>
                    <a:ext uri="{FF2B5EF4-FFF2-40B4-BE49-F238E27FC236}">
                      <a16:creationId xmlns:a16="http://schemas.microsoft.com/office/drawing/2014/main" id="{D1A7E8BC-D7F6-44ED-5F82-5A6A9DCFA2C7}"/>
                    </a:ext>
                  </a:extLst>
                </p14:cNvPr>
                <p14:cNvContentPartPr/>
                <p14:nvPr/>
              </p14:nvContentPartPr>
              <p14:xfrm>
                <a:off x="9578261" y="2331932"/>
                <a:ext cx="39960" cy="60840"/>
              </p14:xfrm>
            </p:contentPart>
          </mc:Choice>
          <mc:Fallback>
            <p:pic>
              <p:nvPicPr>
                <p:cNvPr id="151" name="Ink 150">
                  <a:extLst>
                    <a:ext uri="{FF2B5EF4-FFF2-40B4-BE49-F238E27FC236}">
                      <a16:creationId xmlns:a16="http://schemas.microsoft.com/office/drawing/2014/main" id="{D1A7E8BC-D7F6-44ED-5F82-5A6A9DCFA2C7}"/>
                    </a:ext>
                  </a:extLst>
                </p:cNvPr>
                <p:cNvPicPr/>
                <p:nvPr/>
              </p:nvPicPr>
              <p:blipFill>
                <a:blip r:embed="rId141"/>
                <a:stretch>
                  <a:fillRect/>
                </a:stretch>
              </p:blipFill>
              <p:spPr>
                <a:xfrm>
                  <a:off x="9563141" y="2316812"/>
                  <a:ext cx="70200" cy="914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C9162E84-53A9-8CA6-F146-C324A665CCD8}"/>
              </a:ext>
            </a:extLst>
          </p:cNvPr>
          <p:cNvGrpSpPr/>
          <p:nvPr/>
        </p:nvGrpSpPr>
        <p:grpSpPr>
          <a:xfrm>
            <a:off x="9765821" y="2014772"/>
            <a:ext cx="791640" cy="483840"/>
            <a:chOff x="9765821" y="2014772"/>
            <a:chExt cx="791640" cy="4838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42">
              <p14:nvContentPartPr>
                <p14:cNvPr id="152" name="Ink 151">
                  <a:extLst>
                    <a:ext uri="{FF2B5EF4-FFF2-40B4-BE49-F238E27FC236}">
                      <a16:creationId xmlns:a16="http://schemas.microsoft.com/office/drawing/2014/main" id="{2F865157-E33C-B711-6F88-D19B9F3B1474}"/>
                    </a:ext>
                  </a:extLst>
                </p14:cNvPr>
                <p14:cNvContentPartPr/>
                <p14:nvPr/>
              </p14:nvContentPartPr>
              <p14:xfrm>
                <a:off x="9765821" y="2220692"/>
                <a:ext cx="95040" cy="277920"/>
              </p14:xfrm>
            </p:contentPart>
          </mc:Choice>
          <mc:Fallback>
            <p:pic>
              <p:nvPicPr>
                <p:cNvPr id="152" name="Ink 151">
                  <a:extLst>
                    <a:ext uri="{FF2B5EF4-FFF2-40B4-BE49-F238E27FC236}">
                      <a16:creationId xmlns:a16="http://schemas.microsoft.com/office/drawing/2014/main" id="{2F865157-E33C-B711-6F88-D19B9F3B1474}"/>
                    </a:ext>
                  </a:extLst>
                </p:cNvPr>
                <p:cNvPicPr/>
                <p:nvPr/>
              </p:nvPicPr>
              <p:blipFill>
                <a:blip r:embed="rId143"/>
                <a:stretch>
                  <a:fillRect/>
                </a:stretch>
              </p:blipFill>
              <p:spPr>
                <a:xfrm>
                  <a:off x="9750341" y="2205572"/>
                  <a:ext cx="125280" cy="308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4">
              <p14:nvContentPartPr>
                <p14:cNvPr id="153" name="Ink 152">
                  <a:extLst>
                    <a:ext uri="{FF2B5EF4-FFF2-40B4-BE49-F238E27FC236}">
                      <a16:creationId xmlns:a16="http://schemas.microsoft.com/office/drawing/2014/main" id="{E10C917F-8011-D0C5-CBA5-A1C2C80E70B7}"/>
                    </a:ext>
                  </a:extLst>
                </p14:cNvPr>
                <p14:cNvContentPartPr/>
                <p14:nvPr/>
              </p14:nvContentPartPr>
              <p14:xfrm>
                <a:off x="9889661" y="2201252"/>
                <a:ext cx="72360" cy="81000"/>
              </p14:xfrm>
            </p:contentPart>
          </mc:Choice>
          <mc:Fallback>
            <p:pic>
              <p:nvPicPr>
                <p:cNvPr id="153" name="Ink 152">
                  <a:extLst>
                    <a:ext uri="{FF2B5EF4-FFF2-40B4-BE49-F238E27FC236}">
                      <a16:creationId xmlns:a16="http://schemas.microsoft.com/office/drawing/2014/main" id="{E10C917F-8011-D0C5-CBA5-A1C2C80E70B7}"/>
                    </a:ext>
                  </a:extLst>
                </p:cNvPr>
                <p:cNvPicPr/>
                <p:nvPr/>
              </p:nvPicPr>
              <p:blipFill>
                <a:blip r:embed="rId145"/>
                <a:stretch>
                  <a:fillRect/>
                </a:stretch>
              </p:blipFill>
              <p:spPr>
                <a:xfrm>
                  <a:off x="9874541" y="2186132"/>
                  <a:ext cx="102600" cy="111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6">
              <p14:nvContentPartPr>
                <p14:cNvPr id="154" name="Ink 153">
                  <a:extLst>
                    <a:ext uri="{FF2B5EF4-FFF2-40B4-BE49-F238E27FC236}">
                      <a16:creationId xmlns:a16="http://schemas.microsoft.com/office/drawing/2014/main" id="{B1090A98-3C15-992C-E23D-F27BA833FB06}"/>
                    </a:ext>
                  </a:extLst>
                </p14:cNvPr>
                <p14:cNvContentPartPr/>
                <p14:nvPr/>
              </p14:nvContentPartPr>
              <p14:xfrm>
                <a:off x="10035821" y="2138612"/>
                <a:ext cx="75960" cy="169200"/>
              </p14:xfrm>
            </p:contentPart>
          </mc:Choice>
          <mc:Fallback>
            <p:pic>
              <p:nvPicPr>
                <p:cNvPr id="154" name="Ink 153">
                  <a:extLst>
                    <a:ext uri="{FF2B5EF4-FFF2-40B4-BE49-F238E27FC236}">
                      <a16:creationId xmlns:a16="http://schemas.microsoft.com/office/drawing/2014/main" id="{B1090A98-3C15-992C-E23D-F27BA833FB06}"/>
                    </a:ext>
                  </a:extLst>
                </p:cNvPr>
                <p:cNvPicPr/>
                <p:nvPr/>
              </p:nvPicPr>
              <p:blipFill>
                <a:blip r:embed="rId147"/>
                <a:stretch>
                  <a:fillRect/>
                </a:stretch>
              </p:blipFill>
              <p:spPr>
                <a:xfrm>
                  <a:off x="10020341" y="2123492"/>
                  <a:ext cx="106200" cy="199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8">
              <p14:nvContentPartPr>
                <p14:cNvPr id="155" name="Ink 154">
                  <a:extLst>
                    <a:ext uri="{FF2B5EF4-FFF2-40B4-BE49-F238E27FC236}">
                      <a16:creationId xmlns:a16="http://schemas.microsoft.com/office/drawing/2014/main" id="{BBA87386-9C2B-D2A3-55CD-145141ADB024}"/>
                    </a:ext>
                  </a:extLst>
                </p14:cNvPr>
                <p14:cNvContentPartPr/>
                <p14:nvPr/>
              </p14:nvContentPartPr>
              <p14:xfrm>
                <a:off x="10131941" y="2153372"/>
                <a:ext cx="52560" cy="91800"/>
              </p14:xfrm>
            </p:contentPart>
          </mc:Choice>
          <mc:Fallback>
            <p:pic>
              <p:nvPicPr>
                <p:cNvPr id="155" name="Ink 154">
                  <a:extLst>
                    <a:ext uri="{FF2B5EF4-FFF2-40B4-BE49-F238E27FC236}">
                      <a16:creationId xmlns:a16="http://schemas.microsoft.com/office/drawing/2014/main" id="{BBA87386-9C2B-D2A3-55CD-145141ADB024}"/>
                    </a:ext>
                  </a:extLst>
                </p:cNvPr>
                <p:cNvPicPr/>
                <p:nvPr/>
              </p:nvPicPr>
              <p:blipFill>
                <a:blip r:embed="rId149"/>
                <a:stretch>
                  <a:fillRect/>
                </a:stretch>
              </p:blipFill>
              <p:spPr>
                <a:xfrm>
                  <a:off x="10116821" y="2137892"/>
                  <a:ext cx="82800" cy="122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0">
              <p14:nvContentPartPr>
                <p14:cNvPr id="156" name="Ink 155">
                  <a:extLst>
                    <a:ext uri="{FF2B5EF4-FFF2-40B4-BE49-F238E27FC236}">
                      <a16:creationId xmlns:a16="http://schemas.microsoft.com/office/drawing/2014/main" id="{F772E217-15F9-DCAB-908F-D8436066C827}"/>
                    </a:ext>
                  </a:extLst>
                </p14:cNvPr>
                <p14:cNvContentPartPr/>
                <p14:nvPr/>
              </p14:nvContentPartPr>
              <p14:xfrm>
                <a:off x="10104941" y="2046812"/>
                <a:ext cx="36000" cy="29160"/>
              </p14:xfrm>
            </p:contentPart>
          </mc:Choice>
          <mc:Fallback>
            <p:pic>
              <p:nvPicPr>
                <p:cNvPr id="156" name="Ink 155">
                  <a:extLst>
                    <a:ext uri="{FF2B5EF4-FFF2-40B4-BE49-F238E27FC236}">
                      <a16:creationId xmlns:a16="http://schemas.microsoft.com/office/drawing/2014/main" id="{F772E217-15F9-DCAB-908F-D8436066C827}"/>
                    </a:ext>
                  </a:extLst>
                </p:cNvPr>
                <p:cNvPicPr/>
                <p:nvPr/>
              </p:nvPicPr>
              <p:blipFill>
                <a:blip r:embed="rId151"/>
                <a:stretch>
                  <a:fillRect/>
                </a:stretch>
              </p:blipFill>
              <p:spPr>
                <a:xfrm>
                  <a:off x="10089461" y="2031692"/>
                  <a:ext cx="66600" cy="59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2">
              <p14:nvContentPartPr>
                <p14:cNvPr id="157" name="Ink 156">
                  <a:extLst>
                    <a:ext uri="{FF2B5EF4-FFF2-40B4-BE49-F238E27FC236}">
                      <a16:creationId xmlns:a16="http://schemas.microsoft.com/office/drawing/2014/main" id="{C7C737F3-0FC9-5024-809A-5899FC460417}"/>
                    </a:ext>
                  </a:extLst>
                </p14:cNvPr>
                <p14:cNvContentPartPr/>
                <p14:nvPr/>
              </p14:nvContentPartPr>
              <p14:xfrm>
                <a:off x="10194221" y="2038892"/>
                <a:ext cx="79560" cy="221400"/>
              </p14:xfrm>
            </p:contentPart>
          </mc:Choice>
          <mc:Fallback>
            <p:pic>
              <p:nvPicPr>
                <p:cNvPr id="157" name="Ink 156">
                  <a:extLst>
                    <a:ext uri="{FF2B5EF4-FFF2-40B4-BE49-F238E27FC236}">
                      <a16:creationId xmlns:a16="http://schemas.microsoft.com/office/drawing/2014/main" id="{C7C737F3-0FC9-5024-809A-5899FC460417}"/>
                    </a:ext>
                  </a:extLst>
                </p:cNvPr>
                <p:cNvPicPr/>
                <p:nvPr/>
              </p:nvPicPr>
              <p:blipFill>
                <a:blip r:embed="rId153"/>
                <a:stretch>
                  <a:fillRect/>
                </a:stretch>
              </p:blipFill>
              <p:spPr>
                <a:xfrm>
                  <a:off x="10179101" y="2023772"/>
                  <a:ext cx="110160" cy="252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4">
              <p14:nvContentPartPr>
                <p14:cNvPr id="158" name="Ink 157">
                  <a:extLst>
                    <a:ext uri="{FF2B5EF4-FFF2-40B4-BE49-F238E27FC236}">
                      <a16:creationId xmlns:a16="http://schemas.microsoft.com/office/drawing/2014/main" id="{C12B60CB-0A00-E1B1-F2C8-74238CC285DE}"/>
                    </a:ext>
                  </a:extLst>
                </p14:cNvPr>
                <p14:cNvContentPartPr/>
                <p14:nvPr/>
              </p14:nvContentPartPr>
              <p14:xfrm>
                <a:off x="10208261" y="2149412"/>
                <a:ext cx="157680" cy="84240"/>
              </p14:xfrm>
            </p:contentPart>
          </mc:Choice>
          <mc:Fallback>
            <p:pic>
              <p:nvPicPr>
                <p:cNvPr id="158" name="Ink 157">
                  <a:extLst>
                    <a:ext uri="{FF2B5EF4-FFF2-40B4-BE49-F238E27FC236}">
                      <a16:creationId xmlns:a16="http://schemas.microsoft.com/office/drawing/2014/main" id="{C12B60CB-0A00-E1B1-F2C8-74238CC285DE}"/>
                    </a:ext>
                  </a:extLst>
                </p:cNvPr>
                <p:cNvPicPr/>
                <p:nvPr/>
              </p:nvPicPr>
              <p:blipFill>
                <a:blip r:embed="rId155"/>
                <a:stretch>
                  <a:fillRect/>
                </a:stretch>
              </p:blipFill>
              <p:spPr>
                <a:xfrm>
                  <a:off x="10193141" y="2134292"/>
                  <a:ext cx="188280" cy="114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6">
              <p14:nvContentPartPr>
                <p14:cNvPr id="159" name="Ink 158">
                  <a:extLst>
                    <a:ext uri="{FF2B5EF4-FFF2-40B4-BE49-F238E27FC236}">
                      <a16:creationId xmlns:a16="http://schemas.microsoft.com/office/drawing/2014/main" id="{395821EE-3F4F-0701-6B66-F1594EC68999}"/>
                    </a:ext>
                  </a:extLst>
                </p14:cNvPr>
                <p14:cNvContentPartPr/>
                <p14:nvPr/>
              </p14:nvContentPartPr>
              <p14:xfrm>
                <a:off x="10305461" y="2058692"/>
                <a:ext cx="19440" cy="46080"/>
              </p14:xfrm>
            </p:contentPart>
          </mc:Choice>
          <mc:Fallback>
            <p:pic>
              <p:nvPicPr>
                <p:cNvPr id="159" name="Ink 158">
                  <a:extLst>
                    <a:ext uri="{FF2B5EF4-FFF2-40B4-BE49-F238E27FC236}">
                      <a16:creationId xmlns:a16="http://schemas.microsoft.com/office/drawing/2014/main" id="{395821EE-3F4F-0701-6B66-F1594EC68999}"/>
                    </a:ext>
                  </a:extLst>
                </p:cNvPr>
                <p:cNvPicPr/>
                <p:nvPr/>
              </p:nvPicPr>
              <p:blipFill>
                <a:blip r:embed="rId157"/>
                <a:stretch>
                  <a:fillRect/>
                </a:stretch>
              </p:blipFill>
              <p:spPr>
                <a:xfrm>
                  <a:off x="10290341" y="2043212"/>
                  <a:ext cx="49680" cy="76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8">
              <p14:nvContentPartPr>
                <p14:cNvPr id="160" name="Ink 159">
                  <a:extLst>
                    <a:ext uri="{FF2B5EF4-FFF2-40B4-BE49-F238E27FC236}">
                      <a16:creationId xmlns:a16="http://schemas.microsoft.com/office/drawing/2014/main" id="{328ED410-698F-F860-5EE9-BBD0582C7AA7}"/>
                    </a:ext>
                  </a:extLst>
                </p14:cNvPr>
                <p14:cNvContentPartPr/>
                <p14:nvPr/>
              </p14:nvContentPartPr>
              <p14:xfrm>
                <a:off x="10378901" y="2082812"/>
                <a:ext cx="44640" cy="76680"/>
              </p14:xfrm>
            </p:contentPart>
          </mc:Choice>
          <mc:Fallback>
            <p:pic>
              <p:nvPicPr>
                <p:cNvPr id="160" name="Ink 159">
                  <a:extLst>
                    <a:ext uri="{FF2B5EF4-FFF2-40B4-BE49-F238E27FC236}">
                      <a16:creationId xmlns:a16="http://schemas.microsoft.com/office/drawing/2014/main" id="{328ED410-698F-F860-5EE9-BBD0582C7AA7}"/>
                    </a:ext>
                  </a:extLst>
                </p:cNvPr>
                <p:cNvPicPr/>
                <p:nvPr/>
              </p:nvPicPr>
              <p:blipFill>
                <a:blip r:embed="rId159"/>
                <a:stretch>
                  <a:fillRect/>
                </a:stretch>
              </p:blipFill>
              <p:spPr>
                <a:xfrm>
                  <a:off x="10363421" y="2067332"/>
                  <a:ext cx="75240" cy="107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0">
              <p14:nvContentPartPr>
                <p14:cNvPr id="161" name="Ink 160">
                  <a:extLst>
                    <a:ext uri="{FF2B5EF4-FFF2-40B4-BE49-F238E27FC236}">
                      <a16:creationId xmlns:a16="http://schemas.microsoft.com/office/drawing/2014/main" id="{0552ECBB-62D7-F14A-9FE3-C7D661A91C06}"/>
                    </a:ext>
                  </a:extLst>
                </p14:cNvPr>
                <p14:cNvContentPartPr/>
                <p14:nvPr/>
              </p14:nvContentPartPr>
              <p14:xfrm>
                <a:off x="10472141" y="2014772"/>
                <a:ext cx="85320" cy="125640"/>
              </p14:xfrm>
            </p:contentPart>
          </mc:Choice>
          <mc:Fallback>
            <p:pic>
              <p:nvPicPr>
                <p:cNvPr id="161" name="Ink 160">
                  <a:extLst>
                    <a:ext uri="{FF2B5EF4-FFF2-40B4-BE49-F238E27FC236}">
                      <a16:creationId xmlns:a16="http://schemas.microsoft.com/office/drawing/2014/main" id="{0552ECBB-62D7-F14A-9FE3-C7D661A91C06}"/>
                    </a:ext>
                  </a:extLst>
                </p:cNvPr>
                <p:cNvPicPr/>
                <p:nvPr/>
              </p:nvPicPr>
              <p:blipFill>
                <a:blip r:embed="rId161"/>
                <a:stretch>
                  <a:fillRect/>
                </a:stretch>
              </p:blipFill>
              <p:spPr>
                <a:xfrm>
                  <a:off x="10457021" y="1999292"/>
                  <a:ext cx="115920" cy="15624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162">
            <p14:nvContentPartPr>
              <p14:cNvPr id="164" name="Ink 163">
                <a:extLst>
                  <a:ext uri="{FF2B5EF4-FFF2-40B4-BE49-F238E27FC236}">
                    <a16:creationId xmlns:a16="http://schemas.microsoft.com/office/drawing/2014/main" id="{14D346BE-08D4-F90A-C0F0-FA7885642BE4}"/>
                  </a:ext>
                </a:extLst>
              </p14:cNvPr>
              <p14:cNvContentPartPr/>
              <p14:nvPr/>
            </p14:nvContentPartPr>
            <p14:xfrm>
              <a:off x="6808061" y="3424172"/>
              <a:ext cx="104400" cy="10080"/>
            </p14:xfrm>
          </p:contentPart>
        </mc:Choice>
        <mc:Fallback>
          <p:pic>
            <p:nvPicPr>
              <p:cNvPr id="164" name="Ink 163">
                <a:extLst>
                  <a:ext uri="{FF2B5EF4-FFF2-40B4-BE49-F238E27FC236}">
                    <a16:creationId xmlns:a16="http://schemas.microsoft.com/office/drawing/2014/main" id="{14D346BE-08D4-F90A-C0F0-FA7885642BE4}"/>
                  </a:ext>
                </a:extLst>
              </p:cNvPr>
              <p:cNvPicPr/>
              <p:nvPr/>
            </p:nvPicPr>
            <p:blipFill>
              <a:blip r:embed="rId163"/>
              <a:stretch>
                <a:fillRect/>
              </a:stretch>
            </p:blipFill>
            <p:spPr>
              <a:xfrm>
                <a:off x="6792941" y="3409052"/>
                <a:ext cx="135000" cy="40680"/>
              </a:xfrm>
              <a:prstGeom prst="rect">
                <a:avLst/>
              </a:prstGeom>
            </p:spPr>
          </p:pic>
        </mc:Fallback>
      </mc:AlternateContent>
      <p:grpSp>
        <p:nvGrpSpPr>
          <p:cNvPr id="184" name="Group 183">
            <a:extLst>
              <a:ext uri="{FF2B5EF4-FFF2-40B4-BE49-F238E27FC236}">
                <a16:creationId xmlns:a16="http://schemas.microsoft.com/office/drawing/2014/main" id="{C8B7250D-616D-E014-1023-D503F8E7D0BD}"/>
              </a:ext>
            </a:extLst>
          </p:cNvPr>
          <p:cNvGrpSpPr/>
          <p:nvPr/>
        </p:nvGrpSpPr>
        <p:grpSpPr>
          <a:xfrm>
            <a:off x="8885621" y="2873012"/>
            <a:ext cx="930960" cy="275040"/>
            <a:chOff x="8885621" y="2873012"/>
            <a:chExt cx="930960" cy="2750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64">
              <p14:nvContentPartPr>
                <p14:cNvPr id="165" name="Ink 164">
                  <a:extLst>
                    <a:ext uri="{FF2B5EF4-FFF2-40B4-BE49-F238E27FC236}">
                      <a16:creationId xmlns:a16="http://schemas.microsoft.com/office/drawing/2014/main" id="{0D8C108D-2725-CF3A-367A-41DA8D82CE68}"/>
                    </a:ext>
                  </a:extLst>
                </p14:cNvPr>
                <p14:cNvContentPartPr/>
                <p14:nvPr/>
              </p14:nvContentPartPr>
              <p14:xfrm>
                <a:off x="8885621" y="3017012"/>
                <a:ext cx="151560" cy="24840"/>
              </p14:xfrm>
            </p:contentPart>
          </mc:Choice>
          <mc:Fallback>
            <p:pic>
              <p:nvPicPr>
                <p:cNvPr id="165" name="Ink 164">
                  <a:extLst>
                    <a:ext uri="{FF2B5EF4-FFF2-40B4-BE49-F238E27FC236}">
                      <a16:creationId xmlns:a16="http://schemas.microsoft.com/office/drawing/2014/main" id="{0D8C108D-2725-CF3A-367A-41DA8D82CE68}"/>
                    </a:ext>
                  </a:extLst>
                </p:cNvPr>
                <p:cNvPicPr/>
                <p:nvPr/>
              </p:nvPicPr>
              <p:blipFill>
                <a:blip r:embed="rId165"/>
                <a:stretch>
                  <a:fillRect/>
                </a:stretch>
              </p:blipFill>
              <p:spPr>
                <a:xfrm>
                  <a:off x="8870501" y="3001892"/>
                  <a:ext cx="182160" cy="55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6">
              <p14:nvContentPartPr>
                <p14:cNvPr id="177" name="Ink 176">
                  <a:extLst>
                    <a:ext uri="{FF2B5EF4-FFF2-40B4-BE49-F238E27FC236}">
                      <a16:creationId xmlns:a16="http://schemas.microsoft.com/office/drawing/2014/main" id="{E0616CBB-9F36-5F3A-233C-B5A9EF0A6AD7}"/>
                    </a:ext>
                  </a:extLst>
                </p14:cNvPr>
                <p14:cNvContentPartPr/>
                <p14:nvPr/>
              </p14:nvContentPartPr>
              <p14:xfrm>
                <a:off x="9211061" y="2873012"/>
                <a:ext cx="84960" cy="275040"/>
              </p14:xfrm>
            </p:contentPart>
          </mc:Choice>
          <mc:Fallback>
            <p:pic>
              <p:nvPicPr>
                <p:cNvPr id="177" name="Ink 176">
                  <a:extLst>
                    <a:ext uri="{FF2B5EF4-FFF2-40B4-BE49-F238E27FC236}">
                      <a16:creationId xmlns:a16="http://schemas.microsoft.com/office/drawing/2014/main" id="{E0616CBB-9F36-5F3A-233C-B5A9EF0A6AD7}"/>
                    </a:ext>
                  </a:extLst>
                </p:cNvPr>
                <p:cNvPicPr/>
                <p:nvPr/>
              </p:nvPicPr>
              <p:blipFill>
                <a:blip r:embed="rId167"/>
                <a:stretch>
                  <a:fillRect/>
                </a:stretch>
              </p:blipFill>
              <p:spPr>
                <a:xfrm>
                  <a:off x="9195941" y="2857892"/>
                  <a:ext cx="115560" cy="305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8">
              <p14:nvContentPartPr>
                <p14:cNvPr id="178" name="Ink 177">
                  <a:extLst>
                    <a:ext uri="{FF2B5EF4-FFF2-40B4-BE49-F238E27FC236}">
                      <a16:creationId xmlns:a16="http://schemas.microsoft.com/office/drawing/2014/main" id="{25E75072-EC7F-AAE3-A06D-E98D918DEC82}"/>
                    </a:ext>
                  </a:extLst>
                </p14:cNvPr>
                <p14:cNvContentPartPr/>
                <p14:nvPr/>
              </p14:nvContentPartPr>
              <p14:xfrm>
                <a:off x="9161741" y="3014492"/>
                <a:ext cx="146880" cy="45000"/>
              </p14:xfrm>
            </p:contentPart>
          </mc:Choice>
          <mc:Fallback>
            <p:pic>
              <p:nvPicPr>
                <p:cNvPr id="178" name="Ink 177">
                  <a:extLst>
                    <a:ext uri="{FF2B5EF4-FFF2-40B4-BE49-F238E27FC236}">
                      <a16:creationId xmlns:a16="http://schemas.microsoft.com/office/drawing/2014/main" id="{25E75072-EC7F-AAE3-A06D-E98D918DEC82}"/>
                    </a:ext>
                  </a:extLst>
                </p:cNvPr>
                <p:cNvPicPr/>
                <p:nvPr/>
              </p:nvPicPr>
              <p:blipFill>
                <a:blip r:embed="rId169"/>
                <a:stretch>
                  <a:fillRect/>
                </a:stretch>
              </p:blipFill>
              <p:spPr>
                <a:xfrm>
                  <a:off x="9146621" y="2999372"/>
                  <a:ext cx="177120" cy="75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70">
              <p14:nvContentPartPr>
                <p14:cNvPr id="179" name="Ink 178">
                  <a:extLst>
                    <a:ext uri="{FF2B5EF4-FFF2-40B4-BE49-F238E27FC236}">
                      <a16:creationId xmlns:a16="http://schemas.microsoft.com/office/drawing/2014/main" id="{5B7FCC04-2DC3-C2A9-CFC8-E142559073C2}"/>
                    </a:ext>
                  </a:extLst>
                </p14:cNvPr>
                <p14:cNvContentPartPr/>
                <p14:nvPr/>
              </p14:nvContentPartPr>
              <p14:xfrm>
                <a:off x="9342101" y="2965532"/>
                <a:ext cx="112680" cy="134280"/>
              </p14:xfrm>
            </p:contentPart>
          </mc:Choice>
          <mc:Fallback>
            <p:pic>
              <p:nvPicPr>
                <p:cNvPr id="179" name="Ink 178">
                  <a:extLst>
                    <a:ext uri="{FF2B5EF4-FFF2-40B4-BE49-F238E27FC236}">
                      <a16:creationId xmlns:a16="http://schemas.microsoft.com/office/drawing/2014/main" id="{5B7FCC04-2DC3-C2A9-CFC8-E142559073C2}"/>
                    </a:ext>
                  </a:extLst>
                </p:cNvPr>
                <p:cNvPicPr/>
                <p:nvPr/>
              </p:nvPicPr>
              <p:blipFill>
                <a:blip r:embed="rId171"/>
                <a:stretch>
                  <a:fillRect/>
                </a:stretch>
              </p:blipFill>
              <p:spPr>
                <a:xfrm>
                  <a:off x="9326621" y="2950412"/>
                  <a:ext cx="143280" cy="164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72">
              <p14:nvContentPartPr>
                <p14:cNvPr id="181" name="Ink 180">
                  <a:extLst>
                    <a:ext uri="{FF2B5EF4-FFF2-40B4-BE49-F238E27FC236}">
                      <a16:creationId xmlns:a16="http://schemas.microsoft.com/office/drawing/2014/main" id="{267742DE-E367-0B2B-3A58-5822158B2958}"/>
                    </a:ext>
                  </a:extLst>
                </p14:cNvPr>
                <p14:cNvContentPartPr/>
                <p14:nvPr/>
              </p14:nvContentPartPr>
              <p14:xfrm>
                <a:off x="9476021" y="2875532"/>
                <a:ext cx="54360" cy="243360"/>
              </p14:xfrm>
            </p:contentPart>
          </mc:Choice>
          <mc:Fallback>
            <p:pic>
              <p:nvPicPr>
                <p:cNvPr id="181" name="Ink 180">
                  <a:extLst>
                    <a:ext uri="{FF2B5EF4-FFF2-40B4-BE49-F238E27FC236}">
                      <a16:creationId xmlns:a16="http://schemas.microsoft.com/office/drawing/2014/main" id="{267742DE-E367-0B2B-3A58-5822158B2958}"/>
                    </a:ext>
                  </a:extLst>
                </p:cNvPr>
                <p:cNvPicPr/>
                <p:nvPr/>
              </p:nvPicPr>
              <p:blipFill>
                <a:blip r:embed="rId173"/>
                <a:stretch>
                  <a:fillRect/>
                </a:stretch>
              </p:blipFill>
              <p:spPr>
                <a:xfrm>
                  <a:off x="9460541" y="2860412"/>
                  <a:ext cx="84960" cy="273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74">
              <p14:nvContentPartPr>
                <p14:cNvPr id="182" name="Ink 181">
                  <a:extLst>
                    <a:ext uri="{FF2B5EF4-FFF2-40B4-BE49-F238E27FC236}">
                      <a16:creationId xmlns:a16="http://schemas.microsoft.com/office/drawing/2014/main" id="{88B0058C-FD0C-1806-C3C6-B4B94C6A5849}"/>
                    </a:ext>
                  </a:extLst>
                </p14:cNvPr>
                <p14:cNvContentPartPr/>
                <p14:nvPr/>
              </p14:nvContentPartPr>
              <p14:xfrm>
                <a:off x="9558821" y="2933492"/>
                <a:ext cx="88200" cy="129600"/>
              </p14:xfrm>
            </p:contentPart>
          </mc:Choice>
          <mc:Fallback>
            <p:pic>
              <p:nvPicPr>
                <p:cNvPr id="182" name="Ink 181">
                  <a:extLst>
                    <a:ext uri="{FF2B5EF4-FFF2-40B4-BE49-F238E27FC236}">
                      <a16:creationId xmlns:a16="http://schemas.microsoft.com/office/drawing/2014/main" id="{88B0058C-FD0C-1806-C3C6-B4B94C6A5849}"/>
                    </a:ext>
                  </a:extLst>
                </p:cNvPr>
                <p:cNvPicPr/>
                <p:nvPr/>
              </p:nvPicPr>
              <p:blipFill>
                <a:blip r:embed="rId175"/>
                <a:stretch>
                  <a:fillRect/>
                </a:stretch>
              </p:blipFill>
              <p:spPr>
                <a:xfrm>
                  <a:off x="9543341" y="2918372"/>
                  <a:ext cx="118440" cy="159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76">
              <p14:nvContentPartPr>
                <p14:cNvPr id="183" name="Ink 182">
                  <a:extLst>
                    <a:ext uri="{FF2B5EF4-FFF2-40B4-BE49-F238E27FC236}">
                      <a16:creationId xmlns:a16="http://schemas.microsoft.com/office/drawing/2014/main" id="{A2D7562B-58D6-B41B-A1DB-157D6B0CAF98}"/>
                    </a:ext>
                  </a:extLst>
                </p14:cNvPr>
                <p14:cNvContentPartPr/>
                <p14:nvPr/>
              </p14:nvContentPartPr>
              <p14:xfrm>
                <a:off x="9701381" y="2965172"/>
                <a:ext cx="115200" cy="108000"/>
              </p14:xfrm>
            </p:contentPart>
          </mc:Choice>
          <mc:Fallback>
            <p:pic>
              <p:nvPicPr>
                <p:cNvPr id="183" name="Ink 182">
                  <a:extLst>
                    <a:ext uri="{FF2B5EF4-FFF2-40B4-BE49-F238E27FC236}">
                      <a16:creationId xmlns:a16="http://schemas.microsoft.com/office/drawing/2014/main" id="{A2D7562B-58D6-B41B-A1DB-157D6B0CAF98}"/>
                    </a:ext>
                  </a:extLst>
                </p:cNvPr>
                <p:cNvPicPr/>
                <p:nvPr/>
              </p:nvPicPr>
              <p:blipFill>
                <a:blip r:embed="rId177"/>
                <a:stretch>
                  <a:fillRect/>
                </a:stretch>
              </p:blipFill>
              <p:spPr>
                <a:xfrm>
                  <a:off x="9685901" y="2950052"/>
                  <a:ext cx="145440" cy="1386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95" name="Group 194">
            <a:extLst>
              <a:ext uri="{FF2B5EF4-FFF2-40B4-BE49-F238E27FC236}">
                <a16:creationId xmlns:a16="http://schemas.microsoft.com/office/drawing/2014/main" id="{8CFE9AE3-EA40-A4F2-AFFA-229A7C3ECB2D}"/>
              </a:ext>
            </a:extLst>
          </p:cNvPr>
          <p:cNvGrpSpPr/>
          <p:nvPr/>
        </p:nvGrpSpPr>
        <p:grpSpPr>
          <a:xfrm>
            <a:off x="9981461" y="2494652"/>
            <a:ext cx="1119600" cy="493920"/>
            <a:chOff x="9981461" y="2494652"/>
            <a:chExt cx="1119600" cy="4939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78">
              <p14:nvContentPartPr>
                <p14:cNvPr id="185" name="Ink 184">
                  <a:extLst>
                    <a:ext uri="{FF2B5EF4-FFF2-40B4-BE49-F238E27FC236}">
                      <a16:creationId xmlns:a16="http://schemas.microsoft.com/office/drawing/2014/main" id="{EB7AF822-08D6-28C3-ED89-18BE42B3E710}"/>
                    </a:ext>
                  </a:extLst>
                </p14:cNvPr>
                <p14:cNvContentPartPr/>
                <p14:nvPr/>
              </p14:nvContentPartPr>
              <p14:xfrm>
                <a:off x="9990821" y="2808572"/>
                <a:ext cx="31680" cy="180000"/>
              </p14:xfrm>
            </p:contentPart>
          </mc:Choice>
          <mc:Fallback>
            <p:pic>
              <p:nvPicPr>
                <p:cNvPr id="185" name="Ink 184">
                  <a:extLst>
                    <a:ext uri="{FF2B5EF4-FFF2-40B4-BE49-F238E27FC236}">
                      <a16:creationId xmlns:a16="http://schemas.microsoft.com/office/drawing/2014/main" id="{EB7AF822-08D6-28C3-ED89-18BE42B3E710}"/>
                    </a:ext>
                  </a:extLst>
                </p:cNvPr>
                <p:cNvPicPr/>
                <p:nvPr/>
              </p:nvPicPr>
              <p:blipFill>
                <a:blip r:embed="rId179"/>
                <a:stretch>
                  <a:fillRect/>
                </a:stretch>
              </p:blipFill>
              <p:spPr>
                <a:xfrm>
                  <a:off x="9975701" y="2793452"/>
                  <a:ext cx="62280" cy="210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80">
              <p14:nvContentPartPr>
                <p14:cNvPr id="186" name="Ink 185">
                  <a:extLst>
                    <a:ext uri="{FF2B5EF4-FFF2-40B4-BE49-F238E27FC236}">
                      <a16:creationId xmlns:a16="http://schemas.microsoft.com/office/drawing/2014/main" id="{FBC9F644-70FA-A880-58F5-ECA0F51DC08C}"/>
                    </a:ext>
                  </a:extLst>
                </p14:cNvPr>
                <p14:cNvContentPartPr/>
                <p14:nvPr/>
              </p14:nvContentPartPr>
              <p14:xfrm>
                <a:off x="9981461" y="2815772"/>
                <a:ext cx="178200" cy="146520"/>
              </p14:xfrm>
            </p:contentPart>
          </mc:Choice>
          <mc:Fallback>
            <p:pic>
              <p:nvPicPr>
                <p:cNvPr id="186" name="Ink 185">
                  <a:extLst>
                    <a:ext uri="{FF2B5EF4-FFF2-40B4-BE49-F238E27FC236}">
                      <a16:creationId xmlns:a16="http://schemas.microsoft.com/office/drawing/2014/main" id="{FBC9F644-70FA-A880-58F5-ECA0F51DC08C}"/>
                    </a:ext>
                  </a:extLst>
                </p:cNvPr>
                <p:cNvPicPr/>
                <p:nvPr/>
              </p:nvPicPr>
              <p:blipFill>
                <a:blip r:embed="rId181"/>
                <a:stretch>
                  <a:fillRect/>
                </a:stretch>
              </p:blipFill>
              <p:spPr>
                <a:xfrm>
                  <a:off x="9965981" y="2800652"/>
                  <a:ext cx="208800" cy="177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82">
              <p14:nvContentPartPr>
                <p14:cNvPr id="187" name="Ink 186">
                  <a:extLst>
                    <a:ext uri="{FF2B5EF4-FFF2-40B4-BE49-F238E27FC236}">
                      <a16:creationId xmlns:a16="http://schemas.microsoft.com/office/drawing/2014/main" id="{28B67532-8F04-200E-A337-124BA4247EB7}"/>
                    </a:ext>
                  </a:extLst>
                </p14:cNvPr>
                <p14:cNvContentPartPr/>
                <p14:nvPr/>
              </p14:nvContentPartPr>
              <p14:xfrm>
                <a:off x="10245701" y="2741612"/>
                <a:ext cx="256320" cy="236520"/>
              </p14:xfrm>
            </p:contentPart>
          </mc:Choice>
          <mc:Fallback>
            <p:pic>
              <p:nvPicPr>
                <p:cNvPr id="187" name="Ink 186">
                  <a:extLst>
                    <a:ext uri="{FF2B5EF4-FFF2-40B4-BE49-F238E27FC236}">
                      <a16:creationId xmlns:a16="http://schemas.microsoft.com/office/drawing/2014/main" id="{28B67532-8F04-200E-A337-124BA4247EB7}"/>
                    </a:ext>
                  </a:extLst>
                </p:cNvPr>
                <p:cNvPicPr/>
                <p:nvPr/>
              </p:nvPicPr>
              <p:blipFill>
                <a:blip r:embed="rId183"/>
                <a:stretch>
                  <a:fillRect/>
                </a:stretch>
              </p:blipFill>
              <p:spPr>
                <a:xfrm>
                  <a:off x="10230221" y="2726492"/>
                  <a:ext cx="286920" cy="267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84">
              <p14:nvContentPartPr>
                <p14:cNvPr id="188" name="Ink 187">
                  <a:extLst>
                    <a:ext uri="{FF2B5EF4-FFF2-40B4-BE49-F238E27FC236}">
                      <a16:creationId xmlns:a16="http://schemas.microsoft.com/office/drawing/2014/main" id="{DE87F231-51FA-1892-1C9D-20E6A6749383}"/>
                    </a:ext>
                  </a:extLst>
                </p14:cNvPr>
                <p14:cNvContentPartPr/>
                <p14:nvPr/>
              </p14:nvContentPartPr>
              <p14:xfrm>
                <a:off x="10520741" y="2720372"/>
                <a:ext cx="102960" cy="105120"/>
              </p14:xfrm>
            </p:contentPart>
          </mc:Choice>
          <mc:Fallback>
            <p:pic>
              <p:nvPicPr>
                <p:cNvPr id="188" name="Ink 187">
                  <a:extLst>
                    <a:ext uri="{FF2B5EF4-FFF2-40B4-BE49-F238E27FC236}">
                      <a16:creationId xmlns:a16="http://schemas.microsoft.com/office/drawing/2014/main" id="{DE87F231-51FA-1892-1C9D-20E6A6749383}"/>
                    </a:ext>
                  </a:extLst>
                </p:cNvPr>
                <p:cNvPicPr/>
                <p:nvPr/>
              </p:nvPicPr>
              <p:blipFill>
                <a:blip r:embed="rId185"/>
                <a:stretch>
                  <a:fillRect/>
                </a:stretch>
              </p:blipFill>
              <p:spPr>
                <a:xfrm>
                  <a:off x="10505261" y="2705252"/>
                  <a:ext cx="133560" cy="135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86">
              <p14:nvContentPartPr>
                <p14:cNvPr id="189" name="Ink 188">
                  <a:extLst>
                    <a:ext uri="{FF2B5EF4-FFF2-40B4-BE49-F238E27FC236}">
                      <a16:creationId xmlns:a16="http://schemas.microsoft.com/office/drawing/2014/main" id="{7DD3B39D-D6A0-BC8D-09F4-DCBA4FC4BC0D}"/>
                    </a:ext>
                  </a:extLst>
                </p14:cNvPr>
                <p14:cNvContentPartPr/>
                <p14:nvPr/>
              </p14:nvContentPartPr>
              <p14:xfrm>
                <a:off x="10661861" y="2587892"/>
                <a:ext cx="63360" cy="150840"/>
              </p14:xfrm>
            </p:contentPart>
          </mc:Choice>
          <mc:Fallback>
            <p:pic>
              <p:nvPicPr>
                <p:cNvPr id="189" name="Ink 188">
                  <a:extLst>
                    <a:ext uri="{FF2B5EF4-FFF2-40B4-BE49-F238E27FC236}">
                      <a16:creationId xmlns:a16="http://schemas.microsoft.com/office/drawing/2014/main" id="{7DD3B39D-D6A0-BC8D-09F4-DCBA4FC4BC0D}"/>
                    </a:ext>
                  </a:extLst>
                </p:cNvPr>
                <p:cNvPicPr/>
                <p:nvPr/>
              </p:nvPicPr>
              <p:blipFill>
                <a:blip r:embed="rId187"/>
                <a:stretch>
                  <a:fillRect/>
                </a:stretch>
              </p:blipFill>
              <p:spPr>
                <a:xfrm>
                  <a:off x="10646741" y="2572772"/>
                  <a:ext cx="93600" cy="181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88">
              <p14:nvContentPartPr>
                <p14:cNvPr id="190" name="Ink 189">
                  <a:extLst>
                    <a:ext uri="{FF2B5EF4-FFF2-40B4-BE49-F238E27FC236}">
                      <a16:creationId xmlns:a16="http://schemas.microsoft.com/office/drawing/2014/main" id="{3ED37539-D397-E7E9-75C8-624B1067009F}"/>
                    </a:ext>
                  </a:extLst>
                </p14:cNvPr>
                <p14:cNvContentPartPr/>
                <p14:nvPr/>
              </p14:nvContentPartPr>
              <p14:xfrm>
                <a:off x="10631621" y="2646572"/>
                <a:ext cx="237600" cy="90720"/>
              </p14:xfrm>
            </p:contentPart>
          </mc:Choice>
          <mc:Fallback>
            <p:pic>
              <p:nvPicPr>
                <p:cNvPr id="190" name="Ink 189">
                  <a:extLst>
                    <a:ext uri="{FF2B5EF4-FFF2-40B4-BE49-F238E27FC236}">
                      <a16:creationId xmlns:a16="http://schemas.microsoft.com/office/drawing/2014/main" id="{3ED37539-D397-E7E9-75C8-624B1067009F}"/>
                    </a:ext>
                  </a:extLst>
                </p:cNvPr>
                <p:cNvPicPr/>
                <p:nvPr/>
              </p:nvPicPr>
              <p:blipFill>
                <a:blip r:embed="rId189"/>
                <a:stretch>
                  <a:fillRect/>
                </a:stretch>
              </p:blipFill>
              <p:spPr>
                <a:xfrm>
                  <a:off x="10616501" y="2631452"/>
                  <a:ext cx="268200" cy="120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90">
              <p14:nvContentPartPr>
                <p14:cNvPr id="191" name="Ink 190">
                  <a:extLst>
                    <a:ext uri="{FF2B5EF4-FFF2-40B4-BE49-F238E27FC236}">
                      <a16:creationId xmlns:a16="http://schemas.microsoft.com/office/drawing/2014/main" id="{21720365-91F0-C59B-95EB-FE0578911EA0}"/>
                    </a:ext>
                  </a:extLst>
                </p14:cNvPr>
                <p14:cNvContentPartPr/>
                <p14:nvPr/>
              </p14:nvContentPartPr>
              <p14:xfrm>
                <a:off x="10800821" y="2607692"/>
                <a:ext cx="59400" cy="74520"/>
              </p14:xfrm>
            </p:contentPart>
          </mc:Choice>
          <mc:Fallback>
            <p:pic>
              <p:nvPicPr>
                <p:cNvPr id="191" name="Ink 190">
                  <a:extLst>
                    <a:ext uri="{FF2B5EF4-FFF2-40B4-BE49-F238E27FC236}">
                      <a16:creationId xmlns:a16="http://schemas.microsoft.com/office/drawing/2014/main" id="{21720365-91F0-C59B-95EB-FE0578911EA0}"/>
                    </a:ext>
                  </a:extLst>
                </p:cNvPr>
                <p:cNvPicPr/>
                <p:nvPr/>
              </p:nvPicPr>
              <p:blipFill>
                <a:blip r:embed="rId191"/>
                <a:stretch>
                  <a:fillRect/>
                </a:stretch>
              </p:blipFill>
              <p:spPr>
                <a:xfrm>
                  <a:off x="10785701" y="2592212"/>
                  <a:ext cx="89640" cy="105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92">
              <p14:nvContentPartPr>
                <p14:cNvPr id="192" name="Ink 191">
                  <a:extLst>
                    <a:ext uri="{FF2B5EF4-FFF2-40B4-BE49-F238E27FC236}">
                      <a16:creationId xmlns:a16="http://schemas.microsoft.com/office/drawing/2014/main" id="{18949699-6BDA-01B7-7457-5DD2C6BB15C7}"/>
                    </a:ext>
                  </a:extLst>
                </p14:cNvPr>
                <p14:cNvContentPartPr/>
                <p14:nvPr/>
              </p14:nvContentPartPr>
              <p14:xfrm>
                <a:off x="10885781" y="2533892"/>
                <a:ext cx="96840" cy="136800"/>
              </p14:xfrm>
            </p:contentPart>
          </mc:Choice>
          <mc:Fallback>
            <p:pic>
              <p:nvPicPr>
                <p:cNvPr id="192" name="Ink 191">
                  <a:extLst>
                    <a:ext uri="{FF2B5EF4-FFF2-40B4-BE49-F238E27FC236}">
                      <a16:creationId xmlns:a16="http://schemas.microsoft.com/office/drawing/2014/main" id="{18949699-6BDA-01B7-7457-5DD2C6BB15C7}"/>
                    </a:ext>
                  </a:extLst>
                </p:cNvPr>
                <p:cNvPicPr/>
                <p:nvPr/>
              </p:nvPicPr>
              <p:blipFill>
                <a:blip r:embed="rId193"/>
                <a:stretch>
                  <a:fillRect/>
                </a:stretch>
              </p:blipFill>
              <p:spPr>
                <a:xfrm>
                  <a:off x="10870661" y="2518772"/>
                  <a:ext cx="127440" cy="167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94">
              <p14:nvContentPartPr>
                <p14:cNvPr id="193" name="Ink 192">
                  <a:extLst>
                    <a:ext uri="{FF2B5EF4-FFF2-40B4-BE49-F238E27FC236}">
                      <a16:creationId xmlns:a16="http://schemas.microsoft.com/office/drawing/2014/main" id="{08DC8CA3-6EBA-2C81-B6C5-B6AD0A7E6D8F}"/>
                    </a:ext>
                  </a:extLst>
                </p14:cNvPr>
                <p14:cNvContentPartPr/>
                <p14:nvPr/>
              </p14:nvContentPartPr>
              <p14:xfrm>
                <a:off x="11026541" y="2494652"/>
                <a:ext cx="74520" cy="118080"/>
              </p14:xfrm>
            </p:contentPart>
          </mc:Choice>
          <mc:Fallback>
            <p:pic>
              <p:nvPicPr>
                <p:cNvPr id="193" name="Ink 192">
                  <a:extLst>
                    <a:ext uri="{FF2B5EF4-FFF2-40B4-BE49-F238E27FC236}">
                      <a16:creationId xmlns:a16="http://schemas.microsoft.com/office/drawing/2014/main" id="{08DC8CA3-6EBA-2C81-B6C5-B6AD0A7E6D8F}"/>
                    </a:ext>
                  </a:extLst>
                </p:cNvPr>
                <p:cNvPicPr/>
                <p:nvPr/>
              </p:nvPicPr>
              <p:blipFill>
                <a:blip r:embed="rId195"/>
                <a:stretch>
                  <a:fillRect/>
                </a:stretch>
              </p:blipFill>
              <p:spPr>
                <a:xfrm>
                  <a:off x="11011061" y="2479532"/>
                  <a:ext cx="105120" cy="148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96">
              <p14:nvContentPartPr>
                <p14:cNvPr id="194" name="Ink 193">
                  <a:extLst>
                    <a:ext uri="{FF2B5EF4-FFF2-40B4-BE49-F238E27FC236}">
                      <a16:creationId xmlns:a16="http://schemas.microsoft.com/office/drawing/2014/main" id="{E96BD11E-812A-9646-7AD0-3BB9776882C4}"/>
                    </a:ext>
                  </a:extLst>
                </p14:cNvPr>
                <p14:cNvContentPartPr/>
                <p14:nvPr/>
              </p14:nvContentPartPr>
              <p14:xfrm>
                <a:off x="10732061" y="2533172"/>
                <a:ext cx="16560" cy="15480"/>
              </p14:xfrm>
            </p:contentPart>
          </mc:Choice>
          <mc:Fallback>
            <p:pic>
              <p:nvPicPr>
                <p:cNvPr id="194" name="Ink 193">
                  <a:extLst>
                    <a:ext uri="{FF2B5EF4-FFF2-40B4-BE49-F238E27FC236}">
                      <a16:creationId xmlns:a16="http://schemas.microsoft.com/office/drawing/2014/main" id="{E96BD11E-812A-9646-7AD0-3BB9776882C4}"/>
                    </a:ext>
                  </a:extLst>
                </p:cNvPr>
                <p:cNvPicPr/>
                <p:nvPr/>
              </p:nvPicPr>
              <p:blipFill>
                <a:blip r:embed="rId197"/>
                <a:stretch>
                  <a:fillRect/>
                </a:stretch>
              </p:blipFill>
              <p:spPr>
                <a:xfrm>
                  <a:off x="10716581" y="2518052"/>
                  <a:ext cx="47160" cy="460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13" name="Group 212">
            <a:extLst>
              <a:ext uri="{FF2B5EF4-FFF2-40B4-BE49-F238E27FC236}">
                <a16:creationId xmlns:a16="http://schemas.microsoft.com/office/drawing/2014/main" id="{42F3C8EB-8D47-A1E3-C102-449104BB22C6}"/>
              </a:ext>
            </a:extLst>
          </p:cNvPr>
          <p:cNvGrpSpPr/>
          <p:nvPr/>
        </p:nvGrpSpPr>
        <p:grpSpPr>
          <a:xfrm>
            <a:off x="10377821" y="3747452"/>
            <a:ext cx="939600" cy="267840"/>
            <a:chOff x="10377821" y="3747452"/>
            <a:chExt cx="939600" cy="2678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98">
              <p14:nvContentPartPr>
                <p14:cNvPr id="204" name="Ink 203">
                  <a:extLst>
                    <a:ext uri="{FF2B5EF4-FFF2-40B4-BE49-F238E27FC236}">
                      <a16:creationId xmlns:a16="http://schemas.microsoft.com/office/drawing/2014/main" id="{BC2B04E9-12DB-05EB-914F-A9E2EC6E4A0C}"/>
                    </a:ext>
                  </a:extLst>
                </p14:cNvPr>
                <p14:cNvContentPartPr/>
                <p14:nvPr/>
              </p14:nvContentPartPr>
              <p14:xfrm>
                <a:off x="10377821" y="3747452"/>
                <a:ext cx="103320" cy="207360"/>
              </p14:xfrm>
            </p:contentPart>
          </mc:Choice>
          <mc:Fallback>
            <p:pic>
              <p:nvPicPr>
                <p:cNvPr id="204" name="Ink 203">
                  <a:extLst>
                    <a:ext uri="{FF2B5EF4-FFF2-40B4-BE49-F238E27FC236}">
                      <a16:creationId xmlns:a16="http://schemas.microsoft.com/office/drawing/2014/main" id="{BC2B04E9-12DB-05EB-914F-A9E2EC6E4A0C}"/>
                    </a:ext>
                  </a:extLst>
                </p:cNvPr>
                <p:cNvPicPr/>
                <p:nvPr/>
              </p:nvPicPr>
              <p:blipFill>
                <a:blip r:embed="rId199"/>
                <a:stretch>
                  <a:fillRect/>
                </a:stretch>
              </p:blipFill>
              <p:spPr>
                <a:xfrm>
                  <a:off x="10362701" y="3731972"/>
                  <a:ext cx="133560" cy="237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00">
              <p14:nvContentPartPr>
                <p14:cNvPr id="205" name="Ink 204">
                  <a:extLst>
                    <a:ext uri="{FF2B5EF4-FFF2-40B4-BE49-F238E27FC236}">
                      <a16:creationId xmlns:a16="http://schemas.microsoft.com/office/drawing/2014/main" id="{49919270-D1EC-8017-930A-303E9ED240F4}"/>
                    </a:ext>
                  </a:extLst>
                </p14:cNvPr>
                <p14:cNvContentPartPr/>
                <p14:nvPr/>
              </p14:nvContentPartPr>
              <p14:xfrm>
                <a:off x="10471781" y="3832412"/>
                <a:ext cx="114120" cy="91080"/>
              </p14:xfrm>
            </p:contentPart>
          </mc:Choice>
          <mc:Fallback>
            <p:pic>
              <p:nvPicPr>
                <p:cNvPr id="205" name="Ink 204">
                  <a:extLst>
                    <a:ext uri="{FF2B5EF4-FFF2-40B4-BE49-F238E27FC236}">
                      <a16:creationId xmlns:a16="http://schemas.microsoft.com/office/drawing/2014/main" id="{49919270-D1EC-8017-930A-303E9ED240F4}"/>
                    </a:ext>
                  </a:extLst>
                </p:cNvPr>
                <p:cNvPicPr/>
                <p:nvPr/>
              </p:nvPicPr>
              <p:blipFill>
                <a:blip r:embed="rId201"/>
                <a:stretch>
                  <a:fillRect/>
                </a:stretch>
              </p:blipFill>
              <p:spPr>
                <a:xfrm>
                  <a:off x="10456661" y="3817292"/>
                  <a:ext cx="144720" cy="121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02">
              <p14:nvContentPartPr>
                <p14:cNvPr id="206" name="Ink 205">
                  <a:extLst>
                    <a:ext uri="{FF2B5EF4-FFF2-40B4-BE49-F238E27FC236}">
                      <a16:creationId xmlns:a16="http://schemas.microsoft.com/office/drawing/2014/main" id="{EEC2CB7D-7474-539C-619D-0F521E5BE24C}"/>
                    </a:ext>
                  </a:extLst>
                </p14:cNvPr>
                <p14:cNvContentPartPr/>
                <p14:nvPr/>
              </p14:nvContentPartPr>
              <p14:xfrm>
                <a:off x="10673021" y="3833492"/>
                <a:ext cx="81720" cy="181800"/>
              </p14:xfrm>
            </p:contentPart>
          </mc:Choice>
          <mc:Fallback>
            <p:pic>
              <p:nvPicPr>
                <p:cNvPr id="206" name="Ink 205">
                  <a:extLst>
                    <a:ext uri="{FF2B5EF4-FFF2-40B4-BE49-F238E27FC236}">
                      <a16:creationId xmlns:a16="http://schemas.microsoft.com/office/drawing/2014/main" id="{EEC2CB7D-7474-539C-619D-0F521E5BE24C}"/>
                    </a:ext>
                  </a:extLst>
                </p:cNvPr>
                <p:cNvPicPr/>
                <p:nvPr/>
              </p:nvPicPr>
              <p:blipFill>
                <a:blip r:embed="rId203"/>
                <a:stretch>
                  <a:fillRect/>
                </a:stretch>
              </p:blipFill>
              <p:spPr>
                <a:xfrm>
                  <a:off x="10657541" y="3818012"/>
                  <a:ext cx="112320" cy="212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04">
              <p14:nvContentPartPr>
                <p14:cNvPr id="207" name="Ink 206">
                  <a:extLst>
                    <a:ext uri="{FF2B5EF4-FFF2-40B4-BE49-F238E27FC236}">
                      <a16:creationId xmlns:a16="http://schemas.microsoft.com/office/drawing/2014/main" id="{78D096CE-5FEC-6C5A-51E0-90A1DA0BD698}"/>
                    </a:ext>
                  </a:extLst>
                </p14:cNvPr>
                <p14:cNvContentPartPr/>
                <p14:nvPr/>
              </p14:nvContentPartPr>
              <p14:xfrm>
                <a:off x="10811261" y="3859412"/>
                <a:ext cx="39240" cy="105120"/>
              </p14:xfrm>
            </p:contentPart>
          </mc:Choice>
          <mc:Fallback>
            <p:pic>
              <p:nvPicPr>
                <p:cNvPr id="207" name="Ink 206">
                  <a:extLst>
                    <a:ext uri="{FF2B5EF4-FFF2-40B4-BE49-F238E27FC236}">
                      <a16:creationId xmlns:a16="http://schemas.microsoft.com/office/drawing/2014/main" id="{78D096CE-5FEC-6C5A-51E0-90A1DA0BD698}"/>
                    </a:ext>
                  </a:extLst>
                </p:cNvPr>
                <p:cNvPicPr/>
                <p:nvPr/>
              </p:nvPicPr>
              <p:blipFill>
                <a:blip r:embed="rId205"/>
                <a:stretch>
                  <a:fillRect/>
                </a:stretch>
              </p:blipFill>
              <p:spPr>
                <a:xfrm>
                  <a:off x="10796141" y="3844292"/>
                  <a:ext cx="69840" cy="135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06">
              <p14:nvContentPartPr>
                <p14:cNvPr id="208" name="Ink 207">
                  <a:extLst>
                    <a:ext uri="{FF2B5EF4-FFF2-40B4-BE49-F238E27FC236}">
                      <a16:creationId xmlns:a16="http://schemas.microsoft.com/office/drawing/2014/main" id="{778EB064-CBC0-4ED9-15EC-E56123A8CBE5}"/>
                    </a:ext>
                  </a:extLst>
                </p14:cNvPr>
                <p14:cNvContentPartPr/>
                <p14:nvPr/>
              </p14:nvContentPartPr>
              <p14:xfrm>
                <a:off x="10821341" y="3791372"/>
                <a:ext cx="7200" cy="39960"/>
              </p14:xfrm>
            </p:contentPart>
          </mc:Choice>
          <mc:Fallback>
            <p:pic>
              <p:nvPicPr>
                <p:cNvPr id="208" name="Ink 207">
                  <a:extLst>
                    <a:ext uri="{FF2B5EF4-FFF2-40B4-BE49-F238E27FC236}">
                      <a16:creationId xmlns:a16="http://schemas.microsoft.com/office/drawing/2014/main" id="{778EB064-CBC0-4ED9-15EC-E56123A8CBE5}"/>
                    </a:ext>
                  </a:extLst>
                </p:cNvPr>
                <p:cNvPicPr/>
                <p:nvPr/>
              </p:nvPicPr>
              <p:blipFill>
                <a:blip r:embed="rId207"/>
                <a:stretch>
                  <a:fillRect/>
                </a:stretch>
              </p:blipFill>
              <p:spPr>
                <a:xfrm>
                  <a:off x="10806221" y="3775892"/>
                  <a:ext cx="37440" cy="70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08">
              <p14:nvContentPartPr>
                <p14:cNvPr id="209" name="Ink 208">
                  <a:extLst>
                    <a:ext uri="{FF2B5EF4-FFF2-40B4-BE49-F238E27FC236}">
                      <a16:creationId xmlns:a16="http://schemas.microsoft.com/office/drawing/2014/main" id="{AAE95CD8-3966-BEFF-F728-0C58AC54A28E}"/>
                    </a:ext>
                  </a:extLst>
                </p14:cNvPr>
                <p14:cNvContentPartPr/>
                <p14:nvPr/>
              </p14:nvContentPartPr>
              <p14:xfrm>
                <a:off x="10932581" y="3819452"/>
                <a:ext cx="54720" cy="183240"/>
              </p14:xfrm>
            </p:contentPart>
          </mc:Choice>
          <mc:Fallback>
            <p:pic>
              <p:nvPicPr>
                <p:cNvPr id="209" name="Ink 208">
                  <a:extLst>
                    <a:ext uri="{FF2B5EF4-FFF2-40B4-BE49-F238E27FC236}">
                      <a16:creationId xmlns:a16="http://schemas.microsoft.com/office/drawing/2014/main" id="{AAE95CD8-3966-BEFF-F728-0C58AC54A28E}"/>
                    </a:ext>
                  </a:extLst>
                </p:cNvPr>
                <p:cNvPicPr/>
                <p:nvPr/>
              </p:nvPicPr>
              <p:blipFill>
                <a:blip r:embed="rId209"/>
                <a:stretch>
                  <a:fillRect/>
                </a:stretch>
              </p:blipFill>
              <p:spPr>
                <a:xfrm>
                  <a:off x="10917461" y="3804332"/>
                  <a:ext cx="84960" cy="213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10">
              <p14:nvContentPartPr>
                <p14:cNvPr id="210" name="Ink 209">
                  <a:extLst>
                    <a:ext uri="{FF2B5EF4-FFF2-40B4-BE49-F238E27FC236}">
                      <a16:creationId xmlns:a16="http://schemas.microsoft.com/office/drawing/2014/main" id="{37ACA3E1-8405-28E1-C649-43B45FA8F7C8}"/>
                    </a:ext>
                  </a:extLst>
                </p14:cNvPr>
                <p14:cNvContentPartPr/>
                <p14:nvPr/>
              </p14:nvContentPartPr>
              <p14:xfrm>
                <a:off x="10898741" y="3906572"/>
                <a:ext cx="191520" cy="85680"/>
              </p14:xfrm>
            </p:contentPart>
          </mc:Choice>
          <mc:Fallback>
            <p:pic>
              <p:nvPicPr>
                <p:cNvPr id="210" name="Ink 209">
                  <a:extLst>
                    <a:ext uri="{FF2B5EF4-FFF2-40B4-BE49-F238E27FC236}">
                      <a16:creationId xmlns:a16="http://schemas.microsoft.com/office/drawing/2014/main" id="{37ACA3E1-8405-28E1-C649-43B45FA8F7C8}"/>
                    </a:ext>
                  </a:extLst>
                </p:cNvPr>
                <p:cNvPicPr/>
                <p:nvPr/>
              </p:nvPicPr>
              <p:blipFill>
                <a:blip r:embed="rId211"/>
                <a:stretch>
                  <a:fillRect/>
                </a:stretch>
              </p:blipFill>
              <p:spPr>
                <a:xfrm>
                  <a:off x="10883621" y="3891452"/>
                  <a:ext cx="222120" cy="116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12">
              <p14:nvContentPartPr>
                <p14:cNvPr id="211" name="Ink 210">
                  <a:extLst>
                    <a:ext uri="{FF2B5EF4-FFF2-40B4-BE49-F238E27FC236}">
                      <a16:creationId xmlns:a16="http://schemas.microsoft.com/office/drawing/2014/main" id="{1DB0B342-394B-69DE-9DB1-A0039EF91E7A}"/>
                    </a:ext>
                  </a:extLst>
                </p14:cNvPr>
                <p14:cNvContentPartPr/>
                <p14:nvPr/>
              </p14:nvContentPartPr>
              <p14:xfrm>
                <a:off x="11056781" y="3836012"/>
                <a:ext cx="3960" cy="75960"/>
              </p14:xfrm>
            </p:contentPart>
          </mc:Choice>
          <mc:Fallback>
            <p:pic>
              <p:nvPicPr>
                <p:cNvPr id="211" name="Ink 210">
                  <a:extLst>
                    <a:ext uri="{FF2B5EF4-FFF2-40B4-BE49-F238E27FC236}">
                      <a16:creationId xmlns:a16="http://schemas.microsoft.com/office/drawing/2014/main" id="{1DB0B342-394B-69DE-9DB1-A0039EF91E7A}"/>
                    </a:ext>
                  </a:extLst>
                </p:cNvPr>
                <p:cNvPicPr/>
                <p:nvPr/>
              </p:nvPicPr>
              <p:blipFill>
                <a:blip r:embed="rId213"/>
                <a:stretch>
                  <a:fillRect/>
                </a:stretch>
              </p:blipFill>
              <p:spPr>
                <a:xfrm>
                  <a:off x="11041661" y="3820892"/>
                  <a:ext cx="34200" cy="106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14">
              <p14:nvContentPartPr>
                <p14:cNvPr id="212" name="Ink 211">
                  <a:extLst>
                    <a:ext uri="{FF2B5EF4-FFF2-40B4-BE49-F238E27FC236}">
                      <a16:creationId xmlns:a16="http://schemas.microsoft.com/office/drawing/2014/main" id="{64A10FDC-E12C-6D53-BC30-4E1C56572A29}"/>
                    </a:ext>
                  </a:extLst>
                </p14:cNvPr>
                <p14:cNvContentPartPr/>
                <p14:nvPr/>
              </p14:nvContentPartPr>
              <p14:xfrm>
                <a:off x="11138501" y="3843212"/>
                <a:ext cx="178920" cy="105120"/>
              </p14:xfrm>
            </p:contentPart>
          </mc:Choice>
          <mc:Fallback>
            <p:pic>
              <p:nvPicPr>
                <p:cNvPr id="212" name="Ink 211">
                  <a:extLst>
                    <a:ext uri="{FF2B5EF4-FFF2-40B4-BE49-F238E27FC236}">
                      <a16:creationId xmlns:a16="http://schemas.microsoft.com/office/drawing/2014/main" id="{64A10FDC-E12C-6D53-BC30-4E1C56572A29}"/>
                    </a:ext>
                  </a:extLst>
                </p:cNvPr>
                <p:cNvPicPr/>
                <p:nvPr/>
              </p:nvPicPr>
              <p:blipFill>
                <a:blip r:embed="rId215"/>
                <a:stretch>
                  <a:fillRect/>
                </a:stretch>
              </p:blipFill>
              <p:spPr>
                <a:xfrm>
                  <a:off x="11123021" y="3827732"/>
                  <a:ext cx="209520" cy="13536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216">
            <p14:nvContentPartPr>
              <p14:cNvPr id="89" name="Ink 88">
                <a:extLst>
                  <a:ext uri="{FF2B5EF4-FFF2-40B4-BE49-F238E27FC236}">
                    <a16:creationId xmlns:a16="http://schemas.microsoft.com/office/drawing/2014/main" id="{D0E35A61-BE00-E238-27D5-AF83C3AA2708}"/>
                  </a:ext>
                </a:extLst>
              </p14:cNvPr>
              <p14:cNvContentPartPr/>
              <p14:nvPr/>
            </p14:nvContentPartPr>
            <p14:xfrm>
              <a:off x="6812741" y="3465932"/>
              <a:ext cx="118800" cy="33840"/>
            </p14:xfrm>
          </p:contentPart>
        </mc:Choice>
        <mc:Fallback>
          <p:pic>
            <p:nvPicPr>
              <p:cNvPr id="89" name="Ink 88">
                <a:extLst>
                  <a:ext uri="{FF2B5EF4-FFF2-40B4-BE49-F238E27FC236}">
                    <a16:creationId xmlns:a16="http://schemas.microsoft.com/office/drawing/2014/main" id="{D0E35A61-BE00-E238-27D5-AF83C3AA2708}"/>
                  </a:ext>
                </a:extLst>
              </p:cNvPr>
              <p:cNvPicPr/>
              <p:nvPr/>
            </p:nvPicPr>
            <p:blipFill>
              <a:blip r:embed="rId217"/>
              <a:stretch>
                <a:fillRect/>
              </a:stretch>
            </p:blipFill>
            <p:spPr>
              <a:xfrm>
                <a:off x="6797621" y="3450452"/>
                <a:ext cx="149400" cy="644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18">
            <p14:nvContentPartPr>
              <p14:cNvPr id="111" name="Ink 110">
                <a:extLst>
                  <a:ext uri="{FF2B5EF4-FFF2-40B4-BE49-F238E27FC236}">
                    <a16:creationId xmlns:a16="http://schemas.microsoft.com/office/drawing/2014/main" id="{0C1D3B4F-0087-E7F2-B244-57D37FC2392C}"/>
                  </a:ext>
                </a:extLst>
              </p14:cNvPr>
              <p14:cNvContentPartPr/>
              <p14:nvPr/>
            </p14:nvContentPartPr>
            <p14:xfrm>
              <a:off x="8307101" y="3772652"/>
              <a:ext cx="149400" cy="260640"/>
            </p14:xfrm>
          </p:contentPart>
        </mc:Choice>
        <mc:Fallback>
          <p:pic>
            <p:nvPicPr>
              <p:cNvPr id="111" name="Ink 110">
                <a:extLst>
                  <a:ext uri="{FF2B5EF4-FFF2-40B4-BE49-F238E27FC236}">
                    <a16:creationId xmlns:a16="http://schemas.microsoft.com/office/drawing/2014/main" id="{0C1D3B4F-0087-E7F2-B244-57D37FC2392C}"/>
                  </a:ext>
                </a:extLst>
              </p:cNvPr>
              <p:cNvPicPr/>
              <p:nvPr/>
            </p:nvPicPr>
            <p:blipFill>
              <a:blip r:embed="rId219"/>
              <a:stretch>
                <a:fillRect/>
              </a:stretch>
            </p:blipFill>
            <p:spPr>
              <a:xfrm>
                <a:off x="8291621" y="3757172"/>
                <a:ext cx="180000" cy="2912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20">
            <p14:nvContentPartPr>
              <p14:cNvPr id="112" name="Ink 111">
                <a:extLst>
                  <a:ext uri="{FF2B5EF4-FFF2-40B4-BE49-F238E27FC236}">
                    <a16:creationId xmlns:a16="http://schemas.microsoft.com/office/drawing/2014/main" id="{65B1F4EC-283C-988C-FF81-9EFE41277182}"/>
                  </a:ext>
                </a:extLst>
              </p14:cNvPr>
              <p14:cNvContentPartPr/>
              <p14:nvPr/>
            </p14:nvContentPartPr>
            <p14:xfrm>
              <a:off x="8628581" y="3829892"/>
              <a:ext cx="80280" cy="189360"/>
            </p14:xfrm>
          </p:contentPart>
        </mc:Choice>
        <mc:Fallback>
          <p:pic>
            <p:nvPicPr>
              <p:cNvPr id="112" name="Ink 111">
                <a:extLst>
                  <a:ext uri="{FF2B5EF4-FFF2-40B4-BE49-F238E27FC236}">
                    <a16:creationId xmlns:a16="http://schemas.microsoft.com/office/drawing/2014/main" id="{65B1F4EC-283C-988C-FF81-9EFE41277182}"/>
                  </a:ext>
                </a:extLst>
              </p:cNvPr>
              <p:cNvPicPr/>
              <p:nvPr/>
            </p:nvPicPr>
            <p:blipFill>
              <a:blip r:embed="rId221"/>
              <a:stretch>
                <a:fillRect/>
              </a:stretch>
            </p:blipFill>
            <p:spPr>
              <a:xfrm>
                <a:off x="8613101" y="3814772"/>
                <a:ext cx="110880" cy="2199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22">
            <p14:nvContentPartPr>
              <p14:cNvPr id="113" name="Ink 112">
                <a:extLst>
                  <a:ext uri="{FF2B5EF4-FFF2-40B4-BE49-F238E27FC236}">
                    <a16:creationId xmlns:a16="http://schemas.microsoft.com/office/drawing/2014/main" id="{E0341B9C-AB55-A483-7A25-C40A7979E44E}"/>
                  </a:ext>
                </a:extLst>
              </p14:cNvPr>
              <p14:cNvContentPartPr/>
              <p14:nvPr/>
            </p14:nvContentPartPr>
            <p14:xfrm>
              <a:off x="8590421" y="3896852"/>
              <a:ext cx="25200" cy="29880"/>
            </p14:xfrm>
          </p:contentPart>
        </mc:Choice>
        <mc:Fallback>
          <p:pic>
            <p:nvPicPr>
              <p:cNvPr id="113" name="Ink 112">
                <a:extLst>
                  <a:ext uri="{FF2B5EF4-FFF2-40B4-BE49-F238E27FC236}">
                    <a16:creationId xmlns:a16="http://schemas.microsoft.com/office/drawing/2014/main" id="{E0341B9C-AB55-A483-7A25-C40A7979E44E}"/>
                  </a:ext>
                </a:extLst>
              </p:cNvPr>
              <p:cNvPicPr/>
              <p:nvPr/>
            </p:nvPicPr>
            <p:blipFill>
              <a:blip r:embed="rId223"/>
              <a:stretch>
                <a:fillRect/>
              </a:stretch>
            </p:blipFill>
            <p:spPr>
              <a:xfrm>
                <a:off x="8575301" y="3881372"/>
                <a:ext cx="55800" cy="604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24">
            <p14:nvContentPartPr>
              <p14:cNvPr id="114" name="Ink 113">
                <a:extLst>
                  <a:ext uri="{FF2B5EF4-FFF2-40B4-BE49-F238E27FC236}">
                    <a16:creationId xmlns:a16="http://schemas.microsoft.com/office/drawing/2014/main" id="{BBF2F7E8-D3D0-466F-3A93-EEC5B8DB5778}"/>
                  </a:ext>
                </a:extLst>
              </p14:cNvPr>
              <p14:cNvContentPartPr/>
              <p14:nvPr/>
            </p14:nvContentPartPr>
            <p14:xfrm>
              <a:off x="8725781" y="3944012"/>
              <a:ext cx="28080" cy="16200"/>
            </p14:xfrm>
          </p:contentPart>
        </mc:Choice>
        <mc:Fallback>
          <p:pic>
            <p:nvPicPr>
              <p:cNvPr id="114" name="Ink 113">
                <a:extLst>
                  <a:ext uri="{FF2B5EF4-FFF2-40B4-BE49-F238E27FC236}">
                    <a16:creationId xmlns:a16="http://schemas.microsoft.com/office/drawing/2014/main" id="{BBF2F7E8-D3D0-466F-3A93-EEC5B8DB5778}"/>
                  </a:ext>
                </a:extLst>
              </p:cNvPr>
              <p:cNvPicPr/>
              <p:nvPr/>
            </p:nvPicPr>
            <p:blipFill>
              <a:blip r:embed="rId225"/>
              <a:stretch>
                <a:fillRect/>
              </a:stretch>
            </p:blipFill>
            <p:spPr>
              <a:xfrm>
                <a:off x="8710301" y="3928892"/>
                <a:ext cx="58320" cy="464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26">
            <p14:nvContentPartPr>
              <p14:cNvPr id="90" name="Ink 89">
                <a:extLst>
                  <a:ext uri="{FF2B5EF4-FFF2-40B4-BE49-F238E27FC236}">
                    <a16:creationId xmlns:a16="http://schemas.microsoft.com/office/drawing/2014/main" id="{F4EFED67-5DE1-1F44-E9C8-40679B804B7C}"/>
                  </a:ext>
                </a:extLst>
              </p14:cNvPr>
              <p14:cNvContentPartPr/>
              <p14:nvPr/>
            </p14:nvContentPartPr>
            <p14:xfrm>
              <a:off x="5407661" y="3769772"/>
              <a:ext cx="111600" cy="289800"/>
            </p14:xfrm>
          </p:contentPart>
        </mc:Choice>
        <mc:Fallback>
          <p:pic>
            <p:nvPicPr>
              <p:cNvPr id="90" name="Ink 89">
                <a:extLst>
                  <a:ext uri="{FF2B5EF4-FFF2-40B4-BE49-F238E27FC236}">
                    <a16:creationId xmlns:a16="http://schemas.microsoft.com/office/drawing/2014/main" id="{F4EFED67-5DE1-1F44-E9C8-40679B804B7C}"/>
                  </a:ext>
                </a:extLst>
              </p:cNvPr>
              <p:cNvPicPr/>
              <p:nvPr/>
            </p:nvPicPr>
            <p:blipFill>
              <a:blip r:embed="rId227"/>
              <a:stretch>
                <a:fillRect/>
              </a:stretch>
            </p:blipFill>
            <p:spPr>
              <a:xfrm>
                <a:off x="5392541" y="3754292"/>
                <a:ext cx="142200" cy="3204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28">
            <p14:nvContentPartPr>
              <p14:cNvPr id="91" name="Ink 90">
                <a:extLst>
                  <a:ext uri="{FF2B5EF4-FFF2-40B4-BE49-F238E27FC236}">
                    <a16:creationId xmlns:a16="http://schemas.microsoft.com/office/drawing/2014/main" id="{DFCAFD55-A2A9-B18E-FD50-D93BE3EA09FC}"/>
                  </a:ext>
                </a:extLst>
              </p14:cNvPr>
              <p14:cNvContentPartPr/>
              <p14:nvPr/>
            </p14:nvContentPartPr>
            <p14:xfrm>
              <a:off x="5566421" y="3771212"/>
              <a:ext cx="140400" cy="370440"/>
            </p14:xfrm>
          </p:contentPart>
        </mc:Choice>
        <mc:Fallback>
          <p:pic>
            <p:nvPicPr>
              <p:cNvPr id="91" name="Ink 90">
                <a:extLst>
                  <a:ext uri="{FF2B5EF4-FFF2-40B4-BE49-F238E27FC236}">
                    <a16:creationId xmlns:a16="http://schemas.microsoft.com/office/drawing/2014/main" id="{DFCAFD55-A2A9-B18E-FD50-D93BE3EA09FC}"/>
                  </a:ext>
                </a:extLst>
              </p:cNvPr>
              <p:cNvPicPr/>
              <p:nvPr/>
            </p:nvPicPr>
            <p:blipFill>
              <a:blip r:embed="rId229"/>
              <a:stretch>
                <a:fillRect/>
              </a:stretch>
            </p:blipFill>
            <p:spPr>
              <a:xfrm>
                <a:off x="5550941" y="3756092"/>
                <a:ext cx="171000" cy="4010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30">
            <p14:nvContentPartPr>
              <p14:cNvPr id="92" name="Ink 91">
                <a:extLst>
                  <a:ext uri="{FF2B5EF4-FFF2-40B4-BE49-F238E27FC236}">
                    <a16:creationId xmlns:a16="http://schemas.microsoft.com/office/drawing/2014/main" id="{CAC035F9-A235-1F59-7BE8-7496B1422CE4}"/>
                  </a:ext>
                </a:extLst>
              </p14:cNvPr>
              <p14:cNvContentPartPr/>
              <p14:nvPr/>
            </p14:nvContentPartPr>
            <p14:xfrm>
              <a:off x="5806181" y="3945812"/>
              <a:ext cx="146520" cy="13320"/>
            </p14:xfrm>
          </p:contentPart>
        </mc:Choice>
        <mc:Fallback>
          <p:pic>
            <p:nvPicPr>
              <p:cNvPr id="92" name="Ink 91">
                <a:extLst>
                  <a:ext uri="{FF2B5EF4-FFF2-40B4-BE49-F238E27FC236}">
                    <a16:creationId xmlns:a16="http://schemas.microsoft.com/office/drawing/2014/main" id="{CAC035F9-A235-1F59-7BE8-7496B1422CE4}"/>
                  </a:ext>
                </a:extLst>
              </p:cNvPr>
              <p:cNvPicPr/>
              <p:nvPr/>
            </p:nvPicPr>
            <p:blipFill>
              <a:blip r:embed="rId231"/>
              <a:stretch>
                <a:fillRect/>
              </a:stretch>
            </p:blipFill>
            <p:spPr>
              <a:xfrm>
                <a:off x="5791061" y="3930692"/>
                <a:ext cx="177120" cy="439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32">
            <p14:nvContentPartPr>
              <p14:cNvPr id="93" name="Ink 92">
                <a:extLst>
                  <a:ext uri="{FF2B5EF4-FFF2-40B4-BE49-F238E27FC236}">
                    <a16:creationId xmlns:a16="http://schemas.microsoft.com/office/drawing/2014/main" id="{F871C117-AC9C-1131-4F85-BE1AD4ABC1D2}"/>
                  </a:ext>
                </a:extLst>
              </p14:cNvPr>
              <p14:cNvContentPartPr/>
              <p14:nvPr/>
            </p14:nvContentPartPr>
            <p14:xfrm>
              <a:off x="5885021" y="3898292"/>
              <a:ext cx="29520" cy="211320"/>
            </p14:xfrm>
          </p:contentPart>
        </mc:Choice>
        <mc:Fallback>
          <p:pic>
            <p:nvPicPr>
              <p:cNvPr id="93" name="Ink 92">
                <a:extLst>
                  <a:ext uri="{FF2B5EF4-FFF2-40B4-BE49-F238E27FC236}">
                    <a16:creationId xmlns:a16="http://schemas.microsoft.com/office/drawing/2014/main" id="{F871C117-AC9C-1131-4F85-BE1AD4ABC1D2}"/>
                  </a:ext>
                </a:extLst>
              </p:cNvPr>
              <p:cNvPicPr/>
              <p:nvPr/>
            </p:nvPicPr>
            <p:blipFill>
              <a:blip r:embed="rId233"/>
              <a:stretch>
                <a:fillRect/>
              </a:stretch>
            </p:blipFill>
            <p:spPr>
              <a:xfrm>
                <a:off x="5869541" y="3883172"/>
                <a:ext cx="59760" cy="2419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34">
            <p14:nvContentPartPr>
              <p14:cNvPr id="94" name="Ink 93">
                <a:extLst>
                  <a:ext uri="{FF2B5EF4-FFF2-40B4-BE49-F238E27FC236}">
                    <a16:creationId xmlns:a16="http://schemas.microsoft.com/office/drawing/2014/main" id="{5F39D074-149B-2F57-E891-40691D865E71}"/>
                  </a:ext>
                </a:extLst>
              </p14:cNvPr>
              <p14:cNvContentPartPr/>
              <p14:nvPr/>
            </p14:nvContentPartPr>
            <p14:xfrm>
              <a:off x="6001661" y="3912332"/>
              <a:ext cx="113040" cy="115200"/>
            </p14:xfrm>
          </p:contentPart>
        </mc:Choice>
        <mc:Fallback>
          <p:pic>
            <p:nvPicPr>
              <p:cNvPr id="94" name="Ink 93">
                <a:extLst>
                  <a:ext uri="{FF2B5EF4-FFF2-40B4-BE49-F238E27FC236}">
                    <a16:creationId xmlns:a16="http://schemas.microsoft.com/office/drawing/2014/main" id="{5F39D074-149B-2F57-E891-40691D865E71}"/>
                  </a:ext>
                </a:extLst>
              </p:cNvPr>
              <p:cNvPicPr/>
              <p:nvPr/>
            </p:nvPicPr>
            <p:blipFill>
              <a:blip r:embed="rId235"/>
              <a:stretch>
                <a:fillRect/>
              </a:stretch>
            </p:blipFill>
            <p:spPr>
              <a:xfrm>
                <a:off x="5986181" y="3897212"/>
                <a:ext cx="143640" cy="1458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36">
            <p14:nvContentPartPr>
              <p14:cNvPr id="95" name="Ink 94">
                <a:extLst>
                  <a:ext uri="{FF2B5EF4-FFF2-40B4-BE49-F238E27FC236}">
                    <a16:creationId xmlns:a16="http://schemas.microsoft.com/office/drawing/2014/main" id="{32403B7D-9DB6-C427-9718-BBBB6D5A0E75}"/>
                  </a:ext>
                </a:extLst>
              </p14:cNvPr>
              <p14:cNvContentPartPr/>
              <p14:nvPr/>
            </p14:nvContentPartPr>
            <p14:xfrm>
              <a:off x="6211541" y="3887132"/>
              <a:ext cx="111240" cy="124560"/>
            </p14:xfrm>
          </p:contentPart>
        </mc:Choice>
        <mc:Fallback>
          <p:pic>
            <p:nvPicPr>
              <p:cNvPr id="95" name="Ink 94">
                <a:extLst>
                  <a:ext uri="{FF2B5EF4-FFF2-40B4-BE49-F238E27FC236}">
                    <a16:creationId xmlns:a16="http://schemas.microsoft.com/office/drawing/2014/main" id="{32403B7D-9DB6-C427-9718-BBBB6D5A0E75}"/>
                  </a:ext>
                </a:extLst>
              </p:cNvPr>
              <p:cNvPicPr/>
              <p:nvPr/>
            </p:nvPicPr>
            <p:blipFill>
              <a:blip r:embed="rId237"/>
              <a:stretch>
                <a:fillRect/>
              </a:stretch>
            </p:blipFill>
            <p:spPr>
              <a:xfrm>
                <a:off x="6196061" y="3872012"/>
                <a:ext cx="141480" cy="1551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38">
            <p14:nvContentPartPr>
              <p14:cNvPr id="96" name="Ink 95">
                <a:extLst>
                  <a:ext uri="{FF2B5EF4-FFF2-40B4-BE49-F238E27FC236}">
                    <a16:creationId xmlns:a16="http://schemas.microsoft.com/office/drawing/2014/main" id="{8947820B-409D-AAA1-4FB1-3B4FE24BF23E}"/>
                  </a:ext>
                </a:extLst>
              </p14:cNvPr>
              <p14:cNvContentPartPr/>
              <p14:nvPr/>
            </p14:nvContentPartPr>
            <p14:xfrm>
              <a:off x="6430781" y="3824852"/>
              <a:ext cx="18000" cy="254880"/>
            </p14:xfrm>
          </p:contentPart>
        </mc:Choice>
        <mc:Fallback>
          <p:pic>
            <p:nvPicPr>
              <p:cNvPr id="96" name="Ink 95">
                <a:extLst>
                  <a:ext uri="{FF2B5EF4-FFF2-40B4-BE49-F238E27FC236}">
                    <a16:creationId xmlns:a16="http://schemas.microsoft.com/office/drawing/2014/main" id="{8947820B-409D-AAA1-4FB1-3B4FE24BF23E}"/>
                  </a:ext>
                </a:extLst>
              </p:cNvPr>
              <p:cNvPicPr/>
              <p:nvPr/>
            </p:nvPicPr>
            <p:blipFill>
              <a:blip r:embed="rId239"/>
              <a:stretch>
                <a:fillRect/>
              </a:stretch>
            </p:blipFill>
            <p:spPr>
              <a:xfrm>
                <a:off x="6415661" y="3809372"/>
                <a:ext cx="48600" cy="2854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40">
            <p14:nvContentPartPr>
              <p14:cNvPr id="97" name="Ink 96">
                <a:extLst>
                  <a:ext uri="{FF2B5EF4-FFF2-40B4-BE49-F238E27FC236}">
                    <a16:creationId xmlns:a16="http://schemas.microsoft.com/office/drawing/2014/main" id="{2C888C5E-D88F-3B2A-E348-C3CF42B063F5}"/>
                  </a:ext>
                </a:extLst>
              </p14:cNvPr>
              <p14:cNvContentPartPr/>
              <p14:nvPr/>
            </p14:nvContentPartPr>
            <p14:xfrm>
              <a:off x="6572981" y="3842132"/>
              <a:ext cx="21960" cy="164520"/>
            </p14:xfrm>
          </p:contentPart>
        </mc:Choice>
        <mc:Fallback>
          <p:pic>
            <p:nvPicPr>
              <p:cNvPr id="97" name="Ink 96">
                <a:extLst>
                  <a:ext uri="{FF2B5EF4-FFF2-40B4-BE49-F238E27FC236}">
                    <a16:creationId xmlns:a16="http://schemas.microsoft.com/office/drawing/2014/main" id="{2C888C5E-D88F-3B2A-E348-C3CF42B063F5}"/>
                  </a:ext>
                </a:extLst>
              </p:cNvPr>
              <p:cNvPicPr/>
              <p:nvPr/>
            </p:nvPicPr>
            <p:blipFill>
              <a:blip r:embed="rId241"/>
              <a:stretch>
                <a:fillRect/>
              </a:stretch>
            </p:blipFill>
            <p:spPr>
              <a:xfrm>
                <a:off x="6557861" y="3827012"/>
                <a:ext cx="52200" cy="1947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42">
            <p14:nvContentPartPr>
              <p14:cNvPr id="98" name="Ink 97">
                <a:extLst>
                  <a:ext uri="{FF2B5EF4-FFF2-40B4-BE49-F238E27FC236}">
                    <a16:creationId xmlns:a16="http://schemas.microsoft.com/office/drawing/2014/main" id="{9577BBEA-A487-8647-89B2-F34AF47D449E}"/>
                  </a:ext>
                </a:extLst>
              </p14:cNvPr>
              <p14:cNvContentPartPr/>
              <p14:nvPr/>
            </p14:nvContentPartPr>
            <p14:xfrm>
              <a:off x="6592061" y="3841412"/>
              <a:ext cx="136080" cy="131040"/>
            </p14:xfrm>
          </p:contentPart>
        </mc:Choice>
        <mc:Fallback>
          <p:pic>
            <p:nvPicPr>
              <p:cNvPr id="98" name="Ink 97">
                <a:extLst>
                  <a:ext uri="{FF2B5EF4-FFF2-40B4-BE49-F238E27FC236}">
                    <a16:creationId xmlns:a16="http://schemas.microsoft.com/office/drawing/2014/main" id="{9577BBEA-A487-8647-89B2-F34AF47D449E}"/>
                  </a:ext>
                </a:extLst>
              </p:cNvPr>
              <p:cNvPicPr/>
              <p:nvPr/>
            </p:nvPicPr>
            <p:blipFill>
              <a:blip r:embed="rId243"/>
              <a:stretch>
                <a:fillRect/>
              </a:stretch>
            </p:blipFill>
            <p:spPr>
              <a:xfrm>
                <a:off x="6576581" y="3825932"/>
                <a:ext cx="166320" cy="1616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44">
            <p14:nvContentPartPr>
              <p14:cNvPr id="99" name="Ink 98">
                <a:extLst>
                  <a:ext uri="{FF2B5EF4-FFF2-40B4-BE49-F238E27FC236}">
                    <a16:creationId xmlns:a16="http://schemas.microsoft.com/office/drawing/2014/main" id="{304B5B18-08DE-D74B-DA36-1E0C13F151F7}"/>
                  </a:ext>
                </a:extLst>
              </p14:cNvPr>
              <p14:cNvContentPartPr/>
              <p14:nvPr/>
            </p14:nvContentPartPr>
            <p14:xfrm>
              <a:off x="6791141" y="3881372"/>
              <a:ext cx="76680" cy="95040"/>
            </p14:xfrm>
          </p:contentPart>
        </mc:Choice>
        <mc:Fallback>
          <p:pic>
            <p:nvPicPr>
              <p:cNvPr id="99" name="Ink 98">
                <a:extLst>
                  <a:ext uri="{FF2B5EF4-FFF2-40B4-BE49-F238E27FC236}">
                    <a16:creationId xmlns:a16="http://schemas.microsoft.com/office/drawing/2014/main" id="{304B5B18-08DE-D74B-DA36-1E0C13F151F7}"/>
                  </a:ext>
                </a:extLst>
              </p:cNvPr>
              <p:cNvPicPr/>
              <p:nvPr/>
            </p:nvPicPr>
            <p:blipFill>
              <a:blip r:embed="rId245"/>
              <a:stretch>
                <a:fillRect/>
              </a:stretch>
            </p:blipFill>
            <p:spPr>
              <a:xfrm>
                <a:off x="6775661" y="3866252"/>
                <a:ext cx="107280" cy="1252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46">
            <p14:nvContentPartPr>
              <p14:cNvPr id="100" name="Ink 99">
                <a:extLst>
                  <a:ext uri="{FF2B5EF4-FFF2-40B4-BE49-F238E27FC236}">
                    <a16:creationId xmlns:a16="http://schemas.microsoft.com/office/drawing/2014/main" id="{C8CB0852-B84E-AB98-16B7-335329A4B0AC}"/>
                  </a:ext>
                </a:extLst>
              </p14:cNvPr>
              <p14:cNvContentPartPr/>
              <p14:nvPr/>
            </p14:nvContentPartPr>
            <p14:xfrm>
              <a:off x="6872861" y="3877412"/>
              <a:ext cx="183960" cy="131760"/>
            </p14:xfrm>
          </p:contentPart>
        </mc:Choice>
        <mc:Fallback>
          <p:pic>
            <p:nvPicPr>
              <p:cNvPr id="100" name="Ink 99">
                <a:extLst>
                  <a:ext uri="{FF2B5EF4-FFF2-40B4-BE49-F238E27FC236}">
                    <a16:creationId xmlns:a16="http://schemas.microsoft.com/office/drawing/2014/main" id="{C8CB0852-B84E-AB98-16B7-335329A4B0AC}"/>
                  </a:ext>
                </a:extLst>
              </p:cNvPr>
              <p:cNvPicPr/>
              <p:nvPr/>
            </p:nvPicPr>
            <p:blipFill>
              <a:blip r:embed="rId247"/>
              <a:stretch>
                <a:fillRect/>
              </a:stretch>
            </p:blipFill>
            <p:spPr>
              <a:xfrm>
                <a:off x="6857381" y="3862292"/>
                <a:ext cx="214200" cy="1623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48">
            <p14:nvContentPartPr>
              <p14:cNvPr id="101" name="Ink 100">
                <a:extLst>
                  <a:ext uri="{FF2B5EF4-FFF2-40B4-BE49-F238E27FC236}">
                    <a16:creationId xmlns:a16="http://schemas.microsoft.com/office/drawing/2014/main" id="{EF727DD4-9FB8-CFFF-204F-0DCBAB07AC0C}"/>
                  </a:ext>
                </a:extLst>
              </p14:cNvPr>
              <p14:cNvContentPartPr/>
              <p14:nvPr/>
            </p14:nvContentPartPr>
            <p14:xfrm>
              <a:off x="7086341" y="3938252"/>
              <a:ext cx="49320" cy="10800"/>
            </p14:xfrm>
          </p:contentPart>
        </mc:Choice>
        <mc:Fallback>
          <p:pic>
            <p:nvPicPr>
              <p:cNvPr id="101" name="Ink 100">
                <a:extLst>
                  <a:ext uri="{FF2B5EF4-FFF2-40B4-BE49-F238E27FC236}">
                    <a16:creationId xmlns:a16="http://schemas.microsoft.com/office/drawing/2014/main" id="{EF727DD4-9FB8-CFFF-204F-0DCBAB07AC0C}"/>
                  </a:ext>
                </a:extLst>
              </p:cNvPr>
              <p:cNvPicPr/>
              <p:nvPr/>
            </p:nvPicPr>
            <p:blipFill>
              <a:blip r:embed="rId249"/>
              <a:stretch>
                <a:fillRect/>
              </a:stretch>
            </p:blipFill>
            <p:spPr>
              <a:xfrm>
                <a:off x="7071221" y="3923132"/>
                <a:ext cx="79920" cy="414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50">
            <p14:nvContentPartPr>
              <p14:cNvPr id="102" name="Ink 101">
                <a:extLst>
                  <a:ext uri="{FF2B5EF4-FFF2-40B4-BE49-F238E27FC236}">
                    <a16:creationId xmlns:a16="http://schemas.microsoft.com/office/drawing/2014/main" id="{32B7BA67-8F4E-D58C-C742-18885D23BC47}"/>
                  </a:ext>
                </a:extLst>
              </p14:cNvPr>
              <p14:cNvContentPartPr/>
              <p14:nvPr/>
            </p14:nvContentPartPr>
            <p14:xfrm>
              <a:off x="7222061" y="3869132"/>
              <a:ext cx="133200" cy="123840"/>
            </p14:xfrm>
          </p:contentPart>
        </mc:Choice>
        <mc:Fallback>
          <p:pic>
            <p:nvPicPr>
              <p:cNvPr id="102" name="Ink 101">
                <a:extLst>
                  <a:ext uri="{FF2B5EF4-FFF2-40B4-BE49-F238E27FC236}">
                    <a16:creationId xmlns:a16="http://schemas.microsoft.com/office/drawing/2014/main" id="{32B7BA67-8F4E-D58C-C742-18885D23BC47}"/>
                  </a:ext>
                </a:extLst>
              </p:cNvPr>
              <p:cNvPicPr/>
              <p:nvPr/>
            </p:nvPicPr>
            <p:blipFill>
              <a:blip r:embed="rId251"/>
              <a:stretch>
                <a:fillRect/>
              </a:stretch>
            </p:blipFill>
            <p:spPr>
              <a:xfrm>
                <a:off x="7206581" y="3853652"/>
                <a:ext cx="163800" cy="1544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52">
            <p14:nvContentPartPr>
              <p14:cNvPr id="103" name="Ink 102">
                <a:extLst>
                  <a:ext uri="{FF2B5EF4-FFF2-40B4-BE49-F238E27FC236}">
                    <a16:creationId xmlns:a16="http://schemas.microsoft.com/office/drawing/2014/main" id="{0E49FF72-7A5A-8516-F99B-E941845619ED}"/>
                  </a:ext>
                </a:extLst>
              </p14:cNvPr>
              <p14:cNvContentPartPr/>
              <p14:nvPr/>
            </p14:nvContentPartPr>
            <p14:xfrm>
              <a:off x="7403861" y="3901172"/>
              <a:ext cx="91080" cy="84600"/>
            </p14:xfrm>
          </p:contentPart>
        </mc:Choice>
        <mc:Fallback>
          <p:pic>
            <p:nvPicPr>
              <p:cNvPr id="103" name="Ink 102">
                <a:extLst>
                  <a:ext uri="{FF2B5EF4-FFF2-40B4-BE49-F238E27FC236}">
                    <a16:creationId xmlns:a16="http://schemas.microsoft.com/office/drawing/2014/main" id="{0E49FF72-7A5A-8516-F99B-E941845619ED}"/>
                  </a:ext>
                </a:extLst>
              </p:cNvPr>
              <p:cNvPicPr/>
              <p:nvPr/>
            </p:nvPicPr>
            <p:blipFill>
              <a:blip r:embed="rId253"/>
              <a:stretch>
                <a:fillRect/>
              </a:stretch>
            </p:blipFill>
            <p:spPr>
              <a:xfrm>
                <a:off x="7388741" y="3885692"/>
                <a:ext cx="121320" cy="1152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54">
            <p14:nvContentPartPr>
              <p14:cNvPr id="104" name="Ink 103">
                <a:extLst>
                  <a:ext uri="{FF2B5EF4-FFF2-40B4-BE49-F238E27FC236}">
                    <a16:creationId xmlns:a16="http://schemas.microsoft.com/office/drawing/2014/main" id="{4FC12E48-7800-3FA6-8BFA-79E1C11B8FD0}"/>
                  </a:ext>
                </a:extLst>
              </p14:cNvPr>
              <p14:cNvContentPartPr/>
              <p14:nvPr/>
            </p14:nvContentPartPr>
            <p14:xfrm>
              <a:off x="7538141" y="3882812"/>
              <a:ext cx="16920" cy="113760"/>
            </p14:xfrm>
          </p:contentPart>
        </mc:Choice>
        <mc:Fallback>
          <p:pic>
            <p:nvPicPr>
              <p:cNvPr id="104" name="Ink 103">
                <a:extLst>
                  <a:ext uri="{FF2B5EF4-FFF2-40B4-BE49-F238E27FC236}">
                    <a16:creationId xmlns:a16="http://schemas.microsoft.com/office/drawing/2014/main" id="{4FC12E48-7800-3FA6-8BFA-79E1C11B8FD0}"/>
                  </a:ext>
                </a:extLst>
              </p:cNvPr>
              <p:cNvPicPr/>
              <p:nvPr/>
            </p:nvPicPr>
            <p:blipFill>
              <a:blip r:embed="rId255"/>
              <a:stretch>
                <a:fillRect/>
              </a:stretch>
            </p:blipFill>
            <p:spPr>
              <a:xfrm>
                <a:off x="7523021" y="3867692"/>
                <a:ext cx="47520" cy="1443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56">
            <p14:nvContentPartPr>
              <p14:cNvPr id="105" name="Ink 104">
                <a:extLst>
                  <a:ext uri="{FF2B5EF4-FFF2-40B4-BE49-F238E27FC236}">
                    <a16:creationId xmlns:a16="http://schemas.microsoft.com/office/drawing/2014/main" id="{6BDA42F1-DD9A-7B96-860F-07CD3902839A}"/>
                  </a:ext>
                </a:extLst>
              </p14:cNvPr>
              <p14:cNvContentPartPr/>
              <p14:nvPr/>
            </p14:nvContentPartPr>
            <p14:xfrm>
              <a:off x="7517621" y="3835292"/>
              <a:ext cx="34200" cy="62280"/>
            </p14:xfrm>
          </p:contentPart>
        </mc:Choice>
        <mc:Fallback>
          <p:pic>
            <p:nvPicPr>
              <p:cNvPr id="105" name="Ink 104">
                <a:extLst>
                  <a:ext uri="{FF2B5EF4-FFF2-40B4-BE49-F238E27FC236}">
                    <a16:creationId xmlns:a16="http://schemas.microsoft.com/office/drawing/2014/main" id="{6BDA42F1-DD9A-7B96-860F-07CD3902839A}"/>
                  </a:ext>
                </a:extLst>
              </p:cNvPr>
              <p:cNvPicPr/>
              <p:nvPr/>
            </p:nvPicPr>
            <p:blipFill>
              <a:blip r:embed="rId257"/>
              <a:stretch>
                <a:fillRect/>
              </a:stretch>
            </p:blipFill>
            <p:spPr>
              <a:xfrm>
                <a:off x="7502141" y="3820172"/>
                <a:ext cx="64440" cy="925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58">
            <p14:nvContentPartPr>
              <p14:cNvPr id="106" name="Ink 105">
                <a:extLst>
                  <a:ext uri="{FF2B5EF4-FFF2-40B4-BE49-F238E27FC236}">
                    <a16:creationId xmlns:a16="http://schemas.microsoft.com/office/drawing/2014/main" id="{1EAED4B6-6324-D333-20FA-C0AF88A7AB3E}"/>
                  </a:ext>
                </a:extLst>
              </p14:cNvPr>
              <p14:cNvContentPartPr/>
              <p14:nvPr/>
            </p14:nvContentPartPr>
            <p14:xfrm>
              <a:off x="7591781" y="3818012"/>
              <a:ext cx="128520" cy="191520"/>
            </p14:xfrm>
          </p:contentPart>
        </mc:Choice>
        <mc:Fallback>
          <p:pic>
            <p:nvPicPr>
              <p:cNvPr id="106" name="Ink 105">
                <a:extLst>
                  <a:ext uri="{FF2B5EF4-FFF2-40B4-BE49-F238E27FC236}">
                    <a16:creationId xmlns:a16="http://schemas.microsoft.com/office/drawing/2014/main" id="{1EAED4B6-6324-D333-20FA-C0AF88A7AB3E}"/>
                  </a:ext>
                </a:extLst>
              </p:cNvPr>
              <p:cNvPicPr/>
              <p:nvPr/>
            </p:nvPicPr>
            <p:blipFill>
              <a:blip r:embed="rId259"/>
              <a:stretch>
                <a:fillRect/>
              </a:stretch>
            </p:blipFill>
            <p:spPr>
              <a:xfrm>
                <a:off x="7576661" y="3802892"/>
                <a:ext cx="159120" cy="222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60">
            <p14:nvContentPartPr>
              <p14:cNvPr id="107" name="Ink 106">
                <a:extLst>
                  <a:ext uri="{FF2B5EF4-FFF2-40B4-BE49-F238E27FC236}">
                    <a16:creationId xmlns:a16="http://schemas.microsoft.com/office/drawing/2014/main" id="{02536C17-2CC2-145A-F3E4-292303BA4F7C}"/>
                  </a:ext>
                </a:extLst>
              </p14:cNvPr>
              <p14:cNvContentPartPr/>
              <p14:nvPr/>
            </p14:nvContentPartPr>
            <p14:xfrm>
              <a:off x="7775021" y="3828812"/>
              <a:ext cx="65160" cy="193320"/>
            </p14:xfrm>
          </p:contentPart>
        </mc:Choice>
        <mc:Fallback>
          <p:pic>
            <p:nvPicPr>
              <p:cNvPr id="107" name="Ink 106">
                <a:extLst>
                  <a:ext uri="{FF2B5EF4-FFF2-40B4-BE49-F238E27FC236}">
                    <a16:creationId xmlns:a16="http://schemas.microsoft.com/office/drawing/2014/main" id="{02536C17-2CC2-145A-F3E4-292303BA4F7C}"/>
                  </a:ext>
                </a:extLst>
              </p:cNvPr>
              <p:cNvPicPr/>
              <p:nvPr/>
            </p:nvPicPr>
            <p:blipFill>
              <a:blip r:embed="rId261"/>
              <a:stretch>
                <a:fillRect/>
              </a:stretch>
            </p:blipFill>
            <p:spPr>
              <a:xfrm>
                <a:off x="7759901" y="3813692"/>
                <a:ext cx="95760" cy="2239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62">
            <p14:nvContentPartPr>
              <p14:cNvPr id="108" name="Ink 107">
                <a:extLst>
                  <a:ext uri="{FF2B5EF4-FFF2-40B4-BE49-F238E27FC236}">
                    <a16:creationId xmlns:a16="http://schemas.microsoft.com/office/drawing/2014/main" id="{5B62B65E-BB55-600A-6A68-5B6EEF006E73}"/>
                  </a:ext>
                </a:extLst>
              </p14:cNvPr>
              <p14:cNvContentPartPr/>
              <p14:nvPr/>
            </p14:nvContentPartPr>
            <p14:xfrm>
              <a:off x="7923701" y="3909452"/>
              <a:ext cx="71280" cy="3960"/>
            </p14:xfrm>
          </p:contentPart>
        </mc:Choice>
        <mc:Fallback>
          <p:pic>
            <p:nvPicPr>
              <p:cNvPr id="108" name="Ink 107">
                <a:extLst>
                  <a:ext uri="{FF2B5EF4-FFF2-40B4-BE49-F238E27FC236}">
                    <a16:creationId xmlns:a16="http://schemas.microsoft.com/office/drawing/2014/main" id="{5B62B65E-BB55-600A-6A68-5B6EEF006E73}"/>
                  </a:ext>
                </a:extLst>
              </p:cNvPr>
              <p:cNvPicPr/>
              <p:nvPr/>
            </p:nvPicPr>
            <p:blipFill>
              <a:blip r:embed="rId263"/>
              <a:stretch>
                <a:fillRect/>
              </a:stretch>
            </p:blipFill>
            <p:spPr>
              <a:xfrm>
                <a:off x="7908581" y="3893972"/>
                <a:ext cx="101880" cy="345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64">
            <p14:nvContentPartPr>
              <p14:cNvPr id="109" name="Ink 108">
                <a:extLst>
                  <a:ext uri="{FF2B5EF4-FFF2-40B4-BE49-F238E27FC236}">
                    <a16:creationId xmlns:a16="http://schemas.microsoft.com/office/drawing/2014/main" id="{C0E87364-6C38-36D2-9D83-C78EEC44993B}"/>
                  </a:ext>
                </a:extLst>
              </p14:cNvPr>
              <p14:cNvContentPartPr/>
              <p14:nvPr/>
            </p14:nvContentPartPr>
            <p14:xfrm>
              <a:off x="7943501" y="3966332"/>
              <a:ext cx="65880" cy="8280"/>
            </p14:xfrm>
          </p:contentPart>
        </mc:Choice>
        <mc:Fallback>
          <p:pic>
            <p:nvPicPr>
              <p:cNvPr id="109" name="Ink 108">
                <a:extLst>
                  <a:ext uri="{FF2B5EF4-FFF2-40B4-BE49-F238E27FC236}">
                    <a16:creationId xmlns:a16="http://schemas.microsoft.com/office/drawing/2014/main" id="{C0E87364-6C38-36D2-9D83-C78EEC44993B}"/>
                  </a:ext>
                </a:extLst>
              </p:cNvPr>
              <p:cNvPicPr/>
              <p:nvPr/>
            </p:nvPicPr>
            <p:blipFill>
              <a:blip r:embed="rId265"/>
              <a:stretch>
                <a:fillRect/>
              </a:stretch>
            </p:blipFill>
            <p:spPr>
              <a:xfrm>
                <a:off x="7928381" y="3951212"/>
                <a:ext cx="96120" cy="385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66">
            <p14:nvContentPartPr>
              <p14:cNvPr id="199" name="Ink 198">
                <a:extLst>
                  <a:ext uri="{FF2B5EF4-FFF2-40B4-BE49-F238E27FC236}">
                    <a16:creationId xmlns:a16="http://schemas.microsoft.com/office/drawing/2014/main" id="{8BA31429-CABA-9E5A-89DB-9CA177B39FA6}"/>
                  </a:ext>
                </a:extLst>
              </p14:cNvPr>
              <p14:cNvContentPartPr/>
              <p14:nvPr/>
            </p14:nvContentPartPr>
            <p14:xfrm>
              <a:off x="5860901" y="4121852"/>
              <a:ext cx="167400" cy="20160"/>
            </p14:xfrm>
          </p:contentPart>
        </mc:Choice>
        <mc:Fallback>
          <p:pic>
            <p:nvPicPr>
              <p:cNvPr id="199" name="Ink 198">
                <a:extLst>
                  <a:ext uri="{FF2B5EF4-FFF2-40B4-BE49-F238E27FC236}">
                    <a16:creationId xmlns:a16="http://schemas.microsoft.com/office/drawing/2014/main" id="{8BA31429-CABA-9E5A-89DB-9CA177B39FA6}"/>
                  </a:ext>
                </a:extLst>
              </p:cNvPr>
              <p:cNvPicPr/>
              <p:nvPr/>
            </p:nvPicPr>
            <p:blipFill>
              <a:blip r:embed="rId267"/>
              <a:stretch>
                <a:fillRect/>
              </a:stretch>
            </p:blipFill>
            <p:spPr>
              <a:xfrm>
                <a:off x="5845421" y="4106372"/>
                <a:ext cx="198000" cy="504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68">
            <p14:nvContentPartPr>
              <p14:cNvPr id="201" name="Ink 200">
                <a:extLst>
                  <a:ext uri="{FF2B5EF4-FFF2-40B4-BE49-F238E27FC236}">
                    <a16:creationId xmlns:a16="http://schemas.microsoft.com/office/drawing/2014/main" id="{D9233823-6DF2-9975-BD8D-F78F3516B83E}"/>
                  </a:ext>
                </a:extLst>
              </p14:cNvPr>
              <p14:cNvContentPartPr/>
              <p14:nvPr/>
            </p14:nvContentPartPr>
            <p14:xfrm>
              <a:off x="7530221" y="3458372"/>
              <a:ext cx="1800000" cy="231840"/>
            </p14:xfrm>
          </p:contentPart>
        </mc:Choice>
        <mc:Fallback>
          <p:pic>
            <p:nvPicPr>
              <p:cNvPr id="201" name="Ink 200">
                <a:extLst>
                  <a:ext uri="{FF2B5EF4-FFF2-40B4-BE49-F238E27FC236}">
                    <a16:creationId xmlns:a16="http://schemas.microsoft.com/office/drawing/2014/main" id="{D9233823-6DF2-9975-BD8D-F78F3516B83E}"/>
                  </a:ext>
                </a:extLst>
              </p:cNvPr>
              <p:cNvPicPr/>
              <p:nvPr/>
            </p:nvPicPr>
            <p:blipFill>
              <a:blip r:embed="rId269"/>
              <a:stretch>
                <a:fillRect/>
              </a:stretch>
            </p:blipFill>
            <p:spPr>
              <a:xfrm>
                <a:off x="7514741" y="3442892"/>
                <a:ext cx="1830600" cy="2624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70">
            <p14:nvContentPartPr>
              <p14:cNvPr id="202" name="Ink 201">
                <a:extLst>
                  <a:ext uri="{FF2B5EF4-FFF2-40B4-BE49-F238E27FC236}">
                    <a16:creationId xmlns:a16="http://schemas.microsoft.com/office/drawing/2014/main" id="{D099B794-C8B4-676E-095A-9B8E72038648}"/>
                  </a:ext>
                </a:extLst>
              </p14:cNvPr>
              <p14:cNvContentPartPr/>
              <p14:nvPr/>
            </p14:nvContentPartPr>
            <p14:xfrm>
              <a:off x="9171821" y="3458012"/>
              <a:ext cx="239400" cy="132120"/>
            </p14:xfrm>
          </p:contentPart>
        </mc:Choice>
        <mc:Fallback>
          <p:pic>
            <p:nvPicPr>
              <p:cNvPr id="202" name="Ink 201">
                <a:extLst>
                  <a:ext uri="{FF2B5EF4-FFF2-40B4-BE49-F238E27FC236}">
                    <a16:creationId xmlns:a16="http://schemas.microsoft.com/office/drawing/2014/main" id="{D099B794-C8B4-676E-095A-9B8E72038648}"/>
                  </a:ext>
                </a:extLst>
              </p:cNvPr>
              <p:cNvPicPr/>
              <p:nvPr/>
            </p:nvPicPr>
            <p:blipFill>
              <a:blip r:embed="rId271"/>
              <a:stretch>
                <a:fillRect/>
              </a:stretch>
            </p:blipFill>
            <p:spPr>
              <a:xfrm>
                <a:off x="9156701" y="3442892"/>
                <a:ext cx="270000" cy="162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72">
            <p14:nvContentPartPr>
              <p14:cNvPr id="214" name="Ink 213">
                <a:extLst>
                  <a:ext uri="{FF2B5EF4-FFF2-40B4-BE49-F238E27FC236}">
                    <a16:creationId xmlns:a16="http://schemas.microsoft.com/office/drawing/2014/main" id="{E1E04C83-AE0C-329E-7696-8D224E350E10}"/>
                  </a:ext>
                </a:extLst>
              </p14:cNvPr>
              <p14:cNvContentPartPr/>
              <p14:nvPr/>
            </p14:nvContentPartPr>
            <p14:xfrm>
              <a:off x="5880341" y="4167572"/>
              <a:ext cx="406080" cy="23760"/>
            </p14:xfrm>
          </p:contentPart>
        </mc:Choice>
        <mc:Fallback>
          <p:pic>
            <p:nvPicPr>
              <p:cNvPr id="214" name="Ink 213">
                <a:extLst>
                  <a:ext uri="{FF2B5EF4-FFF2-40B4-BE49-F238E27FC236}">
                    <a16:creationId xmlns:a16="http://schemas.microsoft.com/office/drawing/2014/main" id="{E1E04C83-AE0C-329E-7696-8D224E350E10}"/>
                  </a:ext>
                </a:extLst>
              </p:cNvPr>
              <p:cNvPicPr/>
              <p:nvPr/>
            </p:nvPicPr>
            <p:blipFill>
              <a:blip r:embed="rId273"/>
              <a:stretch>
                <a:fillRect/>
              </a:stretch>
            </p:blipFill>
            <p:spPr>
              <a:xfrm>
                <a:off x="5865221" y="4152452"/>
                <a:ext cx="436680" cy="54360"/>
              </a:xfrm>
              <a:prstGeom prst="rect">
                <a:avLst/>
              </a:prstGeom>
            </p:spPr>
          </p:pic>
        </mc:Fallback>
      </mc:AlternateContent>
      <p:grpSp>
        <p:nvGrpSpPr>
          <p:cNvPr id="221" name="Group 220">
            <a:extLst>
              <a:ext uri="{FF2B5EF4-FFF2-40B4-BE49-F238E27FC236}">
                <a16:creationId xmlns:a16="http://schemas.microsoft.com/office/drawing/2014/main" id="{A744F072-912A-68BC-A143-81B8938DBD34}"/>
              </a:ext>
            </a:extLst>
          </p:cNvPr>
          <p:cNvGrpSpPr/>
          <p:nvPr/>
        </p:nvGrpSpPr>
        <p:grpSpPr>
          <a:xfrm>
            <a:off x="9489701" y="3697052"/>
            <a:ext cx="700560" cy="305640"/>
            <a:chOff x="9489701" y="3697052"/>
            <a:chExt cx="700560" cy="3056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74">
              <p14:nvContentPartPr>
                <p14:cNvPr id="216" name="Ink 215">
                  <a:extLst>
                    <a:ext uri="{FF2B5EF4-FFF2-40B4-BE49-F238E27FC236}">
                      <a16:creationId xmlns:a16="http://schemas.microsoft.com/office/drawing/2014/main" id="{E545E5D8-EFDA-99D0-9C4A-57E2F300F0CF}"/>
                    </a:ext>
                  </a:extLst>
                </p14:cNvPr>
                <p14:cNvContentPartPr/>
                <p14:nvPr/>
              </p14:nvContentPartPr>
              <p14:xfrm>
                <a:off x="9549461" y="3697052"/>
                <a:ext cx="135360" cy="269640"/>
              </p14:xfrm>
            </p:contentPart>
          </mc:Choice>
          <mc:Fallback>
            <p:pic>
              <p:nvPicPr>
                <p:cNvPr id="216" name="Ink 215">
                  <a:extLst>
                    <a:ext uri="{FF2B5EF4-FFF2-40B4-BE49-F238E27FC236}">
                      <a16:creationId xmlns:a16="http://schemas.microsoft.com/office/drawing/2014/main" id="{E545E5D8-EFDA-99D0-9C4A-57E2F300F0CF}"/>
                    </a:ext>
                  </a:extLst>
                </p:cNvPr>
                <p:cNvPicPr/>
                <p:nvPr/>
              </p:nvPicPr>
              <p:blipFill>
                <a:blip r:embed="rId275"/>
                <a:stretch>
                  <a:fillRect/>
                </a:stretch>
              </p:blipFill>
              <p:spPr>
                <a:xfrm>
                  <a:off x="9533981" y="3681572"/>
                  <a:ext cx="165960" cy="300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76">
              <p14:nvContentPartPr>
                <p14:cNvPr id="217" name="Ink 216">
                  <a:extLst>
                    <a:ext uri="{FF2B5EF4-FFF2-40B4-BE49-F238E27FC236}">
                      <a16:creationId xmlns:a16="http://schemas.microsoft.com/office/drawing/2014/main" id="{0BE1393E-AD87-03D3-CA32-E819F0BD9E93}"/>
                    </a:ext>
                  </a:extLst>
                </p14:cNvPr>
                <p14:cNvContentPartPr/>
                <p14:nvPr/>
              </p14:nvContentPartPr>
              <p14:xfrm>
                <a:off x="9489701" y="3820172"/>
                <a:ext cx="315000" cy="143280"/>
              </p14:xfrm>
            </p:contentPart>
          </mc:Choice>
          <mc:Fallback>
            <p:pic>
              <p:nvPicPr>
                <p:cNvPr id="217" name="Ink 216">
                  <a:extLst>
                    <a:ext uri="{FF2B5EF4-FFF2-40B4-BE49-F238E27FC236}">
                      <a16:creationId xmlns:a16="http://schemas.microsoft.com/office/drawing/2014/main" id="{0BE1393E-AD87-03D3-CA32-E819F0BD9E93}"/>
                    </a:ext>
                  </a:extLst>
                </p:cNvPr>
                <p:cNvPicPr/>
                <p:nvPr/>
              </p:nvPicPr>
              <p:blipFill>
                <a:blip r:embed="rId277"/>
                <a:stretch>
                  <a:fillRect/>
                </a:stretch>
              </p:blipFill>
              <p:spPr>
                <a:xfrm>
                  <a:off x="9474581" y="3805052"/>
                  <a:ext cx="345600" cy="173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78">
              <p14:nvContentPartPr>
                <p14:cNvPr id="218" name="Ink 217">
                  <a:extLst>
                    <a:ext uri="{FF2B5EF4-FFF2-40B4-BE49-F238E27FC236}">
                      <a16:creationId xmlns:a16="http://schemas.microsoft.com/office/drawing/2014/main" id="{D2937304-AC61-A47D-F312-13CE155D06F9}"/>
                    </a:ext>
                  </a:extLst>
                </p14:cNvPr>
                <p14:cNvContentPartPr/>
                <p14:nvPr/>
              </p14:nvContentPartPr>
              <p14:xfrm>
                <a:off x="9892541" y="3810452"/>
                <a:ext cx="25920" cy="157320"/>
              </p14:xfrm>
            </p:contentPart>
          </mc:Choice>
          <mc:Fallback>
            <p:pic>
              <p:nvPicPr>
                <p:cNvPr id="218" name="Ink 217">
                  <a:extLst>
                    <a:ext uri="{FF2B5EF4-FFF2-40B4-BE49-F238E27FC236}">
                      <a16:creationId xmlns:a16="http://schemas.microsoft.com/office/drawing/2014/main" id="{D2937304-AC61-A47D-F312-13CE155D06F9}"/>
                    </a:ext>
                  </a:extLst>
                </p:cNvPr>
                <p:cNvPicPr/>
                <p:nvPr/>
              </p:nvPicPr>
              <p:blipFill>
                <a:blip r:embed="rId279"/>
                <a:stretch>
                  <a:fillRect/>
                </a:stretch>
              </p:blipFill>
              <p:spPr>
                <a:xfrm>
                  <a:off x="9877061" y="3795332"/>
                  <a:ext cx="56160" cy="187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80">
              <p14:nvContentPartPr>
                <p14:cNvPr id="219" name="Ink 218">
                  <a:extLst>
                    <a:ext uri="{FF2B5EF4-FFF2-40B4-BE49-F238E27FC236}">
                      <a16:creationId xmlns:a16="http://schemas.microsoft.com/office/drawing/2014/main" id="{4B4A1A4E-A25A-BA0D-3DCE-05D83E0F4A05}"/>
                    </a:ext>
                  </a:extLst>
                </p14:cNvPr>
                <p14:cNvContentPartPr/>
                <p14:nvPr/>
              </p14:nvContentPartPr>
              <p14:xfrm>
                <a:off x="9971741" y="3870572"/>
                <a:ext cx="56160" cy="132120"/>
              </p14:xfrm>
            </p:contentPart>
          </mc:Choice>
          <mc:Fallback>
            <p:pic>
              <p:nvPicPr>
                <p:cNvPr id="219" name="Ink 218">
                  <a:extLst>
                    <a:ext uri="{FF2B5EF4-FFF2-40B4-BE49-F238E27FC236}">
                      <a16:creationId xmlns:a16="http://schemas.microsoft.com/office/drawing/2014/main" id="{4B4A1A4E-A25A-BA0D-3DCE-05D83E0F4A05}"/>
                    </a:ext>
                  </a:extLst>
                </p:cNvPr>
                <p:cNvPicPr/>
                <p:nvPr/>
              </p:nvPicPr>
              <p:blipFill>
                <a:blip r:embed="rId281"/>
                <a:stretch>
                  <a:fillRect/>
                </a:stretch>
              </p:blipFill>
              <p:spPr>
                <a:xfrm>
                  <a:off x="9956621" y="3855452"/>
                  <a:ext cx="86760" cy="162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82">
              <p14:nvContentPartPr>
                <p14:cNvPr id="220" name="Ink 219">
                  <a:extLst>
                    <a:ext uri="{FF2B5EF4-FFF2-40B4-BE49-F238E27FC236}">
                      <a16:creationId xmlns:a16="http://schemas.microsoft.com/office/drawing/2014/main" id="{F811F925-BBC7-D985-B963-73B4D4763A70}"/>
                    </a:ext>
                  </a:extLst>
                </p14:cNvPr>
                <p14:cNvContentPartPr/>
                <p14:nvPr/>
              </p14:nvContentPartPr>
              <p14:xfrm>
                <a:off x="10063901" y="3893252"/>
                <a:ext cx="126360" cy="91800"/>
              </p14:xfrm>
            </p:contentPart>
          </mc:Choice>
          <mc:Fallback>
            <p:pic>
              <p:nvPicPr>
                <p:cNvPr id="220" name="Ink 219">
                  <a:extLst>
                    <a:ext uri="{FF2B5EF4-FFF2-40B4-BE49-F238E27FC236}">
                      <a16:creationId xmlns:a16="http://schemas.microsoft.com/office/drawing/2014/main" id="{F811F925-BBC7-D985-B963-73B4D4763A70}"/>
                    </a:ext>
                  </a:extLst>
                </p:cNvPr>
                <p:cNvPicPr/>
                <p:nvPr/>
              </p:nvPicPr>
              <p:blipFill>
                <a:blip r:embed="rId283"/>
                <a:stretch>
                  <a:fillRect/>
                </a:stretch>
              </p:blipFill>
              <p:spPr>
                <a:xfrm>
                  <a:off x="10048781" y="3878132"/>
                  <a:ext cx="156960" cy="1224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5E0CF08B-0B19-B719-1021-ED765D8ADBD8}"/>
              </a:ext>
            </a:extLst>
          </p:cNvPr>
          <p:cNvGrpSpPr/>
          <p:nvPr/>
        </p:nvGrpSpPr>
        <p:grpSpPr>
          <a:xfrm>
            <a:off x="6625541" y="4801172"/>
            <a:ext cx="624600" cy="97560"/>
            <a:chOff x="6625541" y="4801172"/>
            <a:chExt cx="624600" cy="975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84">
              <p14:nvContentPartPr>
                <p14:cNvPr id="222" name="Ink 221">
                  <a:extLst>
                    <a:ext uri="{FF2B5EF4-FFF2-40B4-BE49-F238E27FC236}">
                      <a16:creationId xmlns:a16="http://schemas.microsoft.com/office/drawing/2014/main" id="{B6F4A061-7EED-C73C-D0BB-B78E4BAEEE6B}"/>
                    </a:ext>
                  </a:extLst>
                </p14:cNvPr>
                <p14:cNvContentPartPr/>
                <p14:nvPr/>
              </p14:nvContentPartPr>
              <p14:xfrm>
                <a:off x="6625541" y="4890092"/>
                <a:ext cx="38880" cy="8640"/>
              </p14:xfrm>
            </p:contentPart>
          </mc:Choice>
          <mc:Fallback>
            <p:pic>
              <p:nvPicPr>
                <p:cNvPr id="222" name="Ink 221">
                  <a:extLst>
                    <a:ext uri="{FF2B5EF4-FFF2-40B4-BE49-F238E27FC236}">
                      <a16:creationId xmlns:a16="http://schemas.microsoft.com/office/drawing/2014/main" id="{B6F4A061-7EED-C73C-D0BB-B78E4BAEEE6B}"/>
                    </a:ext>
                  </a:extLst>
                </p:cNvPr>
                <p:cNvPicPr/>
                <p:nvPr/>
              </p:nvPicPr>
              <p:blipFill>
                <a:blip r:embed="rId285"/>
                <a:stretch>
                  <a:fillRect/>
                </a:stretch>
              </p:blipFill>
              <p:spPr>
                <a:xfrm>
                  <a:off x="6610421" y="4874612"/>
                  <a:ext cx="69480" cy="39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86">
              <p14:nvContentPartPr>
                <p14:cNvPr id="223" name="Ink 222">
                  <a:extLst>
                    <a:ext uri="{FF2B5EF4-FFF2-40B4-BE49-F238E27FC236}">
                      <a16:creationId xmlns:a16="http://schemas.microsoft.com/office/drawing/2014/main" id="{B659A763-3808-D810-6B92-E048B250F330}"/>
                    </a:ext>
                  </a:extLst>
                </p14:cNvPr>
                <p14:cNvContentPartPr/>
                <p14:nvPr/>
              </p14:nvContentPartPr>
              <p14:xfrm>
                <a:off x="6672701" y="4801172"/>
                <a:ext cx="577440" cy="19800"/>
              </p14:xfrm>
            </p:contentPart>
          </mc:Choice>
          <mc:Fallback>
            <p:pic>
              <p:nvPicPr>
                <p:cNvPr id="223" name="Ink 222">
                  <a:extLst>
                    <a:ext uri="{FF2B5EF4-FFF2-40B4-BE49-F238E27FC236}">
                      <a16:creationId xmlns:a16="http://schemas.microsoft.com/office/drawing/2014/main" id="{B659A763-3808-D810-6B92-E048B250F330}"/>
                    </a:ext>
                  </a:extLst>
                </p:cNvPr>
                <p:cNvPicPr/>
                <p:nvPr/>
              </p:nvPicPr>
              <p:blipFill>
                <a:blip r:embed="rId287"/>
                <a:stretch>
                  <a:fillRect/>
                </a:stretch>
              </p:blipFill>
              <p:spPr>
                <a:xfrm>
                  <a:off x="6657581" y="4786052"/>
                  <a:ext cx="608040" cy="504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FB2A49A3-6315-E311-DD6F-51E0B1376C1F}"/>
              </a:ext>
            </a:extLst>
          </p:cNvPr>
          <p:cNvGrpSpPr/>
          <p:nvPr/>
        </p:nvGrpSpPr>
        <p:grpSpPr>
          <a:xfrm>
            <a:off x="5841821" y="4752572"/>
            <a:ext cx="417240" cy="180720"/>
            <a:chOff x="5841821" y="4752572"/>
            <a:chExt cx="417240" cy="1807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88">
              <p14:nvContentPartPr>
                <p14:cNvPr id="225" name="Ink 224">
                  <a:extLst>
                    <a:ext uri="{FF2B5EF4-FFF2-40B4-BE49-F238E27FC236}">
                      <a16:creationId xmlns:a16="http://schemas.microsoft.com/office/drawing/2014/main" id="{23B9D5CD-752D-6676-FED1-9903B3C163E5}"/>
                    </a:ext>
                  </a:extLst>
                </p14:cNvPr>
                <p14:cNvContentPartPr/>
                <p14:nvPr/>
              </p14:nvContentPartPr>
              <p14:xfrm>
                <a:off x="5841821" y="4752572"/>
                <a:ext cx="403560" cy="49320"/>
              </p14:xfrm>
            </p:contentPart>
          </mc:Choice>
          <mc:Fallback>
            <p:pic>
              <p:nvPicPr>
                <p:cNvPr id="225" name="Ink 224">
                  <a:extLst>
                    <a:ext uri="{FF2B5EF4-FFF2-40B4-BE49-F238E27FC236}">
                      <a16:creationId xmlns:a16="http://schemas.microsoft.com/office/drawing/2014/main" id="{23B9D5CD-752D-6676-FED1-9903B3C163E5}"/>
                    </a:ext>
                  </a:extLst>
                </p:cNvPr>
                <p:cNvPicPr/>
                <p:nvPr/>
              </p:nvPicPr>
              <p:blipFill>
                <a:blip r:embed="rId289"/>
                <a:stretch>
                  <a:fillRect/>
                </a:stretch>
              </p:blipFill>
              <p:spPr>
                <a:xfrm>
                  <a:off x="5826341" y="4737092"/>
                  <a:ext cx="434160" cy="79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90">
              <p14:nvContentPartPr>
                <p14:cNvPr id="226" name="Ink 225">
                  <a:extLst>
                    <a:ext uri="{FF2B5EF4-FFF2-40B4-BE49-F238E27FC236}">
                      <a16:creationId xmlns:a16="http://schemas.microsoft.com/office/drawing/2014/main" id="{F40F611F-1350-EF1B-59DE-7171ECBA890C}"/>
                    </a:ext>
                  </a:extLst>
                </p14:cNvPr>
                <p14:cNvContentPartPr/>
                <p14:nvPr/>
              </p14:nvContentPartPr>
              <p14:xfrm>
                <a:off x="5847581" y="4865972"/>
                <a:ext cx="411480" cy="67320"/>
              </p14:xfrm>
            </p:contentPart>
          </mc:Choice>
          <mc:Fallback>
            <p:pic>
              <p:nvPicPr>
                <p:cNvPr id="226" name="Ink 225">
                  <a:extLst>
                    <a:ext uri="{FF2B5EF4-FFF2-40B4-BE49-F238E27FC236}">
                      <a16:creationId xmlns:a16="http://schemas.microsoft.com/office/drawing/2014/main" id="{F40F611F-1350-EF1B-59DE-7171ECBA890C}"/>
                    </a:ext>
                  </a:extLst>
                </p:cNvPr>
                <p:cNvPicPr/>
                <p:nvPr/>
              </p:nvPicPr>
              <p:blipFill>
                <a:blip r:embed="rId291"/>
                <a:stretch>
                  <a:fillRect/>
                </a:stretch>
              </p:blipFill>
              <p:spPr>
                <a:xfrm>
                  <a:off x="5832101" y="4850492"/>
                  <a:ext cx="441720" cy="975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32" name="Group 231">
            <a:extLst>
              <a:ext uri="{FF2B5EF4-FFF2-40B4-BE49-F238E27FC236}">
                <a16:creationId xmlns:a16="http://schemas.microsoft.com/office/drawing/2014/main" id="{4A9E0CD4-1D0A-2482-FF0A-BA07AE9AD0B2}"/>
              </a:ext>
            </a:extLst>
          </p:cNvPr>
          <p:cNvGrpSpPr/>
          <p:nvPr/>
        </p:nvGrpSpPr>
        <p:grpSpPr>
          <a:xfrm>
            <a:off x="9414101" y="4327052"/>
            <a:ext cx="691200" cy="325440"/>
            <a:chOff x="9414101" y="4327052"/>
            <a:chExt cx="691200" cy="3254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92">
              <p14:nvContentPartPr>
                <p14:cNvPr id="228" name="Ink 227">
                  <a:extLst>
                    <a:ext uri="{FF2B5EF4-FFF2-40B4-BE49-F238E27FC236}">
                      <a16:creationId xmlns:a16="http://schemas.microsoft.com/office/drawing/2014/main" id="{2AA657F8-F009-5019-1D26-A3ADEF101C7E}"/>
                    </a:ext>
                  </a:extLst>
                </p14:cNvPr>
                <p14:cNvContentPartPr/>
                <p14:nvPr/>
              </p14:nvContentPartPr>
              <p14:xfrm>
                <a:off x="9544061" y="4327052"/>
                <a:ext cx="6480" cy="239760"/>
              </p14:xfrm>
            </p:contentPart>
          </mc:Choice>
          <mc:Fallback>
            <p:pic>
              <p:nvPicPr>
                <p:cNvPr id="228" name="Ink 227">
                  <a:extLst>
                    <a:ext uri="{FF2B5EF4-FFF2-40B4-BE49-F238E27FC236}">
                      <a16:creationId xmlns:a16="http://schemas.microsoft.com/office/drawing/2014/main" id="{2AA657F8-F009-5019-1D26-A3ADEF101C7E}"/>
                    </a:ext>
                  </a:extLst>
                </p:cNvPr>
                <p:cNvPicPr/>
                <p:nvPr/>
              </p:nvPicPr>
              <p:blipFill>
                <a:blip r:embed="rId293"/>
                <a:stretch>
                  <a:fillRect/>
                </a:stretch>
              </p:blipFill>
              <p:spPr>
                <a:xfrm>
                  <a:off x="9528581" y="4311572"/>
                  <a:ext cx="37080" cy="270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94">
              <p14:nvContentPartPr>
                <p14:cNvPr id="229" name="Ink 228">
                  <a:extLst>
                    <a:ext uri="{FF2B5EF4-FFF2-40B4-BE49-F238E27FC236}">
                      <a16:creationId xmlns:a16="http://schemas.microsoft.com/office/drawing/2014/main" id="{CD30E336-F5C7-819A-E855-13225EEA059A}"/>
                    </a:ext>
                  </a:extLst>
                </p14:cNvPr>
                <p14:cNvContentPartPr/>
                <p14:nvPr/>
              </p14:nvContentPartPr>
              <p14:xfrm>
                <a:off x="9414101" y="4343612"/>
                <a:ext cx="236160" cy="32040"/>
              </p14:xfrm>
            </p:contentPart>
          </mc:Choice>
          <mc:Fallback>
            <p:pic>
              <p:nvPicPr>
                <p:cNvPr id="229" name="Ink 228">
                  <a:extLst>
                    <a:ext uri="{FF2B5EF4-FFF2-40B4-BE49-F238E27FC236}">
                      <a16:creationId xmlns:a16="http://schemas.microsoft.com/office/drawing/2014/main" id="{CD30E336-F5C7-819A-E855-13225EEA059A}"/>
                    </a:ext>
                  </a:extLst>
                </p:cNvPr>
                <p:cNvPicPr/>
                <p:nvPr/>
              </p:nvPicPr>
              <p:blipFill>
                <a:blip r:embed="rId295"/>
                <a:stretch>
                  <a:fillRect/>
                </a:stretch>
              </p:blipFill>
              <p:spPr>
                <a:xfrm>
                  <a:off x="9398621" y="4328492"/>
                  <a:ext cx="266400" cy="62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96">
              <p14:nvContentPartPr>
                <p14:cNvPr id="230" name="Ink 229">
                  <a:extLst>
                    <a:ext uri="{FF2B5EF4-FFF2-40B4-BE49-F238E27FC236}">
                      <a16:creationId xmlns:a16="http://schemas.microsoft.com/office/drawing/2014/main" id="{C2C96AAE-7178-23A0-6EA7-725AAF9DBFCF}"/>
                    </a:ext>
                  </a:extLst>
                </p14:cNvPr>
                <p14:cNvContentPartPr/>
                <p14:nvPr/>
              </p14:nvContentPartPr>
              <p14:xfrm>
                <a:off x="9655661" y="4406252"/>
                <a:ext cx="299520" cy="213840"/>
              </p14:xfrm>
            </p:contentPart>
          </mc:Choice>
          <mc:Fallback>
            <p:pic>
              <p:nvPicPr>
                <p:cNvPr id="230" name="Ink 229">
                  <a:extLst>
                    <a:ext uri="{FF2B5EF4-FFF2-40B4-BE49-F238E27FC236}">
                      <a16:creationId xmlns:a16="http://schemas.microsoft.com/office/drawing/2014/main" id="{C2C96AAE-7178-23A0-6EA7-725AAF9DBFCF}"/>
                    </a:ext>
                  </a:extLst>
                </p:cNvPr>
                <p:cNvPicPr/>
                <p:nvPr/>
              </p:nvPicPr>
              <p:blipFill>
                <a:blip r:embed="rId297"/>
                <a:stretch>
                  <a:fillRect/>
                </a:stretch>
              </p:blipFill>
              <p:spPr>
                <a:xfrm>
                  <a:off x="9640181" y="4391132"/>
                  <a:ext cx="330120" cy="244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98">
              <p14:nvContentPartPr>
                <p14:cNvPr id="231" name="Ink 230">
                  <a:extLst>
                    <a:ext uri="{FF2B5EF4-FFF2-40B4-BE49-F238E27FC236}">
                      <a16:creationId xmlns:a16="http://schemas.microsoft.com/office/drawing/2014/main" id="{7AD4A8CC-041F-9F4C-2AEA-4372CBED84CB}"/>
                    </a:ext>
                  </a:extLst>
                </p14:cNvPr>
                <p14:cNvContentPartPr/>
                <p14:nvPr/>
              </p14:nvContentPartPr>
              <p14:xfrm>
                <a:off x="9989021" y="4476812"/>
                <a:ext cx="116280" cy="175680"/>
              </p14:xfrm>
            </p:contentPart>
          </mc:Choice>
          <mc:Fallback>
            <p:pic>
              <p:nvPicPr>
                <p:cNvPr id="231" name="Ink 230">
                  <a:extLst>
                    <a:ext uri="{FF2B5EF4-FFF2-40B4-BE49-F238E27FC236}">
                      <a16:creationId xmlns:a16="http://schemas.microsoft.com/office/drawing/2014/main" id="{7AD4A8CC-041F-9F4C-2AEA-4372CBED84CB}"/>
                    </a:ext>
                  </a:extLst>
                </p:cNvPr>
                <p:cNvPicPr/>
                <p:nvPr/>
              </p:nvPicPr>
              <p:blipFill>
                <a:blip r:embed="rId299"/>
                <a:stretch>
                  <a:fillRect/>
                </a:stretch>
              </p:blipFill>
              <p:spPr>
                <a:xfrm>
                  <a:off x="9973541" y="4461332"/>
                  <a:ext cx="146880" cy="2062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AEE9468A-7524-3132-856D-C78E7757CE12}"/>
              </a:ext>
            </a:extLst>
          </p:cNvPr>
          <p:cNvGrpSpPr/>
          <p:nvPr/>
        </p:nvGrpSpPr>
        <p:grpSpPr>
          <a:xfrm>
            <a:off x="10266581" y="4444772"/>
            <a:ext cx="1083960" cy="279000"/>
            <a:chOff x="10266581" y="4444772"/>
            <a:chExt cx="1083960" cy="2790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300">
              <p14:nvContentPartPr>
                <p14:cNvPr id="233" name="Ink 232">
                  <a:extLst>
                    <a:ext uri="{FF2B5EF4-FFF2-40B4-BE49-F238E27FC236}">
                      <a16:creationId xmlns:a16="http://schemas.microsoft.com/office/drawing/2014/main" id="{9E7EBFFF-158B-8289-D57D-C7F616CE4E23}"/>
                    </a:ext>
                  </a:extLst>
                </p14:cNvPr>
                <p14:cNvContentPartPr/>
                <p14:nvPr/>
              </p14:nvContentPartPr>
              <p14:xfrm>
                <a:off x="10281341" y="4451612"/>
                <a:ext cx="19440" cy="207000"/>
              </p14:xfrm>
            </p:contentPart>
          </mc:Choice>
          <mc:Fallback>
            <p:pic>
              <p:nvPicPr>
                <p:cNvPr id="233" name="Ink 232">
                  <a:extLst>
                    <a:ext uri="{FF2B5EF4-FFF2-40B4-BE49-F238E27FC236}">
                      <a16:creationId xmlns:a16="http://schemas.microsoft.com/office/drawing/2014/main" id="{9E7EBFFF-158B-8289-D57D-C7F616CE4E23}"/>
                    </a:ext>
                  </a:extLst>
                </p:cNvPr>
                <p:cNvPicPr/>
                <p:nvPr/>
              </p:nvPicPr>
              <p:blipFill>
                <a:blip r:embed="rId301"/>
                <a:stretch>
                  <a:fillRect/>
                </a:stretch>
              </p:blipFill>
              <p:spPr>
                <a:xfrm>
                  <a:off x="10266221" y="4436492"/>
                  <a:ext cx="50040" cy="237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02">
              <p14:nvContentPartPr>
                <p14:cNvPr id="234" name="Ink 233">
                  <a:extLst>
                    <a:ext uri="{FF2B5EF4-FFF2-40B4-BE49-F238E27FC236}">
                      <a16:creationId xmlns:a16="http://schemas.microsoft.com/office/drawing/2014/main" id="{481B464A-7525-E014-6403-D9652BB5EA0E}"/>
                    </a:ext>
                  </a:extLst>
                </p14:cNvPr>
                <p14:cNvContentPartPr/>
                <p14:nvPr/>
              </p14:nvContentPartPr>
              <p14:xfrm>
                <a:off x="10266581" y="4464212"/>
                <a:ext cx="153000" cy="129600"/>
              </p14:xfrm>
            </p:contentPart>
          </mc:Choice>
          <mc:Fallback>
            <p:pic>
              <p:nvPicPr>
                <p:cNvPr id="234" name="Ink 233">
                  <a:extLst>
                    <a:ext uri="{FF2B5EF4-FFF2-40B4-BE49-F238E27FC236}">
                      <a16:creationId xmlns:a16="http://schemas.microsoft.com/office/drawing/2014/main" id="{481B464A-7525-E014-6403-D9652BB5EA0E}"/>
                    </a:ext>
                  </a:extLst>
                </p:cNvPr>
                <p:cNvPicPr/>
                <p:nvPr/>
              </p:nvPicPr>
              <p:blipFill>
                <a:blip r:embed="rId303"/>
                <a:stretch>
                  <a:fillRect/>
                </a:stretch>
              </p:blipFill>
              <p:spPr>
                <a:xfrm>
                  <a:off x="10251101" y="4448732"/>
                  <a:ext cx="183240" cy="160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04">
              <p14:nvContentPartPr>
                <p14:cNvPr id="235" name="Ink 234">
                  <a:extLst>
                    <a:ext uri="{FF2B5EF4-FFF2-40B4-BE49-F238E27FC236}">
                      <a16:creationId xmlns:a16="http://schemas.microsoft.com/office/drawing/2014/main" id="{A85B77FC-CACD-9610-FFA2-CBA7E7DAA4FF}"/>
                    </a:ext>
                  </a:extLst>
                </p14:cNvPr>
                <p14:cNvContentPartPr/>
                <p14:nvPr/>
              </p14:nvContentPartPr>
              <p14:xfrm>
                <a:off x="10477901" y="4457732"/>
                <a:ext cx="477000" cy="266040"/>
              </p14:xfrm>
            </p:contentPart>
          </mc:Choice>
          <mc:Fallback>
            <p:pic>
              <p:nvPicPr>
                <p:cNvPr id="235" name="Ink 234">
                  <a:extLst>
                    <a:ext uri="{FF2B5EF4-FFF2-40B4-BE49-F238E27FC236}">
                      <a16:creationId xmlns:a16="http://schemas.microsoft.com/office/drawing/2014/main" id="{A85B77FC-CACD-9610-FFA2-CBA7E7DAA4FF}"/>
                    </a:ext>
                  </a:extLst>
                </p:cNvPr>
                <p:cNvPicPr/>
                <p:nvPr/>
              </p:nvPicPr>
              <p:blipFill>
                <a:blip r:embed="rId305"/>
                <a:stretch>
                  <a:fillRect/>
                </a:stretch>
              </p:blipFill>
              <p:spPr>
                <a:xfrm>
                  <a:off x="10462781" y="4442612"/>
                  <a:ext cx="507240" cy="296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06">
              <p14:nvContentPartPr>
                <p14:cNvPr id="236" name="Ink 235">
                  <a:extLst>
                    <a:ext uri="{FF2B5EF4-FFF2-40B4-BE49-F238E27FC236}">
                      <a16:creationId xmlns:a16="http://schemas.microsoft.com/office/drawing/2014/main" id="{FF8CCA1C-B816-7A96-01EC-CB9B7591DB1B}"/>
                    </a:ext>
                  </a:extLst>
                </p14:cNvPr>
                <p14:cNvContentPartPr/>
                <p14:nvPr/>
              </p14:nvContentPartPr>
              <p14:xfrm>
                <a:off x="10891181" y="4530092"/>
                <a:ext cx="156600" cy="108720"/>
              </p14:xfrm>
            </p:contentPart>
          </mc:Choice>
          <mc:Fallback>
            <p:pic>
              <p:nvPicPr>
                <p:cNvPr id="236" name="Ink 235">
                  <a:extLst>
                    <a:ext uri="{FF2B5EF4-FFF2-40B4-BE49-F238E27FC236}">
                      <a16:creationId xmlns:a16="http://schemas.microsoft.com/office/drawing/2014/main" id="{FF8CCA1C-B816-7A96-01EC-CB9B7591DB1B}"/>
                    </a:ext>
                  </a:extLst>
                </p:cNvPr>
                <p:cNvPicPr/>
                <p:nvPr/>
              </p:nvPicPr>
              <p:blipFill>
                <a:blip r:embed="rId307"/>
                <a:stretch>
                  <a:fillRect/>
                </a:stretch>
              </p:blipFill>
              <p:spPr>
                <a:xfrm>
                  <a:off x="10876061" y="4514972"/>
                  <a:ext cx="187200" cy="139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08">
              <p14:nvContentPartPr>
                <p14:cNvPr id="237" name="Ink 236">
                  <a:extLst>
                    <a:ext uri="{FF2B5EF4-FFF2-40B4-BE49-F238E27FC236}">
                      <a16:creationId xmlns:a16="http://schemas.microsoft.com/office/drawing/2014/main" id="{711372D0-C1FA-DD97-9FE0-21F464BB7B16}"/>
                    </a:ext>
                  </a:extLst>
                </p14:cNvPr>
                <p14:cNvContentPartPr/>
                <p14:nvPr/>
              </p14:nvContentPartPr>
              <p14:xfrm>
                <a:off x="11057501" y="4446212"/>
                <a:ext cx="2160" cy="87120"/>
              </p14:xfrm>
            </p:contentPart>
          </mc:Choice>
          <mc:Fallback>
            <p:pic>
              <p:nvPicPr>
                <p:cNvPr id="237" name="Ink 236">
                  <a:extLst>
                    <a:ext uri="{FF2B5EF4-FFF2-40B4-BE49-F238E27FC236}">
                      <a16:creationId xmlns:a16="http://schemas.microsoft.com/office/drawing/2014/main" id="{711372D0-C1FA-DD97-9FE0-21F464BB7B16}"/>
                    </a:ext>
                  </a:extLst>
                </p:cNvPr>
                <p:cNvPicPr/>
                <p:nvPr/>
              </p:nvPicPr>
              <p:blipFill>
                <a:blip r:embed="rId309"/>
                <a:stretch>
                  <a:fillRect/>
                </a:stretch>
              </p:blipFill>
              <p:spPr>
                <a:xfrm>
                  <a:off x="11042381" y="4431092"/>
                  <a:ext cx="32760" cy="117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10">
              <p14:nvContentPartPr>
                <p14:cNvPr id="238" name="Ink 237">
                  <a:extLst>
                    <a:ext uri="{FF2B5EF4-FFF2-40B4-BE49-F238E27FC236}">
                      <a16:creationId xmlns:a16="http://schemas.microsoft.com/office/drawing/2014/main" id="{68480DE9-5C66-26F9-C9F1-C6148DEC5C8D}"/>
                    </a:ext>
                  </a:extLst>
                </p14:cNvPr>
                <p14:cNvContentPartPr/>
                <p14:nvPr/>
              </p14:nvContentPartPr>
              <p14:xfrm>
                <a:off x="11123741" y="4444772"/>
                <a:ext cx="226800" cy="140760"/>
              </p14:xfrm>
            </p:contentPart>
          </mc:Choice>
          <mc:Fallback>
            <p:pic>
              <p:nvPicPr>
                <p:cNvPr id="238" name="Ink 237">
                  <a:extLst>
                    <a:ext uri="{FF2B5EF4-FFF2-40B4-BE49-F238E27FC236}">
                      <a16:creationId xmlns:a16="http://schemas.microsoft.com/office/drawing/2014/main" id="{68480DE9-5C66-26F9-C9F1-C6148DEC5C8D}"/>
                    </a:ext>
                  </a:extLst>
                </p:cNvPr>
                <p:cNvPicPr/>
                <p:nvPr/>
              </p:nvPicPr>
              <p:blipFill>
                <a:blip r:embed="rId311"/>
                <a:stretch>
                  <a:fillRect/>
                </a:stretch>
              </p:blipFill>
              <p:spPr>
                <a:xfrm>
                  <a:off x="11108621" y="4429292"/>
                  <a:ext cx="257400" cy="1713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48" name="Group 247">
            <a:extLst>
              <a:ext uri="{FF2B5EF4-FFF2-40B4-BE49-F238E27FC236}">
                <a16:creationId xmlns:a16="http://schemas.microsoft.com/office/drawing/2014/main" id="{B3CF2913-4108-AF70-172B-257FA9835F57}"/>
              </a:ext>
            </a:extLst>
          </p:cNvPr>
          <p:cNvGrpSpPr/>
          <p:nvPr/>
        </p:nvGrpSpPr>
        <p:grpSpPr>
          <a:xfrm>
            <a:off x="6286781" y="761972"/>
            <a:ext cx="1020600" cy="307800"/>
            <a:chOff x="6286781" y="761972"/>
            <a:chExt cx="1020600" cy="3078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312">
              <p14:nvContentPartPr>
                <p14:cNvPr id="240" name="Ink 239">
                  <a:extLst>
                    <a:ext uri="{FF2B5EF4-FFF2-40B4-BE49-F238E27FC236}">
                      <a16:creationId xmlns:a16="http://schemas.microsoft.com/office/drawing/2014/main" id="{83E6FDB5-6C0A-4620-2C19-3538FFCBA656}"/>
                    </a:ext>
                  </a:extLst>
                </p14:cNvPr>
                <p14:cNvContentPartPr/>
                <p14:nvPr/>
              </p14:nvContentPartPr>
              <p14:xfrm>
                <a:off x="6286781" y="869252"/>
                <a:ext cx="266400" cy="200520"/>
              </p14:xfrm>
            </p:contentPart>
          </mc:Choice>
          <mc:Fallback>
            <p:pic>
              <p:nvPicPr>
                <p:cNvPr id="240" name="Ink 239">
                  <a:extLst>
                    <a:ext uri="{FF2B5EF4-FFF2-40B4-BE49-F238E27FC236}">
                      <a16:creationId xmlns:a16="http://schemas.microsoft.com/office/drawing/2014/main" id="{83E6FDB5-6C0A-4620-2C19-3538FFCBA656}"/>
                    </a:ext>
                  </a:extLst>
                </p:cNvPr>
                <p:cNvPicPr/>
                <p:nvPr/>
              </p:nvPicPr>
              <p:blipFill>
                <a:blip r:embed="rId313"/>
                <a:stretch>
                  <a:fillRect/>
                </a:stretch>
              </p:blipFill>
              <p:spPr>
                <a:xfrm>
                  <a:off x="6271661" y="854132"/>
                  <a:ext cx="296640" cy="231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14">
              <p14:nvContentPartPr>
                <p14:cNvPr id="241" name="Ink 240">
                  <a:extLst>
                    <a:ext uri="{FF2B5EF4-FFF2-40B4-BE49-F238E27FC236}">
                      <a16:creationId xmlns:a16="http://schemas.microsoft.com/office/drawing/2014/main" id="{57BA445D-6B06-C2D5-5BBE-361FE56835B2}"/>
                    </a:ext>
                  </a:extLst>
                </p14:cNvPr>
                <p14:cNvContentPartPr/>
                <p14:nvPr/>
              </p14:nvContentPartPr>
              <p14:xfrm>
                <a:off x="6589181" y="877892"/>
                <a:ext cx="179280" cy="139680"/>
              </p14:xfrm>
            </p:contentPart>
          </mc:Choice>
          <mc:Fallback>
            <p:pic>
              <p:nvPicPr>
                <p:cNvPr id="241" name="Ink 240">
                  <a:extLst>
                    <a:ext uri="{FF2B5EF4-FFF2-40B4-BE49-F238E27FC236}">
                      <a16:creationId xmlns:a16="http://schemas.microsoft.com/office/drawing/2014/main" id="{57BA445D-6B06-C2D5-5BBE-361FE56835B2}"/>
                    </a:ext>
                  </a:extLst>
                </p:cNvPr>
                <p:cNvPicPr/>
                <p:nvPr/>
              </p:nvPicPr>
              <p:blipFill>
                <a:blip r:embed="rId315"/>
                <a:stretch>
                  <a:fillRect/>
                </a:stretch>
              </p:blipFill>
              <p:spPr>
                <a:xfrm>
                  <a:off x="6574061" y="862412"/>
                  <a:ext cx="209520" cy="170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16">
              <p14:nvContentPartPr>
                <p14:cNvPr id="242" name="Ink 241">
                  <a:extLst>
                    <a:ext uri="{FF2B5EF4-FFF2-40B4-BE49-F238E27FC236}">
                      <a16:creationId xmlns:a16="http://schemas.microsoft.com/office/drawing/2014/main" id="{A3B6505D-D252-969B-FF5B-79DD92FD6A0F}"/>
                    </a:ext>
                  </a:extLst>
                </p14:cNvPr>
                <p14:cNvContentPartPr/>
                <p14:nvPr/>
              </p14:nvContentPartPr>
              <p14:xfrm>
                <a:off x="6765581" y="872852"/>
                <a:ext cx="14400" cy="92520"/>
              </p14:xfrm>
            </p:contentPart>
          </mc:Choice>
          <mc:Fallback>
            <p:pic>
              <p:nvPicPr>
                <p:cNvPr id="242" name="Ink 241">
                  <a:extLst>
                    <a:ext uri="{FF2B5EF4-FFF2-40B4-BE49-F238E27FC236}">
                      <a16:creationId xmlns:a16="http://schemas.microsoft.com/office/drawing/2014/main" id="{A3B6505D-D252-969B-FF5B-79DD92FD6A0F}"/>
                    </a:ext>
                  </a:extLst>
                </p:cNvPr>
                <p:cNvPicPr/>
                <p:nvPr/>
              </p:nvPicPr>
              <p:blipFill>
                <a:blip r:embed="rId317"/>
                <a:stretch>
                  <a:fillRect/>
                </a:stretch>
              </p:blipFill>
              <p:spPr>
                <a:xfrm>
                  <a:off x="6750101" y="857732"/>
                  <a:ext cx="45000" cy="123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18">
              <p14:nvContentPartPr>
                <p14:cNvPr id="243" name="Ink 242">
                  <a:extLst>
                    <a:ext uri="{FF2B5EF4-FFF2-40B4-BE49-F238E27FC236}">
                      <a16:creationId xmlns:a16="http://schemas.microsoft.com/office/drawing/2014/main" id="{3B1FFA18-3FDD-496B-6D63-BB81A9F38605}"/>
                    </a:ext>
                  </a:extLst>
                </p14:cNvPr>
                <p14:cNvContentPartPr/>
                <p14:nvPr/>
              </p14:nvContentPartPr>
              <p14:xfrm>
                <a:off x="6758021" y="761972"/>
                <a:ext cx="5040" cy="43560"/>
              </p14:xfrm>
            </p:contentPart>
          </mc:Choice>
          <mc:Fallback>
            <p:pic>
              <p:nvPicPr>
                <p:cNvPr id="243" name="Ink 242">
                  <a:extLst>
                    <a:ext uri="{FF2B5EF4-FFF2-40B4-BE49-F238E27FC236}">
                      <a16:creationId xmlns:a16="http://schemas.microsoft.com/office/drawing/2014/main" id="{3B1FFA18-3FDD-496B-6D63-BB81A9F38605}"/>
                    </a:ext>
                  </a:extLst>
                </p:cNvPr>
                <p:cNvPicPr/>
                <p:nvPr/>
              </p:nvPicPr>
              <p:blipFill>
                <a:blip r:embed="rId319"/>
                <a:stretch>
                  <a:fillRect/>
                </a:stretch>
              </p:blipFill>
              <p:spPr>
                <a:xfrm>
                  <a:off x="6742541" y="746852"/>
                  <a:ext cx="35640" cy="74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20">
              <p14:nvContentPartPr>
                <p14:cNvPr id="244" name="Ink 243">
                  <a:extLst>
                    <a:ext uri="{FF2B5EF4-FFF2-40B4-BE49-F238E27FC236}">
                      <a16:creationId xmlns:a16="http://schemas.microsoft.com/office/drawing/2014/main" id="{36E4E049-744E-BC2E-0917-6598FDB3CAC4}"/>
                    </a:ext>
                  </a:extLst>
                </p14:cNvPr>
                <p14:cNvContentPartPr/>
                <p14:nvPr/>
              </p14:nvContentPartPr>
              <p14:xfrm>
                <a:off x="6857381" y="788972"/>
                <a:ext cx="128520" cy="217440"/>
              </p14:xfrm>
            </p:contentPart>
          </mc:Choice>
          <mc:Fallback>
            <p:pic>
              <p:nvPicPr>
                <p:cNvPr id="244" name="Ink 243">
                  <a:extLst>
                    <a:ext uri="{FF2B5EF4-FFF2-40B4-BE49-F238E27FC236}">
                      <a16:creationId xmlns:a16="http://schemas.microsoft.com/office/drawing/2014/main" id="{36E4E049-744E-BC2E-0917-6598FDB3CAC4}"/>
                    </a:ext>
                  </a:extLst>
                </p:cNvPr>
                <p:cNvPicPr/>
                <p:nvPr/>
              </p:nvPicPr>
              <p:blipFill>
                <a:blip r:embed="rId321"/>
                <a:stretch>
                  <a:fillRect/>
                </a:stretch>
              </p:blipFill>
              <p:spPr>
                <a:xfrm>
                  <a:off x="6842261" y="773852"/>
                  <a:ext cx="159120" cy="247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22">
              <p14:nvContentPartPr>
                <p14:cNvPr id="245" name="Ink 244">
                  <a:extLst>
                    <a:ext uri="{FF2B5EF4-FFF2-40B4-BE49-F238E27FC236}">
                      <a16:creationId xmlns:a16="http://schemas.microsoft.com/office/drawing/2014/main" id="{3E239A32-81D1-4D9C-131C-A61181B770EF}"/>
                    </a:ext>
                  </a:extLst>
                </p14:cNvPr>
                <p14:cNvContentPartPr/>
                <p14:nvPr/>
              </p14:nvContentPartPr>
              <p14:xfrm>
                <a:off x="7088141" y="871772"/>
                <a:ext cx="40320" cy="16560"/>
              </p14:xfrm>
            </p:contentPart>
          </mc:Choice>
          <mc:Fallback>
            <p:pic>
              <p:nvPicPr>
                <p:cNvPr id="245" name="Ink 244">
                  <a:extLst>
                    <a:ext uri="{FF2B5EF4-FFF2-40B4-BE49-F238E27FC236}">
                      <a16:creationId xmlns:a16="http://schemas.microsoft.com/office/drawing/2014/main" id="{3E239A32-81D1-4D9C-131C-A61181B770EF}"/>
                    </a:ext>
                  </a:extLst>
                </p:cNvPr>
                <p:cNvPicPr/>
                <p:nvPr/>
              </p:nvPicPr>
              <p:blipFill>
                <a:blip r:embed="rId323"/>
                <a:stretch>
                  <a:fillRect/>
                </a:stretch>
              </p:blipFill>
              <p:spPr>
                <a:xfrm>
                  <a:off x="7073021" y="856652"/>
                  <a:ext cx="70920" cy="47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24">
              <p14:nvContentPartPr>
                <p14:cNvPr id="246" name="Ink 245">
                  <a:extLst>
                    <a:ext uri="{FF2B5EF4-FFF2-40B4-BE49-F238E27FC236}">
                      <a16:creationId xmlns:a16="http://schemas.microsoft.com/office/drawing/2014/main" id="{F40BE8CF-923E-9E20-471D-215CB3F22E80}"/>
                    </a:ext>
                  </a:extLst>
                </p14:cNvPr>
                <p14:cNvContentPartPr/>
                <p14:nvPr/>
              </p14:nvContentPartPr>
              <p14:xfrm>
                <a:off x="7067981" y="934772"/>
                <a:ext cx="102600" cy="20160"/>
              </p14:xfrm>
            </p:contentPart>
          </mc:Choice>
          <mc:Fallback>
            <p:pic>
              <p:nvPicPr>
                <p:cNvPr id="246" name="Ink 245">
                  <a:extLst>
                    <a:ext uri="{FF2B5EF4-FFF2-40B4-BE49-F238E27FC236}">
                      <a16:creationId xmlns:a16="http://schemas.microsoft.com/office/drawing/2014/main" id="{F40BE8CF-923E-9E20-471D-215CB3F22E80}"/>
                    </a:ext>
                  </a:extLst>
                </p:cNvPr>
                <p:cNvPicPr/>
                <p:nvPr/>
              </p:nvPicPr>
              <p:blipFill>
                <a:blip r:embed="rId325"/>
                <a:stretch>
                  <a:fillRect/>
                </a:stretch>
              </p:blipFill>
              <p:spPr>
                <a:xfrm>
                  <a:off x="7052861" y="919652"/>
                  <a:ext cx="133200" cy="50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26">
              <p14:nvContentPartPr>
                <p14:cNvPr id="247" name="Ink 246">
                  <a:extLst>
                    <a:ext uri="{FF2B5EF4-FFF2-40B4-BE49-F238E27FC236}">
                      <a16:creationId xmlns:a16="http://schemas.microsoft.com/office/drawing/2014/main" id="{9A70CE8A-66FF-36A5-C423-C6005C032B4E}"/>
                    </a:ext>
                  </a:extLst>
                </p14:cNvPr>
                <p14:cNvContentPartPr/>
                <p14:nvPr/>
              </p14:nvContentPartPr>
              <p14:xfrm>
                <a:off x="7286501" y="853772"/>
                <a:ext cx="20880" cy="161640"/>
              </p14:xfrm>
            </p:contentPart>
          </mc:Choice>
          <mc:Fallback>
            <p:pic>
              <p:nvPicPr>
                <p:cNvPr id="247" name="Ink 246">
                  <a:extLst>
                    <a:ext uri="{FF2B5EF4-FFF2-40B4-BE49-F238E27FC236}">
                      <a16:creationId xmlns:a16="http://schemas.microsoft.com/office/drawing/2014/main" id="{9A70CE8A-66FF-36A5-C423-C6005C032B4E}"/>
                    </a:ext>
                  </a:extLst>
                </p:cNvPr>
                <p:cNvPicPr/>
                <p:nvPr/>
              </p:nvPicPr>
              <p:blipFill>
                <a:blip r:embed="rId327"/>
                <a:stretch>
                  <a:fillRect/>
                </a:stretch>
              </p:blipFill>
              <p:spPr>
                <a:xfrm>
                  <a:off x="7271021" y="838292"/>
                  <a:ext cx="51120" cy="19224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328">
            <p14:nvContentPartPr>
              <p14:cNvPr id="262" name="Ink 261">
                <a:extLst>
                  <a:ext uri="{FF2B5EF4-FFF2-40B4-BE49-F238E27FC236}">
                    <a16:creationId xmlns:a16="http://schemas.microsoft.com/office/drawing/2014/main" id="{B6F1164A-830B-E698-C7A9-2B46F9FF1A52}"/>
                  </a:ext>
                </a:extLst>
              </p14:cNvPr>
              <p14:cNvContentPartPr/>
              <p14:nvPr/>
            </p14:nvContentPartPr>
            <p14:xfrm>
              <a:off x="6587381" y="2176412"/>
              <a:ext cx="60840" cy="171720"/>
            </p14:xfrm>
          </p:contentPart>
        </mc:Choice>
        <mc:Fallback>
          <p:pic>
            <p:nvPicPr>
              <p:cNvPr id="262" name="Ink 261">
                <a:extLst>
                  <a:ext uri="{FF2B5EF4-FFF2-40B4-BE49-F238E27FC236}">
                    <a16:creationId xmlns:a16="http://schemas.microsoft.com/office/drawing/2014/main" id="{B6F1164A-830B-E698-C7A9-2B46F9FF1A52}"/>
                  </a:ext>
                </a:extLst>
              </p:cNvPr>
              <p:cNvPicPr/>
              <p:nvPr/>
            </p:nvPicPr>
            <p:blipFill>
              <a:blip r:embed="rId329"/>
              <a:stretch>
                <a:fillRect/>
              </a:stretch>
            </p:blipFill>
            <p:spPr>
              <a:xfrm>
                <a:off x="6571901" y="2160932"/>
                <a:ext cx="91440" cy="202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30">
            <p14:nvContentPartPr>
              <p14:cNvPr id="263" name="Ink 262">
                <a:extLst>
                  <a:ext uri="{FF2B5EF4-FFF2-40B4-BE49-F238E27FC236}">
                    <a16:creationId xmlns:a16="http://schemas.microsoft.com/office/drawing/2014/main" id="{12CE4805-315F-C556-ACE8-6FC1002F7861}"/>
                  </a:ext>
                </a:extLst>
              </p14:cNvPr>
              <p14:cNvContentPartPr/>
              <p14:nvPr/>
            </p14:nvContentPartPr>
            <p14:xfrm>
              <a:off x="6772421" y="2963372"/>
              <a:ext cx="24120" cy="106560"/>
            </p14:xfrm>
          </p:contentPart>
        </mc:Choice>
        <mc:Fallback>
          <p:pic>
            <p:nvPicPr>
              <p:cNvPr id="263" name="Ink 262">
                <a:extLst>
                  <a:ext uri="{FF2B5EF4-FFF2-40B4-BE49-F238E27FC236}">
                    <a16:creationId xmlns:a16="http://schemas.microsoft.com/office/drawing/2014/main" id="{12CE4805-315F-C556-ACE8-6FC1002F7861}"/>
                  </a:ext>
                </a:extLst>
              </p:cNvPr>
              <p:cNvPicPr/>
              <p:nvPr/>
            </p:nvPicPr>
            <p:blipFill>
              <a:blip r:embed="rId331"/>
              <a:stretch>
                <a:fillRect/>
              </a:stretch>
            </p:blipFill>
            <p:spPr>
              <a:xfrm>
                <a:off x="6757301" y="2948252"/>
                <a:ext cx="54720" cy="1371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32">
            <p14:nvContentPartPr>
              <p14:cNvPr id="265" name="Ink 264">
                <a:extLst>
                  <a:ext uri="{FF2B5EF4-FFF2-40B4-BE49-F238E27FC236}">
                    <a16:creationId xmlns:a16="http://schemas.microsoft.com/office/drawing/2014/main" id="{4221B617-9F4A-0433-7511-D05FD7A6AAB3}"/>
                  </a:ext>
                </a:extLst>
              </p14:cNvPr>
              <p14:cNvContentPartPr/>
              <p14:nvPr/>
            </p14:nvContentPartPr>
            <p14:xfrm>
              <a:off x="7220981" y="3645212"/>
              <a:ext cx="65880" cy="87480"/>
            </p14:xfrm>
          </p:contentPart>
        </mc:Choice>
        <mc:Fallback>
          <p:pic>
            <p:nvPicPr>
              <p:cNvPr id="265" name="Ink 264">
                <a:extLst>
                  <a:ext uri="{FF2B5EF4-FFF2-40B4-BE49-F238E27FC236}">
                    <a16:creationId xmlns:a16="http://schemas.microsoft.com/office/drawing/2014/main" id="{4221B617-9F4A-0433-7511-D05FD7A6AAB3}"/>
                  </a:ext>
                </a:extLst>
              </p:cNvPr>
              <p:cNvPicPr/>
              <p:nvPr/>
            </p:nvPicPr>
            <p:blipFill>
              <a:blip r:embed="rId333"/>
              <a:stretch>
                <a:fillRect/>
              </a:stretch>
            </p:blipFill>
            <p:spPr>
              <a:xfrm>
                <a:off x="7205501" y="3630092"/>
                <a:ext cx="96120" cy="118080"/>
              </a:xfrm>
              <a:prstGeom prst="rect">
                <a:avLst/>
              </a:prstGeom>
            </p:spPr>
          </p:pic>
        </mc:Fallback>
      </mc:AlternateContent>
      <p:grpSp>
        <p:nvGrpSpPr>
          <p:cNvPr id="267" name="Group 266">
            <a:extLst>
              <a:ext uri="{FF2B5EF4-FFF2-40B4-BE49-F238E27FC236}">
                <a16:creationId xmlns:a16="http://schemas.microsoft.com/office/drawing/2014/main" id="{59DDCD4A-227D-FA80-9EFD-D0D6B2241E07}"/>
              </a:ext>
            </a:extLst>
          </p:cNvPr>
          <p:cNvGrpSpPr/>
          <p:nvPr/>
        </p:nvGrpSpPr>
        <p:grpSpPr>
          <a:xfrm>
            <a:off x="6759821" y="4113212"/>
            <a:ext cx="457560" cy="104400"/>
            <a:chOff x="6759821" y="4113212"/>
            <a:chExt cx="457560" cy="1044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334">
              <p14:nvContentPartPr>
                <p14:cNvPr id="196" name="Ink 195">
                  <a:extLst>
                    <a:ext uri="{FF2B5EF4-FFF2-40B4-BE49-F238E27FC236}">
                      <a16:creationId xmlns:a16="http://schemas.microsoft.com/office/drawing/2014/main" id="{747B9ACE-7E10-B6A3-C306-F1FCB8E9FE67}"/>
                    </a:ext>
                  </a:extLst>
                </p14:cNvPr>
                <p14:cNvContentPartPr/>
                <p14:nvPr/>
              </p14:nvContentPartPr>
              <p14:xfrm>
                <a:off x="6759821" y="4160732"/>
                <a:ext cx="372960" cy="21960"/>
              </p14:xfrm>
            </p:contentPart>
          </mc:Choice>
          <mc:Fallback>
            <p:pic>
              <p:nvPicPr>
                <p:cNvPr id="196" name="Ink 195">
                  <a:extLst>
                    <a:ext uri="{FF2B5EF4-FFF2-40B4-BE49-F238E27FC236}">
                      <a16:creationId xmlns:a16="http://schemas.microsoft.com/office/drawing/2014/main" id="{747B9ACE-7E10-B6A3-C306-F1FCB8E9FE67}"/>
                    </a:ext>
                  </a:extLst>
                </p:cNvPr>
                <p:cNvPicPr/>
                <p:nvPr/>
              </p:nvPicPr>
              <p:blipFill>
                <a:blip r:embed="rId335"/>
                <a:stretch>
                  <a:fillRect/>
                </a:stretch>
              </p:blipFill>
              <p:spPr>
                <a:xfrm>
                  <a:off x="6744341" y="4145252"/>
                  <a:ext cx="403560" cy="52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36">
              <p14:nvContentPartPr>
                <p14:cNvPr id="197" name="Ink 196">
                  <a:extLst>
                    <a:ext uri="{FF2B5EF4-FFF2-40B4-BE49-F238E27FC236}">
                      <a16:creationId xmlns:a16="http://schemas.microsoft.com/office/drawing/2014/main" id="{150052EF-2467-7C19-D29D-963F8C662164}"/>
                    </a:ext>
                  </a:extLst>
                </p14:cNvPr>
                <p14:cNvContentPartPr/>
                <p14:nvPr/>
              </p14:nvContentPartPr>
              <p14:xfrm>
                <a:off x="7217021" y="4162172"/>
                <a:ext cx="360" cy="360"/>
              </p14:xfrm>
            </p:contentPart>
          </mc:Choice>
          <mc:Fallback>
            <p:pic>
              <p:nvPicPr>
                <p:cNvPr id="197" name="Ink 196">
                  <a:extLst>
                    <a:ext uri="{FF2B5EF4-FFF2-40B4-BE49-F238E27FC236}">
                      <a16:creationId xmlns:a16="http://schemas.microsoft.com/office/drawing/2014/main" id="{150052EF-2467-7C19-D29D-963F8C662164}"/>
                    </a:ext>
                  </a:extLst>
                </p:cNvPr>
                <p:cNvPicPr/>
                <p:nvPr/>
              </p:nvPicPr>
              <p:blipFill>
                <a:blip r:embed="rId337"/>
                <a:stretch>
                  <a:fillRect/>
                </a:stretch>
              </p:blipFill>
              <p:spPr>
                <a:xfrm>
                  <a:off x="7201541" y="4147052"/>
                  <a:ext cx="30960" cy="30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38">
              <p14:nvContentPartPr>
                <p14:cNvPr id="266" name="Ink 265">
                  <a:extLst>
                    <a:ext uri="{FF2B5EF4-FFF2-40B4-BE49-F238E27FC236}">
                      <a16:creationId xmlns:a16="http://schemas.microsoft.com/office/drawing/2014/main" id="{19792E95-31D9-2D36-5446-B939053410DD}"/>
                    </a:ext>
                  </a:extLst>
                </p14:cNvPr>
                <p14:cNvContentPartPr/>
                <p14:nvPr/>
              </p14:nvContentPartPr>
              <p14:xfrm>
                <a:off x="7089941" y="4113212"/>
                <a:ext cx="77760" cy="104400"/>
              </p14:xfrm>
            </p:contentPart>
          </mc:Choice>
          <mc:Fallback>
            <p:pic>
              <p:nvPicPr>
                <p:cNvPr id="266" name="Ink 265">
                  <a:extLst>
                    <a:ext uri="{FF2B5EF4-FFF2-40B4-BE49-F238E27FC236}">
                      <a16:creationId xmlns:a16="http://schemas.microsoft.com/office/drawing/2014/main" id="{19792E95-31D9-2D36-5446-B939053410DD}"/>
                    </a:ext>
                  </a:extLst>
                </p:cNvPr>
                <p:cNvPicPr/>
                <p:nvPr/>
              </p:nvPicPr>
              <p:blipFill>
                <a:blip r:embed="rId339"/>
                <a:stretch>
                  <a:fillRect/>
                </a:stretch>
              </p:blipFill>
              <p:spPr>
                <a:xfrm>
                  <a:off x="7074461" y="4098092"/>
                  <a:ext cx="108000" cy="13464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340">
            <p14:nvContentPartPr>
              <p14:cNvPr id="268" name="Ink 267">
                <a:extLst>
                  <a:ext uri="{FF2B5EF4-FFF2-40B4-BE49-F238E27FC236}">
                    <a16:creationId xmlns:a16="http://schemas.microsoft.com/office/drawing/2014/main" id="{237A3F92-5633-B13D-2475-15F330E5EAD5}"/>
                  </a:ext>
                </a:extLst>
              </p14:cNvPr>
              <p14:cNvContentPartPr/>
              <p14:nvPr/>
            </p14:nvContentPartPr>
            <p14:xfrm>
              <a:off x="5851901" y="2403932"/>
              <a:ext cx="23760" cy="9000"/>
            </p14:xfrm>
          </p:contentPart>
        </mc:Choice>
        <mc:Fallback>
          <p:pic>
            <p:nvPicPr>
              <p:cNvPr id="268" name="Ink 267">
                <a:extLst>
                  <a:ext uri="{FF2B5EF4-FFF2-40B4-BE49-F238E27FC236}">
                    <a16:creationId xmlns:a16="http://schemas.microsoft.com/office/drawing/2014/main" id="{237A3F92-5633-B13D-2475-15F330E5EAD5}"/>
                  </a:ext>
                </a:extLst>
              </p:cNvPr>
              <p:cNvPicPr/>
              <p:nvPr/>
            </p:nvPicPr>
            <p:blipFill>
              <a:blip r:embed="rId341"/>
              <a:stretch>
                <a:fillRect/>
              </a:stretch>
            </p:blipFill>
            <p:spPr>
              <a:xfrm>
                <a:off x="5836421" y="2388452"/>
                <a:ext cx="54000" cy="392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42">
            <p14:nvContentPartPr>
              <p14:cNvPr id="269" name="Ink 268">
                <a:extLst>
                  <a:ext uri="{FF2B5EF4-FFF2-40B4-BE49-F238E27FC236}">
                    <a16:creationId xmlns:a16="http://schemas.microsoft.com/office/drawing/2014/main" id="{1062D6E3-5013-1AC5-0E47-9608950871A4}"/>
                  </a:ext>
                </a:extLst>
              </p14:cNvPr>
              <p14:cNvContentPartPr/>
              <p14:nvPr/>
            </p14:nvContentPartPr>
            <p14:xfrm>
              <a:off x="7227461" y="4297532"/>
              <a:ext cx="10440" cy="3240"/>
            </p14:xfrm>
          </p:contentPart>
        </mc:Choice>
        <mc:Fallback>
          <p:pic>
            <p:nvPicPr>
              <p:cNvPr id="269" name="Ink 268">
                <a:extLst>
                  <a:ext uri="{FF2B5EF4-FFF2-40B4-BE49-F238E27FC236}">
                    <a16:creationId xmlns:a16="http://schemas.microsoft.com/office/drawing/2014/main" id="{1062D6E3-5013-1AC5-0E47-9608950871A4}"/>
                  </a:ext>
                </a:extLst>
              </p:cNvPr>
              <p:cNvPicPr/>
              <p:nvPr/>
            </p:nvPicPr>
            <p:blipFill>
              <a:blip r:embed="rId343"/>
              <a:stretch>
                <a:fillRect/>
              </a:stretch>
            </p:blipFill>
            <p:spPr>
              <a:xfrm>
                <a:off x="7211981" y="4282412"/>
                <a:ext cx="41040" cy="338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44">
            <p14:nvContentPartPr>
              <p14:cNvPr id="270" name="Ink 269">
                <a:extLst>
                  <a:ext uri="{FF2B5EF4-FFF2-40B4-BE49-F238E27FC236}">
                    <a16:creationId xmlns:a16="http://schemas.microsoft.com/office/drawing/2014/main" id="{67AEEE62-7DC5-2D01-CD93-AA0FD8A91383}"/>
                  </a:ext>
                </a:extLst>
              </p14:cNvPr>
              <p14:cNvContentPartPr/>
              <p14:nvPr/>
            </p14:nvContentPartPr>
            <p14:xfrm>
              <a:off x="10055261" y="4842932"/>
              <a:ext cx="354960" cy="54360"/>
            </p14:xfrm>
          </p:contentPart>
        </mc:Choice>
        <mc:Fallback>
          <p:pic>
            <p:nvPicPr>
              <p:cNvPr id="270" name="Ink 269">
                <a:extLst>
                  <a:ext uri="{FF2B5EF4-FFF2-40B4-BE49-F238E27FC236}">
                    <a16:creationId xmlns:a16="http://schemas.microsoft.com/office/drawing/2014/main" id="{67AEEE62-7DC5-2D01-CD93-AA0FD8A91383}"/>
                  </a:ext>
                </a:extLst>
              </p:cNvPr>
              <p:cNvPicPr/>
              <p:nvPr/>
            </p:nvPicPr>
            <p:blipFill>
              <a:blip r:embed="rId345"/>
              <a:stretch>
                <a:fillRect/>
              </a:stretch>
            </p:blipFill>
            <p:spPr>
              <a:xfrm>
                <a:off x="10040141" y="4827812"/>
                <a:ext cx="385560" cy="849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46">
            <p14:nvContentPartPr>
              <p14:cNvPr id="271" name="Ink 270">
                <a:extLst>
                  <a:ext uri="{FF2B5EF4-FFF2-40B4-BE49-F238E27FC236}">
                    <a16:creationId xmlns:a16="http://schemas.microsoft.com/office/drawing/2014/main" id="{CCEBA601-C248-9B49-14D0-66DE792FB2DC}"/>
                  </a:ext>
                </a:extLst>
              </p14:cNvPr>
              <p14:cNvContentPartPr/>
              <p14:nvPr/>
            </p14:nvContentPartPr>
            <p14:xfrm>
              <a:off x="7150421" y="3483572"/>
              <a:ext cx="98280" cy="32760"/>
            </p14:xfrm>
          </p:contentPart>
        </mc:Choice>
        <mc:Fallback>
          <p:pic>
            <p:nvPicPr>
              <p:cNvPr id="271" name="Ink 270">
                <a:extLst>
                  <a:ext uri="{FF2B5EF4-FFF2-40B4-BE49-F238E27FC236}">
                    <a16:creationId xmlns:a16="http://schemas.microsoft.com/office/drawing/2014/main" id="{CCEBA601-C248-9B49-14D0-66DE792FB2DC}"/>
                  </a:ext>
                </a:extLst>
              </p:cNvPr>
              <p:cNvPicPr/>
              <p:nvPr/>
            </p:nvPicPr>
            <p:blipFill>
              <a:blip r:embed="rId347"/>
              <a:stretch>
                <a:fillRect/>
              </a:stretch>
            </p:blipFill>
            <p:spPr>
              <a:xfrm>
                <a:off x="7134941" y="3468452"/>
                <a:ext cx="128880" cy="63000"/>
              </a:xfrm>
              <a:prstGeom prst="rect">
                <a:avLst/>
              </a:prstGeom>
            </p:spPr>
          </p:pic>
        </mc:Fallback>
      </mc:AlternateContent>
      <p:grpSp>
        <p:nvGrpSpPr>
          <p:cNvPr id="276" name="Group 275">
            <a:extLst>
              <a:ext uri="{FF2B5EF4-FFF2-40B4-BE49-F238E27FC236}">
                <a16:creationId xmlns:a16="http://schemas.microsoft.com/office/drawing/2014/main" id="{23C4EC2F-62A5-2E20-4E0D-36B880458589}"/>
              </a:ext>
            </a:extLst>
          </p:cNvPr>
          <p:cNvGrpSpPr/>
          <p:nvPr/>
        </p:nvGrpSpPr>
        <p:grpSpPr>
          <a:xfrm>
            <a:off x="5904821" y="3581132"/>
            <a:ext cx="144360" cy="192960"/>
            <a:chOff x="5904821" y="3581132"/>
            <a:chExt cx="144360" cy="1929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348">
              <p14:nvContentPartPr>
                <p14:cNvPr id="272" name="Ink 271">
                  <a:extLst>
                    <a:ext uri="{FF2B5EF4-FFF2-40B4-BE49-F238E27FC236}">
                      <a16:creationId xmlns:a16="http://schemas.microsoft.com/office/drawing/2014/main" id="{C163455E-8400-CCD2-4313-AE435ECBBDB5}"/>
                    </a:ext>
                  </a:extLst>
                </p14:cNvPr>
                <p14:cNvContentPartPr/>
                <p14:nvPr/>
              </p14:nvContentPartPr>
              <p14:xfrm>
                <a:off x="5915621" y="3663212"/>
                <a:ext cx="3960" cy="8640"/>
              </p14:xfrm>
            </p:contentPart>
          </mc:Choice>
          <mc:Fallback>
            <p:pic>
              <p:nvPicPr>
                <p:cNvPr id="272" name="Ink 271">
                  <a:extLst>
                    <a:ext uri="{FF2B5EF4-FFF2-40B4-BE49-F238E27FC236}">
                      <a16:creationId xmlns:a16="http://schemas.microsoft.com/office/drawing/2014/main" id="{C163455E-8400-CCD2-4313-AE435ECBBDB5}"/>
                    </a:ext>
                  </a:extLst>
                </p:cNvPr>
                <p:cNvPicPr/>
                <p:nvPr/>
              </p:nvPicPr>
              <p:blipFill>
                <a:blip r:embed="rId349"/>
                <a:stretch>
                  <a:fillRect/>
                </a:stretch>
              </p:blipFill>
              <p:spPr>
                <a:xfrm>
                  <a:off x="5900141" y="3648092"/>
                  <a:ext cx="34200" cy="39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50">
              <p14:nvContentPartPr>
                <p14:cNvPr id="273" name="Ink 272">
                  <a:extLst>
                    <a:ext uri="{FF2B5EF4-FFF2-40B4-BE49-F238E27FC236}">
                      <a16:creationId xmlns:a16="http://schemas.microsoft.com/office/drawing/2014/main" id="{A93F030F-1975-BBC4-E864-5E5B64263886}"/>
                    </a:ext>
                  </a:extLst>
                </p14:cNvPr>
                <p14:cNvContentPartPr/>
                <p14:nvPr/>
              </p14:nvContentPartPr>
              <p14:xfrm>
                <a:off x="5993381" y="3581852"/>
                <a:ext cx="9720" cy="129600"/>
              </p14:xfrm>
            </p:contentPart>
          </mc:Choice>
          <mc:Fallback>
            <p:pic>
              <p:nvPicPr>
                <p:cNvPr id="273" name="Ink 272">
                  <a:extLst>
                    <a:ext uri="{FF2B5EF4-FFF2-40B4-BE49-F238E27FC236}">
                      <a16:creationId xmlns:a16="http://schemas.microsoft.com/office/drawing/2014/main" id="{A93F030F-1975-BBC4-E864-5E5B64263886}"/>
                    </a:ext>
                  </a:extLst>
                </p:cNvPr>
                <p:cNvPicPr/>
                <p:nvPr/>
              </p:nvPicPr>
              <p:blipFill>
                <a:blip r:embed="rId351"/>
                <a:stretch>
                  <a:fillRect/>
                </a:stretch>
              </p:blipFill>
              <p:spPr>
                <a:xfrm>
                  <a:off x="5978261" y="3566732"/>
                  <a:ext cx="40320" cy="160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52">
              <p14:nvContentPartPr>
                <p14:cNvPr id="274" name="Ink 273">
                  <a:extLst>
                    <a:ext uri="{FF2B5EF4-FFF2-40B4-BE49-F238E27FC236}">
                      <a16:creationId xmlns:a16="http://schemas.microsoft.com/office/drawing/2014/main" id="{C5BA7E67-E371-91F8-5DA9-2B46AC4FFE0A}"/>
                    </a:ext>
                  </a:extLst>
                </p14:cNvPr>
                <p14:cNvContentPartPr/>
                <p14:nvPr/>
              </p14:nvContentPartPr>
              <p14:xfrm>
                <a:off x="5927141" y="3581132"/>
                <a:ext cx="45000" cy="82440"/>
              </p14:xfrm>
            </p:contentPart>
          </mc:Choice>
          <mc:Fallback>
            <p:pic>
              <p:nvPicPr>
                <p:cNvPr id="274" name="Ink 273">
                  <a:extLst>
                    <a:ext uri="{FF2B5EF4-FFF2-40B4-BE49-F238E27FC236}">
                      <a16:creationId xmlns:a16="http://schemas.microsoft.com/office/drawing/2014/main" id="{C5BA7E67-E371-91F8-5DA9-2B46AC4FFE0A}"/>
                    </a:ext>
                  </a:extLst>
                </p:cNvPr>
                <p:cNvPicPr/>
                <p:nvPr/>
              </p:nvPicPr>
              <p:blipFill>
                <a:blip r:embed="rId353"/>
                <a:stretch>
                  <a:fillRect/>
                </a:stretch>
              </p:blipFill>
              <p:spPr>
                <a:xfrm>
                  <a:off x="5912021" y="3565652"/>
                  <a:ext cx="75600" cy="113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54">
              <p14:nvContentPartPr>
                <p14:cNvPr id="275" name="Ink 274">
                  <a:extLst>
                    <a:ext uri="{FF2B5EF4-FFF2-40B4-BE49-F238E27FC236}">
                      <a16:creationId xmlns:a16="http://schemas.microsoft.com/office/drawing/2014/main" id="{146CF1B9-072D-A610-A04B-686C5B2F45B8}"/>
                    </a:ext>
                  </a:extLst>
                </p14:cNvPr>
                <p14:cNvContentPartPr/>
                <p14:nvPr/>
              </p14:nvContentPartPr>
              <p14:xfrm>
                <a:off x="5904821" y="3754292"/>
                <a:ext cx="144360" cy="19800"/>
              </p14:xfrm>
            </p:contentPart>
          </mc:Choice>
          <mc:Fallback>
            <p:pic>
              <p:nvPicPr>
                <p:cNvPr id="275" name="Ink 274">
                  <a:extLst>
                    <a:ext uri="{FF2B5EF4-FFF2-40B4-BE49-F238E27FC236}">
                      <a16:creationId xmlns:a16="http://schemas.microsoft.com/office/drawing/2014/main" id="{146CF1B9-072D-A610-A04B-686C5B2F45B8}"/>
                    </a:ext>
                  </a:extLst>
                </p:cNvPr>
                <p:cNvPicPr/>
                <p:nvPr/>
              </p:nvPicPr>
              <p:blipFill>
                <a:blip r:embed="rId355"/>
                <a:stretch>
                  <a:fillRect/>
                </a:stretch>
              </p:blipFill>
              <p:spPr>
                <a:xfrm>
                  <a:off x="5889341" y="3738812"/>
                  <a:ext cx="174600" cy="5040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356">
            <p14:nvContentPartPr>
              <p14:cNvPr id="282" name="Ink 281">
                <a:extLst>
                  <a:ext uri="{FF2B5EF4-FFF2-40B4-BE49-F238E27FC236}">
                    <a16:creationId xmlns:a16="http://schemas.microsoft.com/office/drawing/2014/main" id="{F7EEEA37-4580-462D-1AEF-1CC7012A8A0C}"/>
                  </a:ext>
                </a:extLst>
              </p14:cNvPr>
              <p14:cNvContentPartPr/>
              <p14:nvPr/>
            </p14:nvContentPartPr>
            <p14:xfrm>
              <a:off x="9756101" y="815612"/>
              <a:ext cx="7560" cy="159120"/>
            </p14:xfrm>
          </p:contentPart>
        </mc:Choice>
        <mc:Fallback>
          <p:pic>
            <p:nvPicPr>
              <p:cNvPr id="282" name="Ink 281">
                <a:extLst>
                  <a:ext uri="{FF2B5EF4-FFF2-40B4-BE49-F238E27FC236}">
                    <a16:creationId xmlns:a16="http://schemas.microsoft.com/office/drawing/2014/main" id="{F7EEEA37-4580-462D-1AEF-1CC7012A8A0C}"/>
                  </a:ext>
                </a:extLst>
              </p:cNvPr>
              <p:cNvPicPr/>
              <p:nvPr/>
            </p:nvPicPr>
            <p:blipFill>
              <a:blip r:embed="rId357"/>
              <a:stretch>
                <a:fillRect/>
              </a:stretch>
            </p:blipFill>
            <p:spPr>
              <a:xfrm>
                <a:off x="9740621" y="800492"/>
                <a:ext cx="38160" cy="189360"/>
              </a:xfrm>
              <a:prstGeom prst="rect">
                <a:avLst/>
              </a:prstGeom>
            </p:spPr>
          </p:pic>
        </mc:Fallback>
      </mc:AlternateContent>
      <p:grpSp>
        <p:nvGrpSpPr>
          <p:cNvPr id="287" name="Group 286">
            <a:extLst>
              <a:ext uri="{FF2B5EF4-FFF2-40B4-BE49-F238E27FC236}">
                <a16:creationId xmlns:a16="http://schemas.microsoft.com/office/drawing/2014/main" id="{041429C3-9358-85D0-9B50-6E6EFDBDBFDE}"/>
              </a:ext>
            </a:extLst>
          </p:cNvPr>
          <p:cNvGrpSpPr/>
          <p:nvPr/>
        </p:nvGrpSpPr>
        <p:grpSpPr>
          <a:xfrm>
            <a:off x="8726501" y="1264892"/>
            <a:ext cx="1024920" cy="143640"/>
            <a:chOff x="8726501" y="1264892"/>
            <a:chExt cx="1024920" cy="1436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358">
              <p14:nvContentPartPr>
                <p14:cNvPr id="283" name="Ink 282">
                  <a:extLst>
                    <a:ext uri="{FF2B5EF4-FFF2-40B4-BE49-F238E27FC236}">
                      <a16:creationId xmlns:a16="http://schemas.microsoft.com/office/drawing/2014/main" id="{FF662E1D-86CA-CD95-1FA8-F97647389CF5}"/>
                    </a:ext>
                  </a:extLst>
                </p14:cNvPr>
                <p14:cNvContentPartPr/>
                <p14:nvPr/>
              </p14:nvContentPartPr>
              <p14:xfrm>
                <a:off x="8726501" y="1322132"/>
                <a:ext cx="171000" cy="28440"/>
              </p14:xfrm>
            </p:contentPart>
          </mc:Choice>
          <mc:Fallback>
            <p:pic>
              <p:nvPicPr>
                <p:cNvPr id="283" name="Ink 282">
                  <a:extLst>
                    <a:ext uri="{FF2B5EF4-FFF2-40B4-BE49-F238E27FC236}">
                      <a16:creationId xmlns:a16="http://schemas.microsoft.com/office/drawing/2014/main" id="{FF662E1D-86CA-CD95-1FA8-F97647389CF5}"/>
                    </a:ext>
                  </a:extLst>
                </p:cNvPr>
                <p:cNvPicPr/>
                <p:nvPr/>
              </p:nvPicPr>
              <p:blipFill>
                <a:blip r:embed="rId359"/>
                <a:stretch>
                  <a:fillRect/>
                </a:stretch>
              </p:blipFill>
              <p:spPr>
                <a:xfrm>
                  <a:off x="8711381" y="1306652"/>
                  <a:ext cx="201240" cy="59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60">
              <p14:nvContentPartPr>
                <p14:cNvPr id="284" name="Ink 283">
                  <a:extLst>
                    <a:ext uri="{FF2B5EF4-FFF2-40B4-BE49-F238E27FC236}">
                      <a16:creationId xmlns:a16="http://schemas.microsoft.com/office/drawing/2014/main" id="{AB077A8D-21CB-3538-B2E5-EC86DB215F63}"/>
                    </a:ext>
                  </a:extLst>
                </p14:cNvPr>
                <p14:cNvContentPartPr/>
                <p14:nvPr/>
              </p14:nvContentPartPr>
              <p14:xfrm>
                <a:off x="8988941" y="1264892"/>
                <a:ext cx="341280" cy="143640"/>
              </p14:xfrm>
            </p:contentPart>
          </mc:Choice>
          <mc:Fallback>
            <p:pic>
              <p:nvPicPr>
                <p:cNvPr id="284" name="Ink 283">
                  <a:extLst>
                    <a:ext uri="{FF2B5EF4-FFF2-40B4-BE49-F238E27FC236}">
                      <a16:creationId xmlns:a16="http://schemas.microsoft.com/office/drawing/2014/main" id="{AB077A8D-21CB-3538-B2E5-EC86DB215F63}"/>
                    </a:ext>
                  </a:extLst>
                </p:cNvPr>
                <p:cNvPicPr/>
                <p:nvPr/>
              </p:nvPicPr>
              <p:blipFill>
                <a:blip r:embed="rId361"/>
                <a:stretch>
                  <a:fillRect/>
                </a:stretch>
              </p:blipFill>
              <p:spPr>
                <a:xfrm>
                  <a:off x="8973821" y="1249772"/>
                  <a:ext cx="371880" cy="173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62">
              <p14:nvContentPartPr>
                <p14:cNvPr id="285" name="Ink 284">
                  <a:extLst>
                    <a:ext uri="{FF2B5EF4-FFF2-40B4-BE49-F238E27FC236}">
                      <a16:creationId xmlns:a16="http://schemas.microsoft.com/office/drawing/2014/main" id="{C52EB6C9-EC11-F4F5-D917-3CB5157315C1}"/>
                    </a:ext>
                  </a:extLst>
                </p14:cNvPr>
                <p14:cNvContentPartPr/>
                <p14:nvPr/>
              </p14:nvContentPartPr>
              <p14:xfrm>
                <a:off x="9440381" y="1300892"/>
                <a:ext cx="97920" cy="48960"/>
              </p14:xfrm>
            </p:contentPart>
          </mc:Choice>
          <mc:Fallback>
            <p:pic>
              <p:nvPicPr>
                <p:cNvPr id="285" name="Ink 284">
                  <a:extLst>
                    <a:ext uri="{FF2B5EF4-FFF2-40B4-BE49-F238E27FC236}">
                      <a16:creationId xmlns:a16="http://schemas.microsoft.com/office/drawing/2014/main" id="{C52EB6C9-EC11-F4F5-D917-3CB5157315C1}"/>
                    </a:ext>
                  </a:extLst>
                </p:cNvPr>
                <p:cNvPicPr/>
                <p:nvPr/>
              </p:nvPicPr>
              <p:blipFill>
                <a:blip r:embed="rId363"/>
                <a:stretch>
                  <a:fillRect/>
                </a:stretch>
              </p:blipFill>
              <p:spPr>
                <a:xfrm>
                  <a:off x="9425261" y="1285772"/>
                  <a:ext cx="128160" cy="79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64">
              <p14:nvContentPartPr>
                <p14:cNvPr id="286" name="Ink 285">
                  <a:extLst>
                    <a:ext uri="{FF2B5EF4-FFF2-40B4-BE49-F238E27FC236}">
                      <a16:creationId xmlns:a16="http://schemas.microsoft.com/office/drawing/2014/main" id="{E3FDBC6D-7D5A-B68E-EEC7-62C952DF7464}"/>
                    </a:ext>
                  </a:extLst>
                </p14:cNvPr>
                <p14:cNvContentPartPr/>
                <p14:nvPr/>
              </p14:nvContentPartPr>
              <p14:xfrm>
                <a:off x="9465581" y="1274252"/>
                <a:ext cx="285840" cy="113040"/>
              </p14:xfrm>
            </p:contentPart>
          </mc:Choice>
          <mc:Fallback>
            <p:pic>
              <p:nvPicPr>
                <p:cNvPr id="286" name="Ink 285">
                  <a:extLst>
                    <a:ext uri="{FF2B5EF4-FFF2-40B4-BE49-F238E27FC236}">
                      <a16:creationId xmlns:a16="http://schemas.microsoft.com/office/drawing/2014/main" id="{E3FDBC6D-7D5A-B68E-EEC7-62C952DF7464}"/>
                    </a:ext>
                  </a:extLst>
                </p:cNvPr>
                <p:cNvPicPr/>
                <p:nvPr/>
              </p:nvPicPr>
              <p:blipFill>
                <a:blip r:embed="rId365"/>
                <a:stretch>
                  <a:fillRect/>
                </a:stretch>
              </p:blipFill>
              <p:spPr>
                <a:xfrm>
                  <a:off x="9450101" y="1258772"/>
                  <a:ext cx="316440" cy="14364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366">
            <p14:nvContentPartPr>
              <p14:cNvPr id="288" name="Ink 287">
                <a:extLst>
                  <a:ext uri="{FF2B5EF4-FFF2-40B4-BE49-F238E27FC236}">
                    <a16:creationId xmlns:a16="http://schemas.microsoft.com/office/drawing/2014/main" id="{11C2A948-67D0-A930-AA90-09949398EA4B}"/>
                  </a:ext>
                </a:extLst>
              </p14:cNvPr>
              <p14:cNvContentPartPr/>
              <p14:nvPr/>
            </p14:nvContentPartPr>
            <p14:xfrm>
              <a:off x="9392141" y="1531652"/>
              <a:ext cx="8640" cy="27360"/>
            </p14:xfrm>
          </p:contentPart>
        </mc:Choice>
        <mc:Fallback>
          <p:pic>
            <p:nvPicPr>
              <p:cNvPr id="288" name="Ink 287">
                <a:extLst>
                  <a:ext uri="{FF2B5EF4-FFF2-40B4-BE49-F238E27FC236}">
                    <a16:creationId xmlns:a16="http://schemas.microsoft.com/office/drawing/2014/main" id="{11C2A948-67D0-A930-AA90-09949398EA4B}"/>
                  </a:ext>
                </a:extLst>
              </p:cNvPr>
              <p:cNvPicPr/>
              <p:nvPr/>
            </p:nvPicPr>
            <p:blipFill>
              <a:blip r:embed="rId367"/>
              <a:stretch>
                <a:fillRect/>
              </a:stretch>
            </p:blipFill>
            <p:spPr>
              <a:xfrm>
                <a:off x="9377021" y="1516532"/>
                <a:ext cx="38880" cy="57960"/>
              </a:xfrm>
              <a:prstGeom prst="rect">
                <a:avLst/>
              </a:prstGeom>
            </p:spPr>
          </p:pic>
        </mc:Fallback>
      </mc:AlternateContent>
      <p:grpSp>
        <p:nvGrpSpPr>
          <p:cNvPr id="290" name="Group 289">
            <a:extLst>
              <a:ext uri="{FF2B5EF4-FFF2-40B4-BE49-F238E27FC236}">
                <a16:creationId xmlns:a16="http://schemas.microsoft.com/office/drawing/2014/main" id="{5E016E61-C945-50CE-5F49-A888D69039D4}"/>
              </a:ext>
            </a:extLst>
          </p:cNvPr>
          <p:cNvGrpSpPr/>
          <p:nvPr/>
        </p:nvGrpSpPr>
        <p:grpSpPr>
          <a:xfrm>
            <a:off x="5421701" y="2984972"/>
            <a:ext cx="2071080" cy="411120"/>
            <a:chOff x="5421701" y="2984972"/>
            <a:chExt cx="2071080" cy="4111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368">
              <p14:nvContentPartPr>
                <p14:cNvPr id="65" name="Ink 64">
                  <a:extLst>
                    <a:ext uri="{FF2B5EF4-FFF2-40B4-BE49-F238E27FC236}">
                      <a16:creationId xmlns:a16="http://schemas.microsoft.com/office/drawing/2014/main" id="{D77C9028-878A-B585-2DE4-676580906448}"/>
                    </a:ext>
                  </a:extLst>
                </p14:cNvPr>
                <p14:cNvContentPartPr/>
                <p14:nvPr/>
              </p14:nvContentPartPr>
              <p14:xfrm>
                <a:off x="5421701" y="2984972"/>
                <a:ext cx="104040" cy="230040"/>
              </p14:xfrm>
            </p:contentPart>
          </mc:Choice>
          <mc:Fallback>
            <p:pic>
              <p:nvPicPr>
                <p:cNvPr id="65" name="Ink 64">
                  <a:extLst>
                    <a:ext uri="{FF2B5EF4-FFF2-40B4-BE49-F238E27FC236}">
                      <a16:creationId xmlns:a16="http://schemas.microsoft.com/office/drawing/2014/main" id="{D77C9028-878A-B585-2DE4-676580906448}"/>
                    </a:ext>
                  </a:extLst>
                </p:cNvPr>
                <p:cNvPicPr/>
                <p:nvPr/>
              </p:nvPicPr>
              <p:blipFill>
                <a:blip r:embed="rId369"/>
                <a:stretch>
                  <a:fillRect/>
                </a:stretch>
              </p:blipFill>
              <p:spPr>
                <a:xfrm>
                  <a:off x="5406221" y="2969852"/>
                  <a:ext cx="134640" cy="260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70">
              <p14:nvContentPartPr>
                <p14:cNvPr id="66" name="Ink 65">
                  <a:extLst>
                    <a:ext uri="{FF2B5EF4-FFF2-40B4-BE49-F238E27FC236}">
                      <a16:creationId xmlns:a16="http://schemas.microsoft.com/office/drawing/2014/main" id="{932B88FE-00FE-D265-9518-50416C1062D3}"/>
                    </a:ext>
                  </a:extLst>
                </p14:cNvPr>
                <p14:cNvContentPartPr/>
                <p14:nvPr/>
              </p14:nvContentPartPr>
              <p14:xfrm>
                <a:off x="5582621" y="3000452"/>
                <a:ext cx="106560" cy="228240"/>
              </p14:xfrm>
            </p:contentPart>
          </mc:Choice>
          <mc:Fallback>
            <p:pic>
              <p:nvPicPr>
                <p:cNvPr id="66" name="Ink 65">
                  <a:extLst>
                    <a:ext uri="{FF2B5EF4-FFF2-40B4-BE49-F238E27FC236}">
                      <a16:creationId xmlns:a16="http://schemas.microsoft.com/office/drawing/2014/main" id="{932B88FE-00FE-D265-9518-50416C1062D3}"/>
                    </a:ext>
                  </a:extLst>
                </p:cNvPr>
                <p:cNvPicPr/>
                <p:nvPr/>
              </p:nvPicPr>
              <p:blipFill>
                <a:blip r:embed="rId371"/>
                <a:stretch>
                  <a:fillRect/>
                </a:stretch>
              </p:blipFill>
              <p:spPr>
                <a:xfrm>
                  <a:off x="5567141" y="2985332"/>
                  <a:ext cx="137160" cy="258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72">
              <p14:nvContentPartPr>
                <p14:cNvPr id="67" name="Ink 66">
                  <a:extLst>
                    <a:ext uri="{FF2B5EF4-FFF2-40B4-BE49-F238E27FC236}">
                      <a16:creationId xmlns:a16="http://schemas.microsoft.com/office/drawing/2014/main" id="{35F8070D-BC11-997F-BD61-3BC2D3A497AA}"/>
                    </a:ext>
                  </a:extLst>
                </p14:cNvPr>
                <p14:cNvContentPartPr/>
                <p14:nvPr/>
              </p14:nvContentPartPr>
              <p14:xfrm>
                <a:off x="5793221" y="3130052"/>
                <a:ext cx="70560" cy="21240"/>
              </p14:xfrm>
            </p:contentPart>
          </mc:Choice>
          <mc:Fallback>
            <p:pic>
              <p:nvPicPr>
                <p:cNvPr id="67" name="Ink 66">
                  <a:extLst>
                    <a:ext uri="{FF2B5EF4-FFF2-40B4-BE49-F238E27FC236}">
                      <a16:creationId xmlns:a16="http://schemas.microsoft.com/office/drawing/2014/main" id="{35F8070D-BC11-997F-BD61-3BC2D3A497AA}"/>
                    </a:ext>
                  </a:extLst>
                </p:cNvPr>
                <p:cNvPicPr/>
                <p:nvPr/>
              </p:nvPicPr>
              <p:blipFill>
                <a:blip r:embed="rId373"/>
                <a:stretch>
                  <a:fillRect/>
                </a:stretch>
              </p:blipFill>
              <p:spPr>
                <a:xfrm>
                  <a:off x="5778101" y="3114932"/>
                  <a:ext cx="101160" cy="51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74">
              <p14:nvContentPartPr>
                <p14:cNvPr id="68" name="Ink 67">
                  <a:extLst>
                    <a:ext uri="{FF2B5EF4-FFF2-40B4-BE49-F238E27FC236}">
                      <a16:creationId xmlns:a16="http://schemas.microsoft.com/office/drawing/2014/main" id="{F8E012DA-1D54-0FD3-7B92-DD5F44B9A927}"/>
                    </a:ext>
                  </a:extLst>
                </p14:cNvPr>
                <p14:cNvContentPartPr/>
                <p14:nvPr/>
              </p14:nvContentPartPr>
              <p14:xfrm>
                <a:off x="5903741" y="3096212"/>
                <a:ext cx="133920" cy="146520"/>
              </p14:xfrm>
            </p:contentPart>
          </mc:Choice>
          <mc:Fallback>
            <p:pic>
              <p:nvPicPr>
                <p:cNvPr id="68" name="Ink 67">
                  <a:extLst>
                    <a:ext uri="{FF2B5EF4-FFF2-40B4-BE49-F238E27FC236}">
                      <a16:creationId xmlns:a16="http://schemas.microsoft.com/office/drawing/2014/main" id="{F8E012DA-1D54-0FD3-7B92-DD5F44B9A927}"/>
                    </a:ext>
                  </a:extLst>
                </p:cNvPr>
                <p:cNvPicPr/>
                <p:nvPr/>
              </p:nvPicPr>
              <p:blipFill>
                <a:blip r:embed="rId375"/>
                <a:stretch>
                  <a:fillRect/>
                </a:stretch>
              </p:blipFill>
              <p:spPr>
                <a:xfrm>
                  <a:off x="5888621" y="3081092"/>
                  <a:ext cx="164520" cy="177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76">
              <p14:nvContentPartPr>
                <p14:cNvPr id="69" name="Ink 68">
                  <a:extLst>
                    <a:ext uri="{FF2B5EF4-FFF2-40B4-BE49-F238E27FC236}">
                      <a16:creationId xmlns:a16="http://schemas.microsoft.com/office/drawing/2014/main" id="{2FBB9B76-BA11-8AE5-F869-C5D35C0F6195}"/>
                    </a:ext>
                  </a:extLst>
                </p14:cNvPr>
                <p14:cNvContentPartPr/>
                <p14:nvPr/>
              </p14:nvContentPartPr>
              <p14:xfrm>
                <a:off x="6127301" y="3114572"/>
                <a:ext cx="110160" cy="127800"/>
              </p14:xfrm>
            </p:contentPart>
          </mc:Choice>
          <mc:Fallback>
            <p:pic>
              <p:nvPicPr>
                <p:cNvPr id="69" name="Ink 68">
                  <a:extLst>
                    <a:ext uri="{FF2B5EF4-FFF2-40B4-BE49-F238E27FC236}">
                      <a16:creationId xmlns:a16="http://schemas.microsoft.com/office/drawing/2014/main" id="{2FBB9B76-BA11-8AE5-F869-C5D35C0F6195}"/>
                    </a:ext>
                  </a:extLst>
                </p:cNvPr>
                <p:cNvPicPr/>
                <p:nvPr/>
              </p:nvPicPr>
              <p:blipFill>
                <a:blip r:embed="rId377"/>
                <a:stretch>
                  <a:fillRect/>
                </a:stretch>
              </p:blipFill>
              <p:spPr>
                <a:xfrm>
                  <a:off x="6112181" y="3099092"/>
                  <a:ext cx="140760" cy="158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78">
              <p14:nvContentPartPr>
                <p14:cNvPr id="70" name="Ink 69">
                  <a:extLst>
                    <a:ext uri="{FF2B5EF4-FFF2-40B4-BE49-F238E27FC236}">
                      <a16:creationId xmlns:a16="http://schemas.microsoft.com/office/drawing/2014/main" id="{B7465D17-0910-892E-13DB-52709B6154C5}"/>
                    </a:ext>
                  </a:extLst>
                </p14:cNvPr>
                <p14:cNvContentPartPr/>
                <p14:nvPr/>
              </p14:nvContentPartPr>
              <p14:xfrm>
                <a:off x="6361301" y="3068852"/>
                <a:ext cx="54360" cy="231120"/>
              </p14:xfrm>
            </p:contentPart>
          </mc:Choice>
          <mc:Fallback>
            <p:pic>
              <p:nvPicPr>
                <p:cNvPr id="70" name="Ink 69">
                  <a:extLst>
                    <a:ext uri="{FF2B5EF4-FFF2-40B4-BE49-F238E27FC236}">
                      <a16:creationId xmlns:a16="http://schemas.microsoft.com/office/drawing/2014/main" id="{B7465D17-0910-892E-13DB-52709B6154C5}"/>
                    </a:ext>
                  </a:extLst>
                </p:cNvPr>
                <p:cNvPicPr/>
                <p:nvPr/>
              </p:nvPicPr>
              <p:blipFill>
                <a:blip r:embed="rId379"/>
                <a:stretch>
                  <a:fillRect/>
                </a:stretch>
              </p:blipFill>
              <p:spPr>
                <a:xfrm>
                  <a:off x="6346181" y="3053732"/>
                  <a:ext cx="84960" cy="261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80">
              <p14:nvContentPartPr>
                <p14:cNvPr id="71" name="Ink 70">
                  <a:extLst>
                    <a:ext uri="{FF2B5EF4-FFF2-40B4-BE49-F238E27FC236}">
                      <a16:creationId xmlns:a16="http://schemas.microsoft.com/office/drawing/2014/main" id="{E01E3A7B-E6AE-9D75-C312-00C668D6BAE9}"/>
                    </a:ext>
                  </a:extLst>
                </p14:cNvPr>
                <p14:cNvContentPartPr/>
                <p14:nvPr/>
              </p14:nvContentPartPr>
              <p14:xfrm>
                <a:off x="6355901" y="3020252"/>
                <a:ext cx="30600" cy="289800"/>
              </p14:xfrm>
            </p:contentPart>
          </mc:Choice>
          <mc:Fallback>
            <p:pic>
              <p:nvPicPr>
                <p:cNvPr id="71" name="Ink 70">
                  <a:extLst>
                    <a:ext uri="{FF2B5EF4-FFF2-40B4-BE49-F238E27FC236}">
                      <a16:creationId xmlns:a16="http://schemas.microsoft.com/office/drawing/2014/main" id="{E01E3A7B-E6AE-9D75-C312-00C668D6BAE9}"/>
                    </a:ext>
                  </a:extLst>
                </p:cNvPr>
                <p:cNvPicPr/>
                <p:nvPr/>
              </p:nvPicPr>
              <p:blipFill>
                <a:blip r:embed="rId381"/>
                <a:stretch>
                  <a:fillRect/>
                </a:stretch>
              </p:blipFill>
              <p:spPr>
                <a:xfrm>
                  <a:off x="6340781" y="3005132"/>
                  <a:ext cx="60840" cy="320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82">
              <p14:nvContentPartPr>
                <p14:cNvPr id="72" name="Ink 71">
                  <a:extLst>
                    <a:ext uri="{FF2B5EF4-FFF2-40B4-BE49-F238E27FC236}">
                      <a16:creationId xmlns:a16="http://schemas.microsoft.com/office/drawing/2014/main" id="{8CE90F7C-8026-E35E-5DDC-655F0351985E}"/>
                    </a:ext>
                  </a:extLst>
                </p14:cNvPr>
                <p14:cNvContentPartPr/>
                <p14:nvPr/>
              </p14:nvContentPartPr>
              <p14:xfrm>
                <a:off x="6558941" y="3113852"/>
                <a:ext cx="188280" cy="128520"/>
              </p14:xfrm>
            </p:contentPart>
          </mc:Choice>
          <mc:Fallback>
            <p:pic>
              <p:nvPicPr>
                <p:cNvPr id="72" name="Ink 71">
                  <a:extLst>
                    <a:ext uri="{FF2B5EF4-FFF2-40B4-BE49-F238E27FC236}">
                      <a16:creationId xmlns:a16="http://schemas.microsoft.com/office/drawing/2014/main" id="{8CE90F7C-8026-E35E-5DDC-655F0351985E}"/>
                    </a:ext>
                  </a:extLst>
                </p:cNvPr>
                <p:cNvPicPr/>
                <p:nvPr/>
              </p:nvPicPr>
              <p:blipFill>
                <a:blip r:embed="rId383"/>
                <a:stretch>
                  <a:fillRect/>
                </a:stretch>
              </p:blipFill>
              <p:spPr>
                <a:xfrm>
                  <a:off x="6543821" y="3098732"/>
                  <a:ext cx="218520" cy="158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84">
              <p14:nvContentPartPr>
                <p14:cNvPr id="73" name="Ink 72">
                  <a:extLst>
                    <a:ext uri="{FF2B5EF4-FFF2-40B4-BE49-F238E27FC236}">
                      <a16:creationId xmlns:a16="http://schemas.microsoft.com/office/drawing/2014/main" id="{D81131B2-5523-2C4F-EBE4-DF7FE2B3C9FA}"/>
                    </a:ext>
                  </a:extLst>
                </p14:cNvPr>
                <p14:cNvContentPartPr/>
                <p14:nvPr/>
              </p14:nvContentPartPr>
              <p14:xfrm>
                <a:off x="6758381" y="3123932"/>
                <a:ext cx="121320" cy="110880"/>
              </p14:xfrm>
            </p:contentPart>
          </mc:Choice>
          <mc:Fallback>
            <p:pic>
              <p:nvPicPr>
                <p:cNvPr id="73" name="Ink 72">
                  <a:extLst>
                    <a:ext uri="{FF2B5EF4-FFF2-40B4-BE49-F238E27FC236}">
                      <a16:creationId xmlns:a16="http://schemas.microsoft.com/office/drawing/2014/main" id="{D81131B2-5523-2C4F-EBE4-DF7FE2B3C9FA}"/>
                    </a:ext>
                  </a:extLst>
                </p:cNvPr>
                <p:cNvPicPr/>
                <p:nvPr/>
              </p:nvPicPr>
              <p:blipFill>
                <a:blip r:embed="rId385"/>
                <a:stretch>
                  <a:fillRect/>
                </a:stretch>
              </p:blipFill>
              <p:spPr>
                <a:xfrm>
                  <a:off x="6743261" y="3108452"/>
                  <a:ext cx="151920" cy="141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86">
              <p14:nvContentPartPr>
                <p14:cNvPr id="74" name="Ink 73">
                  <a:extLst>
                    <a:ext uri="{FF2B5EF4-FFF2-40B4-BE49-F238E27FC236}">
                      <a16:creationId xmlns:a16="http://schemas.microsoft.com/office/drawing/2014/main" id="{EE1D1D9A-36D0-CD40-EA7E-FAAD4504B53A}"/>
                    </a:ext>
                  </a:extLst>
                </p14:cNvPr>
                <p14:cNvContentPartPr/>
                <p14:nvPr/>
              </p14:nvContentPartPr>
              <p14:xfrm>
                <a:off x="6917861" y="3122492"/>
                <a:ext cx="42120" cy="127800"/>
              </p14:xfrm>
            </p:contentPart>
          </mc:Choice>
          <mc:Fallback>
            <p:pic>
              <p:nvPicPr>
                <p:cNvPr id="74" name="Ink 73">
                  <a:extLst>
                    <a:ext uri="{FF2B5EF4-FFF2-40B4-BE49-F238E27FC236}">
                      <a16:creationId xmlns:a16="http://schemas.microsoft.com/office/drawing/2014/main" id="{EE1D1D9A-36D0-CD40-EA7E-FAAD4504B53A}"/>
                    </a:ext>
                  </a:extLst>
                </p:cNvPr>
                <p:cNvPicPr/>
                <p:nvPr/>
              </p:nvPicPr>
              <p:blipFill>
                <a:blip r:embed="rId387"/>
                <a:stretch>
                  <a:fillRect/>
                </a:stretch>
              </p:blipFill>
              <p:spPr>
                <a:xfrm>
                  <a:off x="6902381" y="3107372"/>
                  <a:ext cx="72720" cy="158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88">
              <p14:nvContentPartPr>
                <p14:cNvPr id="75" name="Ink 74">
                  <a:extLst>
                    <a:ext uri="{FF2B5EF4-FFF2-40B4-BE49-F238E27FC236}">
                      <a16:creationId xmlns:a16="http://schemas.microsoft.com/office/drawing/2014/main" id="{4F30B8C9-D993-2492-EAC6-05B3D4069951}"/>
                    </a:ext>
                  </a:extLst>
                </p14:cNvPr>
                <p14:cNvContentPartPr/>
                <p14:nvPr/>
              </p14:nvContentPartPr>
              <p14:xfrm>
                <a:off x="6950981" y="3058412"/>
                <a:ext cx="25560" cy="62640"/>
              </p14:xfrm>
            </p:contentPart>
          </mc:Choice>
          <mc:Fallback>
            <p:pic>
              <p:nvPicPr>
                <p:cNvPr id="75" name="Ink 74">
                  <a:extLst>
                    <a:ext uri="{FF2B5EF4-FFF2-40B4-BE49-F238E27FC236}">
                      <a16:creationId xmlns:a16="http://schemas.microsoft.com/office/drawing/2014/main" id="{4F30B8C9-D993-2492-EAC6-05B3D4069951}"/>
                    </a:ext>
                  </a:extLst>
                </p:cNvPr>
                <p:cNvPicPr/>
                <p:nvPr/>
              </p:nvPicPr>
              <p:blipFill>
                <a:blip r:embed="rId389"/>
                <a:stretch>
                  <a:fillRect/>
                </a:stretch>
              </p:blipFill>
              <p:spPr>
                <a:xfrm>
                  <a:off x="6935861" y="3042932"/>
                  <a:ext cx="56160" cy="92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90">
              <p14:nvContentPartPr>
                <p14:cNvPr id="76" name="Ink 75">
                  <a:extLst>
                    <a:ext uri="{FF2B5EF4-FFF2-40B4-BE49-F238E27FC236}">
                      <a16:creationId xmlns:a16="http://schemas.microsoft.com/office/drawing/2014/main" id="{8BAE47A7-3A4A-8AC9-4529-824D19C5EFB6}"/>
                    </a:ext>
                  </a:extLst>
                </p14:cNvPr>
                <p14:cNvContentPartPr/>
                <p14:nvPr/>
              </p14:nvContentPartPr>
              <p14:xfrm>
                <a:off x="7023341" y="3070292"/>
                <a:ext cx="123120" cy="205920"/>
              </p14:xfrm>
            </p:contentPart>
          </mc:Choice>
          <mc:Fallback>
            <p:pic>
              <p:nvPicPr>
                <p:cNvPr id="76" name="Ink 75">
                  <a:extLst>
                    <a:ext uri="{FF2B5EF4-FFF2-40B4-BE49-F238E27FC236}">
                      <a16:creationId xmlns:a16="http://schemas.microsoft.com/office/drawing/2014/main" id="{8BAE47A7-3A4A-8AC9-4529-824D19C5EFB6}"/>
                    </a:ext>
                  </a:extLst>
                </p:cNvPr>
                <p:cNvPicPr/>
                <p:nvPr/>
              </p:nvPicPr>
              <p:blipFill>
                <a:blip r:embed="rId391"/>
                <a:stretch>
                  <a:fillRect/>
                </a:stretch>
              </p:blipFill>
              <p:spPr>
                <a:xfrm>
                  <a:off x="7008221" y="3055172"/>
                  <a:ext cx="153360" cy="236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92">
              <p14:nvContentPartPr>
                <p14:cNvPr id="77" name="Ink 76">
                  <a:extLst>
                    <a:ext uri="{FF2B5EF4-FFF2-40B4-BE49-F238E27FC236}">
                      <a16:creationId xmlns:a16="http://schemas.microsoft.com/office/drawing/2014/main" id="{BAA94ABC-4DB5-1EA0-938A-F67FD019BA9B}"/>
                    </a:ext>
                  </a:extLst>
                </p14:cNvPr>
                <p14:cNvContentPartPr/>
                <p14:nvPr/>
              </p14:nvContentPartPr>
              <p14:xfrm>
                <a:off x="7234661" y="3065972"/>
                <a:ext cx="73800" cy="213120"/>
              </p14:xfrm>
            </p:contentPart>
          </mc:Choice>
          <mc:Fallback>
            <p:pic>
              <p:nvPicPr>
                <p:cNvPr id="77" name="Ink 76">
                  <a:extLst>
                    <a:ext uri="{FF2B5EF4-FFF2-40B4-BE49-F238E27FC236}">
                      <a16:creationId xmlns:a16="http://schemas.microsoft.com/office/drawing/2014/main" id="{BAA94ABC-4DB5-1EA0-938A-F67FD019BA9B}"/>
                    </a:ext>
                  </a:extLst>
                </p:cNvPr>
                <p:cNvPicPr/>
                <p:nvPr/>
              </p:nvPicPr>
              <p:blipFill>
                <a:blip r:embed="rId393"/>
                <a:stretch>
                  <a:fillRect/>
                </a:stretch>
              </p:blipFill>
              <p:spPr>
                <a:xfrm>
                  <a:off x="7219541" y="3050852"/>
                  <a:ext cx="104040" cy="243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94">
              <p14:nvContentPartPr>
                <p14:cNvPr id="78" name="Ink 77">
                  <a:extLst>
                    <a:ext uri="{FF2B5EF4-FFF2-40B4-BE49-F238E27FC236}">
                      <a16:creationId xmlns:a16="http://schemas.microsoft.com/office/drawing/2014/main" id="{DC8578CC-CDA2-A92A-4459-CE5FF04E5C51}"/>
                    </a:ext>
                  </a:extLst>
                </p14:cNvPr>
                <p14:cNvContentPartPr/>
                <p14:nvPr/>
              </p14:nvContentPartPr>
              <p14:xfrm>
                <a:off x="7384781" y="3163892"/>
                <a:ext cx="108000" cy="2880"/>
              </p14:xfrm>
            </p:contentPart>
          </mc:Choice>
          <mc:Fallback>
            <p:pic>
              <p:nvPicPr>
                <p:cNvPr id="78" name="Ink 77">
                  <a:extLst>
                    <a:ext uri="{FF2B5EF4-FFF2-40B4-BE49-F238E27FC236}">
                      <a16:creationId xmlns:a16="http://schemas.microsoft.com/office/drawing/2014/main" id="{DC8578CC-CDA2-A92A-4459-CE5FF04E5C51}"/>
                    </a:ext>
                  </a:extLst>
                </p:cNvPr>
                <p:cNvPicPr/>
                <p:nvPr/>
              </p:nvPicPr>
              <p:blipFill>
                <a:blip r:embed="rId395"/>
                <a:stretch>
                  <a:fillRect/>
                </a:stretch>
              </p:blipFill>
              <p:spPr>
                <a:xfrm>
                  <a:off x="7369301" y="3148772"/>
                  <a:ext cx="138240" cy="33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96">
              <p14:nvContentPartPr>
                <p14:cNvPr id="79" name="Ink 78">
                  <a:extLst>
                    <a:ext uri="{FF2B5EF4-FFF2-40B4-BE49-F238E27FC236}">
                      <a16:creationId xmlns:a16="http://schemas.microsoft.com/office/drawing/2014/main" id="{4D17B4D2-0B9A-3E71-F803-DDED039FE8EC}"/>
                    </a:ext>
                  </a:extLst>
                </p14:cNvPr>
                <p14:cNvContentPartPr/>
                <p14:nvPr/>
              </p14:nvContentPartPr>
              <p14:xfrm>
                <a:off x="7452101" y="3206012"/>
                <a:ext cx="35640" cy="23040"/>
              </p14:xfrm>
            </p:contentPart>
          </mc:Choice>
          <mc:Fallback>
            <p:pic>
              <p:nvPicPr>
                <p:cNvPr id="79" name="Ink 78">
                  <a:extLst>
                    <a:ext uri="{FF2B5EF4-FFF2-40B4-BE49-F238E27FC236}">
                      <a16:creationId xmlns:a16="http://schemas.microsoft.com/office/drawing/2014/main" id="{4D17B4D2-0B9A-3E71-F803-DDED039FE8EC}"/>
                    </a:ext>
                  </a:extLst>
                </p:cNvPr>
                <p:cNvPicPr/>
                <p:nvPr/>
              </p:nvPicPr>
              <p:blipFill>
                <a:blip r:embed="rId397"/>
                <a:stretch>
                  <a:fillRect/>
                </a:stretch>
              </p:blipFill>
              <p:spPr>
                <a:xfrm>
                  <a:off x="7436981" y="3190532"/>
                  <a:ext cx="65880" cy="53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98">
              <p14:nvContentPartPr>
                <p14:cNvPr id="289" name="Ink 288">
                  <a:extLst>
                    <a:ext uri="{FF2B5EF4-FFF2-40B4-BE49-F238E27FC236}">
                      <a16:creationId xmlns:a16="http://schemas.microsoft.com/office/drawing/2014/main" id="{2C00F5A4-D9D8-60E3-392B-934C9529A5D0}"/>
                    </a:ext>
                  </a:extLst>
                </p14:cNvPr>
                <p14:cNvContentPartPr/>
                <p14:nvPr/>
              </p14:nvContentPartPr>
              <p14:xfrm>
                <a:off x="6005981" y="3287732"/>
                <a:ext cx="87120" cy="108360"/>
              </p14:xfrm>
            </p:contentPart>
          </mc:Choice>
          <mc:Fallback>
            <p:pic>
              <p:nvPicPr>
                <p:cNvPr id="289" name="Ink 288">
                  <a:extLst>
                    <a:ext uri="{FF2B5EF4-FFF2-40B4-BE49-F238E27FC236}">
                      <a16:creationId xmlns:a16="http://schemas.microsoft.com/office/drawing/2014/main" id="{2C00F5A4-D9D8-60E3-392B-934C9529A5D0}"/>
                    </a:ext>
                  </a:extLst>
                </p:cNvPr>
                <p:cNvPicPr/>
                <p:nvPr/>
              </p:nvPicPr>
              <p:blipFill>
                <a:blip r:embed="rId399"/>
                <a:stretch>
                  <a:fillRect/>
                </a:stretch>
              </p:blipFill>
              <p:spPr>
                <a:xfrm>
                  <a:off x="5990501" y="3272252"/>
                  <a:ext cx="117360" cy="13896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400">
            <p14:nvContentPartPr>
              <p14:cNvPr id="291" name="Ink 290">
                <a:extLst>
                  <a:ext uri="{FF2B5EF4-FFF2-40B4-BE49-F238E27FC236}">
                    <a16:creationId xmlns:a16="http://schemas.microsoft.com/office/drawing/2014/main" id="{F6F8EB8D-F7AE-7113-3D86-BA3B5D8358A9}"/>
                  </a:ext>
                </a:extLst>
              </p14:cNvPr>
              <p14:cNvContentPartPr/>
              <p14:nvPr/>
            </p14:nvContentPartPr>
            <p14:xfrm>
              <a:off x="6017501" y="859532"/>
              <a:ext cx="245520" cy="92520"/>
            </p14:xfrm>
          </p:contentPart>
        </mc:Choice>
        <mc:Fallback>
          <p:pic>
            <p:nvPicPr>
              <p:cNvPr id="291" name="Ink 290">
                <a:extLst>
                  <a:ext uri="{FF2B5EF4-FFF2-40B4-BE49-F238E27FC236}">
                    <a16:creationId xmlns:a16="http://schemas.microsoft.com/office/drawing/2014/main" id="{F6F8EB8D-F7AE-7113-3D86-BA3B5D8358A9}"/>
                  </a:ext>
                </a:extLst>
              </p:cNvPr>
              <p:cNvPicPr/>
              <p:nvPr/>
            </p:nvPicPr>
            <p:blipFill>
              <a:blip r:embed="rId401"/>
              <a:stretch>
                <a:fillRect/>
              </a:stretch>
            </p:blipFill>
            <p:spPr>
              <a:xfrm>
                <a:off x="6002021" y="844412"/>
                <a:ext cx="276120" cy="123120"/>
              </a:xfrm>
              <a:prstGeom prst="rect">
                <a:avLst/>
              </a:prstGeom>
            </p:spPr>
          </p:pic>
        </mc:Fallback>
      </mc:AlternateContent>
      <p:grpSp>
        <p:nvGrpSpPr>
          <p:cNvPr id="293" name="Group 292">
            <a:extLst>
              <a:ext uri="{FF2B5EF4-FFF2-40B4-BE49-F238E27FC236}">
                <a16:creationId xmlns:a16="http://schemas.microsoft.com/office/drawing/2014/main" id="{0B4FAA05-B981-787F-969C-BEF3ADC8884F}"/>
              </a:ext>
            </a:extLst>
          </p:cNvPr>
          <p:cNvGrpSpPr/>
          <p:nvPr/>
        </p:nvGrpSpPr>
        <p:grpSpPr>
          <a:xfrm>
            <a:off x="6120461" y="1211612"/>
            <a:ext cx="1764720" cy="407160"/>
            <a:chOff x="6120461" y="1211612"/>
            <a:chExt cx="1764720" cy="4071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402">
              <p14:nvContentPartPr>
                <p14:cNvPr id="249" name="Ink 248">
                  <a:extLst>
                    <a:ext uri="{FF2B5EF4-FFF2-40B4-BE49-F238E27FC236}">
                      <a16:creationId xmlns:a16="http://schemas.microsoft.com/office/drawing/2014/main" id="{68A5C9AD-F89F-C9ED-9A2E-BEA2E160A375}"/>
                    </a:ext>
                  </a:extLst>
                </p14:cNvPr>
                <p14:cNvContentPartPr/>
                <p14:nvPr/>
              </p14:nvContentPartPr>
              <p14:xfrm>
                <a:off x="6311981" y="1320332"/>
                <a:ext cx="21600" cy="183240"/>
              </p14:xfrm>
            </p:contentPart>
          </mc:Choice>
          <mc:Fallback>
            <p:pic>
              <p:nvPicPr>
                <p:cNvPr id="249" name="Ink 248">
                  <a:extLst>
                    <a:ext uri="{FF2B5EF4-FFF2-40B4-BE49-F238E27FC236}">
                      <a16:creationId xmlns:a16="http://schemas.microsoft.com/office/drawing/2014/main" id="{68A5C9AD-F89F-C9ED-9A2E-BEA2E160A375}"/>
                    </a:ext>
                  </a:extLst>
                </p:cNvPr>
                <p:cNvPicPr/>
                <p:nvPr/>
              </p:nvPicPr>
              <p:blipFill>
                <a:blip r:embed="rId403"/>
                <a:stretch>
                  <a:fillRect/>
                </a:stretch>
              </p:blipFill>
              <p:spPr>
                <a:xfrm>
                  <a:off x="6296861" y="1304852"/>
                  <a:ext cx="52200" cy="213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04">
              <p14:nvContentPartPr>
                <p14:cNvPr id="250" name="Ink 249">
                  <a:extLst>
                    <a:ext uri="{FF2B5EF4-FFF2-40B4-BE49-F238E27FC236}">
                      <a16:creationId xmlns:a16="http://schemas.microsoft.com/office/drawing/2014/main" id="{4AD0A7D7-9D7E-880E-3C5B-1C0FCDA17EFB}"/>
                    </a:ext>
                  </a:extLst>
                </p14:cNvPr>
                <p14:cNvContentPartPr/>
                <p14:nvPr/>
              </p14:nvContentPartPr>
              <p14:xfrm>
                <a:off x="6288581" y="1296572"/>
                <a:ext cx="141480" cy="165960"/>
              </p14:xfrm>
            </p:contentPart>
          </mc:Choice>
          <mc:Fallback>
            <p:pic>
              <p:nvPicPr>
                <p:cNvPr id="250" name="Ink 249">
                  <a:extLst>
                    <a:ext uri="{FF2B5EF4-FFF2-40B4-BE49-F238E27FC236}">
                      <a16:creationId xmlns:a16="http://schemas.microsoft.com/office/drawing/2014/main" id="{4AD0A7D7-9D7E-880E-3C5B-1C0FCDA17EFB}"/>
                    </a:ext>
                  </a:extLst>
                </p:cNvPr>
                <p:cNvPicPr/>
                <p:nvPr/>
              </p:nvPicPr>
              <p:blipFill>
                <a:blip r:embed="rId405"/>
                <a:stretch>
                  <a:fillRect/>
                </a:stretch>
              </p:blipFill>
              <p:spPr>
                <a:xfrm>
                  <a:off x="6273461" y="1281092"/>
                  <a:ext cx="171720" cy="196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06">
              <p14:nvContentPartPr>
                <p14:cNvPr id="251" name="Ink 250">
                  <a:extLst>
                    <a:ext uri="{FF2B5EF4-FFF2-40B4-BE49-F238E27FC236}">
                      <a16:creationId xmlns:a16="http://schemas.microsoft.com/office/drawing/2014/main" id="{2778A54B-441E-0A4E-8ADD-3587DD9C2BD0}"/>
                    </a:ext>
                  </a:extLst>
                </p14:cNvPr>
                <p14:cNvContentPartPr/>
                <p14:nvPr/>
              </p14:nvContentPartPr>
              <p14:xfrm>
                <a:off x="6484781" y="1349492"/>
                <a:ext cx="92880" cy="74880"/>
              </p14:xfrm>
            </p:contentPart>
          </mc:Choice>
          <mc:Fallback>
            <p:pic>
              <p:nvPicPr>
                <p:cNvPr id="251" name="Ink 250">
                  <a:extLst>
                    <a:ext uri="{FF2B5EF4-FFF2-40B4-BE49-F238E27FC236}">
                      <a16:creationId xmlns:a16="http://schemas.microsoft.com/office/drawing/2014/main" id="{2778A54B-441E-0A4E-8ADD-3587DD9C2BD0}"/>
                    </a:ext>
                  </a:extLst>
                </p:cNvPr>
                <p:cNvPicPr/>
                <p:nvPr/>
              </p:nvPicPr>
              <p:blipFill>
                <a:blip r:embed="rId407"/>
                <a:stretch>
                  <a:fillRect/>
                </a:stretch>
              </p:blipFill>
              <p:spPr>
                <a:xfrm>
                  <a:off x="6469661" y="1334012"/>
                  <a:ext cx="123120" cy="105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08">
              <p14:nvContentPartPr>
                <p14:cNvPr id="252" name="Ink 251">
                  <a:extLst>
                    <a:ext uri="{FF2B5EF4-FFF2-40B4-BE49-F238E27FC236}">
                      <a16:creationId xmlns:a16="http://schemas.microsoft.com/office/drawing/2014/main" id="{300F77AE-F609-5CCB-6604-97813BDFFC9C}"/>
                    </a:ext>
                  </a:extLst>
                </p14:cNvPr>
                <p14:cNvContentPartPr/>
                <p14:nvPr/>
              </p14:nvContentPartPr>
              <p14:xfrm>
                <a:off x="6633461" y="1362452"/>
                <a:ext cx="137160" cy="91440"/>
              </p14:xfrm>
            </p:contentPart>
          </mc:Choice>
          <mc:Fallback>
            <p:pic>
              <p:nvPicPr>
                <p:cNvPr id="252" name="Ink 251">
                  <a:extLst>
                    <a:ext uri="{FF2B5EF4-FFF2-40B4-BE49-F238E27FC236}">
                      <a16:creationId xmlns:a16="http://schemas.microsoft.com/office/drawing/2014/main" id="{300F77AE-F609-5CCB-6604-97813BDFFC9C}"/>
                    </a:ext>
                  </a:extLst>
                </p:cNvPr>
                <p:cNvPicPr/>
                <p:nvPr/>
              </p:nvPicPr>
              <p:blipFill>
                <a:blip r:embed="rId409"/>
                <a:stretch>
                  <a:fillRect/>
                </a:stretch>
              </p:blipFill>
              <p:spPr>
                <a:xfrm>
                  <a:off x="6618341" y="1347332"/>
                  <a:ext cx="167400" cy="122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10">
              <p14:nvContentPartPr>
                <p14:cNvPr id="253" name="Ink 252">
                  <a:extLst>
                    <a:ext uri="{FF2B5EF4-FFF2-40B4-BE49-F238E27FC236}">
                      <a16:creationId xmlns:a16="http://schemas.microsoft.com/office/drawing/2014/main" id="{21F27AAC-E185-81D9-0AE0-1FDE28836345}"/>
                    </a:ext>
                  </a:extLst>
                </p14:cNvPr>
                <p14:cNvContentPartPr/>
                <p14:nvPr/>
              </p14:nvContentPartPr>
              <p14:xfrm>
                <a:off x="6836501" y="1343372"/>
                <a:ext cx="227520" cy="105480"/>
              </p14:xfrm>
            </p:contentPart>
          </mc:Choice>
          <mc:Fallback>
            <p:pic>
              <p:nvPicPr>
                <p:cNvPr id="253" name="Ink 252">
                  <a:extLst>
                    <a:ext uri="{FF2B5EF4-FFF2-40B4-BE49-F238E27FC236}">
                      <a16:creationId xmlns:a16="http://schemas.microsoft.com/office/drawing/2014/main" id="{21F27AAC-E185-81D9-0AE0-1FDE28836345}"/>
                    </a:ext>
                  </a:extLst>
                </p:cNvPr>
                <p:cNvPicPr/>
                <p:nvPr/>
              </p:nvPicPr>
              <p:blipFill>
                <a:blip r:embed="rId411"/>
                <a:stretch>
                  <a:fillRect/>
                </a:stretch>
              </p:blipFill>
              <p:spPr>
                <a:xfrm>
                  <a:off x="6821021" y="1328252"/>
                  <a:ext cx="257760" cy="135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12">
              <p14:nvContentPartPr>
                <p14:cNvPr id="254" name="Ink 253">
                  <a:extLst>
                    <a:ext uri="{FF2B5EF4-FFF2-40B4-BE49-F238E27FC236}">
                      <a16:creationId xmlns:a16="http://schemas.microsoft.com/office/drawing/2014/main" id="{87253E8E-89EF-869B-B74F-BE4C432F0C22}"/>
                    </a:ext>
                  </a:extLst>
                </p14:cNvPr>
                <p14:cNvContentPartPr/>
                <p14:nvPr/>
              </p14:nvContentPartPr>
              <p14:xfrm>
                <a:off x="7087061" y="1298372"/>
                <a:ext cx="82440" cy="116280"/>
              </p14:xfrm>
            </p:contentPart>
          </mc:Choice>
          <mc:Fallback>
            <p:pic>
              <p:nvPicPr>
                <p:cNvPr id="254" name="Ink 253">
                  <a:extLst>
                    <a:ext uri="{FF2B5EF4-FFF2-40B4-BE49-F238E27FC236}">
                      <a16:creationId xmlns:a16="http://schemas.microsoft.com/office/drawing/2014/main" id="{87253E8E-89EF-869B-B74F-BE4C432F0C22}"/>
                    </a:ext>
                  </a:extLst>
                </p:cNvPr>
                <p:cNvPicPr/>
                <p:nvPr/>
              </p:nvPicPr>
              <p:blipFill>
                <a:blip r:embed="rId413"/>
                <a:stretch>
                  <a:fillRect/>
                </a:stretch>
              </p:blipFill>
              <p:spPr>
                <a:xfrm>
                  <a:off x="7071581" y="1282892"/>
                  <a:ext cx="112680" cy="146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14">
              <p14:nvContentPartPr>
                <p14:cNvPr id="255" name="Ink 254">
                  <a:extLst>
                    <a:ext uri="{FF2B5EF4-FFF2-40B4-BE49-F238E27FC236}">
                      <a16:creationId xmlns:a16="http://schemas.microsoft.com/office/drawing/2014/main" id="{896198B0-39E6-B9D9-1009-664EBDD3A1BA}"/>
                    </a:ext>
                  </a:extLst>
                </p14:cNvPr>
                <p14:cNvContentPartPr/>
                <p14:nvPr/>
              </p14:nvContentPartPr>
              <p14:xfrm>
                <a:off x="7307741" y="1283612"/>
                <a:ext cx="12240" cy="111240"/>
              </p14:xfrm>
            </p:contentPart>
          </mc:Choice>
          <mc:Fallback>
            <p:pic>
              <p:nvPicPr>
                <p:cNvPr id="255" name="Ink 254">
                  <a:extLst>
                    <a:ext uri="{FF2B5EF4-FFF2-40B4-BE49-F238E27FC236}">
                      <a16:creationId xmlns:a16="http://schemas.microsoft.com/office/drawing/2014/main" id="{896198B0-39E6-B9D9-1009-664EBDD3A1BA}"/>
                    </a:ext>
                  </a:extLst>
                </p:cNvPr>
                <p:cNvPicPr/>
                <p:nvPr/>
              </p:nvPicPr>
              <p:blipFill>
                <a:blip r:embed="rId415"/>
                <a:stretch>
                  <a:fillRect/>
                </a:stretch>
              </p:blipFill>
              <p:spPr>
                <a:xfrm>
                  <a:off x="7292261" y="1268132"/>
                  <a:ext cx="42840" cy="141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16">
              <p14:nvContentPartPr>
                <p14:cNvPr id="256" name="Ink 255">
                  <a:extLst>
                    <a:ext uri="{FF2B5EF4-FFF2-40B4-BE49-F238E27FC236}">
                      <a16:creationId xmlns:a16="http://schemas.microsoft.com/office/drawing/2014/main" id="{20F9804D-3FA2-7BB7-658B-48F9422DBCDD}"/>
                    </a:ext>
                  </a:extLst>
                </p14:cNvPr>
                <p14:cNvContentPartPr/>
                <p14:nvPr/>
              </p14:nvContentPartPr>
              <p14:xfrm>
                <a:off x="7271381" y="1211612"/>
                <a:ext cx="18720" cy="50040"/>
              </p14:xfrm>
            </p:contentPart>
          </mc:Choice>
          <mc:Fallback>
            <p:pic>
              <p:nvPicPr>
                <p:cNvPr id="256" name="Ink 255">
                  <a:extLst>
                    <a:ext uri="{FF2B5EF4-FFF2-40B4-BE49-F238E27FC236}">
                      <a16:creationId xmlns:a16="http://schemas.microsoft.com/office/drawing/2014/main" id="{20F9804D-3FA2-7BB7-658B-48F9422DBCDD}"/>
                    </a:ext>
                  </a:extLst>
                </p:cNvPr>
                <p:cNvPicPr/>
                <p:nvPr/>
              </p:nvPicPr>
              <p:blipFill>
                <a:blip r:embed="rId417"/>
                <a:stretch>
                  <a:fillRect/>
                </a:stretch>
              </p:blipFill>
              <p:spPr>
                <a:xfrm>
                  <a:off x="7255901" y="1196492"/>
                  <a:ext cx="49320" cy="80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18">
              <p14:nvContentPartPr>
                <p14:cNvPr id="257" name="Ink 256">
                  <a:extLst>
                    <a:ext uri="{FF2B5EF4-FFF2-40B4-BE49-F238E27FC236}">
                      <a16:creationId xmlns:a16="http://schemas.microsoft.com/office/drawing/2014/main" id="{B6A89593-E0D5-D5E1-EB3F-34B9A823A770}"/>
                    </a:ext>
                  </a:extLst>
                </p14:cNvPr>
                <p14:cNvContentPartPr/>
                <p14:nvPr/>
              </p14:nvContentPartPr>
              <p14:xfrm>
                <a:off x="7389821" y="1234652"/>
                <a:ext cx="109800" cy="181800"/>
              </p14:xfrm>
            </p:contentPart>
          </mc:Choice>
          <mc:Fallback>
            <p:pic>
              <p:nvPicPr>
                <p:cNvPr id="257" name="Ink 256">
                  <a:extLst>
                    <a:ext uri="{FF2B5EF4-FFF2-40B4-BE49-F238E27FC236}">
                      <a16:creationId xmlns:a16="http://schemas.microsoft.com/office/drawing/2014/main" id="{B6A89593-E0D5-D5E1-EB3F-34B9A823A770}"/>
                    </a:ext>
                  </a:extLst>
                </p:cNvPr>
                <p:cNvPicPr/>
                <p:nvPr/>
              </p:nvPicPr>
              <p:blipFill>
                <a:blip r:embed="rId419"/>
                <a:stretch>
                  <a:fillRect/>
                </a:stretch>
              </p:blipFill>
              <p:spPr>
                <a:xfrm>
                  <a:off x="7374341" y="1219172"/>
                  <a:ext cx="140400" cy="212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20">
              <p14:nvContentPartPr>
                <p14:cNvPr id="258" name="Ink 257">
                  <a:extLst>
                    <a:ext uri="{FF2B5EF4-FFF2-40B4-BE49-F238E27FC236}">
                      <a16:creationId xmlns:a16="http://schemas.microsoft.com/office/drawing/2014/main" id="{F9AA7AB9-122E-EAAD-BB02-925A9FE018A3}"/>
                    </a:ext>
                  </a:extLst>
                </p14:cNvPr>
                <p14:cNvContentPartPr/>
                <p14:nvPr/>
              </p14:nvContentPartPr>
              <p14:xfrm>
                <a:off x="7596101" y="1297652"/>
                <a:ext cx="41400" cy="30600"/>
              </p14:xfrm>
            </p:contentPart>
          </mc:Choice>
          <mc:Fallback>
            <p:pic>
              <p:nvPicPr>
                <p:cNvPr id="258" name="Ink 257">
                  <a:extLst>
                    <a:ext uri="{FF2B5EF4-FFF2-40B4-BE49-F238E27FC236}">
                      <a16:creationId xmlns:a16="http://schemas.microsoft.com/office/drawing/2014/main" id="{F9AA7AB9-122E-EAAD-BB02-925A9FE018A3}"/>
                    </a:ext>
                  </a:extLst>
                </p:cNvPr>
                <p:cNvPicPr/>
                <p:nvPr/>
              </p:nvPicPr>
              <p:blipFill>
                <a:blip r:embed="rId421"/>
                <a:stretch>
                  <a:fillRect/>
                </a:stretch>
              </p:blipFill>
              <p:spPr>
                <a:xfrm>
                  <a:off x="7580621" y="1282532"/>
                  <a:ext cx="72000" cy="60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22">
              <p14:nvContentPartPr>
                <p14:cNvPr id="259" name="Ink 258">
                  <a:extLst>
                    <a:ext uri="{FF2B5EF4-FFF2-40B4-BE49-F238E27FC236}">
                      <a16:creationId xmlns:a16="http://schemas.microsoft.com/office/drawing/2014/main" id="{7BFBDB83-3B8D-84B3-2D3A-72895F55EC25}"/>
                    </a:ext>
                  </a:extLst>
                </p14:cNvPr>
                <p14:cNvContentPartPr/>
                <p14:nvPr/>
              </p14:nvContentPartPr>
              <p14:xfrm>
                <a:off x="7599341" y="1367852"/>
                <a:ext cx="87120" cy="18000"/>
              </p14:xfrm>
            </p:contentPart>
          </mc:Choice>
          <mc:Fallback>
            <p:pic>
              <p:nvPicPr>
                <p:cNvPr id="259" name="Ink 258">
                  <a:extLst>
                    <a:ext uri="{FF2B5EF4-FFF2-40B4-BE49-F238E27FC236}">
                      <a16:creationId xmlns:a16="http://schemas.microsoft.com/office/drawing/2014/main" id="{7BFBDB83-3B8D-84B3-2D3A-72895F55EC25}"/>
                    </a:ext>
                  </a:extLst>
                </p:cNvPr>
                <p:cNvPicPr/>
                <p:nvPr/>
              </p:nvPicPr>
              <p:blipFill>
                <a:blip r:embed="rId423"/>
                <a:stretch>
                  <a:fillRect/>
                </a:stretch>
              </p:blipFill>
              <p:spPr>
                <a:xfrm>
                  <a:off x="7584221" y="1352732"/>
                  <a:ext cx="117720" cy="48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24">
              <p14:nvContentPartPr>
                <p14:cNvPr id="260" name="Ink 259">
                  <a:extLst>
                    <a:ext uri="{FF2B5EF4-FFF2-40B4-BE49-F238E27FC236}">
                      <a16:creationId xmlns:a16="http://schemas.microsoft.com/office/drawing/2014/main" id="{F4FD0630-8B40-B7EB-A711-93F50D21AF92}"/>
                    </a:ext>
                  </a:extLst>
                </p14:cNvPr>
                <p14:cNvContentPartPr/>
                <p14:nvPr/>
              </p14:nvContentPartPr>
              <p14:xfrm>
                <a:off x="7785101" y="1275692"/>
                <a:ext cx="100080" cy="82800"/>
              </p14:xfrm>
            </p:contentPart>
          </mc:Choice>
          <mc:Fallback>
            <p:pic>
              <p:nvPicPr>
                <p:cNvPr id="260" name="Ink 259">
                  <a:extLst>
                    <a:ext uri="{FF2B5EF4-FFF2-40B4-BE49-F238E27FC236}">
                      <a16:creationId xmlns:a16="http://schemas.microsoft.com/office/drawing/2014/main" id="{F4FD0630-8B40-B7EB-A711-93F50D21AF92}"/>
                    </a:ext>
                  </a:extLst>
                </p:cNvPr>
                <p:cNvPicPr/>
                <p:nvPr/>
              </p:nvPicPr>
              <p:blipFill>
                <a:blip r:embed="rId425"/>
                <a:stretch>
                  <a:fillRect/>
                </a:stretch>
              </p:blipFill>
              <p:spPr>
                <a:xfrm>
                  <a:off x="7769621" y="1260572"/>
                  <a:ext cx="130680" cy="113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26">
              <p14:nvContentPartPr>
                <p14:cNvPr id="292" name="Ink 291">
                  <a:extLst>
                    <a:ext uri="{FF2B5EF4-FFF2-40B4-BE49-F238E27FC236}">
                      <a16:creationId xmlns:a16="http://schemas.microsoft.com/office/drawing/2014/main" id="{C6ACFE59-1F01-3ACB-BA71-34F79B526C10}"/>
                    </a:ext>
                  </a:extLst>
                </p14:cNvPr>
                <p14:cNvContentPartPr/>
                <p14:nvPr/>
              </p14:nvContentPartPr>
              <p14:xfrm>
                <a:off x="6120461" y="1498532"/>
                <a:ext cx="255240" cy="120240"/>
              </p14:xfrm>
            </p:contentPart>
          </mc:Choice>
          <mc:Fallback>
            <p:pic>
              <p:nvPicPr>
                <p:cNvPr id="292" name="Ink 291">
                  <a:extLst>
                    <a:ext uri="{FF2B5EF4-FFF2-40B4-BE49-F238E27FC236}">
                      <a16:creationId xmlns:a16="http://schemas.microsoft.com/office/drawing/2014/main" id="{C6ACFE59-1F01-3ACB-BA71-34F79B526C10}"/>
                    </a:ext>
                  </a:extLst>
                </p:cNvPr>
                <p:cNvPicPr/>
                <p:nvPr/>
              </p:nvPicPr>
              <p:blipFill>
                <a:blip r:embed="rId427"/>
                <a:stretch>
                  <a:fillRect/>
                </a:stretch>
              </p:blipFill>
              <p:spPr>
                <a:xfrm>
                  <a:off x="6104981" y="1483052"/>
                  <a:ext cx="285480" cy="1508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96" name="Group 295">
            <a:extLst>
              <a:ext uri="{FF2B5EF4-FFF2-40B4-BE49-F238E27FC236}">
                <a16:creationId xmlns:a16="http://schemas.microsoft.com/office/drawing/2014/main" id="{CC4262D1-DB9D-A16A-6078-080BA9C69A76}"/>
              </a:ext>
            </a:extLst>
          </p:cNvPr>
          <p:cNvGrpSpPr/>
          <p:nvPr/>
        </p:nvGrpSpPr>
        <p:grpSpPr>
          <a:xfrm>
            <a:off x="8595821" y="741452"/>
            <a:ext cx="977760" cy="286920"/>
            <a:chOff x="8595821" y="741452"/>
            <a:chExt cx="977760" cy="2869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428">
              <p14:nvContentPartPr>
                <p14:cNvPr id="277" name="Ink 276">
                  <a:extLst>
                    <a:ext uri="{FF2B5EF4-FFF2-40B4-BE49-F238E27FC236}">
                      <a16:creationId xmlns:a16="http://schemas.microsoft.com/office/drawing/2014/main" id="{0DC59966-F6FE-F4DD-9BFE-901CDECAF1CE}"/>
                    </a:ext>
                  </a:extLst>
                </p14:cNvPr>
                <p14:cNvContentPartPr/>
                <p14:nvPr/>
              </p14:nvContentPartPr>
              <p14:xfrm>
                <a:off x="8741261" y="741452"/>
                <a:ext cx="163800" cy="206280"/>
              </p14:xfrm>
            </p:contentPart>
          </mc:Choice>
          <mc:Fallback>
            <p:pic>
              <p:nvPicPr>
                <p:cNvPr id="277" name="Ink 276">
                  <a:extLst>
                    <a:ext uri="{FF2B5EF4-FFF2-40B4-BE49-F238E27FC236}">
                      <a16:creationId xmlns:a16="http://schemas.microsoft.com/office/drawing/2014/main" id="{0DC59966-F6FE-F4DD-9BFE-901CDECAF1CE}"/>
                    </a:ext>
                  </a:extLst>
                </p:cNvPr>
                <p:cNvPicPr/>
                <p:nvPr/>
              </p:nvPicPr>
              <p:blipFill>
                <a:blip r:embed="rId429"/>
                <a:stretch>
                  <a:fillRect/>
                </a:stretch>
              </p:blipFill>
              <p:spPr>
                <a:xfrm>
                  <a:off x="8726141" y="726332"/>
                  <a:ext cx="194400" cy="236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30">
              <p14:nvContentPartPr>
                <p14:cNvPr id="278" name="Ink 277">
                  <a:extLst>
                    <a:ext uri="{FF2B5EF4-FFF2-40B4-BE49-F238E27FC236}">
                      <a16:creationId xmlns:a16="http://schemas.microsoft.com/office/drawing/2014/main" id="{547418B1-362B-86EA-147A-9E0F23A29E03}"/>
                    </a:ext>
                  </a:extLst>
                </p14:cNvPr>
                <p14:cNvContentPartPr/>
                <p14:nvPr/>
              </p14:nvContentPartPr>
              <p14:xfrm>
                <a:off x="8989661" y="782852"/>
                <a:ext cx="124920" cy="126360"/>
              </p14:xfrm>
            </p:contentPart>
          </mc:Choice>
          <mc:Fallback>
            <p:pic>
              <p:nvPicPr>
                <p:cNvPr id="278" name="Ink 277">
                  <a:extLst>
                    <a:ext uri="{FF2B5EF4-FFF2-40B4-BE49-F238E27FC236}">
                      <a16:creationId xmlns:a16="http://schemas.microsoft.com/office/drawing/2014/main" id="{547418B1-362B-86EA-147A-9E0F23A29E03}"/>
                    </a:ext>
                  </a:extLst>
                </p:cNvPr>
                <p:cNvPicPr/>
                <p:nvPr/>
              </p:nvPicPr>
              <p:blipFill>
                <a:blip r:embed="rId431"/>
                <a:stretch>
                  <a:fillRect/>
                </a:stretch>
              </p:blipFill>
              <p:spPr>
                <a:xfrm>
                  <a:off x="8974181" y="767372"/>
                  <a:ext cx="155520" cy="156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32">
              <p14:nvContentPartPr>
                <p14:cNvPr id="279" name="Ink 278">
                  <a:extLst>
                    <a:ext uri="{FF2B5EF4-FFF2-40B4-BE49-F238E27FC236}">
                      <a16:creationId xmlns:a16="http://schemas.microsoft.com/office/drawing/2014/main" id="{4C49E2A1-23A5-29B4-6042-6614F6A5A0F4}"/>
                    </a:ext>
                  </a:extLst>
                </p14:cNvPr>
                <p14:cNvContentPartPr/>
                <p14:nvPr/>
              </p14:nvContentPartPr>
              <p14:xfrm>
                <a:off x="9220781" y="777812"/>
                <a:ext cx="139680" cy="113400"/>
              </p14:xfrm>
            </p:contentPart>
          </mc:Choice>
          <mc:Fallback>
            <p:pic>
              <p:nvPicPr>
                <p:cNvPr id="279" name="Ink 278">
                  <a:extLst>
                    <a:ext uri="{FF2B5EF4-FFF2-40B4-BE49-F238E27FC236}">
                      <a16:creationId xmlns:a16="http://schemas.microsoft.com/office/drawing/2014/main" id="{4C49E2A1-23A5-29B4-6042-6614F6A5A0F4}"/>
                    </a:ext>
                  </a:extLst>
                </p:cNvPr>
                <p:cNvPicPr/>
                <p:nvPr/>
              </p:nvPicPr>
              <p:blipFill>
                <a:blip r:embed="rId433"/>
                <a:stretch>
                  <a:fillRect/>
                </a:stretch>
              </p:blipFill>
              <p:spPr>
                <a:xfrm>
                  <a:off x="9205301" y="762332"/>
                  <a:ext cx="169920" cy="144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34">
              <p14:nvContentPartPr>
                <p14:cNvPr id="280" name="Ink 279">
                  <a:extLst>
                    <a:ext uri="{FF2B5EF4-FFF2-40B4-BE49-F238E27FC236}">
                      <a16:creationId xmlns:a16="http://schemas.microsoft.com/office/drawing/2014/main" id="{8A9346E9-3435-17E6-04D7-1C85B84B8184}"/>
                    </a:ext>
                  </a:extLst>
                </p14:cNvPr>
                <p14:cNvContentPartPr/>
                <p14:nvPr/>
              </p14:nvContentPartPr>
              <p14:xfrm>
                <a:off x="9474581" y="804812"/>
                <a:ext cx="99000" cy="33480"/>
              </p14:xfrm>
            </p:contentPart>
          </mc:Choice>
          <mc:Fallback>
            <p:pic>
              <p:nvPicPr>
                <p:cNvPr id="280" name="Ink 279">
                  <a:extLst>
                    <a:ext uri="{FF2B5EF4-FFF2-40B4-BE49-F238E27FC236}">
                      <a16:creationId xmlns:a16="http://schemas.microsoft.com/office/drawing/2014/main" id="{8A9346E9-3435-17E6-04D7-1C85B84B8184}"/>
                    </a:ext>
                  </a:extLst>
                </p:cNvPr>
                <p:cNvPicPr/>
                <p:nvPr/>
              </p:nvPicPr>
              <p:blipFill>
                <a:blip r:embed="rId435"/>
                <a:stretch>
                  <a:fillRect/>
                </a:stretch>
              </p:blipFill>
              <p:spPr>
                <a:xfrm>
                  <a:off x="9459461" y="789692"/>
                  <a:ext cx="129240" cy="63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36">
              <p14:nvContentPartPr>
                <p14:cNvPr id="294" name="Ink 293">
                  <a:extLst>
                    <a:ext uri="{FF2B5EF4-FFF2-40B4-BE49-F238E27FC236}">
                      <a16:creationId xmlns:a16="http://schemas.microsoft.com/office/drawing/2014/main" id="{9D68F1C1-D349-1A91-1507-A040D37CFE19}"/>
                    </a:ext>
                  </a:extLst>
                </p14:cNvPr>
                <p14:cNvContentPartPr/>
                <p14:nvPr/>
              </p14:nvContentPartPr>
              <p14:xfrm>
                <a:off x="8595821" y="904172"/>
                <a:ext cx="325440" cy="124200"/>
              </p14:xfrm>
            </p:contentPart>
          </mc:Choice>
          <mc:Fallback>
            <p:pic>
              <p:nvPicPr>
                <p:cNvPr id="294" name="Ink 293">
                  <a:extLst>
                    <a:ext uri="{FF2B5EF4-FFF2-40B4-BE49-F238E27FC236}">
                      <a16:creationId xmlns:a16="http://schemas.microsoft.com/office/drawing/2014/main" id="{9D68F1C1-D349-1A91-1507-A040D37CFE19}"/>
                    </a:ext>
                  </a:extLst>
                </p:cNvPr>
                <p:cNvPicPr/>
                <p:nvPr/>
              </p:nvPicPr>
              <p:blipFill>
                <a:blip r:embed="rId437"/>
                <a:stretch>
                  <a:fillRect/>
                </a:stretch>
              </p:blipFill>
              <p:spPr>
                <a:xfrm>
                  <a:off x="8580701" y="888692"/>
                  <a:ext cx="356040" cy="15480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438">
            <p14:nvContentPartPr>
              <p14:cNvPr id="295" name="Ink 294">
                <a:extLst>
                  <a:ext uri="{FF2B5EF4-FFF2-40B4-BE49-F238E27FC236}">
                    <a16:creationId xmlns:a16="http://schemas.microsoft.com/office/drawing/2014/main" id="{D8478894-2A51-B967-391C-16C55174EA90}"/>
                  </a:ext>
                </a:extLst>
              </p14:cNvPr>
              <p14:cNvContentPartPr/>
              <p14:nvPr/>
            </p14:nvContentPartPr>
            <p14:xfrm>
              <a:off x="8705621" y="1588532"/>
              <a:ext cx="301680" cy="135720"/>
            </p14:xfrm>
          </p:contentPart>
        </mc:Choice>
        <mc:Fallback>
          <p:pic>
            <p:nvPicPr>
              <p:cNvPr id="295" name="Ink 294">
                <a:extLst>
                  <a:ext uri="{FF2B5EF4-FFF2-40B4-BE49-F238E27FC236}">
                    <a16:creationId xmlns:a16="http://schemas.microsoft.com/office/drawing/2014/main" id="{D8478894-2A51-B967-391C-16C55174EA90}"/>
                  </a:ext>
                </a:extLst>
              </p:cNvPr>
              <p:cNvPicPr/>
              <p:nvPr/>
            </p:nvPicPr>
            <p:blipFill>
              <a:blip r:embed="rId439"/>
              <a:stretch>
                <a:fillRect/>
              </a:stretch>
            </p:blipFill>
            <p:spPr>
              <a:xfrm>
                <a:off x="8690141" y="1573052"/>
                <a:ext cx="331920" cy="166320"/>
              </a:xfrm>
              <a:prstGeom prst="rect">
                <a:avLst/>
              </a:prstGeom>
            </p:spPr>
          </p:pic>
        </mc:Fallback>
      </mc:AlternateContent>
      <p:grpSp>
        <p:nvGrpSpPr>
          <p:cNvPr id="320" name="Group 319">
            <a:extLst>
              <a:ext uri="{FF2B5EF4-FFF2-40B4-BE49-F238E27FC236}">
                <a16:creationId xmlns:a16="http://schemas.microsoft.com/office/drawing/2014/main" id="{6FA60219-7FF1-070F-90E0-1817B92A3EFD}"/>
              </a:ext>
            </a:extLst>
          </p:cNvPr>
          <p:cNvGrpSpPr/>
          <p:nvPr/>
        </p:nvGrpSpPr>
        <p:grpSpPr>
          <a:xfrm>
            <a:off x="955181" y="3985052"/>
            <a:ext cx="1657080" cy="383400"/>
            <a:chOff x="955181" y="3985052"/>
            <a:chExt cx="1657080" cy="3834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440">
              <p14:nvContentPartPr>
                <p14:cNvPr id="297" name="Ink 296">
                  <a:extLst>
                    <a:ext uri="{FF2B5EF4-FFF2-40B4-BE49-F238E27FC236}">
                      <a16:creationId xmlns:a16="http://schemas.microsoft.com/office/drawing/2014/main" id="{E9C91ADE-552C-B652-1CBA-B86ACB56AE89}"/>
                    </a:ext>
                  </a:extLst>
                </p14:cNvPr>
                <p14:cNvContentPartPr/>
                <p14:nvPr/>
              </p14:nvContentPartPr>
              <p14:xfrm>
                <a:off x="955181" y="4125812"/>
                <a:ext cx="123840" cy="242640"/>
              </p14:xfrm>
            </p:contentPart>
          </mc:Choice>
          <mc:Fallback>
            <p:pic>
              <p:nvPicPr>
                <p:cNvPr id="297" name="Ink 296">
                  <a:extLst>
                    <a:ext uri="{FF2B5EF4-FFF2-40B4-BE49-F238E27FC236}">
                      <a16:creationId xmlns:a16="http://schemas.microsoft.com/office/drawing/2014/main" id="{E9C91ADE-552C-B652-1CBA-B86ACB56AE89}"/>
                    </a:ext>
                  </a:extLst>
                </p:cNvPr>
                <p:cNvPicPr/>
                <p:nvPr/>
              </p:nvPicPr>
              <p:blipFill>
                <a:blip r:embed="rId441"/>
                <a:stretch>
                  <a:fillRect/>
                </a:stretch>
              </p:blipFill>
              <p:spPr>
                <a:xfrm>
                  <a:off x="939701" y="4110692"/>
                  <a:ext cx="154440" cy="273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42">
              <p14:nvContentPartPr>
                <p14:cNvPr id="298" name="Ink 297">
                  <a:extLst>
                    <a:ext uri="{FF2B5EF4-FFF2-40B4-BE49-F238E27FC236}">
                      <a16:creationId xmlns:a16="http://schemas.microsoft.com/office/drawing/2014/main" id="{4920794C-209F-E6BF-2F04-C614EC3F1DAE}"/>
                    </a:ext>
                  </a:extLst>
                </p14:cNvPr>
                <p14:cNvContentPartPr/>
                <p14:nvPr/>
              </p14:nvContentPartPr>
              <p14:xfrm>
                <a:off x="1179461" y="4085852"/>
                <a:ext cx="87120" cy="247320"/>
              </p14:xfrm>
            </p:contentPart>
          </mc:Choice>
          <mc:Fallback>
            <p:pic>
              <p:nvPicPr>
                <p:cNvPr id="298" name="Ink 297">
                  <a:extLst>
                    <a:ext uri="{FF2B5EF4-FFF2-40B4-BE49-F238E27FC236}">
                      <a16:creationId xmlns:a16="http://schemas.microsoft.com/office/drawing/2014/main" id="{4920794C-209F-E6BF-2F04-C614EC3F1DAE}"/>
                    </a:ext>
                  </a:extLst>
                </p:cNvPr>
                <p:cNvPicPr/>
                <p:nvPr/>
              </p:nvPicPr>
              <p:blipFill>
                <a:blip r:embed="rId443"/>
                <a:stretch>
                  <a:fillRect/>
                </a:stretch>
              </p:blipFill>
              <p:spPr>
                <a:xfrm>
                  <a:off x="1164341" y="4070732"/>
                  <a:ext cx="117360" cy="277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44">
              <p14:nvContentPartPr>
                <p14:cNvPr id="300" name="Ink 299">
                  <a:extLst>
                    <a:ext uri="{FF2B5EF4-FFF2-40B4-BE49-F238E27FC236}">
                      <a16:creationId xmlns:a16="http://schemas.microsoft.com/office/drawing/2014/main" id="{CCB7D385-668E-59F0-6A05-5BDFFAC82B32}"/>
                    </a:ext>
                  </a:extLst>
                </p14:cNvPr>
                <p14:cNvContentPartPr/>
                <p14:nvPr/>
              </p14:nvContentPartPr>
              <p14:xfrm>
                <a:off x="1829261" y="4030412"/>
                <a:ext cx="24120" cy="276120"/>
              </p14:xfrm>
            </p:contentPart>
          </mc:Choice>
          <mc:Fallback>
            <p:pic>
              <p:nvPicPr>
                <p:cNvPr id="300" name="Ink 299">
                  <a:extLst>
                    <a:ext uri="{FF2B5EF4-FFF2-40B4-BE49-F238E27FC236}">
                      <a16:creationId xmlns:a16="http://schemas.microsoft.com/office/drawing/2014/main" id="{CCB7D385-668E-59F0-6A05-5BDFFAC82B32}"/>
                    </a:ext>
                  </a:extLst>
                </p:cNvPr>
                <p:cNvPicPr/>
                <p:nvPr/>
              </p:nvPicPr>
              <p:blipFill>
                <a:blip r:embed="rId445"/>
                <a:stretch>
                  <a:fillRect/>
                </a:stretch>
              </p:blipFill>
              <p:spPr>
                <a:xfrm>
                  <a:off x="1814141" y="4015292"/>
                  <a:ext cx="54720" cy="306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46">
              <p14:nvContentPartPr>
                <p14:cNvPr id="301" name="Ink 300">
                  <a:extLst>
                    <a:ext uri="{FF2B5EF4-FFF2-40B4-BE49-F238E27FC236}">
                      <a16:creationId xmlns:a16="http://schemas.microsoft.com/office/drawing/2014/main" id="{2CFEC1B7-3070-C7EF-97CA-1A8CE63094AD}"/>
                    </a:ext>
                  </a:extLst>
                </p14:cNvPr>
                <p14:cNvContentPartPr/>
                <p14:nvPr/>
              </p14:nvContentPartPr>
              <p14:xfrm>
                <a:off x="1981181" y="4161452"/>
                <a:ext cx="100800" cy="3240"/>
              </p14:xfrm>
            </p:contentPart>
          </mc:Choice>
          <mc:Fallback>
            <p:pic>
              <p:nvPicPr>
                <p:cNvPr id="301" name="Ink 300">
                  <a:extLst>
                    <a:ext uri="{FF2B5EF4-FFF2-40B4-BE49-F238E27FC236}">
                      <a16:creationId xmlns:a16="http://schemas.microsoft.com/office/drawing/2014/main" id="{2CFEC1B7-3070-C7EF-97CA-1A8CE63094AD}"/>
                    </a:ext>
                  </a:extLst>
                </p:cNvPr>
                <p:cNvPicPr/>
                <p:nvPr/>
              </p:nvPicPr>
              <p:blipFill>
                <a:blip r:embed="rId447"/>
                <a:stretch>
                  <a:fillRect/>
                </a:stretch>
              </p:blipFill>
              <p:spPr>
                <a:xfrm>
                  <a:off x="1966061" y="4146332"/>
                  <a:ext cx="131040" cy="33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48">
              <p14:nvContentPartPr>
                <p14:cNvPr id="303" name="Ink 302">
                  <a:extLst>
                    <a:ext uri="{FF2B5EF4-FFF2-40B4-BE49-F238E27FC236}">
                      <a16:creationId xmlns:a16="http://schemas.microsoft.com/office/drawing/2014/main" id="{4384F1A3-1C5D-3EAF-D057-0B0665F63FA8}"/>
                    </a:ext>
                  </a:extLst>
                </p14:cNvPr>
                <p14:cNvContentPartPr/>
                <p14:nvPr/>
              </p14:nvContentPartPr>
              <p14:xfrm>
                <a:off x="1988021" y="4079372"/>
                <a:ext cx="45360" cy="227520"/>
              </p14:xfrm>
            </p:contentPart>
          </mc:Choice>
          <mc:Fallback>
            <p:pic>
              <p:nvPicPr>
                <p:cNvPr id="303" name="Ink 302">
                  <a:extLst>
                    <a:ext uri="{FF2B5EF4-FFF2-40B4-BE49-F238E27FC236}">
                      <a16:creationId xmlns:a16="http://schemas.microsoft.com/office/drawing/2014/main" id="{4384F1A3-1C5D-3EAF-D057-0B0665F63FA8}"/>
                    </a:ext>
                  </a:extLst>
                </p:cNvPr>
                <p:cNvPicPr/>
                <p:nvPr/>
              </p:nvPicPr>
              <p:blipFill>
                <a:blip r:embed="rId449"/>
                <a:stretch>
                  <a:fillRect/>
                </a:stretch>
              </p:blipFill>
              <p:spPr>
                <a:xfrm>
                  <a:off x="1972541" y="4064252"/>
                  <a:ext cx="75960" cy="257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50">
              <p14:nvContentPartPr>
                <p14:cNvPr id="304" name="Ink 303">
                  <a:extLst>
                    <a:ext uri="{FF2B5EF4-FFF2-40B4-BE49-F238E27FC236}">
                      <a16:creationId xmlns:a16="http://schemas.microsoft.com/office/drawing/2014/main" id="{B7154E11-32A3-B06D-D91D-B9D5D1E25BD0}"/>
                    </a:ext>
                  </a:extLst>
                </p14:cNvPr>
                <p14:cNvContentPartPr/>
                <p14:nvPr/>
              </p14:nvContentPartPr>
              <p14:xfrm>
                <a:off x="2160461" y="4083692"/>
                <a:ext cx="132840" cy="135000"/>
              </p14:xfrm>
            </p:contentPart>
          </mc:Choice>
          <mc:Fallback>
            <p:pic>
              <p:nvPicPr>
                <p:cNvPr id="304" name="Ink 303">
                  <a:extLst>
                    <a:ext uri="{FF2B5EF4-FFF2-40B4-BE49-F238E27FC236}">
                      <a16:creationId xmlns:a16="http://schemas.microsoft.com/office/drawing/2014/main" id="{B7154E11-32A3-B06D-D91D-B9D5D1E25BD0}"/>
                    </a:ext>
                  </a:extLst>
                </p:cNvPr>
                <p:cNvPicPr/>
                <p:nvPr/>
              </p:nvPicPr>
              <p:blipFill>
                <a:blip r:embed="rId451"/>
                <a:stretch>
                  <a:fillRect/>
                </a:stretch>
              </p:blipFill>
              <p:spPr>
                <a:xfrm>
                  <a:off x="2145341" y="4068572"/>
                  <a:ext cx="163440" cy="165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52">
              <p14:nvContentPartPr>
                <p14:cNvPr id="305" name="Ink 304">
                  <a:extLst>
                    <a:ext uri="{FF2B5EF4-FFF2-40B4-BE49-F238E27FC236}">
                      <a16:creationId xmlns:a16="http://schemas.microsoft.com/office/drawing/2014/main" id="{F5E874BC-83F7-6C3A-C9D2-76FE0A53EC24}"/>
                    </a:ext>
                  </a:extLst>
                </p14:cNvPr>
                <p14:cNvContentPartPr/>
                <p14:nvPr/>
              </p14:nvContentPartPr>
              <p14:xfrm>
                <a:off x="2359901" y="4054532"/>
                <a:ext cx="106560" cy="151200"/>
              </p14:xfrm>
            </p:contentPart>
          </mc:Choice>
          <mc:Fallback>
            <p:pic>
              <p:nvPicPr>
                <p:cNvPr id="305" name="Ink 304">
                  <a:extLst>
                    <a:ext uri="{FF2B5EF4-FFF2-40B4-BE49-F238E27FC236}">
                      <a16:creationId xmlns:a16="http://schemas.microsoft.com/office/drawing/2014/main" id="{F5E874BC-83F7-6C3A-C9D2-76FE0A53EC24}"/>
                    </a:ext>
                  </a:extLst>
                </p:cNvPr>
                <p:cNvPicPr/>
                <p:nvPr/>
              </p:nvPicPr>
              <p:blipFill>
                <a:blip r:embed="rId453"/>
                <a:stretch>
                  <a:fillRect/>
                </a:stretch>
              </p:blipFill>
              <p:spPr>
                <a:xfrm>
                  <a:off x="2344781" y="4039412"/>
                  <a:ext cx="136800" cy="181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54">
              <p14:nvContentPartPr>
                <p14:cNvPr id="306" name="Ink 305">
                  <a:extLst>
                    <a:ext uri="{FF2B5EF4-FFF2-40B4-BE49-F238E27FC236}">
                      <a16:creationId xmlns:a16="http://schemas.microsoft.com/office/drawing/2014/main" id="{DD3E726D-85F5-654E-99CD-790C441F2E95}"/>
                    </a:ext>
                  </a:extLst>
                </p14:cNvPr>
                <p14:cNvContentPartPr/>
                <p14:nvPr/>
              </p14:nvContentPartPr>
              <p14:xfrm>
                <a:off x="2534861" y="3985052"/>
                <a:ext cx="77400" cy="293040"/>
              </p14:xfrm>
            </p:contentPart>
          </mc:Choice>
          <mc:Fallback>
            <p:pic>
              <p:nvPicPr>
                <p:cNvPr id="306" name="Ink 305">
                  <a:extLst>
                    <a:ext uri="{FF2B5EF4-FFF2-40B4-BE49-F238E27FC236}">
                      <a16:creationId xmlns:a16="http://schemas.microsoft.com/office/drawing/2014/main" id="{DD3E726D-85F5-654E-99CD-790C441F2E95}"/>
                    </a:ext>
                  </a:extLst>
                </p:cNvPr>
                <p:cNvPicPr/>
                <p:nvPr/>
              </p:nvPicPr>
              <p:blipFill>
                <a:blip r:embed="rId455"/>
                <a:stretch>
                  <a:fillRect/>
                </a:stretch>
              </p:blipFill>
              <p:spPr>
                <a:xfrm>
                  <a:off x="2519381" y="3969932"/>
                  <a:ext cx="108000" cy="323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56">
              <p14:nvContentPartPr>
                <p14:cNvPr id="308" name="Ink 307">
                  <a:extLst>
                    <a:ext uri="{FF2B5EF4-FFF2-40B4-BE49-F238E27FC236}">
                      <a16:creationId xmlns:a16="http://schemas.microsoft.com/office/drawing/2014/main" id="{C3777163-9A9D-45ED-7869-70E50BCDCECE}"/>
                    </a:ext>
                  </a:extLst>
                </p14:cNvPr>
                <p14:cNvContentPartPr/>
                <p14:nvPr/>
              </p14:nvContentPartPr>
              <p14:xfrm>
                <a:off x="1259021" y="4177292"/>
                <a:ext cx="158400" cy="142200"/>
              </p14:xfrm>
            </p:contentPart>
          </mc:Choice>
          <mc:Fallback>
            <p:pic>
              <p:nvPicPr>
                <p:cNvPr id="308" name="Ink 307">
                  <a:extLst>
                    <a:ext uri="{FF2B5EF4-FFF2-40B4-BE49-F238E27FC236}">
                      <a16:creationId xmlns:a16="http://schemas.microsoft.com/office/drawing/2014/main" id="{C3777163-9A9D-45ED-7869-70E50BCDCECE}"/>
                    </a:ext>
                  </a:extLst>
                </p:cNvPr>
                <p:cNvPicPr/>
                <p:nvPr/>
              </p:nvPicPr>
              <p:blipFill>
                <a:blip r:embed="rId457"/>
                <a:stretch>
                  <a:fillRect/>
                </a:stretch>
              </p:blipFill>
              <p:spPr>
                <a:xfrm>
                  <a:off x="1243541" y="4161812"/>
                  <a:ext cx="188640" cy="172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58">
              <p14:nvContentPartPr>
                <p14:cNvPr id="309" name="Ink 308">
                  <a:extLst>
                    <a:ext uri="{FF2B5EF4-FFF2-40B4-BE49-F238E27FC236}">
                      <a16:creationId xmlns:a16="http://schemas.microsoft.com/office/drawing/2014/main" id="{F58F7FE4-9078-DDC7-5DE1-9A7C546184B4}"/>
                    </a:ext>
                  </a:extLst>
                </p14:cNvPr>
                <p14:cNvContentPartPr/>
                <p14:nvPr/>
              </p14:nvContentPartPr>
              <p14:xfrm>
                <a:off x="1405541" y="4172972"/>
                <a:ext cx="93960" cy="91080"/>
              </p14:xfrm>
            </p:contentPart>
          </mc:Choice>
          <mc:Fallback>
            <p:pic>
              <p:nvPicPr>
                <p:cNvPr id="309" name="Ink 308">
                  <a:extLst>
                    <a:ext uri="{FF2B5EF4-FFF2-40B4-BE49-F238E27FC236}">
                      <a16:creationId xmlns:a16="http://schemas.microsoft.com/office/drawing/2014/main" id="{F58F7FE4-9078-DDC7-5DE1-9A7C546184B4}"/>
                    </a:ext>
                  </a:extLst>
                </p:cNvPr>
                <p:cNvPicPr/>
                <p:nvPr/>
              </p:nvPicPr>
              <p:blipFill>
                <a:blip r:embed="rId459"/>
                <a:stretch>
                  <a:fillRect/>
                </a:stretch>
              </p:blipFill>
              <p:spPr>
                <a:xfrm>
                  <a:off x="1390421" y="4157852"/>
                  <a:ext cx="124560" cy="121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60">
              <p14:nvContentPartPr>
                <p14:cNvPr id="310" name="Ink 309">
                  <a:extLst>
                    <a:ext uri="{FF2B5EF4-FFF2-40B4-BE49-F238E27FC236}">
                      <a16:creationId xmlns:a16="http://schemas.microsoft.com/office/drawing/2014/main" id="{EF6A0F98-F111-CA0E-8C72-0D300EFB6A67}"/>
                    </a:ext>
                  </a:extLst>
                </p14:cNvPr>
                <p14:cNvContentPartPr/>
                <p14:nvPr/>
              </p14:nvContentPartPr>
              <p14:xfrm>
                <a:off x="1536941" y="4159292"/>
                <a:ext cx="52560" cy="108000"/>
              </p14:xfrm>
            </p:contentPart>
          </mc:Choice>
          <mc:Fallback>
            <p:pic>
              <p:nvPicPr>
                <p:cNvPr id="310" name="Ink 309">
                  <a:extLst>
                    <a:ext uri="{FF2B5EF4-FFF2-40B4-BE49-F238E27FC236}">
                      <a16:creationId xmlns:a16="http://schemas.microsoft.com/office/drawing/2014/main" id="{EF6A0F98-F111-CA0E-8C72-0D300EFB6A67}"/>
                    </a:ext>
                  </a:extLst>
                </p:cNvPr>
                <p:cNvPicPr/>
                <p:nvPr/>
              </p:nvPicPr>
              <p:blipFill>
                <a:blip r:embed="rId461"/>
                <a:stretch>
                  <a:fillRect/>
                </a:stretch>
              </p:blipFill>
              <p:spPr>
                <a:xfrm>
                  <a:off x="1521821" y="4144172"/>
                  <a:ext cx="83160" cy="138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62">
              <p14:nvContentPartPr>
                <p14:cNvPr id="311" name="Ink 310">
                  <a:extLst>
                    <a:ext uri="{FF2B5EF4-FFF2-40B4-BE49-F238E27FC236}">
                      <a16:creationId xmlns:a16="http://schemas.microsoft.com/office/drawing/2014/main" id="{915312F3-3602-CD91-B5CB-131963563943}"/>
                    </a:ext>
                  </a:extLst>
                </p14:cNvPr>
                <p14:cNvContentPartPr/>
                <p14:nvPr/>
              </p14:nvContentPartPr>
              <p14:xfrm>
                <a:off x="1532621" y="4107092"/>
                <a:ext cx="21240" cy="40320"/>
              </p14:xfrm>
            </p:contentPart>
          </mc:Choice>
          <mc:Fallback>
            <p:pic>
              <p:nvPicPr>
                <p:cNvPr id="311" name="Ink 310">
                  <a:extLst>
                    <a:ext uri="{FF2B5EF4-FFF2-40B4-BE49-F238E27FC236}">
                      <a16:creationId xmlns:a16="http://schemas.microsoft.com/office/drawing/2014/main" id="{915312F3-3602-CD91-B5CB-131963563943}"/>
                    </a:ext>
                  </a:extLst>
                </p:cNvPr>
                <p:cNvPicPr/>
                <p:nvPr/>
              </p:nvPicPr>
              <p:blipFill>
                <a:blip r:embed="rId463"/>
                <a:stretch>
                  <a:fillRect/>
                </a:stretch>
              </p:blipFill>
              <p:spPr>
                <a:xfrm>
                  <a:off x="1517501" y="4091612"/>
                  <a:ext cx="51840" cy="70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64">
              <p14:nvContentPartPr>
                <p14:cNvPr id="312" name="Ink 311">
                  <a:extLst>
                    <a:ext uri="{FF2B5EF4-FFF2-40B4-BE49-F238E27FC236}">
                      <a16:creationId xmlns:a16="http://schemas.microsoft.com/office/drawing/2014/main" id="{A719A059-37A6-DEB1-386A-F350880FB820}"/>
                    </a:ext>
                  </a:extLst>
                </p14:cNvPr>
                <p14:cNvContentPartPr/>
                <p14:nvPr/>
              </p14:nvContentPartPr>
              <p14:xfrm>
                <a:off x="1595981" y="4100252"/>
                <a:ext cx="144720" cy="171720"/>
              </p14:xfrm>
            </p:contentPart>
          </mc:Choice>
          <mc:Fallback>
            <p:pic>
              <p:nvPicPr>
                <p:cNvPr id="312" name="Ink 311">
                  <a:extLst>
                    <a:ext uri="{FF2B5EF4-FFF2-40B4-BE49-F238E27FC236}">
                      <a16:creationId xmlns:a16="http://schemas.microsoft.com/office/drawing/2014/main" id="{A719A059-37A6-DEB1-386A-F350880FB820}"/>
                    </a:ext>
                  </a:extLst>
                </p:cNvPr>
                <p:cNvPicPr/>
                <p:nvPr/>
              </p:nvPicPr>
              <p:blipFill>
                <a:blip r:embed="rId465"/>
                <a:stretch>
                  <a:fillRect/>
                </a:stretch>
              </p:blipFill>
              <p:spPr>
                <a:xfrm>
                  <a:off x="1580501" y="4085132"/>
                  <a:ext cx="175320" cy="2023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319" name="Group 318">
            <a:extLst>
              <a:ext uri="{FF2B5EF4-FFF2-40B4-BE49-F238E27FC236}">
                <a16:creationId xmlns:a16="http://schemas.microsoft.com/office/drawing/2014/main" id="{A6441D07-7C27-B3E0-1179-E732E9362DA5}"/>
              </a:ext>
            </a:extLst>
          </p:cNvPr>
          <p:cNvGrpSpPr/>
          <p:nvPr/>
        </p:nvGrpSpPr>
        <p:grpSpPr>
          <a:xfrm>
            <a:off x="2873981" y="3966332"/>
            <a:ext cx="492480" cy="305640"/>
            <a:chOff x="2873981" y="3966332"/>
            <a:chExt cx="492480" cy="3056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466">
              <p14:nvContentPartPr>
                <p14:cNvPr id="313" name="Ink 312">
                  <a:extLst>
                    <a:ext uri="{FF2B5EF4-FFF2-40B4-BE49-F238E27FC236}">
                      <a16:creationId xmlns:a16="http://schemas.microsoft.com/office/drawing/2014/main" id="{FB2D6E6D-15DE-3025-66E9-965B3D69A172}"/>
                    </a:ext>
                  </a:extLst>
                </p14:cNvPr>
                <p14:cNvContentPartPr/>
                <p14:nvPr/>
              </p14:nvContentPartPr>
              <p14:xfrm>
                <a:off x="2873981" y="4098452"/>
                <a:ext cx="107640" cy="4680"/>
              </p14:xfrm>
            </p:contentPart>
          </mc:Choice>
          <mc:Fallback>
            <p:pic>
              <p:nvPicPr>
                <p:cNvPr id="313" name="Ink 312">
                  <a:extLst>
                    <a:ext uri="{FF2B5EF4-FFF2-40B4-BE49-F238E27FC236}">
                      <a16:creationId xmlns:a16="http://schemas.microsoft.com/office/drawing/2014/main" id="{FB2D6E6D-15DE-3025-66E9-965B3D69A172}"/>
                    </a:ext>
                  </a:extLst>
                </p:cNvPr>
                <p:cNvPicPr/>
                <p:nvPr/>
              </p:nvPicPr>
              <p:blipFill>
                <a:blip r:embed="rId467"/>
                <a:stretch>
                  <a:fillRect/>
                </a:stretch>
              </p:blipFill>
              <p:spPr>
                <a:xfrm>
                  <a:off x="2858861" y="4082972"/>
                  <a:ext cx="138240" cy="35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68">
              <p14:nvContentPartPr>
                <p14:cNvPr id="314" name="Ink 313">
                  <a:extLst>
                    <a:ext uri="{FF2B5EF4-FFF2-40B4-BE49-F238E27FC236}">
                      <a16:creationId xmlns:a16="http://schemas.microsoft.com/office/drawing/2014/main" id="{8BC5CF3B-2854-824E-959C-7682587CAEE6}"/>
                    </a:ext>
                  </a:extLst>
                </p14:cNvPr>
                <p14:cNvContentPartPr/>
                <p14:nvPr/>
              </p14:nvContentPartPr>
              <p14:xfrm>
                <a:off x="2897741" y="4191692"/>
                <a:ext cx="120240" cy="18720"/>
              </p14:xfrm>
            </p:contentPart>
          </mc:Choice>
          <mc:Fallback>
            <p:pic>
              <p:nvPicPr>
                <p:cNvPr id="314" name="Ink 313">
                  <a:extLst>
                    <a:ext uri="{FF2B5EF4-FFF2-40B4-BE49-F238E27FC236}">
                      <a16:creationId xmlns:a16="http://schemas.microsoft.com/office/drawing/2014/main" id="{8BC5CF3B-2854-824E-959C-7682587CAEE6}"/>
                    </a:ext>
                  </a:extLst>
                </p:cNvPr>
                <p:cNvPicPr/>
                <p:nvPr/>
              </p:nvPicPr>
              <p:blipFill>
                <a:blip r:embed="rId469"/>
                <a:stretch>
                  <a:fillRect/>
                </a:stretch>
              </p:blipFill>
              <p:spPr>
                <a:xfrm>
                  <a:off x="2882621" y="4176572"/>
                  <a:ext cx="150480" cy="49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70">
              <p14:nvContentPartPr>
                <p14:cNvPr id="315" name="Ink 314">
                  <a:extLst>
                    <a:ext uri="{FF2B5EF4-FFF2-40B4-BE49-F238E27FC236}">
                      <a16:creationId xmlns:a16="http://schemas.microsoft.com/office/drawing/2014/main" id="{06476673-C784-D801-D91F-825BB8AD54FC}"/>
                    </a:ext>
                  </a:extLst>
                </p14:cNvPr>
                <p14:cNvContentPartPr/>
                <p14:nvPr/>
              </p14:nvContentPartPr>
              <p14:xfrm>
                <a:off x="3137141" y="3969212"/>
                <a:ext cx="59400" cy="199440"/>
              </p14:xfrm>
            </p:contentPart>
          </mc:Choice>
          <mc:Fallback>
            <p:pic>
              <p:nvPicPr>
                <p:cNvPr id="315" name="Ink 314">
                  <a:extLst>
                    <a:ext uri="{FF2B5EF4-FFF2-40B4-BE49-F238E27FC236}">
                      <a16:creationId xmlns:a16="http://schemas.microsoft.com/office/drawing/2014/main" id="{06476673-C784-D801-D91F-825BB8AD54FC}"/>
                    </a:ext>
                  </a:extLst>
                </p:cNvPr>
                <p:cNvPicPr/>
                <p:nvPr/>
              </p:nvPicPr>
              <p:blipFill>
                <a:blip r:embed="rId471"/>
                <a:stretch>
                  <a:fillRect/>
                </a:stretch>
              </p:blipFill>
              <p:spPr>
                <a:xfrm>
                  <a:off x="3121661" y="3953732"/>
                  <a:ext cx="90000" cy="230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72">
              <p14:nvContentPartPr>
                <p14:cNvPr id="316" name="Ink 315">
                  <a:extLst>
                    <a:ext uri="{FF2B5EF4-FFF2-40B4-BE49-F238E27FC236}">
                      <a16:creationId xmlns:a16="http://schemas.microsoft.com/office/drawing/2014/main" id="{AA4E469C-4D48-CCBD-7096-0650C3F6663E}"/>
                    </a:ext>
                  </a:extLst>
                </p14:cNvPr>
                <p14:cNvContentPartPr/>
                <p14:nvPr/>
              </p14:nvContentPartPr>
              <p14:xfrm>
                <a:off x="3192221" y="4239572"/>
                <a:ext cx="1080" cy="14760"/>
              </p14:xfrm>
            </p:contentPart>
          </mc:Choice>
          <mc:Fallback>
            <p:pic>
              <p:nvPicPr>
                <p:cNvPr id="316" name="Ink 315">
                  <a:extLst>
                    <a:ext uri="{FF2B5EF4-FFF2-40B4-BE49-F238E27FC236}">
                      <a16:creationId xmlns:a16="http://schemas.microsoft.com/office/drawing/2014/main" id="{AA4E469C-4D48-CCBD-7096-0650C3F6663E}"/>
                    </a:ext>
                  </a:extLst>
                </p:cNvPr>
                <p:cNvPicPr/>
                <p:nvPr/>
              </p:nvPicPr>
              <p:blipFill>
                <a:blip r:embed="rId473"/>
                <a:stretch>
                  <a:fillRect/>
                </a:stretch>
              </p:blipFill>
              <p:spPr>
                <a:xfrm>
                  <a:off x="3177101" y="4224452"/>
                  <a:ext cx="31320" cy="45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74">
              <p14:nvContentPartPr>
                <p14:cNvPr id="317" name="Ink 316">
                  <a:extLst>
                    <a:ext uri="{FF2B5EF4-FFF2-40B4-BE49-F238E27FC236}">
                      <a16:creationId xmlns:a16="http://schemas.microsoft.com/office/drawing/2014/main" id="{3A827545-C2B8-388C-EB90-94AF905364E9}"/>
                    </a:ext>
                  </a:extLst>
                </p14:cNvPr>
                <p14:cNvContentPartPr/>
                <p14:nvPr/>
              </p14:nvContentPartPr>
              <p14:xfrm>
                <a:off x="3287261" y="3966332"/>
                <a:ext cx="79200" cy="206640"/>
              </p14:xfrm>
            </p:contentPart>
          </mc:Choice>
          <mc:Fallback>
            <p:pic>
              <p:nvPicPr>
                <p:cNvPr id="317" name="Ink 316">
                  <a:extLst>
                    <a:ext uri="{FF2B5EF4-FFF2-40B4-BE49-F238E27FC236}">
                      <a16:creationId xmlns:a16="http://schemas.microsoft.com/office/drawing/2014/main" id="{3A827545-C2B8-388C-EB90-94AF905364E9}"/>
                    </a:ext>
                  </a:extLst>
                </p:cNvPr>
                <p:cNvPicPr/>
                <p:nvPr/>
              </p:nvPicPr>
              <p:blipFill>
                <a:blip r:embed="rId475"/>
                <a:stretch>
                  <a:fillRect/>
                </a:stretch>
              </p:blipFill>
              <p:spPr>
                <a:xfrm>
                  <a:off x="3272141" y="3951212"/>
                  <a:ext cx="109800" cy="237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76">
              <p14:nvContentPartPr>
                <p14:cNvPr id="318" name="Ink 317">
                  <a:extLst>
                    <a:ext uri="{FF2B5EF4-FFF2-40B4-BE49-F238E27FC236}">
                      <a16:creationId xmlns:a16="http://schemas.microsoft.com/office/drawing/2014/main" id="{35024359-3140-1A01-9A97-F344E52510B5}"/>
                    </a:ext>
                  </a:extLst>
                </p14:cNvPr>
                <p14:cNvContentPartPr/>
                <p14:nvPr/>
              </p14:nvContentPartPr>
              <p14:xfrm>
                <a:off x="3346661" y="4249292"/>
                <a:ext cx="14760" cy="22680"/>
              </p14:xfrm>
            </p:contentPart>
          </mc:Choice>
          <mc:Fallback>
            <p:pic>
              <p:nvPicPr>
                <p:cNvPr id="318" name="Ink 317">
                  <a:extLst>
                    <a:ext uri="{FF2B5EF4-FFF2-40B4-BE49-F238E27FC236}">
                      <a16:creationId xmlns:a16="http://schemas.microsoft.com/office/drawing/2014/main" id="{35024359-3140-1A01-9A97-F344E52510B5}"/>
                    </a:ext>
                  </a:extLst>
                </p:cNvPr>
                <p:cNvPicPr/>
                <p:nvPr/>
              </p:nvPicPr>
              <p:blipFill>
                <a:blip r:embed="rId477"/>
                <a:stretch>
                  <a:fillRect/>
                </a:stretch>
              </p:blipFill>
              <p:spPr>
                <a:xfrm>
                  <a:off x="3331541" y="4234172"/>
                  <a:ext cx="45360" cy="532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322" name="Group 321">
            <a:extLst>
              <a:ext uri="{FF2B5EF4-FFF2-40B4-BE49-F238E27FC236}">
                <a16:creationId xmlns:a16="http://schemas.microsoft.com/office/drawing/2014/main" id="{AA9C4610-9E7F-AB77-E469-F80C07D469D0}"/>
              </a:ext>
            </a:extLst>
          </p:cNvPr>
          <p:cNvGrpSpPr/>
          <p:nvPr/>
        </p:nvGrpSpPr>
        <p:grpSpPr>
          <a:xfrm>
            <a:off x="1711181" y="2756012"/>
            <a:ext cx="1800000" cy="884880"/>
            <a:chOff x="1711181" y="2756012"/>
            <a:chExt cx="1800000" cy="88488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478">
              <p14:nvContentPartPr>
                <p14:cNvPr id="4" name="Ink 3">
                  <a:extLst>
                    <a:ext uri="{FF2B5EF4-FFF2-40B4-BE49-F238E27FC236}">
                      <a16:creationId xmlns:a16="http://schemas.microsoft.com/office/drawing/2014/main" id="{575242AC-DD59-2DA5-DF26-76F1BFE3A975}"/>
                    </a:ext>
                  </a:extLst>
                </p14:cNvPr>
                <p14:cNvContentPartPr/>
                <p14:nvPr/>
              </p14:nvContentPartPr>
              <p14:xfrm>
                <a:off x="2650421" y="2806772"/>
                <a:ext cx="73440" cy="237600"/>
              </p14:xfrm>
            </p:contentPart>
          </mc:Choice>
          <mc:Fallback>
            <p:pic>
              <p:nvPicPr>
                <p:cNvPr id="4" name="Ink 3">
                  <a:extLst>
                    <a:ext uri="{FF2B5EF4-FFF2-40B4-BE49-F238E27FC236}">
                      <a16:creationId xmlns:a16="http://schemas.microsoft.com/office/drawing/2014/main" id="{575242AC-DD59-2DA5-DF26-76F1BFE3A975}"/>
                    </a:ext>
                  </a:extLst>
                </p:cNvPr>
                <p:cNvPicPr/>
                <p:nvPr/>
              </p:nvPicPr>
              <p:blipFill>
                <a:blip r:embed="rId479"/>
                <a:stretch>
                  <a:fillRect/>
                </a:stretch>
              </p:blipFill>
              <p:spPr>
                <a:xfrm>
                  <a:off x="2635301" y="2791652"/>
                  <a:ext cx="104040" cy="267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80">
              <p14:nvContentPartPr>
                <p14:cNvPr id="5" name="Ink 4">
                  <a:extLst>
                    <a:ext uri="{FF2B5EF4-FFF2-40B4-BE49-F238E27FC236}">
                      <a16:creationId xmlns:a16="http://schemas.microsoft.com/office/drawing/2014/main" id="{338825E9-2AF3-F51D-9A43-B27E2F349EDE}"/>
                    </a:ext>
                  </a:extLst>
                </p14:cNvPr>
                <p14:cNvContentPartPr/>
                <p14:nvPr/>
              </p14:nvContentPartPr>
              <p14:xfrm>
                <a:off x="2867501" y="2813252"/>
                <a:ext cx="179640" cy="192240"/>
              </p14:xfrm>
            </p:contentPart>
          </mc:Choice>
          <mc:Fallback>
            <p:pic>
              <p:nvPicPr>
                <p:cNvPr id="5" name="Ink 4">
                  <a:extLst>
                    <a:ext uri="{FF2B5EF4-FFF2-40B4-BE49-F238E27FC236}">
                      <a16:creationId xmlns:a16="http://schemas.microsoft.com/office/drawing/2014/main" id="{338825E9-2AF3-F51D-9A43-B27E2F349EDE}"/>
                    </a:ext>
                  </a:extLst>
                </p:cNvPr>
                <p:cNvPicPr/>
                <p:nvPr/>
              </p:nvPicPr>
              <p:blipFill>
                <a:blip r:embed="rId481"/>
                <a:stretch>
                  <a:fillRect/>
                </a:stretch>
              </p:blipFill>
              <p:spPr>
                <a:xfrm>
                  <a:off x="2852381" y="2797772"/>
                  <a:ext cx="210240" cy="222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82">
              <p14:nvContentPartPr>
                <p14:cNvPr id="6" name="Ink 5">
                  <a:extLst>
                    <a:ext uri="{FF2B5EF4-FFF2-40B4-BE49-F238E27FC236}">
                      <a16:creationId xmlns:a16="http://schemas.microsoft.com/office/drawing/2014/main" id="{C2486950-ACF3-416E-9466-C0034965A55D}"/>
                    </a:ext>
                  </a:extLst>
                </p14:cNvPr>
                <p14:cNvContentPartPr/>
                <p14:nvPr/>
              </p14:nvContentPartPr>
              <p14:xfrm>
                <a:off x="2894141" y="2756012"/>
                <a:ext cx="221760" cy="70920"/>
              </p14:xfrm>
            </p:contentPart>
          </mc:Choice>
          <mc:Fallback>
            <p:pic>
              <p:nvPicPr>
                <p:cNvPr id="6" name="Ink 5">
                  <a:extLst>
                    <a:ext uri="{FF2B5EF4-FFF2-40B4-BE49-F238E27FC236}">
                      <a16:creationId xmlns:a16="http://schemas.microsoft.com/office/drawing/2014/main" id="{C2486950-ACF3-416E-9466-C0034965A55D}"/>
                    </a:ext>
                  </a:extLst>
                </p:cNvPr>
                <p:cNvPicPr/>
                <p:nvPr/>
              </p:nvPicPr>
              <p:blipFill>
                <a:blip r:embed="rId483"/>
                <a:stretch>
                  <a:fillRect/>
                </a:stretch>
              </p:blipFill>
              <p:spPr>
                <a:xfrm>
                  <a:off x="2878661" y="2740532"/>
                  <a:ext cx="252360" cy="101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84">
              <p14:nvContentPartPr>
                <p14:cNvPr id="7" name="Ink 6">
                  <a:extLst>
                    <a:ext uri="{FF2B5EF4-FFF2-40B4-BE49-F238E27FC236}">
                      <a16:creationId xmlns:a16="http://schemas.microsoft.com/office/drawing/2014/main" id="{BF89EC4E-AD32-DA3B-391D-C630511A5C00}"/>
                    </a:ext>
                  </a:extLst>
                </p14:cNvPr>
                <p14:cNvContentPartPr/>
                <p14:nvPr/>
              </p14:nvContentPartPr>
              <p14:xfrm>
                <a:off x="2541701" y="3243092"/>
                <a:ext cx="590040" cy="99720"/>
              </p14:xfrm>
            </p:contentPart>
          </mc:Choice>
          <mc:Fallback>
            <p:pic>
              <p:nvPicPr>
                <p:cNvPr id="7" name="Ink 6">
                  <a:extLst>
                    <a:ext uri="{FF2B5EF4-FFF2-40B4-BE49-F238E27FC236}">
                      <a16:creationId xmlns:a16="http://schemas.microsoft.com/office/drawing/2014/main" id="{BF89EC4E-AD32-DA3B-391D-C630511A5C00}"/>
                    </a:ext>
                  </a:extLst>
                </p:cNvPr>
                <p:cNvPicPr/>
                <p:nvPr/>
              </p:nvPicPr>
              <p:blipFill>
                <a:blip r:embed="rId485"/>
                <a:stretch>
                  <a:fillRect/>
                </a:stretch>
              </p:blipFill>
              <p:spPr>
                <a:xfrm>
                  <a:off x="2526581" y="3227972"/>
                  <a:ext cx="620640" cy="130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86">
              <p14:nvContentPartPr>
                <p14:cNvPr id="8" name="Ink 7">
                  <a:extLst>
                    <a:ext uri="{FF2B5EF4-FFF2-40B4-BE49-F238E27FC236}">
                      <a16:creationId xmlns:a16="http://schemas.microsoft.com/office/drawing/2014/main" id="{B7F46561-F1E8-DC96-A669-474FD5DFE8AA}"/>
                    </a:ext>
                  </a:extLst>
                </p14:cNvPr>
                <p14:cNvContentPartPr/>
                <p14:nvPr/>
              </p14:nvContentPartPr>
              <p14:xfrm>
                <a:off x="2619461" y="3417692"/>
                <a:ext cx="41760" cy="223200"/>
              </p14:xfrm>
            </p:contentPart>
          </mc:Choice>
          <mc:Fallback>
            <p:pic>
              <p:nvPicPr>
                <p:cNvPr id="8" name="Ink 7">
                  <a:extLst>
                    <a:ext uri="{FF2B5EF4-FFF2-40B4-BE49-F238E27FC236}">
                      <a16:creationId xmlns:a16="http://schemas.microsoft.com/office/drawing/2014/main" id="{B7F46561-F1E8-DC96-A669-474FD5DFE8AA}"/>
                    </a:ext>
                  </a:extLst>
                </p:cNvPr>
                <p:cNvPicPr/>
                <p:nvPr/>
              </p:nvPicPr>
              <p:blipFill>
                <a:blip r:embed="rId487"/>
                <a:stretch>
                  <a:fillRect/>
                </a:stretch>
              </p:blipFill>
              <p:spPr>
                <a:xfrm>
                  <a:off x="2604341" y="3402572"/>
                  <a:ext cx="72360" cy="253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88">
              <p14:nvContentPartPr>
                <p14:cNvPr id="9" name="Ink 8">
                  <a:extLst>
                    <a:ext uri="{FF2B5EF4-FFF2-40B4-BE49-F238E27FC236}">
                      <a16:creationId xmlns:a16="http://schemas.microsoft.com/office/drawing/2014/main" id="{A709DBD9-1092-7175-37AD-2B067756CB99}"/>
                    </a:ext>
                  </a:extLst>
                </p14:cNvPr>
                <p14:cNvContentPartPr/>
                <p14:nvPr/>
              </p14:nvContentPartPr>
              <p14:xfrm>
                <a:off x="2756261" y="3463412"/>
                <a:ext cx="112320" cy="116640"/>
              </p14:xfrm>
            </p:contentPart>
          </mc:Choice>
          <mc:Fallback>
            <p:pic>
              <p:nvPicPr>
                <p:cNvPr id="9" name="Ink 8">
                  <a:extLst>
                    <a:ext uri="{FF2B5EF4-FFF2-40B4-BE49-F238E27FC236}">
                      <a16:creationId xmlns:a16="http://schemas.microsoft.com/office/drawing/2014/main" id="{A709DBD9-1092-7175-37AD-2B067756CB99}"/>
                    </a:ext>
                  </a:extLst>
                </p:cNvPr>
                <p:cNvPicPr/>
                <p:nvPr/>
              </p:nvPicPr>
              <p:blipFill>
                <a:blip r:embed="rId489"/>
                <a:stretch>
                  <a:fillRect/>
                </a:stretch>
              </p:blipFill>
              <p:spPr>
                <a:xfrm>
                  <a:off x="2741141" y="3447932"/>
                  <a:ext cx="142920" cy="146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90">
              <p14:nvContentPartPr>
                <p14:cNvPr id="10" name="Ink 9">
                  <a:extLst>
                    <a:ext uri="{FF2B5EF4-FFF2-40B4-BE49-F238E27FC236}">
                      <a16:creationId xmlns:a16="http://schemas.microsoft.com/office/drawing/2014/main" id="{C0472BD3-F84C-729F-734D-0154FACC5AC4}"/>
                    </a:ext>
                  </a:extLst>
                </p14:cNvPr>
                <p14:cNvContentPartPr/>
                <p14:nvPr/>
              </p14:nvContentPartPr>
              <p14:xfrm>
                <a:off x="2968661" y="3432092"/>
                <a:ext cx="131040" cy="122400"/>
              </p14:xfrm>
            </p:contentPart>
          </mc:Choice>
          <mc:Fallback>
            <p:pic>
              <p:nvPicPr>
                <p:cNvPr id="10" name="Ink 9">
                  <a:extLst>
                    <a:ext uri="{FF2B5EF4-FFF2-40B4-BE49-F238E27FC236}">
                      <a16:creationId xmlns:a16="http://schemas.microsoft.com/office/drawing/2014/main" id="{C0472BD3-F84C-729F-734D-0154FACC5AC4}"/>
                    </a:ext>
                  </a:extLst>
                </p:cNvPr>
                <p:cNvPicPr/>
                <p:nvPr/>
              </p:nvPicPr>
              <p:blipFill>
                <a:blip r:embed="rId491"/>
                <a:stretch>
                  <a:fillRect/>
                </a:stretch>
              </p:blipFill>
              <p:spPr>
                <a:xfrm>
                  <a:off x="2953541" y="3416972"/>
                  <a:ext cx="161640" cy="153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92">
              <p14:nvContentPartPr>
                <p14:cNvPr id="11" name="Ink 10">
                  <a:extLst>
                    <a:ext uri="{FF2B5EF4-FFF2-40B4-BE49-F238E27FC236}">
                      <a16:creationId xmlns:a16="http://schemas.microsoft.com/office/drawing/2014/main" id="{CA75F514-028C-C1C2-531E-01AA15AF0D62}"/>
                    </a:ext>
                  </a:extLst>
                </p14:cNvPr>
                <p14:cNvContentPartPr/>
                <p14:nvPr/>
              </p14:nvContentPartPr>
              <p14:xfrm>
                <a:off x="3104381" y="3400772"/>
                <a:ext cx="176040" cy="119520"/>
              </p14:xfrm>
            </p:contentPart>
          </mc:Choice>
          <mc:Fallback>
            <p:pic>
              <p:nvPicPr>
                <p:cNvPr id="11" name="Ink 10">
                  <a:extLst>
                    <a:ext uri="{FF2B5EF4-FFF2-40B4-BE49-F238E27FC236}">
                      <a16:creationId xmlns:a16="http://schemas.microsoft.com/office/drawing/2014/main" id="{CA75F514-028C-C1C2-531E-01AA15AF0D62}"/>
                    </a:ext>
                  </a:extLst>
                </p:cNvPr>
                <p:cNvPicPr/>
                <p:nvPr/>
              </p:nvPicPr>
              <p:blipFill>
                <a:blip r:embed="rId493"/>
                <a:stretch>
                  <a:fillRect/>
                </a:stretch>
              </p:blipFill>
              <p:spPr>
                <a:xfrm>
                  <a:off x="3089261" y="3385292"/>
                  <a:ext cx="206640" cy="150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94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702741B1-4486-601E-33FA-A48E4E01F7A4}"/>
                    </a:ext>
                  </a:extLst>
                </p14:cNvPr>
                <p14:cNvContentPartPr/>
                <p14:nvPr/>
              </p14:nvContentPartPr>
              <p14:xfrm>
                <a:off x="1711181" y="3160292"/>
                <a:ext cx="126360" cy="257760"/>
              </p14:xfrm>
            </p:contentPart>
          </mc:Choice>
          <mc:Fallback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702741B1-4486-601E-33FA-A48E4E01F7A4}"/>
                    </a:ext>
                  </a:extLst>
                </p:cNvPr>
                <p:cNvPicPr/>
                <p:nvPr/>
              </p:nvPicPr>
              <p:blipFill>
                <a:blip r:embed="rId495"/>
                <a:stretch>
                  <a:fillRect/>
                </a:stretch>
              </p:blipFill>
              <p:spPr>
                <a:xfrm>
                  <a:off x="1696061" y="3144812"/>
                  <a:ext cx="156960" cy="288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96">
              <p14:nvContentPartPr>
                <p14:cNvPr id="13" name="Ink 12">
                  <a:extLst>
                    <a:ext uri="{FF2B5EF4-FFF2-40B4-BE49-F238E27FC236}">
                      <a16:creationId xmlns:a16="http://schemas.microsoft.com/office/drawing/2014/main" id="{B6E2EBF7-B22A-8657-6390-A48402C3B175}"/>
                    </a:ext>
                  </a:extLst>
                </p14:cNvPr>
                <p14:cNvContentPartPr/>
                <p14:nvPr/>
              </p14:nvContentPartPr>
              <p14:xfrm>
                <a:off x="1890821" y="3230132"/>
                <a:ext cx="87840" cy="211320"/>
              </p14:xfrm>
            </p:contentPart>
          </mc:Choice>
          <mc:Fallback>
            <p:pic>
              <p:nvPicPr>
                <p:cNvPr id="13" name="Ink 12">
                  <a:extLst>
                    <a:ext uri="{FF2B5EF4-FFF2-40B4-BE49-F238E27FC236}">
                      <a16:creationId xmlns:a16="http://schemas.microsoft.com/office/drawing/2014/main" id="{B6E2EBF7-B22A-8657-6390-A48402C3B175}"/>
                    </a:ext>
                  </a:extLst>
                </p:cNvPr>
                <p:cNvPicPr/>
                <p:nvPr/>
              </p:nvPicPr>
              <p:blipFill>
                <a:blip r:embed="rId497"/>
                <a:stretch>
                  <a:fillRect/>
                </a:stretch>
              </p:blipFill>
              <p:spPr>
                <a:xfrm>
                  <a:off x="1875701" y="3215012"/>
                  <a:ext cx="118440" cy="241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98">
              <p14:nvContentPartPr>
                <p14:cNvPr id="14" name="Ink 13">
                  <a:extLst>
                    <a:ext uri="{FF2B5EF4-FFF2-40B4-BE49-F238E27FC236}">
                      <a16:creationId xmlns:a16="http://schemas.microsoft.com/office/drawing/2014/main" id="{77DAA2D4-7C92-5A33-AD40-9BC3B49D3579}"/>
                    </a:ext>
                  </a:extLst>
                </p14:cNvPr>
                <p14:cNvContentPartPr/>
                <p14:nvPr/>
              </p14:nvContentPartPr>
              <p14:xfrm>
                <a:off x="2063261" y="3258932"/>
                <a:ext cx="111240" cy="172800"/>
              </p14:xfrm>
            </p:contentPart>
          </mc:Choice>
          <mc:Fallback>
            <p:pic>
              <p:nvPicPr>
                <p:cNvPr id="14" name="Ink 13">
                  <a:extLst>
                    <a:ext uri="{FF2B5EF4-FFF2-40B4-BE49-F238E27FC236}">
                      <a16:creationId xmlns:a16="http://schemas.microsoft.com/office/drawing/2014/main" id="{77DAA2D4-7C92-5A33-AD40-9BC3B49D3579}"/>
                    </a:ext>
                  </a:extLst>
                </p:cNvPr>
                <p:cNvPicPr/>
                <p:nvPr/>
              </p:nvPicPr>
              <p:blipFill>
                <a:blip r:embed="rId499"/>
                <a:stretch>
                  <a:fillRect/>
                </a:stretch>
              </p:blipFill>
              <p:spPr>
                <a:xfrm>
                  <a:off x="2047781" y="3243812"/>
                  <a:ext cx="141840" cy="203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00">
              <p14:nvContentPartPr>
                <p14:cNvPr id="15" name="Ink 14">
                  <a:extLst>
                    <a:ext uri="{FF2B5EF4-FFF2-40B4-BE49-F238E27FC236}">
                      <a16:creationId xmlns:a16="http://schemas.microsoft.com/office/drawing/2014/main" id="{46902CF9-CD4A-E492-8AC3-9E3B77EC80B6}"/>
                    </a:ext>
                  </a:extLst>
                </p14:cNvPr>
                <p14:cNvContentPartPr/>
                <p14:nvPr/>
              </p14:nvContentPartPr>
              <p14:xfrm>
                <a:off x="2060381" y="3239492"/>
                <a:ext cx="69120" cy="194760"/>
              </p14:xfrm>
            </p:contentPart>
          </mc:Choice>
          <mc:Fallback>
            <p:pic>
              <p:nvPicPr>
                <p:cNvPr id="15" name="Ink 14">
                  <a:extLst>
                    <a:ext uri="{FF2B5EF4-FFF2-40B4-BE49-F238E27FC236}">
                      <a16:creationId xmlns:a16="http://schemas.microsoft.com/office/drawing/2014/main" id="{46902CF9-CD4A-E492-8AC3-9E3B77EC80B6}"/>
                    </a:ext>
                  </a:extLst>
                </p:cNvPr>
                <p:cNvPicPr/>
                <p:nvPr/>
              </p:nvPicPr>
              <p:blipFill>
                <a:blip r:embed="rId501"/>
                <a:stretch>
                  <a:fillRect/>
                </a:stretch>
              </p:blipFill>
              <p:spPr>
                <a:xfrm>
                  <a:off x="2045261" y="3224372"/>
                  <a:ext cx="99720" cy="225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02">
              <p14:nvContentPartPr>
                <p14:cNvPr id="16" name="Ink 15">
                  <a:extLst>
                    <a:ext uri="{FF2B5EF4-FFF2-40B4-BE49-F238E27FC236}">
                      <a16:creationId xmlns:a16="http://schemas.microsoft.com/office/drawing/2014/main" id="{529FFB41-461D-5328-EE26-673C71437980}"/>
                    </a:ext>
                  </a:extLst>
                </p14:cNvPr>
                <p14:cNvContentPartPr/>
                <p14:nvPr/>
              </p14:nvContentPartPr>
              <p14:xfrm>
                <a:off x="2213381" y="3263252"/>
                <a:ext cx="94320" cy="236160"/>
              </p14:xfrm>
            </p:contentPart>
          </mc:Choice>
          <mc:Fallback>
            <p:pic>
              <p:nvPicPr>
                <p:cNvPr id="16" name="Ink 15">
                  <a:extLst>
                    <a:ext uri="{FF2B5EF4-FFF2-40B4-BE49-F238E27FC236}">
                      <a16:creationId xmlns:a16="http://schemas.microsoft.com/office/drawing/2014/main" id="{529FFB41-461D-5328-EE26-673C71437980}"/>
                    </a:ext>
                  </a:extLst>
                </p:cNvPr>
                <p:cNvPicPr/>
                <p:nvPr/>
              </p:nvPicPr>
              <p:blipFill>
                <a:blip r:embed="rId503"/>
                <a:stretch>
                  <a:fillRect/>
                </a:stretch>
              </p:blipFill>
              <p:spPr>
                <a:xfrm>
                  <a:off x="2197901" y="3248132"/>
                  <a:ext cx="124560" cy="266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04">
              <p14:nvContentPartPr>
                <p14:cNvPr id="17" name="Ink 16">
                  <a:extLst>
                    <a:ext uri="{FF2B5EF4-FFF2-40B4-BE49-F238E27FC236}">
                      <a16:creationId xmlns:a16="http://schemas.microsoft.com/office/drawing/2014/main" id="{F5B7A120-704C-E75F-D6B9-C93613236560}"/>
                    </a:ext>
                  </a:extLst>
                </p14:cNvPr>
                <p14:cNvContentPartPr/>
                <p14:nvPr/>
              </p14:nvContentPartPr>
              <p14:xfrm>
                <a:off x="2412821" y="3240212"/>
                <a:ext cx="66960" cy="10080"/>
              </p14:xfrm>
            </p:contentPart>
          </mc:Choice>
          <mc:Fallback>
            <p:pic>
              <p:nvPicPr>
                <p:cNvPr id="17" name="Ink 16">
                  <a:extLst>
                    <a:ext uri="{FF2B5EF4-FFF2-40B4-BE49-F238E27FC236}">
                      <a16:creationId xmlns:a16="http://schemas.microsoft.com/office/drawing/2014/main" id="{F5B7A120-704C-E75F-D6B9-C93613236560}"/>
                    </a:ext>
                  </a:extLst>
                </p:cNvPr>
                <p:cNvPicPr/>
                <p:nvPr/>
              </p:nvPicPr>
              <p:blipFill>
                <a:blip r:embed="rId505"/>
                <a:stretch>
                  <a:fillRect/>
                </a:stretch>
              </p:blipFill>
              <p:spPr>
                <a:xfrm>
                  <a:off x="2397341" y="3224732"/>
                  <a:ext cx="97560" cy="40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06">
              <p14:nvContentPartPr>
                <p14:cNvPr id="18" name="Ink 17">
                  <a:extLst>
                    <a:ext uri="{FF2B5EF4-FFF2-40B4-BE49-F238E27FC236}">
                      <a16:creationId xmlns:a16="http://schemas.microsoft.com/office/drawing/2014/main" id="{69B70739-0F80-EBD8-2A48-2BDE2AAC1422}"/>
                    </a:ext>
                  </a:extLst>
                </p14:cNvPr>
                <p14:cNvContentPartPr/>
                <p14:nvPr/>
              </p14:nvContentPartPr>
              <p14:xfrm>
                <a:off x="2429381" y="3306812"/>
                <a:ext cx="68400" cy="12960"/>
              </p14:xfrm>
            </p:contentPart>
          </mc:Choice>
          <mc:Fallback>
            <p:pic>
              <p:nvPicPr>
                <p:cNvPr id="18" name="Ink 17">
                  <a:extLst>
                    <a:ext uri="{FF2B5EF4-FFF2-40B4-BE49-F238E27FC236}">
                      <a16:creationId xmlns:a16="http://schemas.microsoft.com/office/drawing/2014/main" id="{69B70739-0F80-EBD8-2A48-2BDE2AAC1422}"/>
                    </a:ext>
                  </a:extLst>
                </p:cNvPr>
                <p:cNvPicPr/>
                <p:nvPr/>
              </p:nvPicPr>
              <p:blipFill>
                <a:blip r:embed="rId507"/>
                <a:stretch>
                  <a:fillRect/>
                </a:stretch>
              </p:blipFill>
              <p:spPr>
                <a:xfrm>
                  <a:off x="2413901" y="3291692"/>
                  <a:ext cx="98640" cy="43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08">
              <p14:nvContentPartPr>
                <p14:cNvPr id="19" name="Ink 18">
                  <a:extLst>
                    <a:ext uri="{FF2B5EF4-FFF2-40B4-BE49-F238E27FC236}">
                      <a16:creationId xmlns:a16="http://schemas.microsoft.com/office/drawing/2014/main" id="{EB1BFC3F-CA2F-4780-1D28-FEEC45277099}"/>
                    </a:ext>
                  </a:extLst>
                </p14:cNvPr>
                <p14:cNvContentPartPr/>
                <p14:nvPr/>
              </p14:nvContentPartPr>
              <p14:xfrm>
                <a:off x="3345941" y="3030692"/>
                <a:ext cx="78120" cy="20160"/>
              </p14:xfrm>
            </p:contentPart>
          </mc:Choice>
          <mc:Fallback>
            <p:pic>
              <p:nvPicPr>
                <p:cNvPr id="19" name="Ink 18">
                  <a:extLst>
                    <a:ext uri="{FF2B5EF4-FFF2-40B4-BE49-F238E27FC236}">
                      <a16:creationId xmlns:a16="http://schemas.microsoft.com/office/drawing/2014/main" id="{EB1BFC3F-CA2F-4780-1D28-FEEC45277099}"/>
                    </a:ext>
                  </a:extLst>
                </p:cNvPr>
                <p:cNvPicPr/>
                <p:nvPr/>
              </p:nvPicPr>
              <p:blipFill>
                <a:blip r:embed="rId509"/>
                <a:stretch>
                  <a:fillRect/>
                </a:stretch>
              </p:blipFill>
              <p:spPr>
                <a:xfrm>
                  <a:off x="3330461" y="3015212"/>
                  <a:ext cx="108720" cy="50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10">
              <p14:nvContentPartPr>
                <p14:cNvPr id="20" name="Ink 19">
                  <a:extLst>
                    <a:ext uri="{FF2B5EF4-FFF2-40B4-BE49-F238E27FC236}">
                      <a16:creationId xmlns:a16="http://schemas.microsoft.com/office/drawing/2014/main" id="{07362754-B573-CB9D-F70C-88943D01BF79}"/>
                    </a:ext>
                  </a:extLst>
                </p14:cNvPr>
                <p14:cNvContentPartPr/>
                <p14:nvPr/>
              </p14:nvContentPartPr>
              <p14:xfrm>
                <a:off x="3375821" y="3101252"/>
                <a:ext cx="135360" cy="30960"/>
              </p14:xfrm>
            </p:contentPart>
          </mc:Choice>
          <mc:Fallback>
            <p:pic>
              <p:nvPicPr>
                <p:cNvPr id="20" name="Ink 19">
                  <a:extLst>
                    <a:ext uri="{FF2B5EF4-FFF2-40B4-BE49-F238E27FC236}">
                      <a16:creationId xmlns:a16="http://schemas.microsoft.com/office/drawing/2014/main" id="{07362754-B573-CB9D-F70C-88943D01BF79}"/>
                    </a:ext>
                  </a:extLst>
                </p:cNvPr>
                <p:cNvPicPr/>
                <p:nvPr/>
              </p:nvPicPr>
              <p:blipFill>
                <a:blip r:embed="rId511"/>
                <a:stretch>
                  <a:fillRect/>
                </a:stretch>
              </p:blipFill>
              <p:spPr>
                <a:xfrm>
                  <a:off x="3360341" y="3085772"/>
                  <a:ext cx="165600" cy="61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12">
              <p14:nvContentPartPr>
                <p14:cNvPr id="321" name="Ink 320">
                  <a:extLst>
                    <a:ext uri="{FF2B5EF4-FFF2-40B4-BE49-F238E27FC236}">
                      <a16:creationId xmlns:a16="http://schemas.microsoft.com/office/drawing/2014/main" id="{1B598684-772D-DBDC-5843-2D32942CAAA7}"/>
                    </a:ext>
                  </a:extLst>
                </p14:cNvPr>
                <p14:cNvContentPartPr/>
                <p14:nvPr/>
              </p14:nvContentPartPr>
              <p14:xfrm>
                <a:off x="2063261" y="3273692"/>
                <a:ext cx="169560" cy="327240"/>
              </p14:xfrm>
            </p:contentPart>
          </mc:Choice>
          <mc:Fallback>
            <p:pic>
              <p:nvPicPr>
                <p:cNvPr id="321" name="Ink 320">
                  <a:extLst>
                    <a:ext uri="{FF2B5EF4-FFF2-40B4-BE49-F238E27FC236}">
                      <a16:creationId xmlns:a16="http://schemas.microsoft.com/office/drawing/2014/main" id="{1B598684-772D-DBDC-5843-2D32942CAAA7}"/>
                    </a:ext>
                  </a:extLst>
                </p:cNvPr>
                <p:cNvPicPr/>
                <p:nvPr/>
              </p:nvPicPr>
              <p:blipFill>
                <a:blip r:embed="rId513"/>
                <a:stretch>
                  <a:fillRect/>
                </a:stretch>
              </p:blipFill>
              <p:spPr>
                <a:xfrm>
                  <a:off x="2047781" y="3258572"/>
                  <a:ext cx="199800" cy="35784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123216678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Google Shape;187;g5defd13a41_1_0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/>
              <a:t>Bayes’ Theorem Example</a:t>
            </a:r>
            <a:endParaRPr/>
          </a:p>
        </p:txBody>
      </p:sp>
      <p:sp>
        <p:nvSpPr>
          <p:cNvPr id="188" name="Google Shape;188;g5defd13a41_1_0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</a:pPr>
            <a:endParaRPr/>
          </a:p>
        </p:txBody>
      </p:sp>
      <p:pic>
        <p:nvPicPr>
          <p:cNvPr id="189" name="Google Shape;189;g5defd13a41_1_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24483" y="1394813"/>
            <a:ext cx="11172683" cy="521281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p18"/>
          <p:cNvSpPr txBox="1">
            <a:spLocks noGrp="1"/>
          </p:cNvSpPr>
          <p:nvPr>
            <p:ph type="title"/>
          </p:nvPr>
        </p:nvSpPr>
        <p:spPr>
          <a:xfrm>
            <a:off x="316071" y="-82625"/>
            <a:ext cx="105156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r>
              <a:rPr lang="en-US" sz="44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at is a Probability Distribution</a:t>
            </a:r>
            <a:endParaRPr dirty="0"/>
          </a:p>
        </p:txBody>
      </p:sp>
      <p:sp>
        <p:nvSpPr>
          <p:cNvPr id="195" name="Google Shape;195;p18"/>
          <p:cNvSpPr txBox="1">
            <a:spLocks noGrp="1"/>
          </p:cNvSpPr>
          <p:nvPr>
            <p:ph type="body" idx="1"/>
          </p:nvPr>
        </p:nvSpPr>
        <p:spPr>
          <a:xfrm>
            <a:off x="112550" y="1147275"/>
            <a:ext cx="11818800" cy="509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286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</a:pPr>
            <a:r>
              <a:rPr lang="en-US" sz="28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 precise terms, a </a:t>
            </a:r>
            <a:r>
              <a:rPr lang="en-US" sz="28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bability distribution </a:t>
            </a:r>
            <a:r>
              <a:rPr lang="en-US" sz="28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s a total listing of the various values the random variable can take along with the corresponding probability of each value. A real life example could be the pattern of distribution of the machine breakdowns in a manufacturing unit. </a:t>
            </a:r>
            <a:endParaRPr dirty="0"/>
          </a:p>
          <a:p>
            <a:pPr marL="2286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</a:pPr>
            <a:r>
              <a:rPr lang="en-US" sz="28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he random variable in this example would be the various values the machine breakdowns could assume. </a:t>
            </a:r>
            <a:endParaRPr dirty="0"/>
          </a:p>
          <a:p>
            <a:pPr marL="2286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</a:pPr>
            <a:r>
              <a:rPr lang="en-US" sz="28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he probability corresponding to each value of the breakdown is the relative frequency of occurrence of the breakdown. </a:t>
            </a:r>
            <a:endParaRPr dirty="0"/>
          </a:p>
          <a:p>
            <a:pPr marL="2286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</a:pPr>
            <a:r>
              <a:rPr lang="en-US" sz="28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he probability distribution for this example is constructed by the actual breakdown pattern observed over a period of time. Statisticians use the term “observed distribution” of breakdowns. </a:t>
            </a:r>
            <a:endParaRPr dirty="0"/>
          </a:p>
          <a:p>
            <a:pPr marL="228600" marR="0" lvl="0" indent="-508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</a:pPr>
            <a:endParaRPr sz="28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p19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r>
              <a:rPr lang="en-US"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inomial Distribution</a:t>
            </a:r>
            <a:endParaRPr/>
          </a:p>
        </p:txBody>
      </p:sp>
      <p:sp>
        <p:nvSpPr>
          <p:cNvPr id="201" name="Google Shape;201;p19"/>
          <p:cNvSpPr txBox="1">
            <a:spLocks noGrp="1"/>
          </p:cNvSpPr>
          <p:nvPr>
            <p:ph type="body" idx="1"/>
          </p:nvPr>
        </p:nvSpPr>
        <p:spPr>
          <a:xfrm>
            <a:off x="0" y="1825624"/>
            <a:ext cx="12192000" cy="5032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286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</a:pPr>
            <a:r>
              <a:rPr lang="en-US"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he Binomial Distribution is a widely used probability distribution of a discrete random variable. </a:t>
            </a:r>
            <a:endParaRPr/>
          </a:p>
          <a:p>
            <a:pPr marL="2286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</a:pPr>
            <a:r>
              <a:rPr lang="en-US"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t plays a major role in </a:t>
            </a:r>
            <a:r>
              <a:rPr lang="en-US" sz="2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quality control </a:t>
            </a:r>
            <a:r>
              <a:rPr lang="en-US"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nd </a:t>
            </a:r>
            <a:r>
              <a:rPr lang="en-US" sz="2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quality assurance </a:t>
            </a:r>
            <a:r>
              <a:rPr lang="en-US"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unction. Manufacturing units do use the binomial distribution for </a:t>
            </a:r>
            <a:r>
              <a:rPr lang="en-US" sz="2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fective </a:t>
            </a:r>
            <a:r>
              <a:rPr lang="en-US"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nalysis. </a:t>
            </a:r>
            <a:endParaRPr/>
          </a:p>
          <a:p>
            <a:pPr marL="2286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</a:pPr>
            <a:r>
              <a:rPr lang="en-US"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ducing the number of defectives using the proportion defective control chart (p chart) is an accepted practice in manufacturing organizations. </a:t>
            </a:r>
            <a:endParaRPr/>
          </a:p>
          <a:p>
            <a:pPr marL="2286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</a:pPr>
            <a:r>
              <a:rPr lang="en-US"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inomial distribution is also being used in </a:t>
            </a:r>
            <a:r>
              <a:rPr lang="en-US" sz="2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rvice organizations </a:t>
            </a:r>
            <a:r>
              <a:rPr lang="en-US"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ike banks, and insurance corporations to get an idea of the proportion customers who are satisfied with the service quality. </a:t>
            </a:r>
            <a:endParaRPr/>
          </a:p>
          <a:p>
            <a:pPr marL="228600" marR="0" lvl="0" indent="-508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</a:pPr>
            <a:endParaRPr sz="2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" name="Google Shape;206;p20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959"/>
              <a:buFont typeface="Calibri"/>
              <a:buNone/>
            </a:pPr>
            <a:br>
              <a:rPr lang="en-US" sz="395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3959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nditions for Applying Binomial Distribution (Bernoulli Process) </a:t>
            </a:r>
            <a:endParaRPr sz="3959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7" name="Google Shape;207;p20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286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</a:pPr>
            <a:r>
              <a:rPr lang="en-US"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rials are independent and random. </a:t>
            </a:r>
            <a:endParaRPr/>
          </a:p>
          <a:p>
            <a:pPr marL="2286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</a:pPr>
            <a:r>
              <a:rPr lang="en-US"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here are fixed number of trials (n trials). </a:t>
            </a:r>
            <a:endParaRPr/>
          </a:p>
          <a:p>
            <a:pPr marL="2286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</a:pPr>
            <a:r>
              <a:rPr lang="en-US"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here are only two outcomes of the trial designated as </a:t>
            </a:r>
            <a:r>
              <a:rPr lang="en-US" sz="2800" b="0" i="1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uccess </a:t>
            </a:r>
            <a:r>
              <a:rPr lang="en-US"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 </a:t>
            </a:r>
            <a:r>
              <a:rPr lang="en-US" sz="2800" b="0" i="1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ailure</a:t>
            </a:r>
            <a:r>
              <a:rPr lang="en-US"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. </a:t>
            </a:r>
            <a:endParaRPr/>
          </a:p>
          <a:p>
            <a:pPr marL="2286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</a:pPr>
            <a:r>
              <a:rPr lang="en-US"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he probability of success is uniform through out the n trials </a:t>
            </a:r>
            <a:endParaRPr/>
          </a:p>
          <a:p>
            <a:pPr marL="228600" marR="0" lvl="0" indent="-508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</a:pPr>
            <a:endParaRPr sz="2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p2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br>
              <a:rPr lang="en-US"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4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xample for Binomial Distribution </a:t>
            </a:r>
            <a:endParaRPr sz="44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3" name="Google Shape;213;p2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</a:pPr>
            <a:r>
              <a:rPr lang="en-US"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 bank issues credit cards to customers under the scheme of Master Card. Based on the past data, the bank has found out that 60% of all accounts pay on time following the bill. If a sample of 7 accounts is selected at random from the current database, construct the Binomial Probability Distribution of accounts paying on time. </a:t>
            </a:r>
            <a:endParaRPr/>
          </a:p>
          <a:p>
            <a:pPr marL="228600" marR="0" lvl="0" indent="-508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</a:pPr>
            <a:endParaRPr sz="2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</a:pPr>
            <a:endParaRPr sz="2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34AA4FA-735E-480A-A1C3-7774CFAF3BE6}"/>
              </a:ext>
            </a:extLst>
          </p:cNvPr>
          <p:cNvGrpSpPr/>
          <p:nvPr/>
        </p:nvGrpSpPr>
        <p:grpSpPr>
          <a:xfrm>
            <a:off x="2137174" y="4177962"/>
            <a:ext cx="1501200" cy="464400"/>
            <a:chOff x="2137174" y="4177962"/>
            <a:chExt cx="1501200" cy="4644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3">
              <p14:nvContentPartPr>
                <p14:cNvPr id="2" name="Ink 1">
                  <a:extLst>
                    <a:ext uri="{FF2B5EF4-FFF2-40B4-BE49-F238E27FC236}">
                      <a16:creationId xmlns:a16="http://schemas.microsoft.com/office/drawing/2014/main" id="{51689EF5-79E1-422D-9F4F-15BAECF246A6}"/>
                    </a:ext>
                  </a:extLst>
                </p14:cNvPr>
                <p14:cNvContentPartPr/>
                <p14:nvPr/>
              </p14:nvContentPartPr>
              <p14:xfrm>
                <a:off x="2137174" y="4177962"/>
                <a:ext cx="220680" cy="464400"/>
              </p14:xfrm>
            </p:contentPart>
          </mc:Choice>
          <mc:Fallback xmlns="">
            <p:pic>
              <p:nvPicPr>
                <p:cNvPr id="2" name="Ink 1">
                  <a:extLst>
                    <a:ext uri="{FF2B5EF4-FFF2-40B4-BE49-F238E27FC236}">
                      <a16:creationId xmlns:a16="http://schemas.microsoft.com/office/drawing/2014/main" id="{51689EF5-79E1-422D-9F4F-15BAECF246A6}"/>
                    </a:ext>
                  </a:extLst>
                </p:cNvPr>
                <p:cNvPicPr/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2101534" y="4142322"/>
                  <a:ext cx="292320" cy="536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">
              <p14:nvContentPartPr>
                <p14:cNvPr id="3" name="Ink 2">
                  <a:extLst>
                    <a:ext uri="{FF2B5EF4-FFF2-40B4-BE49-F238E27FC236}">
                      <a16:creationId xmlns:a16="http://schemas.microsoft.com/office/drawing/2014/main" id="{449A4E35-F211-4432-B9CE-61BA7C170853}"/>
                    </a:ext>
                  </a:extLst>
                </p14:cNvPr>
                <p14:cNvContentPartPr/>
                <p14:nvPr/>
              </p14:nvContentPartPr>
              <p14:xfrm>
                <a:off x="2460814" y="4378842"/>
                <a:ext cx="268200" cy="21960"/>
              </p14:xfrm>
            </p:contentPart>
          </mc:Choice>
          <mc:Fallback xmlns="">
            <p:pic>
              <p:nvPicPr>
                <p:cNvPr id="3" name="Ink 2">
                  <a:extLst>
                    <a:ext uri="{FF2B5EF4-FFF2-40B4-BE49-F238E27FC236}">
                      <a16:creationId xmlns:a16="http://schemas.microsoft.com/office/drawing/2014/main" id="{449A4E35-F211-4432-B9CE-61BA7C170853}"/>
                    </a:ext>
                  </a:extLst>
                </p:cNvPr>
                <p:cNvPicPr/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2424814" y="4342842"/>
                  <a:ext cx="339840" cy="93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">
              <p14:nvContentPartPr>
                <p14:cNvPr id="4" name="Ink 3">
                  <a:extLst>
                    <a:ext uri="{FF2B5EF4-FFF2-40B4-BE49-F238E27FC236}">
                      <a16:creationId xmlns:a16="http://schemas.microsoft.com/office/drawing/2014/main" id="{BF835C75-026E-422E-A311-474560EDAC60}"/>
                    </a:ext>
                  </a:extLst>
                </p14:cNvPr>
                <p14:cNvContentPartPr/>
                <p14:nvPr/>
              </p14:nvContentPartPr>
              <p14:xfrm>
                <a:off x="2498254" y="4451922"/>
                <a:ext cx="280440" cy="50040"/>
              </p14:xfrm>
            </p:contentPart>
          </mc:Choice>
          <mc:Fallback xmlns="">
            <p:pic>
              <p:nvPicPr>
                <p:cNvPr id="4" name="Ink 3">
                  <a:extLst>
                    <a:ext uri="{FF2B5EF4-FFF2-40B4-BE49-F238E27FC236}">
                      <a16:creationId xmlns:a16="http://schemas.microsoft.com/office/drawing/2014/main" id="{BF835C75-026E-422E-A311-474560EDAC60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2462254" y="4416282"/>
                  <a:ext cx="352080" cy="121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">
              <p14:nvContentPartPr>
                <p14:cNvPr id="5" name="Ink 4">
                  <a:extLst>
                    <a:ext uri="{FF2B5EF4-FFF2-40B4-BE49-F238E27FC236}">
                      <a16:creationId xmlns:a16="http://schemas.microsoft.com/office/drawing/2014/main" id="{670B2AD7-CB3D-46D4-BF60-D12BD7BB5948}"/>
                    </a:ext>
                  </a:extLst>
                </p14:cNvPr>
                <p14:cNvContentPartPr/>
                <p14:nvPr/>
              </p14:nvContentPartPr>
              <p14:xfrm>
                <a:off x="2990014" y="4310802"/>
                <a:ext cx="172080" cy="203400"/>
              </p14:xfrm>
            </p:contentPart>
          </mc:Choice>
          <mc:Fallback xmlns="">
            <p:pic>
              <p:nvPicPr>
                <p:cNvPr id="5" name="Ink 4">
                  <a:extLst>
                    <a:ext uri="{FF2B5EF4-FFF2-40B4-BE49-F238E27FC236}">
                      <a16:creationId xmlns:a16="http://schemas.microsoft.com/office/drawing/2014/main" id="{670B2AD7-CB3D-46D4-BF60-D12BD7BB5948}"/>
                    </a:ext>
                  </a:extLst>
                </p:cNvPr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2954374" y="4274802"/>
                  <a:ext cx="243720" cy="275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">
              <p14:nvContentPartPr>
                <p14:cNvPr id="6" name="Ink 5">
                  <a:extLst>
                    <a:ext uri="{FF2B5EF4-FFF2-40B4-BE49-F238E27FC236}">
                      <a16:creationId xmlns:a16="http://schemas.microsoft.com/office/drawing/2014/main" id="{AC8C4C64-0D2E-46F7-A4CC-D83117464B35}"/>
                    </a:ext>
                  </a:extLst>
                </p14:cNvPr>
                <p14:cNvContentPartPr/>
                <p14:nvPr/>
              </p14:nvContentPartPr>
              <p14:xfrm>
                <a:off x="3199174" y="4352202"/>
                <a:ext cx="48600" cy="17280"/>
              </p14:xfrm>
            </p:contentPart>
          </mc:Choice>
          <mc:Fallback xmlns="">
            <p:pic>
              <p:nvPicPr>
                <p:cNvPr id="6" name="Ink 5">
                  <a:extLst>
                    <a:ext uri="{FF2B5EF4-FFF2-40B4-BE49-F238E27FC236}">
                      <a16:creationId xmlns:a16="http://schemas.microsoft.com/office/drawing/2014/main" id="{AC8C4C64-0D2E-46F7-A4CC-D83117464B35}"/>
                    </a:ext>
                  </a:extLst>
                </p:cNvPr>
                <p:cNvPicPr/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3163534" y="4316202"/>
                  <a:ext cx="120240" cy="88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">
              <p14:nvContentPartPr>
                <p14:cNvPr id="7" name="Ink 6">
                  <a:extLst>
                    <a:ext uri="{FF2B5EF4-FFF2-40B4-BE49-F238E27FC236}">
                      <a16:creationId xmlns:a16="http://schemas.microsoft.com/office/drawing/2014/main" id="{73AEF4B8-3667-4A99-864C-A67FBF663CCD}"/>
                    </a:ext>
                  </a:extLst>
                </p14:cNvPr>
                <p14:cNvContentPartPr/>
                <p14:nvPr/>
              </p14:nvContentPartPr>
              <p14:xfrm>
                <a:off x="3456574" y="4231962"/>
                <a:ext cx="181800" cy="286200"/>
              </p14:xfrm>
            </p:contentPart>
          </mc:Choice>
          <mc:Fallback xmlns="">
            <p:pic>
              <p:nvPicPr>
                <p:cNvPr id="7" name="Ink 6">
                  <a:extLst>
                    <a:ext uri="{FF2B5EF4-FFF2-40B4-BE49-F238E27FC236}">
                      <a16:creationId xmlns:a16="http://schemas.microsoft.com/office/drawing/2014/main" id="{73AEF4B8-3667-4A99-864C-A67FBF663CCD}"/>
                    </a:ext>
                  </a:extLst>
                </p:cNvPr>
                <p:cNvPicPr/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3420574" y="4195962"/>
                  <a:ext cx="253440" cy="3578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C6F023C-342F-46B4-9EF4-29EE885E6D46}"/>
              </a:ext>
            </a:extLst>
          </p:cNvPr>
          <p:cNvGrpSpPr/>
          <p:nvPr/>
        </p:nvGrpSpPr>
        <p:grpSpPr>
          <a:xfrm>
            <a:off x="4476094" y="4168242"/>
            <a:ext cx="2070720" cy="373680"/>
            <a:chOff x="4476094" y="4168242"/>
            <a:chExt cx="2070720" cy="3736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5">
              <p14:nvContentPartPr>
                <p14:cNvPr id="8" name="Ink 7">
                  <a:extLst>
                    <a:ext uri="{FF2B5EF4-FFF2-40B4-BE49-F238E27FC236}">
                      <a16:creationId xmlns:a16="http://schemas.microsoft.com/office/drawing/2014/main" id="{931385FB-1F43-47B1-9755-EC0D5434BF23}"/>
                    </a:ext>
                  </a:extLst>
                </p14:cNvPr>
                <p14:cNvContentPartPr/>
                <p14:nvPr/>
              </p14:nvContentPartPr>
              <p14:xfrm>
                <a:off x="4476094" y="4168602"/>
                <a:ext cx="50040" cy="325440"/>
              </p14:xfrm>
            </p:contentPart>
          </mc:Choice>
          <mc:Fallback xmlns="">
            <p:pic>
              <p:nvPicPr>
                <p:cNvPr id="8" name="Ink 7">
                  <a:extLst>
                    <a:ext uri="{FF2B5EF4-FFF2-40B4-BE49-F238E27FC236}">
                      <a16:creationId xmlns:a16="http://schemas.microsoft.com/office/drawing/2014/main" id="{931385FB-1F43-47B1-9755-EC0D5434BF23}"/>
                    </a:ext>
                  </a:extLst>
                </p:cNvPr>
                <p:cNvPicPr/>
                <p:nvPr/>
              </p:nvPicPr>
              <p:blipFill>
                <a:blip r:embed="rId16"/>
                <a:stretch>
                  <a:fillRect/>
                </a:stretch>
              </p:blipFill>
              <p:spPr>
                <a:xfrm>
                  <a:off x="4440094" y="4132602"/>
                  <a:ext cx="121680" cy="397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">
              <p14:nvContentPartPr>
                <p14:cNvPr id="9" name="Ink 8">
                  <a:extLst>
                    <a:ext uri="{FF2B5EF4-FFF2-40B4-BE49-F238E27FC236}">
                      <a16:creationId xmlns:a16="http://schemas.microsoft.com/office/drawing/2014/main" id="{215024A7-45A0-4A3A-B2A0-A83ECF13BF4E}"/>
                    </a:ext>
                  </a:extLst>
                </p14:cNvPr>
                <p14:cNvContentPartPr/>
                <p14:nvPr/>
              </p14:nvContentPartPr>
              <p14:xfrm>
                <a:off x="4658614" y="4391802"/>
                <a:ext cx="264240" cy="10080"/>
              </p14:xfrm>
            </p:contentPart>
          </mc:Choice>
          <mc:Fallback xmlns="">
            <p:pic>
              <p:nvPicPr>
                <p:cNvPr id="9" name="Ink 8">
                  <a:extLst>
                    <a:ext uri="{FF2B5EF4-FFF2-40B4-BE49-F238E27FC236}">
                      <a16:creationId xmlns:a16="http://schemas.microsoft.com/office/drawing/2014/main" id="{215024A7-45A0-4A3A-B2A0-A83ECF13BF4E}"/>
                    </a:ext>
                  </a:extLst>
                </p:cNvPr>
                <p:cNvPicPr/>
                <p:nvPr/>
              </p:nvPicPr>
              <p:blipFill>
                <a:blip r:embed="rId18"/>
                <a:stretch>
                  <a:fillRect/>
                </a:stretch>
              </p:blipFill>
              <p:spPr>
                <a:xfrm>
                  <a:off x="4622614" y="4356162"/>
                  <a:ext cx="335880" cy="81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9">
              <p14:nvContentPartPr>
                <p14:cNvPr id="10" name="Ink 9">
                  <a:extLst>
                    <a:ext uri="{FF2B5EF4-FFF2-40B4-BE49-F238E27FC236}">
                      <a16:creationId xmlns:a16="http://schemas.microsoft.com/office/drawing/2014/main" id="{82251283-D3F1-496F-8FE9-E545B8D2FB88}"/>
                    </a:ext>
                  </a:extLst>
                </p14:cNvPr>
                <p14:cNvContentPartPr/>
                <p14:nvPr/>
              </p14:nvContentPartPr>
              <p14:xfrm>
                <a:off x="4979374" y="4181562"/>
                <a:ext cx="274680" cy="360360"/>
              </p14:xfrm>
            </p:contentPart>
          </mc:Choice>
          <mc:Fallback xmlns="">
            <p:pic>
              <p:nvPicPr>
                <p:cNvPr id="10" name="Ink 9">
                  <a:extLst>
                    <a:ext uri="{FF2B5EF4-FFF2-40B4-BE49-F238E27FC236}">
                      <a16:creationId xmlns:a16="http://schemas.microsoft.com/office/drawing/2014/main" id="{82251283-D3F1-496F-8FE9-E545B8D2FB88}"/>
                    </a:ext>
                  </a:extLst>
                </p:cNvPr>
                <p:cNvPicPr/>
                <p:nvPr/>
              </p:nvPicPr>
              <p:blipFill>
                <a:blip r:embed="rId20"/>
                <a:stretch>
                  <a:fillRect/>
                </a:stretch>
              </p:blipFill>
              <p:spPr>
                <a:xfrm>
                  <a:off x="4943374" y="4145562"/>
                  <a:ext cx="346320" cy="432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1">
              <p14:nvContentPartPr>
                <p14:cNvPr id="11" name="Ink 10">
                  <a:extLst>
                    <a:ext uri="{FF2B5EF4-FFF2-40B4-BE49-F238E27FC236}">
                      <a16:creationId xmlns:a16="http://schemas.microsoft.com/office/drawing/2014/main" id="{8A59F9FA-8E7D-4954-A555-87C9BC34A680}"/>
                    </a:ext>
                  </a:extLst>
                </p14:cNvPr>
                <p14:cNvContentPartPr/>
                <p14:nvPr/>
              </p14:nvContentPartPr>
              <p14:xfrm>
                <a:off x="5358814" y="4310082"/>
                <a:ext cx="244080" cy="6480"/>
              </p14:xfrm>
            </p:contentPart>
          </mc:Choice>
          <mc:Fallback xmlns="">
            <p:pic>
              <p:nvPicPr>
                <p:cNvPr id="11" name="Ink 10">
                  <a:extLst>
                    <a:ext uri="{FF2B5EF4-FFF2-40B4-BE49-F238E27FC236}">
                      <a16:creationId xmlns:a16="http://schemas.microsoft.com/office/drawing/2014/main" id="{8A59F9FA-8E7D-4954-A555-87C9BC34A680}"/>
                    </a:ext>
                  </a:extLst>
                </p:cNvPr>
                <p:cNvPicPr/>
                <p:nvPr/>
              </p:nvPicPr>
              <p:blipFill>
                <a:blip r:embed="rId22"/>
                <a:stretch>
                  <a:fillRect/>
                </a:stretch>
              </p:blipFill>
              <p:spPr>
                <a:xfrm>
                  <a:off x="5323174" y="4274442"/>
                  <a:ext cx="315720" cy="78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3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7E429875-B99F-44C1-8DD7-F2148B27AE93}"/>
                    </a:ext>
                  </a:extLst>
                </p14:cNvPr>
                <p14:cNvContentPartPr/>
                <p14:nvPr/>
              </p14:nvContentPartPr>
              <p14:xfrm>
                <a:off x="5420014" y="4408002"/>
                <a:ext cx="171720" cy="25200"/>
              </p14:xfrm>
            </p:contentPart>
          </mc:Choice>
          <mc:Fallback xmlns=""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7E429875-B99F-44C1-8DD7-F2148B27AE93}"/>
                    </a:ext>
                  </a:extLst>
                </p:cNvPr>
                <p:cNvPicPr/>
                <p:nvPr/>
              </p:nvPicPr>
              <p:blipFill>
                <a:blip r:embed="rId24"/>
                <a:stretch>
                  <a:fillRect/>
                </a:stretch>
              </p:blipFill>
              <p:spPr>
                <a:xfrm>
                  <a:off x="5384374" y="4372362"/>
                  <a:ext cx="243360" cy="96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5">
              <p14:nvContentPartPr>
                <p14:cNvPr id="13" name="Ink 12">
                  <a:extLst>
                    <a:ext uri="{FF2B5EF4-FFF2-40B4-BE49-F238E27FC236}">
                      <a16:creationId xmlns:a16="http://schemas.microsoft.com/office/drawing/2014/main" id="{C9931141-5936-4228-8A38-0AA50096C42C}"/>
                    </a:ext>
                  </a:extLst>
                </p14:cNvPr>
                <p14:cNvContentPartPr/>
                <p14:nvPr/>
              </p14:nvContentPartPr>
              <p14:xfrm>
                <a:off x="5742934" y="4282002"/>
                <a:ext cx="158040" cy="153360"/>
              </p14:xfrm>
            </p:contentPart>
          </mc:Choice>
          <mc:Fallback xmlns="">
            <p:pic>
              <p:nvPicPr>
                <p:cNvPr id="13" name="Ink 12">
                  <a:extLst>
                    <a:ext uri="{FF2B5EF4-FFF2-40B4-BE49-F238E27FC236}">
                      <a16:creationId xmlns:a16="http://schemas.microsoft.com/office/drawing/2014/main" id="{C9931141-5936-4228-8A38-0AA50096C42C}"/>
                    </a:ext>
                  </a:extLst>
                </p:cNvPr>
                <p:cNvPicPr/>
                <p:nvPr/>
              </p:nvPicPr>
              <p:blipFill>
                <a:blip r:embed="rId26"/>
                <a:stretch>
                  <a:fillRect/>
                </a:stretch>
              </p:blipFill>
              <p:spPr>
                <a:xfrm>
                  <a:off x="5707294" y="4246362"/>
                  <a:ext cx="229680" cy="225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7">
              <p14:nvContentPartPr>
                <p14:cNvPr id="14" name="Ink 13">
                  <a:extLst>
                    <a:ext uri="{FF2B5EF4-FFF2-40B4-BE49-F238E27FC236}">
                      <a16:creationId xmlns:a16="http://schemas.microsoft.com/office/drawing/2014/main" id="{1B1AC5A0-709A-483D-8011-00731462E99D}"/>
                    </a:ext>
                  </a:extLst>
                </p14:cNvPr>
                <p14:cNvContentPartPr/>
                <p14:nvPr/>
              </p14:nvContentPartPr>
              <p14:xfrm>
                <a:off x="6008254" y="4318002"/>
                <a:ext cx="75960" cy="8640"/>
              </p14:xfrm>
            </p:contentPart>
          </mc:Choice>
          <mc:Fallback xmlns="">
            <p:pic>
              <p:nvPicPr>
                <p:cNvPr id="14" name="Ink 13">
                  <a:extLst>
                    <a:ext uri="{FF2B5EF4-FFF2-40B4-BE49-F238E27FC236}">
                      <a16:creationId xmlns:a16="http://schemas.microsoft.com/office/drawing/2014/main" id="{1B1AC5A0-709A-483D-8011-00731462E99D}"/>
                    </a:ext>
                  </a:extLst>
                </p:cNvPr>
                <p:cNvPicPr/>
                <p:nvPr/>
              </p:nvPicPr>
              <p:blipFill>
                <a:blip r:embed="rId28"/>
                <a:stretch>
                  <a:fillRect/>
                </a:stretch>
              </p:blipFill>
              <p:spPr>
                <a:xfrm>
                  <a:off x="5972254" y="4282002"/>
                  <a:ext cx="147600" cy="80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9">
              <p14:nvContentPartPr>
                <p14:cNvPr id="15" name="Ink 14">
                  <a:extLst>
                    <a:ext uri="{FF2B5EF4-FFF2-40B4-BE49-F238E27FC236}">
                      <a16:creationId xmlns:a16="http://schemas.microsoft.com/office/drawing/2014/main" id="{1A401057-D9E9-4A3E-94E3-99ED444F9F57}"/>
                    </a:ext>
                  </a:extLst>
                </p14:cNvPr>
                <p14:cNvContentPartPr/>
                <p14:nvPr/>
              </p14:nvContentPartPr>
              <p14:xfrm>
                <a:off x="6206254" y="4168242"/>
                <a:ext cx="340560" cy="288720"/>
              </p14:xfrm>
            </p:contentPart>
          </mc:Choice>
          <mc:Fallback xmlns="">
            <p:pic>
              <p:nvPicPr>
                <p:cNvPr id="15" name="Ink 14">
                  <a:extLst>
                    <a:ext uri="{FF2B5EF4-FFF2-40B4-BE49-F238E27FC236}">
                      <a16:creationId xmlns:a16="http://schemas.microsoft.com/office/drawing/2014/main" id="{1A401057-D9E9-4A3E-94E3-99ED444F9F57}"/>
                    </a:ext>
                  </a:extLst>
                </p:cNvPr>
                <p:cNvPicPr/>
                <p:nvPr/>
              </p:nvPicPr>
              <p:blipFill>
                <a:blip r:embed="rId30"/>
                <a:stretch>
                  <a:fillRect/>
                </a:stretch>
              </p:blipFill>
              <p:spPr>
                <a:xfrm>
                  <a:off x="6170254" y="4132242"/>
                  <a:ext cx="412200" cy="36036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31">
            <p14:nvContentPartPr>
              <p14:cNvPr id="18" name="Ink 17">
                <a:extLst>
                  <a:ext uri="{FF2B5EF4-FFF2-40B4-BE49-F238E27FC236}">
                    <a16:creationId xmlns:a16="http://schemas.microsoft.com/office/drawing/2014/main" id="{FBF0D505-CEB3-4F5C-A4F9-D93525C260A0}"/>
                  </a:ext>
                </a:extLst>
              </p14:cNvPr>
              <p14:cNvContentPartPr/>
              <p14:nvPr/>
            </p14:nvContentPartPr>
            <p14:xfrm>
              <a:off x="3920614" y="4416282"/>
              <a:ext cx="32040" cy="82800"/>
            </p14:xfrm>
          </p:contentPart>
        </mc:Choice>
        <mc:Fallback xmlns="">
          <p:pic>
            <p:nvPicPr>
              <p:cNvPr id="18" name="Ink 17">
                <a:extLst>
                  <a:ext uri="{FF2B5EF4-FFF2-40B4-BE49-F238E27FC236}">
                    <a16:creationId xmlns:a16="http://schemas.microsoft.com/office/drawing/2014/main" id="{FBF0D505-CEB3-4F5C-A4F9-D93525C260A0}"/>
                  </a:ext>
                </a:extLst>
              </p:cNvPr>
              <p:cNvPicPr/>
              <p:nvPr/>
            </p:nvPicPr>
            <p:blipFill>
              <a:blip r:embed="rId32"/>
              <a:stretch>
                <a:fillRect/>
              </a:stretch>
            </p:blipFill>
            <p:spPr>
              <a:xfrm>
                <a:off x="3884974" y="4380642"/>
                <a:ext cx="103680" cy="1544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3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32BC718-2F4D-4C22-B437-C0822C231E8F}"/>
                  </a:ext>
                </a:extLst>
              </p14:cNvPr>
              <p14:cNvContentPartPr/>
              <p14:nvPr/>
            </p14:nvContentPartPr>
            <p14:xfrm>
              <a:off x="7003294" y="4451922"/>
              <a:ext cx="23760" cy="8820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32BC718-2F4D-4C22-B437-C0822C231E8F}"/>
                  </a:ext>
                </a:extLst>
              </p:cNvPr>
              <p:cNvPicPr/>
              <p:nvPr/>
            </p:nvPicPr>
            <p:blipFill>
              <a:blip r:embed="rId34"/>
              <a:stretch>
                <a:fillRect/>
              </a:stretch>
            </p:blipFill>
            <p:spPr>
              <a:xfrm>
                <a:off x="6967294" y="4416282"/>
                <a:ext cx="95400" cy="159840"/>
              </a:xfrm>
              <a:prstGeom prst="rect">
                <a:avLst/>
              </a:prstGeom>
            </p:spPr>
          </p:pic>
        </mc:Fallback>
      </mc:AlternateContent>
      <p:grpSp>
        <p:nvGrpSpPr>
          <p:cNvPr id="24" name="Group 23">
            <a:extLst>
              <a:ext uri="{FF2B5EF4-FFF2-40B4-BE49-F238E27FC236}">
                <a16:creationId xmlns:a16="http://schemas.microsoft.com/office/drawing/2014/main" id="{D8899736-D37A-4C1B-A34F-24DC350B82C8}"/>
              </a:ext>
            </a:extLst>
          </p:cNvPr>
          <p:cNvGrpSpPr/>
          <p:nvPr/>
        </p:nvGrpSpPr>
        <p:grpSpPr>
          <a:xfrm>
            <a:off x="7559854" y="4167162"/>
            <a:ext cx="1162440" cy="313200"/>
            <a:chOff x="7559854" y="4167162"/>
            <a:chExt cx="1162440" cy="3132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35">
              <p14:nvContentPartPr>
                <p14:cNvPr id="20" name="Ink 19">
                  <a:extLst>
                    <a:ext uri="{FF2B5EF4-FFF2-40B4-BE49-F238E27FC236}">
                      <a16:creationId xmlns:a16="http://schemas.microsoft.com/office/drawing/2014/main" id="{516BC0F5-2547-48FD-B174-4622A1E421E0}"/>
                    </a:ext>
                  </a:extLst>
                </p14:cNvPr>
                <p14:cNvContentPartPr/>
                <p14:nvPr/>
              </p14:nvContentPartPr>
              <p14:xfrm>
                <a:off x="7559854" y="4247082"/>
                <a:ext cx="218520" cy="225000"/>
              </p14:xfrm>
            </p:contentPart>
          </mc:Choice>
          <mc:Fallback xmlns="">
            <p:pic>
              <p:nvPicPr>
                <p:cNvPr id="20" name="Ink 19">
                  <a:extLst>
                    <a:ext uri="{FF2B5EF4-FFF2-40B4-BE49-F238E27FC236}">
                      <a16:creationId xmlns:a16="http://schemas.microsoft.com/office/drawing/2014/main" id="{516BC0F5-2547-48FD-B174-4622A1E421E0}"/>
                    </a:ext>
                  </a:extLst>
                </p:cNvPr>
                <p:cNvPicPr/>
                <p:nvPr/>
              </p:nvPicPr>
              <p:blipFill>
                <a:blip r:embed="rId36"/>
                <a:stretch>
                  <a:fillRect/>
                </a:stretch>
              </p:blipFill>
              <p:spPr>
                <a:xfrm>
                  <a:off x="7523854" y="4211082"/>
                  <a:ext cx="290160" cy="296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7">
              <p14:nvContentPartPr>
                <p14:cNvPr id="21" name="Ink 20">
                  <a:extLst>
                    <a:ext uri="{FF2B5EF4-FFF2-40B4-BE49-F238E27FC236}">
                      <a16:creationId xmlns:a16="http://schemas.microsoft.com/office/drawing/2014/main" id="{9D818C3D-4952-4357-ACAD-27986B11305A}"/>
                    </a:ext>
                  </a:extLst>
                </p14:cNvPr>
                <p14:cNvContentPartPr/>
                <p14:nvPr/>
              </p14:nvContentPartPr>
              <p14:xfrm>
                <a:off x="7941094" y="4316202"/>
                <a:ext cx="203760" cy="21600"/>
              </p14:xfrm>
            </p:contentPart>
          </mc:Choice>
          <mc:Fallback xmlns="">
            <p:pic>
              <p:nvPicPr>
                <p:cNvPr id="21" name="Ink 20">
                  <a:extLst>
                    <a:ext uri="{FF2B5EF4-FFF2-40B4-BE49-F238E27FC236}">
                      <a16:creationId xmlns:a16="http://schemas.microsoft.com/office/drawing/2014/main" id="{9D818C3D-4952-4357-ACAD-27986B11305A}"/>
                    </a:ext>
                  </a:extLst>
                </p:cNvPr>
                <p:cNvPicPr/>
                <p:nvPr/>
              </p:nvPicPr>
              <p:blipFill>
                <a:blip r:embed="rId38"/>
                <a:stretch>
                  <a:fillRect/>
                </a:stretch>
              </p:blipFill>
              <p:spPr>
                <a:xfrm>
                  <a:off x="7905454" y="4280202"/>
                  <a:ext cx="275400" cy="93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9">
              <p14:nvContentPartPr>
                <p14:cNvPr id="22" name="Ink 21">
                  <a:extLst>
                    <a:ext uri="{FF2B5EF4-FFF2-40B4-BE49-F238E27FC236}">
                      <a16:creationId xmlns:a16="http://schemas.microsoft.com/office/drawing/2014/main" id="{C9E44A87-092D-4DFE-8A8A-C38E4A8CDCAA}"/>
                    </a:ext>
                  </a:extLst>
                </p14:cNvPr>
                <p14:cNvContentPartPr/>
                <p14:nvPr/>
              </p14:nvContentPartPr>
              <p14:xfrm>
                <a:off x="8011654" y="4423482"/>
                <a:ext cx="145440" cy="23400"/>
              </p14:xfrm>
            </p:contentPart>
          </mc:Choice>
          <mc:Fallback xmlns="">
            <p:pic>
              <p:nvPicPr>
                <p:cNvPr id="22" name="Ink 21">
                  <a:extLst>
                    <a:ext uri="{FF2B5EF4-FFF2-40B4-BE49-F238E27FC236}">
                      <a16:creationId xmlns:a16="http://schemas.microsoft.com/office/drawing/2014/main" id="{C9E44A87-092D-4DFE-8A8A-C38E4A8CDCAA}"/>
                    </a:ext>
                  </a:extLst>
                </p:cNvPr>
                <p:cNvPicPr/>
                <p:nvPr/>
              </p:nvPicPr>
              <p:blipFill>
                <a:blip r:embed="rId40"/>
                <a:stretch>
                  <a:fillRect/>
                </a:stretch>
              </p:blipFill>
              <p:spPr>
                <a:xfrm>
                  <a:off x="7976014" y="4387482"/>
                  <a:ext cx="217080" cy="95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1">
              <p14:nvContentPartPr>
                <p14:cNvPr id="23" name="Ink 22">
                  <a:extLst>
                    <a:ext uri="{FF2B5EF4-FFF2-40B4-BE49-F238E27FC236}">
                      <a16:creationId xmlns:a16="http://schemas.microsoft.com/office/drawing/2014/main" id="{3210FA9E-FA89-4A3A-90A0-C42A3D055DFC}"/>
                    </a:ext>
                  </a:extLst>
                </p14:cNvPr>
                <p14:cNvContentPartPr/>
                <p14:nvPr/>
              </p14:nvContentPartPr>
              <p14:xfrm>
                <a:off x="8376694" y="4167162"/>
                <a:ext cx="345600" cy="313200"/>
              </p14:xfrm>
            </p:contentPart>
          </mc:Choice>
          <mc:Fallback xmlns="">
            <p:pic>
              <p:nvPicPr>
                <p:cNvPr id="23" name="Ink 22">
                  <a:extLst>
                    <a:ext uri="{FF2B5EF4-FFF2-40B4-BE49-F238E27FC236}">
                      <a16:creationId xmlns:a16="http://schemas.microsoft.com/office/drawing/2014/main" id="{3210FA9E-FA89-4A3A-90A0-C42A3D055DFC}"/>
                    </a:ext>
                  </a:extLst>
                </p:cNvPr>
                <p:cNvPicPr/>
                <p:nvPr/>
              </p:nvPicPr>
              <p:blipFill>
                <a:blip r:embed="rId42"/>
                <a:stretch>
                  <a:fillRect/>
                </a:stretch>
              </p:blipFill>
              <p:spPr>
                <a:xfrm>
                  <a:off x="8340694" y="4131162"/>
                  <a:ext cx="417240" cy="38484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43">
            <p14:nvContentPartPr>
              <p14:cNvPr id="25" name="Ink 24">
                <a:extLst>
                  <a:ext uri="{FF2B5EF4-FFF2-40B4-BE49-F238E27FC236}">
                    <a16:creationId xmlns:a16="http://schemas.microsoft.com/office/drawing/2014/main" id="{DC1B8C58-8E52-41DB-B635-6BE69EDB7AE6}"/>
                  </a:ext>
                </a:extLst>
              </p14:cNvPr>
              <p14:cNvContentPartPr/>
              <p14:nvPr/>
            </p14:nvContentPartPr>
            <p14:xfrm>
              <a:off x="8996614" y="4405122"/>
              <a:ext cx="59040" cy="82800"/>
            </p14:xfrm>
          </p:contentPart>
        </mc:Choice>
        <mc:Fallback xmlns="">
          <p:pic>
            <p:nvPicPr>
              <p:cNvPr id="25" name="Ink 24">
                <a:extLst>
                  <a:ext uri="{FF2B5EF4-FFF2-40B4-BE49-F238E27FC236}">
                    <a16:creationId xmlns:a16="http://schemas.microsoft.com/office/drawing/2014/main" id="{DC1B8C58-8E52-41DB-B635-6BE69EDB7AE6}"/>
                  </a:ext>
                </a:extLst>
              </p:cNvPr>
              <p:cNvPicPr/>
              <p:nvPr/>
            </p:nvPicPr>
            <p:blipFill>
              <a:blip r:embed="rId44"/>
              <a:stretch>
                <a:fillRect/>
              </a:stretch>
            </p:blipFill>
            <p:spPr>
              <a:xfrm>
                <a:off x="8960614" y="4369482"/>
                <a:ext cx="130680" cy="154440"/>
              </a:xfrm>
              <a:prstGeom prst="rect">
                <a:avLst/>
              </a:prstGeom>
            </p:spPr>
          </p:pic>
        </mc:Fallback>
      </mc:AlternateContent>
      <p:grpSp>
        <p:nvGrpSpPr>
          <p:cNvPr id="193" name="Group 192">
            <a:extLst>
              <a:ext uri="{FF2B5EF4-FFF2-40B4-BE49-F238E27FC236}">
                <a16:creationId xmlns:a16="http://schemas.microsoft.com/office/drawing/2014/main" id="{C3D88B3F-3D8B-4DE7-A0E6-12137959B97F}"/>
              </a:ext>
            </a:extLst>
          </p:cNvPr>
          <p:cNvGrpSpPr/>
          <p:nvPr/>
        </p:nvGrpSpPr>
        <p:grpSpPr>
          <a:xfrm>
            <a:off x="9378934" y="4204602"/>
            <a:ext cx="550080" cy="268920"/>
            <a:chOff x="9378934" y="4204602"/>
            <a:chExt cx="550080" cy="2689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45">
              <p14:nvContentPartPr>
                <p14:cNvPr id="26" name="Ink 25">
                  <a:extLst>
                    <a:ext uri="{FF2B5EF4-FFF2-40B4-BE49-F238E27FC236}">
                      <a16:creationId xmlns:a16="http://schemas.microsoft.com/office/drawing/2014/main" id="{AFED066B-C3B4-4867-B0B8-66A203414971}"/>
                    </a:ext>
                  </a:extLst>
                </p14:cNvPr>
                <p14:cNvContentPartPr/>
                <p14:nvPr/>
              </p14:nvContentPartPr>
              <p14:xfrm>
                <a:off x="9378934" y="4204602"/>
                <a:ext cx="17280" cy="232920"/>
              </p14:xfrm>
            </p:contentPart>
          </mc:Choice>
          <mc:Fallback xmlns="">
            <p:pic>
              <p:nvPicPr>
                <p:cNvPr id="26" name="Ink 25">
                  <a:extLst>
                    <a:ext uri="{FF2B5EF4-FFF2-40B4-BE49-F238E27FC236}">
                      <a16:creationId xmlns:a16="http://schemas.microsoft.com/office/drawing/2014/main" id="{AFED066B-C3B4-4867-B0B8-66A203414971}"/>
                    </a:ext>
                  </a:extLst>
                </p:cNvPr>
                <p:cNvPicPr/>
                <p:nvPr/>
              </p:nvPicPr>
              <p:blipFill>
                <a:blip r:embed="rId46"/>
                <a:stretch>
                  <a:fillRect/>
                </a:stretch>
              </p:blipFill>
              <p:spPr>
                <a:xfrm>
                  <a:off x="9342934" y="4168962"/>
                  <a:ext cx="88920" cy="304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7">
              <p14:nvContentPartPr>
                <p14:cNvPr id="27" name="Ink 26">
                  <a:extLst>
                    <a:ext uri="{FF2B5EF4-FFF2-40B4-BE49-F238E27FC236}">
                      <a16:creationId xmlns:a16="http://schemas.microsoft.com/office/drawing/2014/main" id="{3F5819ED-57CC-4746-BFA2-13506EC784E8}"/>
                    </a:ext>
                  </a:extLst>
                </p14:cNvPr>
                <p14:cNvContentPartPr/>
                <p14:nvPr/>
              </p14:nvContentPartPr>
              <p14:xfrm>
                <a:off x="9426814" y="4249602"/>
                <a:ext cx="218520" cy="223920"/>
              </p14:xfrm>
            </p:contentPart>
          </mc:Choice>
          <mc:Fallback xmlns="">
            <p:pic>
              <p:nvPicPr>
                <p:cNvPr id="27" name="Ink 26">
                  <a:extLst>
                    <a:ext uri="{FF2B5EF4-FFF2-40B4-BE49-F238E27FC236}">
                      <a16:creationId xmlns:a16="http://schemas.microsoft.com/office/drawing/2014/main" id="{3F5819ED-57CC-4746-BFA2-13506EC784E8}"/>
                    </a:ext>
                  </a:extLst>
                </p:cNvPr>
                <p:cNvPicPr/>
                <p:nvPr/>
              </p:nvPicPr>
              <p:blipFill>
                <a:blip r:embed="rId48"/>
                <a:stretch>
                  <a:fillRect/>
                </a:stretch>
              </p:blipFill>
              <p:spPr>
                <a:xfrm>
                  <a:off x="9390814" y="4213962"/>
                  <a:ext cx="290160" cy="295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9">
              <p14:nvContentPartPr>
                <p14:cNvPr id="28" name="Ink 27">
                  <a:extLst>
                    <a:ext uri="{FF2B5EF4-FFF2-40B4-BE49-F238E27FC236}">
                      <a16:creationId xmlns:a16="http://schemas.microsoft.com/office/drawing/2014/main" id="{DA3247C4-B37E-457D-AFA6-D30DD2FB2275}"/>
                    </a:ext>
                  </a:extLst>
                </p14:cNvPr>
                <p14:cNvContentPartPr/>
                <p14:nvPr/>
              </p14:nvContentPartPr>
              <p14:xfrm>
                <a:off x="9760894" y="4330602"/>
                <a:ext cx="168120" cy="8640"/>
              </p14:xfrm>
            </p:contentPart>
          </mc:Choice>
          <mc:Fallback xmlns="">
            <p:pic>
              <p:nvPicPr>
                <p:cNvPr id="28" name="Ink 27">
                  <a:extLst>
                    <a:ext uri="{FF2B5EF4-FFF2-40B4-BE49-F238E27FC236}">
                      <a16:creationId xmlns:a16="http://schemas.microsoft.com/office/drawing/2014/main" id="{DA3247C4-B37E-457D-AFA6-D30DD2FB2275}"/>
                    </a:ext>
                  </a:extLst>
                </p:cNvPr>
                <p:cNvPicPr/>
                <p:nvPr/>
              </p:nvPicPr>
              <p:blipFill>
                <a:blip r:embed="rId50"/>
                <a:stretch>
                  <a:fillRect/>
                </a:stretch>
              </p:blipFill>
              <p:spPr>
                <a:xfrm>
                  <a:off x="9724894" y="4294602"/>
                  <a:ext cx="239760" cy="80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1">
              <p14:nvContentPartPr>
                <p14:cNvPr id="29" name="Ink 28">
                  <a:extLst>
                    <a:ext uri="{FF2B5EF4-FFF2-40B4-BE49-F238E27FC236}">
                      <a16:creationId xmlns:a16="http://schemas.microsoft.com/office/drawing/2014/main" id="{5AE07810-84B7-4C0A-8244-A156A8B806AF}"/>
                    </a:ext>
                  </a:extLst>
                </p14:cNvPr>
                <p14:cNvContentPartPr/>
                <p14:nvPr/>
              </p14:nvContentPartPr>
              <p14:xfrm>
                <a:off x="9768814" y="4410162"/>
                <a:ext cx="141120" cy="24480"/>
              </p14:xfrm>
            </p:contentPart>
          </mc:Choice>
          <mc:Fallback xmlns="">
            <p:pic>
              <p:nvPicPr>
                <p:cNvPr id="29" name="Ink 28">
                  <a:extLst>
                    <a:ext uri="{FF2B5EF4-FFF2-40B4-BE49-F238E27FC236}">
                      <a16:creationId xmlns:a16="http://schemas.microsoft.com/office/drawing/2014/main" id="{5AE07810-84B7-4C0A-8244-A156A8B806AF}"/>
                    </a:ext>
                  </a:extLst>
                </p:cNvPr>
                <p:cNvPicPr/>
                <p:nvPr/>
              </p:nvPicPr>
              <p:blipFill>
                <a:blip r:embed="rId52"/>
                <a:stretch>
                  <a:fillRect/>
                </a:stretch>
              </p:blipFill>
              <p:spPr>
                <a:xfrm>
                  <a:off x="9733174" y="4374162"/>
                  <a:ext cx="212760" cy="9612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53">
            <p14:nvContentPartPr>
              <p14:cNvPr id="194" name="Ink 193">
                <a:extLst>
                  <a:ext uri="{FF2B5EF4-FFF2-40B4-BE49-F238E27FC236}">
                    <a16:creationId xmlns:a16="http://schemas.microsoft.com/office/drawing/2014/main" id="{37363F7F-4FE2-4705-94D1-22A8D7B98391}"/>
                  </a:ext>
                </a:extLst>
              </p14:cNvPr>
              <p14:cNvContentPartPr/>
              <p14:nvPr/>
            </p14:nvContentPartPr>
            <p14:xfrm>
              <a:off x="10157974" y="4096242"/>
              <a:ext cx="122040" cy="482040"/>
            </p14:xfrm>
          </p:contentPart>
        </mc:Choice>
        <mc:Fallback xmlns="">
          <p:pic>
            <p:nvPicPr>
              <p:cNvPr id="194" name="Ink 193">
                <a:extLst>
                  <a:ext uri="{FF2B5EF4-FFF2-40B4-BE49-F238E27FC236}">
                    <a16:creationId xmlns:a16="http://schemas.microsoft.com/office/drawing/2014/main" id="{37363F7F-4FE2-4705-94D1-22A8D7B98391}"/>
                  </a:ext>
                </a:extLst>
              </p:cNvPr>
              <p:cNvPicPr/>
              <p:nvPr/>
            </p:nvPicPr>
            <p:blipFill>
              <a:blip r:embed="rId54"/>
              <a:stretch>
                <a:fillRect/>
              </a:stretch>
            </p:blipFill>
            <p:spPr>
              <a:xfrm>
                <a:off x="10121974" y="4060602"/>
                <a:ext cx="193680" cy="553680"/>
              </a:xfrm>
              <a:prstGeom prst="rect">
                <a:avLst/>
              </a:prstGeom>
            </p:spPr>
          </p:pic>
        </mc:Fallback>
      </mc:AlternateContent>
      <p:grpSp>
        <p:nvGrpSpPr>
          <p:cNvPr id="219" name="Group 218">
            <a:extLst>
              <a:ext uri="{FF2B5EF4-FFF2-40B4-BE49-F238E27FC236}">
                <a16:creationId xmlns:a16="http://schemas.microsoft.com/office/drawing/2014/main" id="{BB858B9D-F92A-4B5E-9C1A-404965A29D8F}"/>
              </a:ext>
            </a:extLst>
          </p:cNvPr>
          <p:cNvGrpSpPr/>
          <p:nvPr/>
        </p:nvGrpSpPr>
        <p:grpSpPr>
          <a:xfrm>
            <a:off x="1769254" y="5135562"/>
            <a:ext cx="1162800" cy="928080"/>
            <a:chOff x="1769254" y="5135562"/>
            <a:chExt cx="1162800" cy="9280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55">
              <p14:nvContentPartPr>
                <p14:cNvPr id="202" name="Ink 201">
                  <a:extLst>
                    <a:ext uri="{FF2B5EF4-FFF2-40B4-BE49-F238E27FC236}">
                      <a16:creationId xmlns:a16="http://schemas.microsoft.com/office/drawing/2014/main" id="{B5DE8296-09ED-46C7-A5BC-F33A877ED14D}"/>
                    </a:ext>
                  </a:extLst>
                </p14:cNvPr>
                <p14:cNvContentPartPr/>
                <p14:nvPr/>
              </p14:nvContentPartPr>
              <p14:xfrm>
                <a:off x="2223214" y="5135562"/>
                <a:ext cx="291240" cy="264240"/>
              </p14:xfrm>
            </p:contentPart>
          </mc:Choice>
          <mc:Fallback xmlns="">
            <p:pic>
              <p:nvPicPr>
                <p:cNvPr id="202" name="Ink 201">
                  <a:extLst>
                    <a:ext uri="{FF2B5EF4-FFF2-40B4-BE49-F238E27FC236}">
                      <a16:creationId xmlns:a16="http://schemas.microsoft.com/office/drawing/2014/main" id="{B5DE8296-09ED-46C7-A5BC-F33A877ED14D}"/>
                    </a:ext>
                  </a:extLst>
                </p:cNvPr>
                <p:cNvPicPr/>
                <p:nvPr/>
              </p:nvPicPr>
              <p:blipFill>
                <a:blip r:embed="rId56"/>
                <a:stretch>
                  <a:fillRect/>
                </a:stretch>
              </p:blipFill>
              <p:spPr>
                <a:xfrm>
                  <a:off x="2187214" y="5099562"/>
                  <a:ext cx="362880" cy="335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7">
              <p14:nvContentPartPr>
                <p14:cNvPr id="203" name="Ink 202">
                  <a:extLst>
                    <a:ext uri="{FF2B5EF4-FFF2-40B4-BE49-F238E27FC236}">
                      <a16:creationId xmlns:a16="http://schemas.microsoft.com/office/drawing/2014/main" id="{1C81BBB7-BDDB-4C7C-AEAF-AD2178DA0445}"/>
                    </a:ext>
                  </a:extLst>
                </p14:cNvPr>
                <p14:cNvContentPartPr/>
                <p14:nvPr/>
              </p14:nvContentPartPr>
              <p14:xfrm>
                <a:off x="2397094" y="5819202"/>
                <a:ext cx="9720" cy="204840"/>
              </p14:xfrm>
            </p:contentPart>
          </mc:Choice>
          <mc:Fallback xmlns="">
            <p:pic>
              <p:nvPicPr>
                <p:cNvPr id="203" name="Ink 202">
                  <a:extLst>
                    <a:ext uri="{FF2B5EF4-FFF2-40B4-BE49-F238E27FC236}">
                      <a16:creationId xmlns:a16="http://schemas.microsoft.com/office/drawing/2014/main" id="{1C81BBB7-BDDB-4C7C-AEAF-AD2178DA0445}"/>
                    </a:ext>
                  </a:extLst>
                </p:cNvPr>
                <p:cNvPicPr/>
                <p:nvPr/>
              </p:nvPicPr>
              <p:blipFill>
                <a:blip r:embed="rId58"/>
                <a:stretch>
                  <a:fillRect/>
                </a:stretch>
              </p:blipFill>
              <p:spPr>
                <a:xfrm>
                  <a:off x="2361094" y="5783202"/>
                  <a:ext cx="81360" cy="276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9">
              <p14:nvContentPartPr>
                <p14:cNvPr id="204" name="Ink 203">
                  <a:extLst>
                    <a:ext uri="{FF2B5EF4-FFF2-40B4-BE49-F238E27FC236}">
                      <a16:creationId xmlns:a16="http://schemas.microsoft.com/office/drawing/2014/main" id="{F478861A-E8AC-48E7-A447-80E4581A9130}"/>
                    </a:ext>
                  </a:extLst>
                </p14:cNvPr>
                <p14:cNvContentPartPr/>
                <p14:nvPr/>
              </p14:nvContentPartPr>
              <p14:xfrm>
                <a:off x="2438854" y="5863842"/>
                <a:ext cx="173880" cy="199800"/>
              </p14:xfrm>
            </p:contentPart>
          </mc:Choice>
          <mc:Fallback xmlns="">
            <p:pic>
              <p:nvPicPr>
                <p:cNvPr id="204" name="Ink 203">
                  <a:extLst>
                    <a:ext uri="{FF2B5EF4-FFF2-40B4-BE49-F238E27FC236}">
                      <a16:creationId xmlns:a16="http://schemas.microsoft.com/office/drawing/2014/main" id="{F478861A-E8AC-48E7-A447-80E4581A9130}"/>
                    </a:ext>
                  </a:extLst>
                </p:cNvPr>
                <p:cNvPicPr/>
                <p:nvPr/>
              </p:nvPicPr>
              <p:blipFill>
                <a:blip r:embed="rId60"/>
                <a:stretch>
                  <a:fillRect/>
                </a:stretch>
              </p:blipFill>
              <p:spPr>
                <a:xfrm>
                  <a:off x="2403214" y="5828202"/>
                  <a:ext cx="245520" cy="271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1">
              <p14:nvContentPartPr>
                <p14:cNvPr id="205" name="Ink 204">
                  <a:extLst>
                    <a:ext uri="{FF2B5EF4-FFF2-40B4-BE49-F238E27FC236}">
                      <a16:creationId xmlns:a16="http://schemas.microsoft.com/office/drawing/2014/main" id="{49D04C47-8C9C-4D46-8DE8-298F008027EF}"/>
                    </a:ext>
                  </a:extLst>
                </p14:cNvPr>
                <p14:cNvContentPartPr/>
                <p14:nvPr/>
              </p14:nvContentPartPr>
              <p14:xfrm>
                <a:off x="2699134" y="5252922"/>
                <a:ext cx="232920" cy="745200"/>
              </p14:xfrm>
            </p:contentPart>
          </mc:Choice>
          <mc:Fallback xmlns="">
            <p:pic>
              <p:nvPicPr>
                <p:cNvPr id="205" name="Ink 204">
                  <a:extLst>
                    <a:ext uri="{FF2B5EF4-FFF2-40B4-BE49-F238E27FC236}">
                      <a16:creationId xmlns:a16="http://schemas.microsoft.com/office/drawing/2014/main" id="{49D04C47-8C9C-4D46-8DE8-298F008027EF}"/>
                    </a:ext>
                  </a:extLst>
                </p:cNvPr>
                <p:cNvPicPr/>
                <p:nvPr/>
              </p:nvPicPr>
              <p:blipFill>
                <a:blip r:embed="rId62"/>
                <a:stretch>
                  <a:fillRect/>
                </a:stretch>
              </p:blipFill>
              <p:spPr>
                <a:xfrm>
                  <a:off x="2663134" y="5216922"/>
                  <a:ext cx="304560" cy="816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3">
              <p14:nvContentPartPr>
                <p14:cNvPr id="206" name="Ink 205">
                  <a:extLst>
                    <a:ext uri="{FF2B5EF4-FFF2-40B4-BE49-F238E27FC236}">
                      <a16:creationId xmlns:a16="http://schemas.microsoft.com/office/drawing/2014/main" id="{30C6BFD7-B78F-4C10-B4C9-CFE93DC6E1BD}"/>
                    </a:ext>
                  </a:extLst>
                </p14:cNvPr>
                <p14:cNvContentPartPr/>
                <p14:nvPr/>
              </p14:nvContentPartPr>
              <p14:xfrm>
                <a:off x="1769254" y="5242482"/>
                <a:ext cx="271440" cy="731160"/>
              </p14:xfrm>
            </p:contentPart>
          </mc:Choice>
          <mc:Fallback xmlns="">
            <p:pic>
              <p:nvPicPr>
                <p:cNvPr id="206" name="Ink 205">
                  <a:extLst>
                    <a:ext uri="{FF2B5EF4-FFF2-40B4-BE49-F238E27FC236}">
                      <a16:creationId xmlns:a16="http://schemas.microsoft.com/office/drawing/2014/main" id="{30C6BFD7-B78F-4C10-B4C9-CFE93DC6E1BD}"/>
                    </a:ext>
                  </a:extLst>
                </p:cNvPr>
                <p:cNvPicPr/>
                <p:nvPr/>
              </p:nvPicPr>
              <p:blipFill>
                <a:blip r:embed="rId64"/>
                <a:stretch>
                  <a:fillRect/>
                </a:stretch>
              </p:blipFill>
              <p:spPr>
                <a:xfrm>
                  <a:off x="1733254" y="5206842"/>
                  <a:ext cx="343080" cy="8028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A3FB0AD3-FFC9-4E79-8BCD-E068CE6753AD}"/>
              </a:ext>
            </a:extLst>
          </p:cNvPr>
          <p:cNvGrpSpPr/>
          <p:nvPr/>
        </p:nvGrpSpPr>
        <p:grpSpPr>
          <a:xfrm>
            <a:off x="3197374" y="5296122"/>
            <a:ext cx="1923840" cy="515160"/>
            <a:chOff x="3197374" y="5296122"/>
            <a:chExt cx="1923840" cy="5151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5">
              <p14:nvContentPartPr>
                <p14:cNvPr id="207" name="Ink 206">
                  <a:extLst>
                    <a:ext uri="{FF2B5EF4-FFF2-40B4-BE49-F238E27FC236}">
                      <a16:creationId xmlns:a16="http://schemas.microsoft.com/office/drawing/2014/main" id="{60EC2E99-868E-4B76-BF76-179681163876}"/>
                    </a:ext>
                  </a:extLst>
                </p14:cNvPr>
                <p14:cNvContentPartPr/>
                <p14:nvPr/>
              </p14:nvContentPartPr>
              <p14:xfrm>
                <a:off x="3197374" y="5396562"/>
                <a:ext cx="229320" cy="399960"/>
              </p14:xfrm>
            </p:contentPart>
          </mc:Choice>
          <mc:Fallback xmlns="">
            <p:pic>
              <p:nvPicPr>
                <p:cNvPr id="207" name="Ink 206">
                  <a:extLst>
                    <a:ext uri="{FF2B5EF4-FFF2-40B4-BE49-F238E27FC236}">
                      <a16:creationId xmlns:a16="http://schemas.microsoft.com/office/drawing/2014/main" id="{60EC2E99-868E-4B76-BF76-179681163876}"/>
                    </a:ext>
                  </a:extLst>
                </p:cNvPr>
                <p:cNvPicPr/>
                <p:nvPr/>
              </p:nvPicPr>
              <p:blipFill>
                <a:blip r:embed="rId66"/>
                <a:stretch>
                  <a:fillRect/>
                </a:stretch>
              </p:blipFill>
              <p:spPr>
                <a:xfrm>
                  <a:off x="3161734" y="5360562"/>
                  <a:ext cx="300960" cy="471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7">
              <p14:nvContentPartPr>
                <p14:cNvPr id="208" name="Ink 207">
                  <a:extLst>
                    <a:ext uri="{FF2B5EF4-FFF2-40B4-BE49-F238E27FC236}">
                      <a16:creationId xmlns:a16="http://schemas.microsoft.com/office/drawing/2014/main" id="{B65513EB-ED4C-4057-B48C-BDB9B4E7826A}"/>
                    </a:ext>
                  </a:extLst>
                </p14:cNvPr>
                <p14:cNvContentPartPr/>
                <p14:nvPr/>
              </p14:nvContentPartPr>
              <p14:xfrm>
                <a:off x="3579694" y="5296122"/>
                <a:ext cx="50400" cy="178200"/>
              </p14:xfrm>
            </p:contentPart>
          </mc:Choice>
          <mc:Fallback xmlns="">
            <p:pic>
              <p:nvPicPr>
                <p:cNvPr id="208" name="Ink 207">
                  <a:extLst>
                    <a:ext uri="{FF2B5EF4-FFF2-40B4-BE49-F238E27FC236}">
                      <a16:creationId xmlns:a16="http://schemas.microsoft.com/office/drawing/2014/main" id="{B65513EB-ED4C-4057-B48C-BDB9B4E7826A}"/>
                    </a:ext>
                  </a:extLst>
                </p:cNvPr>
                <p:cNvPicPr/>
                <p:nvPr/>
              </p:nvPicPr>
              <p:blipFill>
                <a:blip r:embed="rId68"/>
                <a:stretch>
                  <a:fillRect/>
                </a:stretch>
              </p:blipFill>
              <p:spPr>
                <a:xfrm>
                  <a:off x="3544054" y="5260482"/>
                  <a:ext cx="122040" cy="249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9">
              <p14:nvContentPartPr>
                <p14:cNvPr id="209" name="Ink 208">
                  <a:extLst>
                    <a:ext uri="{FF2B5EF4-FFF2-40B4-BE49-F238E27FC236}">
                      <a16:creationId xmlns:a16="http://schemas.microsoft.com/office/drawing/2014/main" id="{FB40D989-BCE6-4E2B-B784-51D7E0C2F136}"/>
                    </a:ext>
                  </a:extLst>
                </p14:cNvPr>
                <p14:cNvContentPartPr/>
                <p14:nvPr/>
              </p14:nvContentPartPr>
              <p14:xfrm>
                <a:off x="3653494" y="5358762"/>
                <a:ext cx="142560" cy="154800"/>
              </p14:xfrm>
            </p:contentPart>
          </mc:Choice>
          <mc:Fallback xmlns="">
            <p:pic>
              <p:nvPicPr>
                <p:cNvPr id="209" name="Ink 208">
                  <a:extLst>
                    <a:ext uri="{FF2B5EF4-FFF2-40B4-BE49-F238E27FC236}">
                      <a16:creationId xmlns:a16="http://schemas.microsoft.com/office/drawing/2014/main" id="{FB40D989-BCE6-4E2B-B784-51D7E0C2F136}"/>
                    </a:ext>
                  </a:extLst>
                </p:cNvPr>
                <p:cNvPicPr/>
                <p:nvPr/>
              </p:nvPicPr>
              <p:blipFill>
                <a:blip r:embed="rId70"/>
                <a:stretch>
                  <a:fillRect/>
                </a:stretch>
              </p:blipFill>
              <p:spPr>
                <a:xfrm>
                  <a:off x="3617854" y="5323122"/>
                  <a:ext cx="214200" cy="226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1">
              <p14:nvContentPartPr>
                <p14:cNvPr id="210" name="Ink 209">
                  <a:extLst>
                    <a:ext uri="{FF2B5EF4-FFF2-40B4-BE49-F238E27FC236}">
                      <a16:creationId xmlns:a16="http://schemas.microsoft.com/office/drawing/2014/main" id="{70CFE74C-FC39-45C4-BE6E-441CEB5B2471}"/>
                    </a:ext>
                  </a:extLst>
                </p14:cNvPr>
                <p14:cNvContentPartPr/>
                <p14:nvPr/>
              </p14:nvContentPartPr>
              <p14:xfrm>
                <a:off x="3999814" y="5461362"/>
                <a:ext cx="147960" cy="312120"/>
              </p14:xfrm>
            </p:contentPart>
          </mc:Choice>
          <mc:Fallback xmlns="">
            <p:pic>
              <p:nvPicPr>
                <p:cNvPr id="210" name="Ink 209">
                  <a:extLst>
                    <a:ext uri="{FF2B5EF4-FFF2-40B4-BE49-F238E27FC236}">
                      <a16:creationId xmlns:a16="http://schemas.microsoft.com/office/drawing/2014/main" id="{70CFE74C-FC39-45C4-BE6E-441CEB5B2471}"/>
                    </a:ext>
                  </a:extLst>
                </p:cNvPr>
                <p:cNvPicPr/>
                <p:nvPr/>
              </p:nvPicPr>
              <p:blipFill>
                <a:blip r:embed="rId72"/>
                <a:stretch>
                  <a:fillRect/>
                </a:stretch>
              </p:blipFill>
              <p:spPr>
                <a:xfrm>
                  <a:off x="3964174" y="5425362"/>
                  <a:ext cx="219600" cy="383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3">
              <p14:nvContentPartPr>
                <p14:cNvPr id="211" name="Ink 210">
                  <a:extLst>
                    <a:ext uri="{FF2B5EF4-FFF2-40B4-BE49-F238E27FC236}">
                      <a16:creationId xmlns:a16="http://schemas.microsoft.com/office/drawing/2014/main" id="{2D4EC4C5-34BB-4238-A223-17FEB096839D}"/>
                    </a:ext>
                  </a:extLst>
                </p14:cNvPr>
                <p14:cNvContentPartPr/>
                <p14:nvPr/>
              </p14:nvContentPartPr>
              <p14:xfrm>
                <a:off x="4279534" y="5484762"/>
                <a:ext cx="60120" cy="275400"/>
              </p14:xfrm>
            </p:contentPart>
          </mc:Choice>
          <mc:Fallback xmlns="">
            <p:pic>
              <p:nvPicPr>
                <p:cNvPr id="211" name="Ink 210">
                  <a:extLst>
                    <a:ext uri="{FF2B5EF4-FFF2-40B4-BE49-F238E27FC236}">
                      <a16:creationId xmlns:a16="http://schemas.microsoft.com/office/drawing/2014/main" id="{2D4EC4C5-34BB-4238-A223-17FEB096839D}"/>
                    </a:ext>
                  </a:extLst>
                </p:cNvPr>
                <p:cNvPicPr/>
                <p:nvPr/>
              </p:nvPicPr>
              <p:blipFill>
                <a:blip r:embed="rId74"/>
                <a:stretch>
                  <a:fillRect/>
                </a:stretch>
              </p:blipFill>
              <p:spPr>
                <a:xfrm>
                  <a:off x="4243534" y="5449122"/>
                  <a:ext cx="131760" cy="347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5">
              <p14:nvContentPartPr>
                <p14:cNvPr id="214" name="Ink 213">
                  <a:extLst>
                    <a:ext uri="{FF2B5EF4-FFF2-40B4-BE49-F238E27FC236}">
                      <a16:creationId xmlns:a16="http://schemas.microsoft.com/office/drawing/2014/main" id="{D309CFC3-1F21-454D-9D20-16E277C7D3D5}"/>
                    </a:ext>
                  </a:extLst>
                </p14:cNvPr>
                <p14:cNvContentPartPr/>
                <p14:nvPr/>
              </p14:nvContentPartPr>
              <p14:xfrm>
                <a:off x="4427134" y="5650722"/>
                <a:ext cx="239040" cy="23400"/>
              </p14:xfrm>
            </p:contentPart>
          </mc:Choice>
          <mc:Fallback xmlns="">
            <p:pic>
              <p:nvPicPr>
                <p:cNvPr id="214" name="Ink 213">
                  <a:extLst>
                    <a:ext uri="{FF2B5EF4-FFF2-40B4-BE49-F238E27FC236}">
                      <a16:creationId xmlns:a16="http://schemas.microsoft.com/office/drawing/2014/main" id="{D309CFC3-1F21-454D-9D20-16E277C7D3D5}"/>
                    </a:ext>
                  </a:extLst>
                </p:cNvPr>
                <p:cNvPicPr/>
                <p:nvPr/>
              </p:nvPicPr>
              <p:blipFill>
                <a:blip r:embed="rId76"/>
                <a:stretch>
                  <a:fillRect/>
                </a:stretch>
              </p:blipFill>
              <p:spPr>
                <a:xfrm>
                  <a:off x="4391134" y="5615082"/>
                  <a:ext cx="310680" cy="95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7">
              <p14:nvContentPartPr>
                <p14:cNvPr id="215" name="Ink 214">
                  <a:extLst>
                    <a:ext uri="{FF2B5EF4-FFF2-40B4-BE49-F238E27FC236}">
                      <a16:creationId xmlns:a16="http://schemas.microsoft.com/office/drawing/2014/main" id="{BBE62AB6-B5C1-49A3-AC97-03BD26420D9C}"/>
                    </a:ext>
                  </a:extLst>
                </p14:cNvPr>
                <p14:cNvContentPartPr/>
                <p14:nvPr/>
              </p14:nvContentPartPr>
              <p14:xfrm>
                <a:off x="4706494" y="5421402"/>
                <a:ext cx="414720" cy="389880"/>
              </p14:xfrm>
            </p:contentPart>
          </mc:Choice>
          <mc:Fallback xmlns="">
            <p:pic>
              <p:nvPicPr>
                <p:cNvPr id="215" name="Ink 214">
                  <a:extLst>
                    <a:ext uri="{FF2B5EF4-FFF2-40B4-BE49-F238E27FC236}">
                      <a16:creationId xmlns:a16="http://schemas.microsoft.com/office/drawing/2014/main" id="{BBE62AB6-B5C1-49A3-AC97-03BD26420D9C}"/>
                    </a:ext>
                  </a:extLst>
                </p:cNvPr>
                <p:cNvPicPr/>
                <p:nvPr/>
              </p:nvPicPr>
              <p:blipFill>
                <a:blip r:embed="rId78"/>
                <a:stretch>
                  <a:fillRect/>
                </a:stretch>
              </p:blipFill>
              <p:spPr>
                <a:xfrm>
                  <a:off x="4670854" y="5385762"/>
                  <a:ext cx="486360" cy="4615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23" name="Group 222">
            <a:extLst>
              <a:ext uri="{FF2B5EF4-FFF2-40B4-BE49-F238E27FC236}">
                <a16:creationId xmlns:a16="http://schemas.microsoft.com/office/drawing/2014/main" id="{17839448-0A55-4F9A-8E0B-653B673A045F}"/>
              </a:ext>
            </a:extLst>
          </p:cNvPr>
          <p:cNvGrpSpPr/>
          <p:nvPr/>
        </p:nvGrpSpPr>
        <p:grpSpPr>
          <a:xfrm>
            <a:off x="5193574" y="5271282"/>
            <a:ext cx="784080" cy="201960"/>
            <a:chOff x="5193574" y="5271282"/>
            <a:chExt cx="784080" cy="2019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79">
              <p14:nvContentPartPr>
                <p14:cNvPr id="220" name="Ink 219">
                  <a:extLst>
                    <a:ext uri="{FF2B5EF4-FFF2-40B4-BE49-F238E27FC236}">
                      <a16:creationId xmlns:a16="http://schemas.microsoft.com/office/drawing/2014/main" id="{23BEF32C-B6AD-46C3-AFA5-762220B30E0C}"/>
                    </a:ext>
                  </a:extLst>
                </p14:cNvPr>
                <p14:cNvContentPartPr/>
                <p14:nvPr/>
              </p14:nvContentPartPr>
              <p14:xfrm>
                <a:off x="5193574" y="5271282"/>
                <a:ext cx="306360" cy="201960"/>
              </p14:xfrm>
            </p:contentPart>
          </mc:Choice>
          <mc:Fallback xmlns="">
            <p:pic>
              <p:nvPicPr>
                <p:cNvPr id="220" name="Ink 219">
                  <a:extLst>
                    <a:ext uri="{FF2B5EF4-FFF2-40B4-BE49-F238E27FC236}">
                      <a16:creationId xmlns:a16="http://schemas.microsoft.com/office/drawing/2014/main" id="{23BEF32C-B6AD-46C3-AFA5-762220B30E0C}"/>
                    </a:ext>
                  </a:extLst>
                </p:cNvPr>
                <p:cNvPicPr/>
                <p:nvPr/>
              </p:nvPicPr>
              <p:blipFill>
                <a:blip r:embed="rId80"/>
                <a:stretch>
                  <a:fillRect/>
                </a:stretch>
              </p:blipFill>
              <p:spPr>
                <a:xfrm>
                  <a:off x="5157574" y="5235282"/>
                  <a:ext cx="378000" cy="273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1">
              <p14:nvContentPartPr>
                <p14:cNvPr id="221" name="Ink 220">
                  <a:extLst>
                    <a:ext uri="{FF2B5EF4-FFF2-40B4-BE49-F238E27FC236}">
                      <a16:creationId xmlns:a16="http://schemas.microsoft.com/office/drawing/2014/main" id="{ED9477C2-CCBA-483C-8C2A-38563EBE1D22}"/>
                    </a:ext>
                  </a:extLst>
                </p14:cNvPr>
                <p14:cNvContentPartPr/>
                <p14:nvPr/>
              </p14:nvContentPartPr>
              <p14:xfrm>
                <a:off x="5556094" y="5323122"/>
                <a:ext cx="158040" cy="38880"/>
              </p14:xfrm>
            </p:contentPart>
          </mc:Choice>
          <mc:Fallback xmlns="">
            <p:pic>
              <p:nvPicPr>
                <p:cNvPr id="221" name="Ink 220">
                  <a:extLst>
                    <a:ext uri="{FF2B5EF4-FFF2-40B4-BE49-F238E27FC236}">
                      <a16:creationId xmlns:a16="http://schemas.microsoft.com/office/drawing/2014/main" id="{ED9477C2-CCBA-483C-8C2A-38563EBE1D22}"/>
                    </a:ext>
                  </a:extLst>
                </p:cNvPr>
                <p:cNvPicPr/>
                <p:nvPr/>
              </p:nvPicPr>
              <p:blipFill>
                <a:blip r:embed="rId82"/>
                <a:stretch>
                  <a:fillRect/>
                </a:stretch>
              </p:blipFill>
              <p:spPr>
                <a:xfrm>
                  <a:off x="5520454" y="5287122"/>
                  <a:ext cx="229680" cy="110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3">
              <p14:nvContentPartPr>
                <p14:cNvPr id="222" name="Ink 221">
                  <a:extLst>
                    <a:ext uri="{FF2B5EF4-FFF2-40B4-BE49-F238E27FC236}">
                      <a16:creationId xmlns:a16="http://schemas.microsoft.com/office/drawing/2014/main" id="{3A370431-D556-49FA-849F-45CD7BF1A1A7}"/>
                    </a:ext>
                  </a:extLst>
                </p14:cNvPr>
                <p14:cNvContentPartPr/>
                <p14:nvPr/>
              </p14:nvContentPartPr>
              <p14:xfrm>
                <a:off x="5747254" y="5276682"/>
                <a:ext cx="230400" cy="190440"/>
              </p14:xfrm>
            </p:contentPart>
          </mc:Choice>
          <mc:Fallback xmlns="">
            <p:pic>
              <p:nvPicPr>
                <p:cNvPr id="222" name="Ink 221">
                  <a:extLst>
                    <a:ext uri="{FF2B5EF4-FFF2-40B4-BE49-F238E27FC236}">
                      <a16:creationId xmlns:a16="http://schemas.microsoft.com/office/drawing/2014/main" id="{3A370431-D556-49FA-849F-45CD7BF1A1A7}"/>
                    </a:ext>
                  </a:extLst>
                </p:cNvPr>
                <p:cNvPicPr/>
                <p:nvPr/>
              </p:nvPicPr>
              <p:blipFill>
                <a:blip r:embed="rId84"/>
                <a:stretch>
                  <a:fillRect/>
                </a:stretch>
              </p:blipFill>
              <p:spPr>
                <a:xfrm>
                  <a:off x="5711254" y="5241042"/>
                  <a:ext cx="302040" cy="26208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85">
            <p14:nvContentPartPr>
              <p14:cNvPr id="224" name="Ink 223">
                <a:extLst>
                  <a:ext uri="{FF2B5EF4-FFF2-40B4-BE49-F238E27FC236}">
                    <a16:creationId xmlns:a16="http://schemas.microsoft.com/office/drawing/2014/main" id="{21C6AE7D-FBE2-4BBE-8BA8-D5B2F8D4E4B5}"/>
                  </a:ext>
                </a:extLst>
              </p14:cNvPr>
              <p14:cNvContentPartPr/>
              <p14:nvPr/>
            </p14:nvContentPartPr>
            <p14:xfrm>
              <a:off x="10226014" y="3561642"/>
              <a:ext cx="1800" cy="16560"/>
            </p14:xfrm>
          </p:contentPart>
        </mc:Choice>
        <mc:Fallback xmlns="">
          <p:pic>
            <p:nvPicPr>
              <p:cNvPr id="224" name="Ink 223">
                <a:extLst>
                  <a:ext uri="{FF2B5EF4-FFF2-40B4-BE49-F238E27FC236}">
                    <a16:creationId xmlns:a16="http://schemas.microsoft.com/office/drawing/2014/main" id="{21C6AE7D-FBE2-4BBE-8BA8-D5B2F8D4E4B5}"/>
                  </a:ext>
                </a:extLst>
              </p:cNvPr>
              <p:cNvPicPr/>
              <p:nvPr/>
            </p:nvPicPr>
            <p:blipFill>
              <a:blip r:embed="rId86"/>
              <a:stretch>
                <a:fillRect/>
              </a:stretch>
            </p:blipFill>
            <p:spPr>
              <a:xfrm>
                <a:off x="10190014" y="3526002"/>
                <a:ext cx="73440" cy="88200"/>
              </a:xfrm>
              <a:prstGeom prst="rect">
                <a:avLst/>
              </a:prstGeom>
            </p:spPr>
          </p:pic>
        </mc:Fallback>
      </mc:AlternateContent>
      <p:grpSp>
        <p:nvGrpSpPr>
          <p:cNvPr id="235" name="Group 234">
            <a:extLst>
              <a:ext uri="{FF2B5EF4-FFF2-40B4-BE49-F238E27FC236}">
                <a16:creationId xmlns:a16="http://schemas.microsoft.com/office/drawing/2014/main" id="{38FA495A-A3D7-4271-8B60-8CFC4B2E92A7}"/>
              </a:ext>
            </a:extLst>
          </p:cNvPr>
          <p:cNvGrpSpPr/>
          <p:nvPr/>
        </p:nvGrpSpPr>
        <p:grpSpPr>
          <a:xfrm>
            <a:off x="10563334" y="4031802"/>
            <a:ext cx="892800" cy="385920"/>
            <a:chOff x="10563334" y="4031802"/>
            <a:chExt cx="892800" cy="3859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87">
              <p14:nvContentPartPr>
                <p14:cNvPr id="230" name="Ink 229">
                  <a:extLst>
                    <a:ext uri="{FF2B5EF4-FFF2-40B4-BE49-F238E27FC236}">
                      <a16:creationId xmlns:a16="http://schemas.microsoft.com/office/drawing/2014/main" id="{2358DA89-D989-4E47-843A-887790309220}"/>
                    </a:ext>
                  </a:extLst>
                </p14:cNvPr>
                <p14:cNvContentPartPr/>
                <p14:nvPr/>
              </p14:nvContentPartPr>
              <p14:xfrm>
                <a:off x="10563334" y="4172922"/>
                <a:ext cx="150120" cy="220320"/>
              </p14:xfrm>
            </p:contentPart>
          </mc:Choice>
          <mc:Fallback xmlns="">
            <p:pic>
              <p:nvPicPr>
                <p:cNvPr id="230" name="Ink 229">
                  <a:extLst>
                    <a:ext uri="{FF2B5EF4-FFF2-40B4-BE49-F238E27FC236}">
                      <a16:creationId xmlns:a16="http://schemas.microsoft.com/office/drawing/2014/main" id="{2358DA89-D989-4E47-843A-887790309220}"/>
                    </a:ext>
                  </a:extLst>
                </p:cNvPr>
                <p:cNvPicPr/>
                <p:nvPr/>
              </p:nvPicPr>
              <p:blipFill>
                <a:blip r:embed="rId88"/>
                <a:stretch>
                  <a:fillRect/>
                </a:stretch>
              </p:blipFill>
              <p:spPr>
                <a:xfrm>
                  <a:off x="10527694" y="4136922"/>
                  <a:ext cx="221760" cy="291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9">
              <p14:nvContentPartPr>
                <p14:cNvPr id="231" name="Ink 230">
                  <a:extLst>
                    <a:ext uri="{FF2B5EF4-FFF2-40B4-BE49-F238E27FC236}">
                      <a16:creationId xmlns:a16="http://schemas.microsoft.com/office/drawing/2014/main" id="{065683D5-7781-4148-B981-997BBC30F848}"/>
                    </a:ext>
                  </a:extLst>
                </p14:cNvPr>
                <p14:cNvContentPartPr/>
                <p14:nvPr/>
              </p14:nvContentPartPr>
              <p14:xfrm>
                <a:off x="10793014" y="4282362"/>
                <a:ext cx="21960" cy="135360"/>
              </p14:xfrm>
            </p:contentPart>
          </mc:Choice>
          <mc:Fallback xmlns="">
            <p:pic>
              <p:nvPicPr>
                <p:cNvPr id="231" name="Ink 230">
                  <a:extLst>
                    <a:ext uri="{FF2B5EF4-FFF2-40B4-BE49-F238E27FC236}">
                      <a16:creationId xmlns:a16="http://schemas.microsoft.com/office/drawing/2014/main" id="{065683D5-7781-4148-B981-997BBC30F848}"/>
                    </a:ext>
                  </a:extLst>
                </p:cNvPr>
                <p:cNvPicPr/>
                <p:nvPr/>
              </p:nvPicPr>
              <p:blipFill>
                <a:blip r:embed="rId90"/>
                <a:stretch>
                  <a:fillRect/>
                </a:stretch>
              </p:blipFill>
              <p:spPr>
                <a:xfrm>
                  <a:off x="10757014" y="4246362"/>
                  <a:ext cx="93600" cy="207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1">
              <p14:nvContentPartPr>
                <p14:cNvPr id="232" name="Ink 231">
                  <a:extLst>
                    <a:ext uri="{FF2B5EF4-FFF2-40B4-BE49-F238E27FC236}">
                      <a16:creationId xmlns:a16="http://schemas.microsoft.com/office/drawing/2014/main" id="{B7E813F9-6BF9-45FD-B5E2-742BF55E9856}"/>
                    </a:ext>
                  </a:extLst>
                </p14:cNvPr>
                <p14:cNvContentPartPr/>
                <p14:nvPr/>
              </p14:nvContentPartPr>
              <p14:xfrm>
                <a:off x="10945654" y="4094082"/>
                <a:ext cx="176760" cy="251280"/>
              </p14:xfrm>
            </p:contentPart>
          </mc:Choice>
          <mc:Fallback xmlns="">
            <p:pic>
              <p:nvPicPr>
                <p:cNvPr id="232" name="Ink 231">
                  <a:extLst>
                    <a:ext uri="{FF2B5EF4-FFF2-40B4-BE49-F238E27FC236}">
                      <a16:creationId xmlns:a16="http://schemas.microsoft.com/office/drawing/2014/main" id="{B7E813F9-6BF9-45FD-B5E2-742BF55E9856}"/>
                    </a:ext>
                  </a:extLst>
                </p:cNvPr>
                <p:cNvPicPr/>
                <p:nvPr/>
              </p:nvPicPr>
              <p:blipFill>
                <a:blip r:embed="rId92"/>
                <a:stretch>
                  <a:fillRect/>
                </a:stretch>
              </p:blipFill>
              <p:spPr>
                <a:xfrm>
                  <a:off x="10910014" y="4058442"/>
                  <a:ext cx="248400" cy="322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3">
              <p14:nvContentPartPr>
                <p14:cNvPr id="233" name="Ink 232">
                  <a:extLst>
                    <a:ext uri="{FF2B5EF4-FFF2-40B4-BE49-F238E27FC236}">
                      <a16:creationId xmlns:a16="http://schemas.microsoft.com/office/drawing/2014/main" id="{D9B19D67-4F96-4938-8E14-78E90F53F0BD}"/>
                    </a:ext>
                  </a:extLst>
                </p14:cNvPr>
                <p14:cNvContentPartPr/>
                <p14:nvPr/>
              </p14:nvContentPartPr>
              <p14:xfrm>
                <a:off x="11012254" y="4261842"/>
                <a:ext cx="135360" cy="48600"/>
              </p14:xfrm>
            </p:contentPart>
          </mc:Choice>
          <mc:Fallback xmlns="">
            <p:pic>
              <p:nvPicPr>
                <p:cNvPr id="233" name="Ink 232">
                  <a:extLst>
                    <a:ext uri="{FF2B5EF4-FFF2-40B4-BE49-F238E27FC236}">
                      <a16:creationId xmlns:a16="http://schemas.microsoft.com/office/drawing/2014/main" id="{D9B19D67-4F96-4938-8E14-78E90F53F0BD}"/>
                    </a:ext>
                  </a:extLst>
                </p:cNvPr>
                <p:cNvPicPr/>
                <p:nvPr/>
              </p:nvPicPr>
              <p:blipFill>
                <a:blip r:embed="rId94"/>
                <a:stretch>
                  <a:fillRect/>
                </a:stretch>
              </p:blipFill>
              <p:spPr>
                <a:xfrm>
                  <a:off x="10976254" y="4226202"/>
                  <a:ext cx="207000" cy="120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5">
              <p14:nvContentPartPr>
                <p14:cNvPr id="234" name="Ink 233">
                  <a:extLst>
                    <a:ext uri="{FF2B5EF4-FFF2-40B4-BE49-F238E27FC236}">
                      <a16:creationId xmlns:a16="http://schemas.microsoft.com/office/drawing/2014/main" id="{FFC0E418-742C-4123-8AB4-68BA86349562}"/>
                    </a:ext>
                  </a:extLst>
                </p14:cNvPr>
                <p14:cNvContentPartPr/>
                <p14:nvPr/>
              </p14:nvContentPartPr>
              <p14:xfrm>
                <a:off x="11182894" y="4031802"/>
                <a:ext cx="273240" cy="358560"/>
              </p14:xfrm>
            </p:contentPart>
          </mc:Choice>
          <mc:Fallback xmlns="">
            <p:pic>
              <p:nvPicPr>
                <p:cNvPr id="234" name="Ink 233">
                  <a:extLst>
                    <a:ext uri="{FF2B5EF4-FFF2-40B4-BE49-F238E27FC236}">
                      <a16:creationId xmlns:a16="http://schemas.microsoft.com/office/drawing/2014/main" id="{FFC0E418-742C-4123-8AB4-68BA86349562}"/>
                    </a:ext>
                  </a:extLst>
                </p:cNvPr>
                <p:cNvPicPr/>
                <p:nvPr/>
              </p:nvPicPr>
              <p:blipFill>
                <a:blip r:embed="rId96"/>
                <a:stretch>
                  <a:fillRect/>
                </a:stretch>
              </p:blipFill>
              <p:spPr>
                <a:xfrm>
                  <a:off x="11146894" y="3996162"/>
                  <a:ext cx="344880" cy="430200"/>
                </a:xfrm>
                <a:prstGeom prst="rect">
                  <a:avLst/>
                </a:prstGeom>
              </p:spPr>
            </p:pic>
          </mc:Fallback>
        </mc:AlternateContent>
      </p:grp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p2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959"/>
              <a:buFont typeface="Calibri"/>
              <a:buNone/>
            </a:pPr>
            <a:br>
              <a:rPr lang="en-US" sz="395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3959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an and Standard Deviation of the Binomial Distribution </a:t>
            </a:r>
            <a:endParaRPr sz="3959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19" name="Google Shape;219;p2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063334" y="1838544"/>
            <a:ext cx="8487435" cy="488581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D61757C-633A-43AC-8531-C3ADF44C1D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3557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D61757C-633A-43AC-8531-C3ADF44C1D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4" name="Google Shape;224;p23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315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r>
              <a:rPr lang="en-US" sz="44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oisson Distribution </a:t>
            </a:r>
            <a:endParaRPr sz="44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5" name="Google Shape;225;p23"/>
          <p:cNvSpPr txBox="1">
            <a:spLocks noGrp="1"/>
          </p:cNvSpPr>
          <p:nvPr>
            <p:ph type="body" idx="1"/>
          </p:nvPr>
        </p:nvSpPr>
        <p:spPr>
          <a:xfrm>
            <a:off x="945222" y="1003299"/>
            <a:ext cx="10941978" cy="54895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indent="0">
              <a:spcBef>
                <a:spcPts val="0"/>
              </a:spcBef>
              <a:buSzPts val="2800"/>
              <a:buNone/>
            </a:pPr>
            <a:r>
              <a:rPr lang="en-US" sz="2000" b="1" dirty="0"/>
              <a:t>Poisson Distribution – </a:t>
            </a:r>
            <a:r>
              <a:rPr lang="en-US" sz="2000" dirty="0"/>
              <a:t>A Poisson random variable is a count of the number of occurrences of an event in each unit of time, distance, area or a volume</a:t>
            </a:r>
          </a:p>
          <a:p>
            <a:pPr marL="0" indent="0">
              <a:spcBef>
                <a:spcPts val="0"/>
              </a:spcBef>
              <a:buSzPts val="2800"/>
              <a:buNone/>
            </a:pPr>
            <a:endParaRPr lang="en-US" sz="1600" b="1" dirty="0"/>
          </a:p>
          <a:p>
            <a:pPr marL="0" indent="0">
              <a:lnSpc>
                <a:spcPct val="50000"/>
              </a:lnSpc>
              <a:spcBef>
                <a:spcPts val="0"/>
              </a:spcBef>
              <a:buSzPts val="2800"/>
              <a:buNone/>
            </a:pPr>
            <a:endParaRPr lang="en-US" sz="1600" b="1" dirty="0"/>
          </a:p>
          <a:p>
            <a:pPr marL="0" indent="0">
              <a:lnSpc>
                <a:spcPct val="50000"/>
              </a:lnSpc>
              <a:spcBef>
                <a:spcPts val="0"/>
              </a:spcBef>
              <a:buSzPts val="2800"/>
              <a:buNone/>
            </a:pPr>
            <a:r>
              <a:rPr lang="en-US" sz="1800" b="1" dirty="0"/>
              <a:t>Poisson Criteria </a:t>
            </a:r>
            <a:r>
              <a:rPr lang="en-US" sz="1600" b="1" dirty="0"/>
              <a:t>-</a:t>
            </a:r>
            <a:endParaRPr lang="en-US" sz="1600" dirty="0"/>
          </a:p>
          <a:p>
            <a:pPr marL="182880" indent="-285750" algn="l">
              <a:lnSpc>
                <a:spcPct val="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Discrete outcomes</a:t>
            </a:r>
          </a:p>
          <a:p>
            <a:pPr marL="182880" indent="-285750" algn="l">
              <a:lnSpc>
                <a:spcPct val="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The number of occurrences in each interval can range from zero to infinity (theoretically)</a:t>
            </a:r>
          </a:p>
          <a:p>
            <a:pPr marL="182880" indent="-285750" algn="l">
              <a:lnSpc>
                <a:spcPct val="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Describes the distribution of infrequent (rare) events</a:t>
            </a:r>
          </a:p>
          <a:p>
            <a:pPr marL="182880" indent="-285750" algn="l">
              <a:lnSpc>
                <a:spcPct val="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Each event is independent of the other events</a:t>
            </a:r>
          </a:p>
          <a:p>
            <a:pPr marL="182880" indent="-285750" algn="l">
              <a:lnSpc>
                <a:spcPct val="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Describes discrete events over an interval</a:t>
            </a:r>
          </a:p>
          <a:p>
            <a:pPr marL="182880" indent="-285750" algn="l">
              <a:lnSpc>
                <a:spcPct val="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Expected number of occurrences E(X) are assumed to be constant throughout the experiment.</a:t>
            </a:r>
            <a:endParaRPr lang="en-US" sz="2400" dirty="0"/>
          </a:p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</a:pPr>
            <a:endParaRPr lang="en-US" sz="20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286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oisson Distribution is another discrete distribution which also plays a major role in </a:t>
            </a:r>
            <a:r>
              <a:rPr lang="en-US" sz="20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quality control </a:t>
            </a:r>
            <a:r>
              <a:rPr lang="en-US" sz="20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 the context of reducing the number of defects per standard unit. </a:t>
            </a:r>
          </a:p>
          <a:p>
            <a:pPr marL="2286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xamples include number of defects per item, number of defects per transformer produced, number of defects per 100 m2 of cloth, etc. </a:t>
            </a:r>
            <a:endParaRPr lang="en-US" sz="2000" dirty="0"/>
          </a:p>
          <a:p>
            <a:pPr marL="2286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her examples would include 1) The number of cars arriving at a highway check post per hour; 2) The number of customers visiting a bank per hour during peak business period; 3) The number of pixels in the image that are corrupted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p3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r>
              <a:rPr lang="en-US" b="1"/>
              <a:t>Session Agenda</a:t>
            </a:r>
            <a:endParaRPr b="1"/>
          </a:p>
        </p:txBody>
      </p:sp>
      <p:sp>
        <p:nvSpPr>
          <p:cNvPr id="97" name="Google Shape;97;p3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22860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</a:pPr>
            <a:r>
              <a:rPr lang="en-US"/>
              <a:t>Probability – Meaning and concepts</a:t>
            </a:r>
            <a:endParaRPr/>
          </a:p>
          <a:p>
            <a:pPr marL="2286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</a:pPr>
            <a:r>
              <a:rPr lang="en-US"/>
              <a:t>Rules for Computing Probability(Multiplicative and Addition rule)</a:t>
            </a:r>
            <a:endParaRPr/>
          </a:p>
          <a:p>
            <a:pPr marL="2286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</a:pPr>
            <a:r>
              <a:rPr lang="en-US"/>
              <a:t>Marginal probability</a:t>
            </a:r>
            <a:endParaRPr/>
          </a:p>
          <a:p>
            <a:pPr marL="2286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</a:pPr>
            <a:r>
              <a:rPr lang="en-US"/>
              <a:t>Bayes’ theorem</a:t>
            </a:r>
            <a:endParaRPr/>
          </a:p>
          <a:p>
            <a:pPr marL="2286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</a:pPr>
            <a:r>
              <a:rPr lang="en-US"/>
              <a:t>Probability Distribution and types</a:t>
            </a:r>
            <a:endParaRPr/>
          </a:p>
          <a:p>
            <a:pPr marL="2286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</a:pPr>
            <a:r>
              <a:rPr lang="en-US"/>
              <a:t>Case study</a:t>
            </a:r>
            <a:endParaRPr/>
          </a:p>
          <a:p>
            <a:pPr marL="2286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</a:pPr>
            <a:r>
              <a:rPr lang="en-US"/>
              <a:t>Questions</a:t>
            </a:r>
            <a:endParaRPr/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Google Shape;230;p24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br>
              <a:rPr lang="en-US"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4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oisson Probability Function </a:t>
            </a:r>
            <a:endParaRPr sz="44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31" name="Google Shape;231;p2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05986" y="1591554"/>
            <a:ext cx="9488511" cy="529657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Google Shape;236;p25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br>
              <a:rPr lang="en-US"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4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xample – Poisson Distribution</a:t>
            </a:r>
            <a:endParaRPr sz="44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7" name="Google Shape;237;p2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</a:pPr>
            <a:r>
              <a:rPr lang="en-US" sz="28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f on an average, 6 customers arrive every two minutes at a bank during the busy hours of working, a) what is the probability that exactly four customers arrive in a given minute? b) What is the probability that more than three customers will arrive in a given minute? </a:t>
            </a:r>
            <a:endParaRPr dirty="0"/>
          </a:p>
          <a:p>
            <a:pPr marL="228600" marR="0" lvl="0" indent="-508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</a:pPr>
            <a:endParaRPr sz="28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A023789-20D4-46DC-AAB0-89FFEC46AB5F}"/>
              </a:ext>
            </a:extLst>
          </p:cNvPr>
          <p:cNvGrpSpPr/>
          <p:nvPr/>
        </p:nvGrpSpPr>
        <p:grpSpPr>
          <a:xfrm>
            <a:off x="2111614" y="3825522"/>
            <a:ext cx="1247400" cy="485280"/>
            <a:chOff x="2111614" y="3825522"/>
            <a:chExt cx="1247400" cy="4852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3">
              <p14:nvContentPartPr>
                <p14:cNvPr id="2" name="Ink 1">
                  <a:extLst>
                    <a:ext uri="{FF2B5EF4-FFF2-40B4-BE49-F238E27FC236}">
                      <a16:creationId xmlns:a16="http://schemas.microsoft.com/office/drawing/2014/main" id="{9833104C-5162-4E47-AFE0-9E3AAAC5461B}"/>
                    </a:ext>
                  </a:extLst>
                </p14:cNvPr>
                <p14:cNvContentPartPr/>
                <p14:nvPr/>
              </p14:nvContentPartPr>
              <p14:xfrm>
                <a:off x="2111614" y="3857202"/>
                <a:ext cx="303120" cy="453600"/>
              </p14:xfrm>
            </p:contentPart>
          </mc:Choice>
          <mc:Fallback xmlns="">
            <p:pic>
              <p:nvPicPr>
                <p:cNvPr id="2" name="Ink 1">
                  <a:extLst>
                    <a:ext uri="{FF2B5EF4-FFF2-40B4-BE49-F238E27FC236}">
                      <a16:creationId xmlns:a16="http://schemas.microsoft.com/office/drawing/2014/main" id="{9833104C-5162-4E47-AFE0-9E3AAAC5461B}"/>
                    </a:ext>
                  </a:extLst>
                </p:cNvPr>
                <p:cNvPicPr/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2075614" y="3821202"/>
                  <a:ext cx="374760" cy="525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">
              <p14:nvContentPartPr>
                <p14:cNvPr id="3" name="Ink 2">
                  <a:extLst>
                    <a:ext uri="{FF2B5EF4-FFF2-40B4-BE49-F238E27FC236}">
                      <a16:creationId xmlns:a16="http://schemas.microsoft.com/office/drawing/2014/main" id="{EB91FD98-C34F-4E12-8369-252215945F6F}"/>
                    </a:ext>
                  </a:extLst>
                </p14:cNvPr>
                <p14:cNvContentPartPr/>
                <p14:nvPr/>
              </p14:nvContentPartPr>
              <p14:xfrm>
                <a:off x="2519854" y="4039722"/>
                <a:ext cx="246600" cy="28440"/>
              </p14:xfrm>
            </p:contentPart>
          </mc:Choice>
          <mc:Fallback xmlns="">
            <p:pic>
              <p:nvPicPr>
                <p:cNvPr id="3" name="Ink 2">
                  <a:extLst>
                    <a:ext uri="{FF2B5EF4-FFF2-40B4-BE49-F238E27FC236}">
                      <a16:creationId xmlns:a16="http://schemas.microsoft.com/office/drawing/2014/main" id="{EB91FD98-C34F-4E12-8369-252215945F6F}"/>
                    </a:ext>
                  </a:extLst>
                </p:cNvPr>
                <p:cNvPicPr/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2483854" y="4003722"/>
                  <a:ext cx="318240" cy="100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">
              <p14:nvContentPartPr>
                <p14:cNvPr id="4" name="Ink 3">
                  <a:extLst>
                    <a:ext uri="{FF2B5EF4-FFF2-40B4-BE49-F238E27FC236}">
                      <a16:creationId xmlns:a16="http://schemas.microsoft.com/office/drawing/2014/main" id="{565FED4B-F632-4D97-B6FF-435A9465A5D5}"/>
                    </a:ext>
                  </a:extLst>
                </p14:cNvPr>
                <p14:cNvContentPartPr/>
                <p14:nvPr/>
              </p14:nvContentPartPr>
              <p14:xfrm>
                <a:off x="2662774" y="4156362"/>
                <a:ext cx="123840" cy="24120"/>
              </p14:xfrm>
            </p:contentPart>
          </mc:Choice>
          <mc:Fallback xmlns="">
            <p:pic>
              <p:nvPicPr>
                <p:cNvPr id="4" name="Ink 3">
                  <a:extLst>
                    <a:ext uri="{FF2B5EF4-FFF2-40B4-BE49-F238E27FC236}">
                      <a16:creationId xmlns:a16="http://schemas.microsoft.com/office/drawing/2014/main" id="{565FED4B-F632-4D97-B6FF-435A9465A5D5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2626774" y="4120722"/>
                  <a:ext cx="195480" cy="95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">
              <p14:nvContentPartPr>
                <p14:cNvPr id="5" name="Ink 4">
                  <a:extLst>
                    <a:ext uri="{FF2B5EF4-FFF2-40B4-BE49-F238E27FC236}">
                      <a16:creationId xmlns:a16="http://schemas.microsoft.com/office/drawing/2014/main" id="{2D6D9682-6114-4175-97EA-5FE5C184837A}"/>
                    </a:ext>
                  </a:extLst>
                </p14:cNvPr>
                <p14:cNvContentPartPr/>
                <p14:nvPr/>
              </p14:nvContentPartPr>
              <p14:xfrm>
                <a:off x="3076414" y="3825522"/>
                <a:ext cx="282600" cy="380520"/>
              </p14:xfrm>
            </p:contentPart>
          </mc:Choice>
          <mc:Fallback xmlns="">
            <p:pic>
              <p:nvPicPr>
                <p:cNvPr id="5" name="Ink 4">
                  <a:extLst>
                    <a:ext uri="{FF2B5EF4-FFF2-40B4-BE49-F238E27FC236}">
                      <a16:creationId xmlns:a16="http://schemas.microsoft.com/office/drawing/2014/main" id="{2D6D9682-6114-4175-97EA-5FE5C184837A}"/>
                    </a:ext>
                  </a:extLst>
                </p:cNvPr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3040774" y="3789882"/>
                  <a:ext cx="354240" cy="4521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A1CA263-5814-402E-B88F-18A857267A4F}"/>
              </a:ext>
            </a:extLst>
          </p:cNvPr>
          <p:cNvGrpSpPr/>
          <p:nvPr/>
        </p:nvGrpSpPr>
        <p:grpSpPr>
          <a:xfrm>
            <a:off x="3665374" y="3753882"/>
            <a:ext cx="1947240" cy="446040"/>
            <a:chOff x="3665374" y="3753882"/>
            <a:chExt cx="1947240" cy="4460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1">
              <p14:nvContentPartPr>
                <p14:cNvPr id="7" name="Ink 6">
                  <a:extLst>
                    <a:ext uri="{FF2B5EF4-FFF2-40B4-BE49-F238E27FC236}">
                      <a16:creationId xmlns:a16="http://schemas.microsoft.com/office/drawing/2014/main" id="{0036E637-26EF-41E8-A4E2-360A5EEBA04F}"/>
                    </a:ext>
                  </a:extLst>
                </p14:cNvPr>
                <p14:cNvContentPartPr/>
                <p14:nvPr/>
              </p14:nvContentPartPr>
              <p14:xfrm>
                <a:off x="3665374" y="3878442"/>
                <a:ext cx="160920" cy="321480"/>
              </p14:xfrm>
            </p:contentPart>
          </mc:Choice>
          <mc:Fallback xmlns="">
            <p:pic>
              <p:nvPicPr>
                <p:cNvPr id="7" name="Ink 6">
                  <a:extLst>
                    <a:ext uri="{FF2B5EF4-FFF2-40B4-BE49-F238E27FC236}">
                      <a16:creationId xmlns:a16="http://schemas.microsoft.com/office/drawing/2014/main" id="{0036E637-26EF-41E8-A4E2-360A5EEBA04F}"/>
                    </a:ext>
                  </a:extLst>
                </p:cNvPr>
                <p:cNvPicPr/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3629734" y="3842802"/>
                  <a:ext cx="232560" cy="393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">
              <p14:nvContentPartPr>
                <p14:cNvPr id="8" name="Ink 7">
                  <a:extLst>
                    <a:ext uri="{FF2B5EF4-FFF2-40B4-BE49-F238E27FC236}">
                      <a16:creationId xmlns:a16="http://schemas.microsoft.com/office/drawing/2014/main" id="{E2C6E626-8CD3-45E4-AE87-08C7A69F8103}"/>
                    </a:ext>
                  </a:extLst>
                </p14:cNvPr>
                <p14:cNvContentPartPr/>
                <p14:nvPr/>
              </p14:nvContentPartPr>
              <p14:xfrm>
                <a:off x="3978934" y="3911562"/>
                <a:ext cx="245160" cy="200520"/>
              </p14:xfrm>
            </p:contentPart>
          </mc:Choice>
          <mc:Fallback xmlns="">
            <p:pic>
              <p:nvPicPr>
                <p:cNvPr id="8" name="Ink 7">
                  <a:extLst>
                    <a:ext uri="{FF2B5EF4-FFF2-40B4-BE49-F238E27FC236}">
                      <a16:creationId xmlns:a16="http://schemas.microsoft.com/office/drawing/2014/main" id="{E2C6E626-8CD3-45E4-AE87-08C7A69F8103}"/>
                    </a:ext>
                  </a:extLst>
                </p:cNvPr>
                <p:cNvPicPr/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3943294" y="3875922"/>
                  <a:ext cx="316800" cy="272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">
              <p14:nvContentPartPr>
                <p14:cNvPr id="9" name="Ink 8">
                  <a:extLst>
                    <a:ext uri="{FF2B5EF4-FFF2-40B4-BE49-F238E27FC236}">
                      <a16:creationId xmlns:a16="http://schemas.microsoft.com/office/drawing/2014/main" id="{00467F62-51DC-4C8F-9284-E71C2267B443}"/>
                    </a:ext>
                  </a:extLst>
                </p14:cNvPr>
                <p14:cNvContentPartPr/>
                <p14:nvPr/>
              </p14:nvContentPartPr>
              <p14:xfrm>
                <a:off x="4301134" y="3909402"/>
                <a:ext cx="504360" cy="165600"/>
              </p14:xfrm>
            </p:contentPart>
          </mc:Choice>
          <mc:Fallback xmlns="">
            <p:pic>
              <p:nvPicPr>
                <p:cNvPr id="9" name="Ink 8">
                  <a:extLst>
                    <a:ext uri="{FF2B5EF4-FFF2-40B4-BE49-F238E27FC236}">
                      <a16:creationId xmlns:a16="http://schemas.microsoft.com/office/drawing/2014/main" id="{00467F62-51DC-4C8F-9284-E71C2267B443}"/>
                    </a:ext>
                  </a:extLst>
                </p:cNvPr>
                <p:cNvPicPr/>
                <p:nvPr/>
              </p:nvPicPr>
              <p:blipFill>
                <a:blip r:embed="rId16"/>
                <a:stretch>
                  <a:fillRect/>
                </a:stretch>
              </p:blipFill>
              <p:spPr>
                <a:xfrm>
                  <a:off x="4265494" y="3873402"/>
                  <a:ext cx="576000" cy="237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">
              <p14:nvContentPartPr>
                <p14:cNvPr id="10" name="Ink 9">
                  <a:extLst>
                    <a:ext uri="{FF2B5EF4-FFF2-40B4-BE49-F238E27FC236}">
                      <a16:creationId xmlns:a16="http://schemas.microsoft.com/office/drawing/2014/main" id="{1171510F-F1D2-401E-870B-BD60EBFA5CFB}"/>
                    </a:ext>
                  </a:extLst>
                </p14:cNvPr>
                <p14:cNvContentPartPr/>
                <p14:nvPr/>
              </p14:nvContentPartPr>
              <p14:xfrm>
                <a:off x="4783894" y="3810042"/>
                <a:ext cx="25560" cy="87480"/>
              </p14:xfrm>
            </p:contentPart>
          </mc:Choice>
          <mc:Fallback xmlns="">
            <p:pic>
              <p:nvPicPr>
                <p:cNvPr id="10" name="Ink 9">
                  <a:extLst>
                    <a:ext uri="{FF2B5EF4-FFF2-40B4-BE49-F238E27FC236}">
                      <a16:creationId xmlns:a16="http://schemas.microsoft.com/office/drawing/2014/main" id="{1171510F-F1D2-401E-870B-BD60EBFA5CFB}"/>
                    </a:ext>
                  </a:extLst>
                </p:cNvPr>
                <p:cNvPicPr/>
                <p:nvPr/>
              </p:nvPicPr>
              <p:blipFill>
                <a:blip r:embed="rId18"/>
                <a:stretch>
                  <a:fillRect/>
                </a:stretch>
              </p:blipFill>
              <p:spPr>
                <a:xfrm>
                  <a:off x="4747894" y="3774402"/>
                  <a:ext cx="97200" cy="159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9">
              <p14:nvContentPartPr>
                <p14:cNvPr id="11" name="Ink 10">
                  <a:extLst>
                    <a:ext uri="{FF2B5EF4-FFF2-40B4-BE49-F238E27FC236}">
                      <a16:creationId xmlns:a16="http://schemas.microsoft.com/office/drawing/2014/main" id="{E129CBBD-874C-4F18-AB88-F2CBD17B639B}"/>
                    </a:ext>
                  </a:extLst>
                </p14:cNvPr>
                <p14:cNvContentPartPr/>
                <p14:nvPr/>
              </p14:nvContentPartPr>
              <p14:xfrm>
                <a:off x="4941214" y="3884562"/>
                <a:ext cx="382320" cy="173160"/>
              </p14:xfrm>
            </p:contentPart>
          </mc:Choice>
          <mc:Fallback xmlns="">
            <p:pic>
              <p:nvPicPr>
                <p:cNvPr id="11" name="Ink 10">
                  <a:extLst>
                    <a:ext uri="{FF2B5EF4-FFF2-40B4-BE49-F238E27FC236}">
                      <a16:creationId xmlns:a16="http://schemas.microsoft.com/office/drawing/2014/main" id="{E129CBBD-874C-4F18-AB88-F2CBD17B639B}"/>
                    </a:ext>
                  </a:extLst>
                </p:cNvPr>
                <p:cNvPicPr/>
                <p:nvPr/>
              </p:nvPicPr>
              <p:blipFill>
                <a:blip r:embed="rId20"/>
                <a:stretch>
                  <a:fillRect/>
                </a:stretch>
              </p:blipFill>
              <p:spPr>
                <a:xfrm>
                  <a:off x="4905214" y="3848922"/>
                  <a:ext cx="453960" cy="244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1">
              <p14:nvContentPartPr>
                <p14:cNvPr id="13" name="Ink 12">
                  <a:extLst>
                    <a:ext uri="{FF2B5EF4-FFF2-40B4-BE49-F238E27FC236}">
                      <a16:creationId xmlns:a16="http://schemas.microsoft.com/office/drawing/2014/main" id="{B47CE812-0ED0-4961-A5A4-9FBCC79BACE8}"/>
                    </a:ext>
                  </a:extLst>
                </p14:cNvPr>
                <p14:cNvContentPartPr/>
                <p14:nvPr/>
              </p14:nvContentPartPr>
              <p14:xfrm>
                <a:off x="5547094" y="3753882"/>
                <a:ext cx="65520" cy="356040"/>
              </p14:xfrm>
            </p:contentPart>
          </mc:Choice>
          <mc:Fallback xmlns="">
            <p:pic>
              <p:nvPicPr>
                <p:cNvPr id="13" name="Ink 12">
                  <a:extLst>
                    <a:ext uri="{FF2B5EF4-FFF2-40B4-BE49-F238E27FC236}">
                      <a16:creationId xmlns:a16="http://schemas.microsoft.com/office/drawing/2014/main" id="{B47CE812-0ED0-4961-A5A4-9FBCC79BACE8}"/>
                    </a:ext>
                  </a:extLst>
                </p:cNvPr>
                <p:cNvPicPr/>
                <p:nvPr/>
              </p:nvPicPr>
              <p:blipFill>
                <a:blip r:embed="rId22"/>
                <a:stretch>
                  <a:fillRect/>
                </a:stretch>
              </p:blipFill>
              <p:spPr>
                <a:xfrm>
                  <a:off x="5511094" y="3717882"/>
                  <a:ext cx="137160" cy="42768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2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69D58721-F1DF-4D36-AE68-8B67376618D7}"/>
                  </a:ext>
                </a:extLst>
              </p14:cNvPr>
              <p14:cNvContentPartPr/>
              <p14:nvPr/>
            </p14:nvContentPartPr>
            <p14:xfrm>
              <a:off x="6037774" y="3964122"/>
              <a:ext cx="77400" cy="6624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69D58721-F1DF-4D36-AE68-8B67376618D7}"/>
                  </a:ext>
                </a:extLst>
              </p:cNvPr>
              <p:cNvPicPr/>
              <p:nvPr/>
            </p:nvPicPr>
            <p:blipFill>
              <a:blip r:embed="rId24"/>
              <a:stretch>
                <a:fillRect/>
              </a:stretch>
            </p:blipFill>
            <p:spPr>
              <a:xfrm>
                <a:off x="6001774" y="3928122"/>
                <a:ext cx="149040" cy="137880"/>
              </a:xfrm>
              <a:prstGeom prst="rect">
                <a:avLst/>
              </a:prstGeom>
            </p:spPr>
          </p:pic>
        </mc:Fallback>
      </mc:AlternateContent>
      <p:grpSp>
        <p:nvGrpSpPr>
          <p:cNvPr id="26" name="Group 25">
            <a:extLst>
              <a:ext uri="{FF2B5EF4-FFF2-40B4-BE49-F238E27FC236}">
                <a16:creationId xmlns:a16="http://schemas.microsoft.com/office/drawing/2014/main" id="{9609903F-6C08-493A-A286-52638C157B34}"/>
              </a:ext>
            </a:extLst>
          </p:cNvPr>
          <p:cNvGrpSpPr/>
          <p:nvPr/>
        </p:nvGrpSpPr>
        <p:grpSpPr>
          <a:xfrm>
            <a:off x="6769654" y="3691602"/>
            <a:ext cx="1393200" cy="454320"/>
            <a:chOff x="6769654" y="3691602"/>
            <a:chExt cx="1393200" cy="4543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25">
              <p14:nvContentPartPr>
                <p14:cNvPr id="20" name="Ink 19">
                  <a:extLst>
                    <a:ext uri="{FF2B5EF4-FFF2-40B4-BE49-F238E27FC236}">
                      <a16:creationId xmlns:a16="http://schemas.microsoft.com/office/drawing/2014/main" id="{9CEB8D34-B0D4-4EE3-9EB8-37EB8E1C26D7}"/>
                    </a:ext>
                  </a:extLst>
                </p14:cNvPr>
                <p14:cNvContentPartPr/>
                <p14:nvPr/>
              </p14:nvContentPartPr>
              <p14:xfrm>
                <a:off x="6769654" y="3691602"/>
                <a:ext cx="189720" cy="328320"/>
              </p14:xfrm>
            </p:contentPart>
          </mc:Choice>
          <mc:Fallback xmlns="">
            <p:pic>
              <p:nvPicPr>
                <p:cNvPr id="20" name="Ink 19">
                  <a:extLst>
                    <a:ext uri="{FF2B5EF4-FFF2-40B4-BE49-F238E27FC236}">
                      <a16:creationId xmlns:a16="http://schemas.microsoft.com/office/drawing/2014/main" id="{9CEB8D34-B0D4-4EE3-9EB8-37EB8E1C26D7}"/>
                    </a:ext>
                  </a:extLst>
                </p:cNvPr>
                <p:cNvPicPr/>
                <p:nvPr/>
              </p:nvPicPr>
              <p:blipFill>
                <a:blip r:embed="rId26"/>
                <a:stretch>
                  <a:fillRect/>
                </a:stretch>
              </p:blipFill>
              <p:spPr>
                <a:xfrm>
                  <a:off x="6733654" y="3655602"/>
                  <a:ext cx="261360" cy="399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7">
              <p14:nvContentPartPr>
                <p14:cNvPr id="21" name="Ink 20">
                  <a:extLst>
                    <a:ext uri="{FF2B5EF4-FFF2-40B4-BE49-F238E27FC236}">
                      <a16:creationId xmlns:a16="http://schemas.microsoft.com/office/drawing/2014/main" id="{5C8E3D16-4DA5-4AE3-ADBC-267539E2053B}"/>
                    </a:ext>
                  </a:extLst>
                </p14:cNvPr>
                <p14:cNvContentPartPr/>
                <p14:nvPr/>
              </p14:nvContentPartPr>
              <p14:xfrm>
                <a:off x="7069894" y="3703482"/>
                <a:ext cx="86760" cy="392400"/>
              </p14:xfrm>
            </p:contentPart>
          </mc:Choice>
          <mc:Fallback xmlns="">
            <p:pic>
              <p:nvPicPr>
                <p:cNvPr id="21" name="Ink 20">
                  <a:extLst>
                    <a:ext uri="{FF2B5EF4-FFF2-40B4-BE49-F238E27FC236}">
                      <a16:creationId xmlns:a16="http://schemas.microsoft.com/office/drawing/2014/main" id="{5C8E3D16-4DA5-4AE3-ADBC-267539E2053B}"/>
                    </a:ext>
                  </a:extLst>
                </p:cNvPr>
                <p:cNvPicPr/>
                <p:nvPr/>
              </p:nvPicPr>
              <p:blipFill>
                <a:blip r:embed="rId28"/>
                <a:stretch>
                  <a:fillRect/>
                </a:stretch>
              </p:blipFill>
              <p:spPr>
                <a:xfrm>
                  <a:off x="7034254" y="3667842"/>
                  <a:ext cx="158400" cy="464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9">
              <p14:nvContentPartPr>
                <p14:cNvPr id="22" name="Ink 21">
                  <a:extLst>
                    <a:ext uri="{FF2B5EF4-FFF2-40B4-BE49-F238E27FC236}">
                      <a16:creationId xmlns:a16="http://schemas.microsoft.com/office/drawing/2014/main" id="{9A5C241F-0898-4136-AC91-2F35CEA30534}"/>
                    </a:ext>
                  </a:extLst>
                </p14:cNvPr>
                <p14:cNvContentPartPr/>
                <p14:nvPr/>
              </p14:nvContentPartPr>
              <p14:xfrm>
                <a:off x="7239814" y="3957642"/>
                <a:ext cx="180720" cy="188280"/>
              </p14:xfrm>
            </p:contentPart>
          </mc:Choice>
          <mc:Fallback xmlns="">
            <p:pic>
              <p:nvPicPr>
                <p:cNvPr id="22" name="Ink 21">
                  <a:extLst>
                    <a:ext uri="{FF2B5EF4-FFF2-40B4-BE49-F238E27FC236}">
                      <a16:creationId xmlns:a16="http://schemas.microsoft.com/office/drawing/2014/main" id="{9A5C241F-0898-4136-AC91-2F35CEA30534}"/>
                    </a:ext>
                  </a:extLst>
                </p:cNvPr>
                <p:cNvPicPr/>
                <p:nvPr/>
              </p:nvPicPr>
              <p:blipFill>
                <a:blip r:embed="rId30"/>
                <a:stretch>
                  <a:fillRect/>
                </a:stretch>
              </p:blipFill>
              <p:spPr>
                <a:xfrm>
                  <a:off x="7204174" y="3921642"/>
                  <a:ext cx="252360" cy="259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1">
              <p14:nvContentPartPr>
                <p14:cNvPr id="23" name="Ink 22">
                  <a:extLst>
                    <a:ext uri="{FF2B5EF4-FFF2-40B4-BE49-F238E27FC236}">
                      <a16:creationId xmlns:a16="http://schemas.microsoft.com/office/drawing/2014/main" id="{416C453C-B85D-4107-9D69-7C53811D5995}"/>
                    </a:ext>
                  </a:extLst>
                </p14:cNvPr>
                <p14:cNvContentPartPr/>
                <p14:nvPr/>
              </p14:nvContentPartPr>
              <p14:xfrm>
                <a:off x="7538974" y="3922362"/>
                <a:ext cx="199800" cy="114840"/>
              </p14:xfrm>
            </p:contentPart>
          </mc:Choice>
          <mc:Fallback xmlns="">
            <p:pic>
              <p:nvPicPr>
                <p:cNvPr id="23" name="Ink 22">
                  <a:extLst>
                    <a:ext uri="{FF2B5EF4-FFF2-40B4-BE49-F238E27FC236}">
                      <a16:creationId xmlns:a16="http://schemas.microsoft.com/office/drawing/2014/main" id="{416C453C-B85D-4107-9D69-7C53811D5995}"/>
                    </a:ext>
                  </a:extLst>
                </p:cNvPr>
                <p:cNvPicPr/>
                <p:nvPr/>
              </p:nvPicPr>
              <p:blipFill>
                <a:blip r:embed="rId32"/>
                <a:stretch>
                  <a:fillRect/>
                </a:stretch>
              </p:blipFill>
              <p:spPr>
                <a:xfrm>
                  <a:off x="7502974" y="3886722"/>
                  <a:ext cx="271440" cy="186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3">
              <p14:nvContentPartPr>
                <p14:cNvPr id="24" name="Ink 23">
                  <a:extLst>
                    <a:ext uri="{FF2B5EF4-FFF2-40B4-BE49-F238E27FC236}">
                      <a16:creationId xmlns:a16="http://schemas.microsoft.com/office/drawing/2014/main" id="{9D9A53C2-B56E-4CA9-8CB9-E2A0D558E15A}"/>
                    </a:ext>
                  </a:extLst>
                </p14:cNvPr>
                <p14:cNvContentPartPr/>
                <p14:nvPr/>
              </p14:nvContentPartPr>
              <p14:xfrm>
                <a:off x="7956934" y="3727962"/>
                <a:ext cx="205920" cy="303480"/>
              </p14:xfrm>
            </p:contentPart>
          </mc:Choice>
          <mc:Fallback xmlns="">
            <p:pic>
              <p:nvPicPr>
                <p:cNvPr id="24" name="Ink 23">
                  <a:extLst>
                    <a:ext uri="{FF2B5EF4-FFF2-40B4-BE49-F238E27FC236}">
                      <a16:creationId xmlns:a16="http://schemas.microsoft.com/office/drawing/2014/main" id="{9D9A53C2-B56E-4CA9-8CB9-E2A0D558E15A}"/>
                    </a:ext>
                  </a:extLst>
                </p:cNvPr>
                <p:cNvPicPr/>
                <p:nvPr/>
              </p:nvPicPr>
              <p:blipFill>
                <a:blip r:embed="rId34"/>
                <a:stretch>
                  <a:fillRect/>
                </a:stretch>
              </p:blipFill>
              <p:spPr>
                <a:xfrm>
                  <a:off x="7921294" y="3691962"/>
                  <a:ext cx="277560" cy="3751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392491B2-611B-489D-B908-92E5D486A030}"/>
              </a:ext>
            </a:extLst>
          </p:cNvPr>
          <p:cNvGrpSpPr/>
          <p:nvPr/>
        </p:nvGrpSpPr>
        <p:grpSpPr>
          <a:xfrm>
            <a:off x="8453014" y="3700242"/>
            <a:ext cx="998640" cy="265680"/>
            <a:chOff x="8453014" y="3700242"/>
            <a:chExt cx="998640" cy="2656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35">
              <p14:nvContentPartPr>
                <p14:cNvPr id="27" name="Ink 26">
                  <a:extLst>
                    <a:ext uri="{FF2B5EF4-FFF2-40B4-BE49-F238E27FC236}">
                      <a16:creationId xmlns:a16="http://schemas.microsoft.com/office/drawing/2014/main" id="{AD850B40-376F-42E7-90F3-CF87B8D261A2}"/>
                    </a:ext>
                  </a:extLst>
                </p14:cNvPr>
                <p14:cNvContentPartPr/>
                <p14:nvPr/>
              </p14:nvContentPartPr>
              <p14:xfrm>
                <a:off x="8453014" y="3700242"/>
                <a:ext cx="222120" cy="178200"/>
              </p14:xfrm>
            </p:contentPart>
          </mc:Choice>
          <mc:Fallback xmlns="">
            <p:pic>
              <p:nvPicPr>
                <p:cNvPr id="27" name="Ink 26">
                  <a:extLst>
                    <a:ext uri="{FF2B5EF4-FFF2-40B4-BE49-F238E27FC236}">
                      <a16:creationId xmlns:a16="http://schemas.microsoft.com/office/drawing/2014/main" id="{AD850B40-376F-42E7-90F3-CF87B8D261A2}"/>
                    </a:ext>
                  </a:extLst>
                </p:cNvPr>
                <p:cNvPicPr/>
                <p:nvPr/>
              </p:nvPicPr>
              <p:blipFill>
                <a:blip r:embed="rId36"/>
                <a:stretch>
                  <a:fillRect/>
                </a:stretch>
              </p:blipFill>
              <p:spPr>
                <a:xfrm>
                  <a:off x="8417374" y="3664602"/>
                  <a:ext cx="293760" cy="249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7">
              <p14:nvContentPartPr>
                <p14:cNvPr id="28" name="Ink 27">
                  <a:extLst>
                    <a:ext uri="{FF2B5EF4-FFF2-40B4-BE49-F238E27FC236}">
                      <a16:creationId xmlns:a16="http://schemas.microsoft.com/office/drawing/2014/main" id="{553EFC81-9FBD-4BF5-9A0F-279BD9E63AF5}"/>
                    </a:ext>
                  </a:extLst>
                </p14:cNvPr>
                <p14:cNvContentPartPr/>
                <p14:nvPr/>
              </p14:nvContentPartPr>
              <p14:xfrm>
                <a:off x="8759734" y="3742722"/>
                <a:ext cx="376200" cy="223200"/>
              </p14:xfrm>
            </p:contentPart>
          </mc:Choice>
          <mc:Fallback xmlns="">
            <p:pic>
              <p:nvPicPr>
                <p:cNvPr id="28" name="Ink 27">
                  <a:extLst>
                    <a:ext uri="{FF2B5EF4-FFF2-40B4-BE49-F238E27FC236}">
                      <a16:creationId xmlns:a16="http://schemas.microsoft.com/office/drawing/2014/main" id="{553EFC81-9FBD-4BF5-9A0F-279BD9E63AF5}"/>
                    </a:ext>
                  </a:extLst>
                </p:cNvPr>
                <p:cNvPicPr/>
                <p:nvPr/>
              </p:nvPicPr>
              <p:blipFill>
                <a:blip r:embed="rId38"/>
                <a:stretch>
                  <a:fillRect/>
                </a:stretch>
              </p:blipFill>
              <p:spPr>
                <a:xfrm>
                  <a:off x="8723734" y="3706722"/>
                  <a:ext cx="447840" cy="294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9">
              <p14:nvContentPartPr>
                <p14:cNvPr id="29" name="Ink 28">
                  <a:extLst>
                    <a:ext uri="{FF2B5EF4-FFF2-40B4-BE49-F238E27FC236}">
                      <a16:creationId xmlns:a16="http://schemas.microsoft.com/office/drawing/2014/main" id="{F7D50D8F-DB7F-4F29-BF54-5BD36045A541}"/>
                    </a:ext>
                  </a:extLst>
                </p14:cNvPr>
                <p14:cNvContentPartPr/>
                <p14:nvPr/>
              </p14:nvContentPartPr>
              <p14:xfrm>
                <a:off x="9044854" y="3728682"/>
                <a:ext cx="35280" cy="49320"/>
              </p14:xfrm>
            </p:contentPart>
          </mc:Choice>
          <mc:Fallback xmlns="">
            <p:pic>
              <p:nvPicPr>
                <p:cNvPr id="29" name="Ink 28">
                  <a:extLst>
                    <a:ext uri="{FF2B5EF4-FFF2-40B4-BE49-F238E27FC236}">
                      <a16:creationId xmlns:a16="http://schemas.microsoft.com/office/drawing/2014/main" id="{F7D50D8F-DB7F-4F29-BF54-5BD36045A541}"/>
                    </a:ext>
                  </a:extLst>
                </p:cNvPr>
                <p:cNvPicPr/>
                <p:nvPr/>
              </p:nvPicPr>
              <p:blipFill>
                <a:blip r:embed="rId40"/>
                <a:stretch>
                  <a:fillRect/>
                </a:stretch>
              </p:blipFill>
              <p:spPr>
                <a:xfrm>
                  <a:off x="9008854" y="3693042"/>
                  <a:ext cx="106920" cy="120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1">
              <p14:nvContentPartPr>
                <p14:cNvPr id="30" name="Ink 29">
                  <a:extLst>
                    <a:ext uri="{FF2B5EF4-FFF2-40B4-BE49-F238E27FC236}">
                      <a16:creationId xmlns:a16="http://schemas.microsoft.com/office/drawing/2014/main" id="{6DD27844-07DA-43D4-9E83-6D26CD9795EF}"/>
                    </a:ext>
                  </a:extLst>
                </p14:cNvPr>
                <p14:cNvContentPartPr/>
                <p14:nvPr/>
              </p14:nvContentPartPr>
              <p14:xfrm>
                <a:off x="9213334" y="3790962"/>
                <a:ext cx="238320" cy="114840"/>
              </p14:xfrm>
            </p:contentPart>
          </mc:Choice>
          <mc:Fallback xmlns="">
            <p:pic>
              <p:nvPicPr>
                <p:cNvPr id="30" name="Ink 29">
                  <a:extLst>
                    <a:ext uri="{FF2B5EF4-FFF2-40B4-BE49-F238E27FC236}">
                      <a16:creationId xmlns:a16="http://schemas.microsoft.com/office/drawing/2014/main" id="{6DD27844-07DA-43D4-9E83-6D26CD9795EF}"/>
                    </a:ext>
                  </a:extLst>
                </p:cNvPr>
                <p:cNvPicPr/>
                <p:nvPr/>
              </p:nvPicPr>
              <p:blipFill>
                <a:blip r:embed="rId42"/>
                <a:stretch>
                  <a:fillRect/>
                </a:stretch>
              </p:blipFill>
              <p:spPr>
                <a:xfrm>
                  <a:off x="9177334" y="3754962"/>
                  <a:ext cx="309960" cy="1864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26" name="Group 225">
            <a:extLst>
              <a:ext uri="{FF2B5EF4-FFF2-40B4-BE49-F238E27FC236}">
                <a16:creationId xmlns:a16="http://schemas.microsoft.com/office/drawing/2014/main" id="{3D778FF9-A62F-4ECC-80D0-F1960A871B69}"/>
              </a:ext>
            </a:extLst>
          </p:cNvPr>
          <p:cNvGrpSpPr/>
          <p:nvPr/>
        </p:nvGrpSpPr>
        <p:grpSpPr>
          <a:xfrm>
            <a:off x="3033934" y="5075442"/>
            <a:ext cx="473760" cy="521640"/>
            <a:chOff x="3033934" y="5075442"/>
            <a:chExt cx="473760" cy="5216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43">
              <p14:nvContentPartPr>
                <p14:cNvPr id="224" name="Ink 223">
                  <a:extLst>
                    <a:ext uri="{FF2B5EF4-FFF2-40B4-BE49-F238E27FC236}">
                      <a16:creationId xmlns:a16="http://schemas.microsoft.com/office/drawing/2014/main" id="{EB4B60F5-0901-451B-A5CB-8FF99CBF7078}"/>
                    </a:ext>
                  </a:extLst>
                </p14:cNvPr>
                <p14:cNvContentPartPr/>
                <p14:nvPr/>
              </p14:nvContentPartPr>
              <p14:xfrm>
                <a:off x="3033934" y="5082642"/>
                <a:ext cx="214200" cy="514440"/>
              </p14:xfrm>
            </p:contentPart>
          </mc:Choice>
          <mc:Fallback xmlns="">
            <p:pic>
              <p:nvPicPr>
                <p:cNvPr id="224" name="Ink 223">
                  <a:extLst>
                    <a:ext uri="{FF2B5EF4-FFF2-40B4-BE49-F238E27FC236}">
                      <a16:creationId xmlns:a16="http://schemas.microsoft.com/office/drawing/2014/main" id="{EB4B60F5-0901-451B-A5CB-8FF99CBF7078}"/>
                    </a:ext>
                  </a:extLst>
                </p:cNvPr>
                <p:cNvPicPr/>
                <p:nvPr/>
              </p:nvPicPr>
              <p:blipFill>
                <a:blip r:embed="rId44"/>
                <a:stretch>
                  <a:fillRect/>
                </a:stretch>
              </p:blipFill>
              <p:spPr>
                <a:xfrm>
                  <a:off x="2997934" y="5047002"/>
                  <a:ext cx="285840" cy="586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5">
              <p14:nvContentPartPr>
                <p14:cNvPr id="225" name="Ink 224">
                  <a:extLst>
                    <a:ext uri="{FF2B5EF4-FFF2-40B4-BE49-F238E27FC236}">
                      <a16:creationId xmlns:a16="http://schemas.microsoft.com/office/drawing/2014/main" id="{0BEB8F84-4C05-4C26-82FC-531A15573E88}"/>
                    </a:ext>
                  </a:extLst>
                </p14:cNvPr>
                <p14:cNvContentPartPr/>
                <p14:nvPr/>
              </p14:nvContentPartPr>
              <p14:xfrm>
                <a:off x="3348934" y="5075442"/>
                <a:ext cx="158760" cy="411840"/>
              </p14:xfrm>
            </p:contentPart>
          </mc:Choice>
          <mc:Fallback xmlns="">
            <p:pic>
              <p:nvPicPr>
                <p:cNvPr id="225" name="Ink 224">
                  <a:extLst>
                    <a:ext uri="{FF2B5EF4-FFF2-40B4-BE49-F238E27FC236}">
                      <a16:creationId xmlns:a16="http://schemas.microsoft.com/office/drawing/2014/main" id="{0BEB8F84-4C05-4C26-82FC-531A15573E88}"/>
                    </a:ext>
                  </a:extLst>
                </p:cNvPr>
                <p:cNvPicPr/>
                <p:nvPr/>
              </p:nvPicPr>
              <p:blipFill>
                <a:blip r:embed="rId46"/>
                <a:stretch>
                  <a:fillRect/>
                </a:stretch>
              </p:blipFill>
              <p:spPr>
                <a:xfrm>
                  <a:off x="3313294" y="5039802"/>
                  <a:ext cx="230400" cy="4834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51" name="Group 250">
            <a:extLst>
              <a:ext uri="{FF2B5EF4-FFF2-40B4-BE49-F238E27FC236}">
                <a16:creationId xmlns:a16="http://schemas.microsoft.com/office/drawing/2014/main" id="{900FAACB-D2F0-48AB-9D64-7788E3D535EB}"/>
              </a:ext>
            </a:extLst>
          </p:cNvPr>
          <p:cNvGrpSpPr/>
          <p:nvPr/>
        </p:nvGrpSpPr>
        <p:grpSpPr>
          <a:xfrm>
            <a:off x="3652054" y="5028642"/>
            <a:ext cx="923760" cy="360000"/>
            <a:chOff x="3652054" y="5028642"/>
            <a:chExt cx="923760" cy="3600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47">
              <p14:nvContentPartPr>
                <p14:cNvPr id="227" name="Ink 226">
                  <a:extLst>
                    <a:ext uri="{FF2B5EF4-FFF2-40B4-BE49-F238E27FC236}">
                      <a16:creationId xmlns:a16="http://schemas.microsoft.com/office/drawing/2014/main" id="{68E7D26F-B122-4F00-A5D2-A2F4A9BCED34}"/>
                    </a:ext>
                  </a:extLst>
                </p14:cNvPr>
                <p14:cNvContentPartPr/>
                <p14:nvPr/>
              </p14:nvContentPartPr>
              <p14:xfrm>
                <a:off x="3760774" y="5088042"/>
                <a:ext cx="31320" cy="60480"/>
              </p14:xfrm>
            </p:contentPart>
          </mc:Choice>
          <mc:Fallback xmlns="">
            <p:pic>
              <p:nvPicPr>
                <p:cNvPr id="227" name="Ink 226">
                  <a:extLst>
                    <a:ext uri="{FF2B5EF4-FFF2-40B4-BE49-F238E27FC236}">
                      <a16:creationId xmlns:a16="http://schemas.microsoft.com/office/drawing/2014/main" id="{68E7D26F-B122-4F00-A5D2-A2F4A9BCED34}"/>
                    </a:ext>
                  </a:extLst>
                </p:cNvPr>
                <p:cNvPicPr/>
                <p:nvPr/>
              </p:nvPicPr>
              <p:blipFill>
                <a:blip r:embed="rId48"/>
                <a:stretch>
                  <a:fillRect/>
                </a:stretch>
              </p:blipFill>
              <p:spPr>
                <a:xfrm>
                  <a:off x="3724774" y="5052402"/>
                  <a:ext cx="102960" cy="132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9">
              <p14:nvContentPartPr>
                <p14:cNvPr id="228" name="Ink 227">
                  <a:extLst>
                    <a:ext uri="{FF2B5EF4-FFF2-40B4-BE49-F238E27FC236}">
                      <a16:creationId xmlns:a16="http://schemas.microsoft.com/office/drawing/2014/main" id="{CE605798-4476-4F2B-B8AA-D172E01746F5}"/>
                    </a:ext>
                  </a:extLst>
                </p14:cNvPr>
                <p14:cNvContentPartPr/>
                <p14:nvPr/>
              </p14:nvContentPartPr>
              <p14:xfrm>
                <a:off x="3992254" y="5034402"/>
                <a:ext cx="16560" cy="2520"/>
              </p14:xfrm>
            </p:contentPart>
          </mc:Choice>
          <mc:Fallback xmlns="">
            <p:pic>
              <p:nvPicPr>
                <p:cNvPr id="228" name="Ink 227">
                  <a:extLst>
                    <a:ext uri="{FF2B5EF4-FFF2-40B4-BE49-F238E27FC236}">
                      <a16:creationId xmlns:a16="http://schemas.microsoft.com/office/drawing/2014/main" id="{CE605798-4476-4F2B-B8AA-D172E01746F5}"/>
                    </a:ext>
                  </a:extLst>
                </p:cNvPr>
                <p:cNvPicPr/>
                <p:nvPr/>
              </p:nvPicPr>
              <p:blipFill>
                <a:blip r:embed="rId50"/>
                <a:stretch>
                  <a:fillRect/>
                </a:stretch>
              </p:blipFill>
              <p:spPr>
                <a:xfrm>
                  <a:off x="3956254" y="4998402"/>
                  <a:ext cx="88200" cy="74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1">
              <p14:nvContentPartPr>
                <p14:cNvPr id="230" name="Ink 229">
                  <a:extLst>
                    <a:ext uri="{FF2B5EF4-FFF2-40B4-BE49-F238E27FC236}">
                      <a16:creationId xmlns:a16="http://schemas.microsoft.com/office/drawing/2014/main" id="{CE5437FE-1EFE-46D5-AC9F-2A4B7B8059A0}"/>
                    </a:ext>
                  </a:extLst>
                </p14:cNvPr>
                <p14:cNvContentPartPr/>
                <p14:nvPr/>
              </p14:nvContentPartPr>
              <p14:xfrm>
                <a:off x="3674014" y="5062122"/>
                <a:ext cx="192600" cy="326520"/>
              </p14:xfrm>
            </p:contentPart>
          </mc:Choice>
          <mc:Fallback xmlns="">
            <p:pic>
              <p:nvPicPr>
                <p:cNvPr id="230" name="Ink 229">
                  <a:extLst>
                    <a:ext uri="{FF2B5EF4-FFF2-40B4-BE49-F238E27FC236}">
                      <a16:creationId xmlns:a16="http://schemas.microsoft.com/office/drawing/2014/main" id="{CE5437FE-1EFE-46D5-AC9F-2A4B7B8059A0}"/>
                    </a:ext>
                  </a:extLst>
                </p:cNvPr>
                <p:cNvPicPr/>
                <p:nvPr/>
              </p:nvPicPr>
              <p:blipFill>
                <a:blip r:embed="rId52"/>
                <a:stretch>
                  <a:fillRect/>
                </a:stretch>
              </p:blipFill>
              <p:spPr>
                <a:xfrm>
                  <a:off x="3638014" y="5026122"/>
                  <a:ext cx="264240" cy="398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3">
              <p14:nvContentPartPr>
                <p14:cNvPr id="231" name="Ink 230">
                  <a:extLst>
                    <a:ext uri="{FF2B5EF4-FFF2-40B4-BE49-F238E27FC236}">
                      <a16:creationId xmlns:a16="http://schemas.microsoft.com/office/drawing/2014/main" id="{E8AFB0E8-CF1F-405E-92B7-541EECE1F8CB}"/>
                    </a:ext>
                  </a:extLst>
                </p14:cNvPr>
                <p14:cNvContentPartPr/>
                <p14:nvPr/>
              </p14:nvContentPartPr>
              <p14:xfrm>
                <a:off x="3652054" y="5091282"/>
                <a:ext cx="221400" cy="276840"/>
              </p14:xfrm>
            </p:contentPart>
          </mc:Choice>
          <mc:Fallback xmlns="">
            <p:pic>
              <p:nvPicPr>
                <p:cNvPr id="231" name="Ink 230">
                  <a:extLst>
                    <a:ext uri="{FF2B5EF4-FFF2-40B4-BE49-F238E27FC236}">
                      <a16:creationId xmlns:a16="http://schemas.microsoft.com/office/drawing/2014/main" id="{E8AFB0E8-CF1F-405E-92B7-541EECE1F8CB}"/>
                    </a:ext>
                  </a:extLst>
                </p:cNvPr>
                <p:cNvPicPr/>
                <p:nvPr/>
              </p:nvPicPr>
              <p:blipFill>
                <a:blip r:embed="rId54"/>
                <a:stretch>
                  <a:fillRect/>
                </a:stretch>
              </p:blipFill>
              <p:spPr>
                <a:xfrm>
                  <a:off x="3616054" y="5055642"/>
                  <a:ext cx="293040" cy="348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5">
              <p14:nvContentPartPr>
                <p14:cNvPr id="232" name="Ink 231">
                  <a:extLst>
                    <a:ext uri="{FF2B5EF4-FFF2-40B4-BE49-F238E27FC236}">
                      <a16:creationId xmlns:a16="http://schemas.microsoft.com/office/drawing/2014/main" id="{7C76B717-2AB5-4A0B-B699-DACA6F579DA4}"/>
                    </a:ext>
                  </a:extLst>
                </p14:cNvPr>
                <p14:cNvContentPartPr/>
                <p14:nvPr/>
              </p14:nvContentPartPr>
              <p14:xfrm>
                <a:off x="3970294" y="5028642"/>
                <a:ext cx="526680" cy="306720"/>
              </p14:xfrm>
            </p:contentPart>
          </mc:Choice>
          <mc:Fallback xmlns="">
            <p:pic>
              <p:nvPicPr>
                <p:cNvPr id="232" name="Ink 231">
                  <a:extLst>
                    <a:ext uri="{FF2B5EF4-FFF2-40B4-BE49-F238E27FC236}">
                      <a16:creationId xmlns:a16="http://schemas.microsoft.com/office/drawing/2014/main" id="{7C76B717-2AB5-4A0B-B699-DACA6F579DA4}"/>
                    </a:ext>
                  </a:extLst>
                </p:cNvPr>
                <p:cNvPicPr/>
                <p:nvPr/>
              </p:nvPicPr>
              <p:blipFill>
                <a:blip r:embed="rId56"/>
                <a:stretch>
                  <a:fillRect/>
                </a:stretch>
              </p:blipFill>
              <p:spPr>
                <a:xfrm>
                  <a:off x="3934654" y="4993002"/>
                  <a:ext cx="598320" cy="378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7">
              <p14:nvContentPartPr>
                <p14:cNvPr id="233" name="Ink 232">
                  <a:extLst>
                    <a:ext uri="{FF2B5EF4-FFF2-40B4-BE49-F238E27FC236}">
                      <a16:creationId xmlns:a16="http://schemas.microsoft.com/office/drawing/2014/main" id="{F7F62163-3A5B-4582-B5AC-5EB254B845FE}"/>
                    </a:ext>
                  </a:extLst>
                </p14:cNvPr>
                <p14:cNvContentPartPr/>
                <p14:nvPr/>
              </p14:nvContentPartPr>
              <p14:xfrm>
                <a:off x="4352974" y="5167242"/>
                <a:ext cx="222840" cy="32040"/>
              </p14:xfrm>
            </p:contentPart>
          </mc:Choice>
          <mc:Fallback xmlns="">
            <p:pic>
              <p:nvPicPr>
                <p:cNvPr id="233" name="Ink 232">
                  <a:extLst>
                    <a:ext uri="{FF2B5EF4-FFF2-40B4-BE49-F238E27FC236}">
                      <a16:creationId xmlns:a16="http://schemas.microsoft.com/office/drawing/2014/main" id="{F7F62163-3A5B-4582-B5AC-5EB254B845FE}"/>
                    </a:ext>
                  </a:extLst>
                </p:cNvPr>
                <p:cNvPicPr/>
                <p:nvPr/>
              </p:nvPicPr>
              <p:blipFill>
                <a:blip r:embed="rId58"/>
                <a:stretch>
                  <a:fillRect/>
                </a:stretch>
              </p:blipFill>
              <p:spPr>
                <a:xfrm>
                  <a:off x="4317334" y="5131602"/>
                  <a:ext cx="294480" cy="1036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50" name="Group 249">
            <a:extLst>
              <a:ext uri="{FF2B5EF4-FFF2-40B4-BE49-F238E27FC236}">
                <a16:creationId xmlns:a16="http://schemas.microsoft.com/office/drawing/2014/main" id="{BFC8453B-C103-43C1-A23E-E3022F5A5524}"/>
              </a:ext>
            </a:extLst>
          </p:cNvPr>
          <p:cNvGrpSpPr/>
          <p:nvPr/>
        </p:nvGrpSpPr>
        <p:grpSpPr>
          <a:xfrm>
            <a:off x="4931854" y="4585842"/>
            <a:ext cx="1935360" cy="1367640"/>
            <a:chOff x="4931854" y="4585842"/>
            <a:chExt cx="1935360" cy="13676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59">
              <p14:nvContentPartPr>
                <p14:cNvPr id="234" name="Ink 233">
                  <a:extLst>
                    <a:ext uri="{FF2B5EF4-FFF2-40B4-BE49-F238E27FC236}">
                      <a16:creationId xmlns:a16="http://schemas.microsoft.com/office/drawing/2014/main" id="{32D43B96-5D6A-4DFF-9625-95D25453F320}"/>
                    </a:ext>
                  </a:extLst>
                </p14:cNvPr>
                <p14:cNvContentPartPr/>
                <p14:nvPr/>
              </p14:nvContentPartPr>
              <p14:xfrm>
                <a:off x="4931854" y="4913442"/>
                <a:ext cx="255960" cy="278640"/>
              </p14:xfrm>
            </p:contentPart>
          </mc:Choice>
          <mc:Fallback xmlns="">
            <p:pic>
              <p:nvPicPr>
                <p:cNvPr id="234" name="Ink 233">
                  <a:extLst>
                    <a:ext uri="{FF2B5EF4-FFF2-40B4-BE49-F238E27FC236}">
                      <a16:creationId xmlns:a16="http://schemas.microsoft.com/office/drawing/2014/main" id="{32D43B96-5D6A-4DFF-9625-95D25453F320}"/>
                    </a:ext>
                  </a:extLst>
                </p:cNvPr>
                <p:cNvPicPr/>
                <p:nvPr/>
              </p:nvPicPr>
              <p:blipFill>
                <a:blip r:embed="rId60"/>
                <a:stretch>
                  <a:fillRect/>
                </a:stretch>
              </p:blipFill>
              <p:spPr>
                <a:xfrm>
                  <a:off x="4895854" y="4877442"/>
                  <a:ext cx="327600" cy="350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1">
              <p14:nvContentPartPr>
                <p14:cNvPr id="235" name="Ink 234">
                  <a:extLst>
                    <a:ext uri="{FF2B5EF4-FFF2-40B4-BE49-F238E27FC236}">
                      <a16:creationId xmlns:a16="http://schemas.microsoft.com/office/drawing/2014/main" id="{DA8B39D7-CACD-40A7-87BB-D9BF35AA16AE}"/>
                    </a:ext>
                  </a:extLst>
                </p14:cNvPr>
                <p14:cNvContentPartPr/>
                <p14:nvPr/>
              </p14:nvContentPartPr>
              <p14:xfrm>
                <a:off x="5226694" y="4766562"/>
                <a:ext cx="118800" cy="29880"/>
              </p14:xfrm>
            </p:contentPart>
          </mc:Choice>
          <mc:Fallback xmlns="">
            <p:pic>
              <p:nvPicPr>
                <p:cNvPr id="235" name="Ink 234">
                  <a:extLst>
                    <a:ext uri="{FF2B5EF4-FFF2-40B4-BE49-F238E27FC236}">
                      <a16:creationId xmlns:a16="http://schemas.microsoft.com/office/drawing/2014/main" id="{DA8B39D7-CACD-40A7-87BB-D9BF35AA16AE}"/>
                    </a:ext>
                  </a:extLst>
                </p:cNvPr>
                <p:cNvPicPr/>
                <p:nvPr/>
              </p:nvPicPr>
              <p:blipFill>
                <a:blip r:embed="rId62"/>
                <a:stretch>
                  <a:fillRect/>
                </a:stretch>
              </p:blipFill>
              <p:spPr>
                <a:xfrm>
                  <a:off x="5190694" y="4730922"/>
                  <a:ext cx="190440" cy="101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3">
              <p14:nvContentPartPr>
                <p14:cNvPr id="238" name="Ink 237">
                  <a:extLst>
                    <a:ext uri="{FF2B5EF4-FFF2-40B4-BE49-F238E27FC236}">
                      <a16:creationId xmlns:a16="http://schemas.microsoft.com/office/drawing/2014/main" id="{09E2F387-4F35-46DE-B9F1-E6F6DB4EBEB9}"/>
                    </a:ext>
                  </a:extLst>
                </p14:cNvPr>
                <p14:cNvContentPartPr/>
                <p14:nvPr/>
              </p14:nvContentPartPr>
              <p14:xfrm>
                <a:off x="5454574" y="4609962"/>
                <a:ext cx="196560" cy="321480"/>
              </p14:xfrm>
            </p:contentPart>
          </mc:Choice>
          <mc:Fallback xmlns="">
            <p:pic>
              <p:nvPicPr>
                <p:cNvPr id="238" name="Ink 237">
                  <a:extLst>
                    <a:ext uri="{FF2B5EF4-FFF2-40B4-BE49-F238E27FC236}">
                      <a16:creationId xmlns:a16="http://schemas.microsoft.com/office/drawing/2014/main" id="{09E2F387-4F35-46DE-B9F1-E6F6DB4EBEB9}"/>
                    </a:ext>
                  </a:extLst>
                </p:cNvPr>
                <p:cNvPicPr/>
                <p:nvPr/>
              </p:nvPicPr>
              <p:blipFill>
                <a:blip r:embed="rId64"/>
                <a:stretch>
                  <a:fillRect/>
                </a:stretch>
              </p:blipFill>
              <p:spPr>
                <a:xfrm>
                  <a:off x="5418934" y="4573962"/>
                  <a:ext cx="268200" cy="393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5">
              <p14:nvContentPartPr>
                <p14:cNvPr id="239" name="Ink 238">
                  <a:extLst>
                    <a:ext uri="{FF2B5EF4-FFF2-40B4-BE49-F238E27FC236}">
                      <a16:creationId xmlns:a16="http://schemas.microsoft.com/office/drawing/2014/main" id="{A3DF1225-D369-4559-8E79-C7DD84A4E027}"/>
                    </a:ext>
                  </a:extLst>
                </p14:cNvPr>
                <p14:cNvContentPartPr/>
                <p14:nvPr/>
              </p14:nvContentPartPr>
              <p14:xfrm>
                <a:off x="5885134" y="4808682"/>
                <a:ext cx="200160" cy="317160"/>
              </p14:xfrm>
            </p:contentPart>
          </mc:Choice>
          <mc:Fallback xmlns="">
            <p:pic>
              <p:nvPicPr>
                <p:cNvPr id="239" name="Ink 238">
                  <a:extLst>
                    <a:ext uri="{FF2B5EF4-FFF2-40B4-BE49-F238E27FC236}">
                      <a16:creationId xmlns:a16="http://schemas.microsoft.com/office/drawing/2014/main" id="{A3DF1225-D369-4559-8E79-C7DD84A4E027}"/>
                    </a:ext>
                  </a:extLst>
                </p:cNvPr>
                <p:cNvPicPr/>
                <p:nvPr/>
              </p:nvPicPr>
              <p:blipFill>
                <a:blip r:embed="rId66"/>
                <a:stretch>
                  <a:fillRect/>
                </a:stretch>
              </p:blipFill>
              <p:spPr>
                <a:xfrm>
                  <a:off x="5849134" y="4772682"/>
                  <a:ext cx="271800" cy="388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7">
              <p14:nvContentPartPr>
                <p14:cNvPr id="240" name="Ink 239">
                  <a:extLst>
                    <a:ext uri="{FF2B5EF4-FFF2-40B4-BE49-F238E27FC236}">
                      <a16:creationId xmlns:a16="http://schemas.microsoft.com/office/drawing/2014/main" id="{36293B3A-AD34-4B5F-BF5A-0545DE82F44C}"/>
                    </a:ext>
                  </a:extLst>
                </p14:cNvPr>
                <p14:cNvContentPartPr/>
                <p14:nvPr/>
              </p14:nvContentPartPr>
              <p14:xfrm>
                <a:off x="6233614" y="4585842"/>
                <a:ext cx="82800" cy="205560"/>
              </p14:xfrm>
            </p:contentPart>
          </mc:Choice>
          <mc:Fallback xmlns="">
            <p:pic>
              <p:nvPicPr>
                <p:cNvPr id="240" name="Ink 239">
                  <a:extLst>
                    <a:ext uri="{FF2B5EF4-FFF2-40B4-BE49-F238E27FC236}">
                      <a16:creationId xmlns:a16="http://schemas.microsoft.com/office/drawing/2014/main" id="{36293B3A-AD34-4B5F-BF5A-0545DE82F44C}"/>
                    </a:ext>
                  </a:extLst>
                </p:cNvPr>
                <p:cNvPicPr/>
                <p:nvPr/>
              </p:nvPicPr>
              <p:blipFill>
                <a:blip r:embed="rId68"/>
                <a:stretch>
                  <a:fillRect/>
                </a:stretch>
              </p:blipFill>
              <p:spPr>
                <a:xfrm>
                  <a:off x="6197614" y="4549842"/>
                  <a:ext cx="154440" cy="277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9">
              <p14:nvContentPartPr>
                <p14:cNvPr id="241" name="Ink 240">
                  <a:extLst>
                    <a:ext uri="{FF2B5EF4-FFF2-40B4-BE49-F238E27FC236}">
                      <a16:creationId xmlns:a16="http://schemas.microsoft.com/office/drawing/2014/main" id="{35DFF941-84BD-4FE6-8067-78A930A753C9}"/>
                    </a:ext>
                  </a:extLst>
                </p14:cNvPr>
                <p14:cNvContentPartPr/>
                <p14:nvPr/>
              </p14:nvContentPartPr>
              <p14:xfrm>
                <a:off x="6159454" y="4632282"/>
                <a:ext cx="230040" cy="138600"/>
              </p14:xfrm>
            </p:contentPart>
          </mc:Choice>
          <mc:Fallback xmlns="">
            <p:pic>
              <p:nvPicPr>
                <p:cNvPr id="241" name="Ink 240">
                  <a:extLst>
                    <a:ext uri="{FF2B5EF4-FFF2-40B4-BE49-F238E27FC236}">
                      <a16:creationId xmlns:a16="http://schemas.microsoft.com/office/drawing/2014/main" id="{35DFF941-84BD-4FE6-8067-78A930A753C9}"/>
                    </a:ext>
                  </a:extLst>
                </p:cNvPr>
                <p:cNvPicPr/>
                <p:nvPr/>
              </p:nvPicPr>
              <p:blipFill>
                <a:blip r:embed="rId70"/>
                <a:stretch>
                  <a:fillRect/>
                </a:stretch>
              </p:blipFill>
              <p:spPr>
                <a:xfrm>
                  <a:off x="6123814" y="4596642"/>
                  <a:ext cx="301680" cy="210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1">
              <p14:nvContentPartPr>
                <p14:cNvPr id="242" name="Ink 241">
                  <a:extLst>
                    <a:ext uri="{FF2B5EF4-FFF2-40B4-BE49-F238E27FC236}">
                      <a16:creationId xmlns:a16="http://schemas.microsoft.com/office/drawing/2014/main" id="{5ABC2FEE-1C49-46E6-84AE-32EE6AFE1641}"/>
                    </a:ext>
                  </a:extLst>
                </p14:cNvPr>
                <p14:cNvContentPartPr/>
                <p14:nvPr/>
              </p14:nvContentPartPr>
              <p14:xfrm>
                <a:off x="5225614" y="5108202"/>
                <a:ext cx="1641600" cy="375120"/>
              </p14:xfrm>
            </p:contentPart>
          </mc:Choice>
          <mc:Fallback xmlns="">
            <p:pic>
              <p:nvPicPr>
                <p:cNvPr id="242" name="Ink 241">
                  <a:extLst>
                    <a:ext uri="{FF2B5EF4-FFF2-40B4-BE49-F238E27FC236}">
                      <a16:creationId xmlns:a16="http://schemas.microsoft.com/office/drawing/2014/main" id="{5ABC2FEE-1C49-46E6-84AE-32EE6AFE1641}"/>
                    </a:ext>
                  </a:extLst>
                </p:cNvPr>
                <p:cNvPicPr/>
                <p:nvPr/>
              </p:nvPicPr>
              <p:blipFill>
                <a:blip r:embed="rId72"/>
                <a:stretch>
                  <a:fillRect/>
                </a:stretch>
              </p:blipFill>
              <p:spPr>
                <a:xfrm>
                  <a:off x="5189614" y="5072562"/>
                  <a:ext cx="1713240" cy="446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3">
              <p14:nvContentPartPr>
                <p14:cNvPr id="243" name="Ink 242">
                  <a:extLst>
                    <a:ext uri="{FF2B5EF4-FFF2-40B4-BE49-F238E27FC236}">
                      <a16:creationId xmlns:a16="http://schemas.microsoft.com/office/drawing/2014/main" id="{C56F0501-7A08-453A-A888-4380C54A478B}"/>
                    </a:ext>
                  </a:extLst>
                </p14:cNvPr>
                <p14:cNvContentPartPr/>
                <p14:nvPr/>
              </p14:nvContentPartPr>
              <p14:xfrm>
                <a:off x="5981614" y="5582322"/>
                <a:ext cx="48600" cy="341280"/>
              </p14:xfrm>
            </p:contentPart>
          </mc:Choice>
          <mc:Fallback xmlns="">
            <p:pic>
              <p:nvPicPr>
                <p:cNvPr id="243" name="Ink 242">
                  <a:extLst>
                    <a:ext uri="{FF2B5EF4-FFF2-40B4-BE49-F238E27FC236}">
                      <a16:creationId xmlns:a16="http://schemas.microsoft.com/office/drawing/2014/main" id="{C56F0501-7A08-453A-A888-4380C54A478B}"/>
                    </a:ext>
                  </a:extLst>
                </p:cNvPr>
                <p:cNvPicPr/>
                <p:nvPr/>
              </p:nvPicPr>
              <p:blipFill>
                <a:blip r:embed="rId74"/>
                <a:stretch>
                  <a:fillRect/>
                </a:stretch>
              </p:blipFill>
              <p:spPr>
                <a:xfrm>
                  <a:off x="5945974" y="5546322"/>
                  <a:ext cx="120240" cy="412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5">
              <p14:nvContentPartPr>
                <p14:cNvPr id="244" name="Ink 243">
                  <a:extLst>
                    <a:ext uri="{FF2B5EF4-FFF2-40B4-BE49-F238E27FC236}">
                      <a16:creationId xmlns:a16="http://schemas.microsoft.com/office/drawing/2014/main" id="{DA296F48-5518-4932-A8E8-6276B7ECFA03}"/>
                    </a:ext>
                  </a:extLst>
                </p14:cNvPr>
                <p14:cNvContentPartPr/>
                <p14:nvPr/>
              </p14:nvContentPartPr>
              <p14:xfrm>
                <a:off x="5790814" y="5736042"/>
                <a:ext cx="462600" cy="120240"/>
              </p14:xfrm>
            </p:contentPart>
          </mc:Choice>
          <mc:Fallback xmlns="">
            <p:pic>
              <p:nvPicPr>
                <p:cNvPr id="244" name="Ink 243">
                  <a:extLst>
                    <a:ext uri="{FF2B5EF4-FFF2-40B4-BE49-F238E27FC236}">
                      <a16:creationId xmlns:a16="http://schemas.microsoft.com/office/drawing/2014/main" id="{DA296F48-5518-4932-A8E8-6276B7ECFA03}"/>
                    </a:ext>
                  </a:extLst>
                </p:cNvPr>
                <p:cNvPicPr/>
                <p:nvPr/>
              </p:nvPicPr>
              <p:blipFill>
                <a:blip r:embed="rId76"/>
                <a:stretch>
                  <a:fillRect/>
                </a:stretch>
              </p:blipFill>
              <p:spPr>
                <a:xfrm>
                  <a:off x="5755174" y="5700402"/>
                  <a:ext cx="534240" cy="191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7">
              <p14:nvContentPartPr>
                <p14:cNvPr id="245" name="Ink 244">
                  <a:extLst>
                    <a:ext uri="{FF2B5EF4-FFF2-40B4-BE49-F238E27FC236}">
                      <a16:creationId xmlns:a16="http://schemas.microsoft.com/office/drawing/2014/main" id="{1746E9E9-4CE6-4A09-A112-C5F1D3145D2F}"/>
                    </a:ext>
                  </a:extLst>
                </p14:cNvPr>
                <p14:cNvContentPartPr/>
                <p14:nvPr/>
              </p14:nvContentPartPr>
              <p14:xfrm>
                <a:off x="6311734" y="5573682"/>
                <a:ext cx="95760" cy="280080"/>
              </p14:xfrm>
            </p:contentPart>
          </mc:Choice>
          <mc:Fallback xmlns="">
            <p:pic>
              <p:nvPicPr>
                <p:cNvPr id="245" name="Ink 244">
                  <a:extLst>
                    <a:ext uri="{FF2B5EF4-FFF2-40B4-BE49-F238E27FC236}">
                      <a16:creationId xmlns:a16="http://schemas.microsoft.com/office/drawing/2014/main" id="{1746E9E9-4CE6-4A09-A112-C5F1D3145D2F}"/>
                    </a:ext>
                  </a:extLst>
                </p:cNvPr>
                <p:cNvPicPr/>
                <p:nvPr/>
              </p:nvPicPr>
              <p:blipFill>
                <a:blip r:embed="rId78"/>
                <a:stretch>
                  <a:fillRect/>
                </a:stretch>
              </p:blipFill>
              <p:spPr>
                <a:xfrm>
                  <a:off x="6276094" y="5537682"/>
                  <a:ext cx="167400" cy="351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9">
              <p14:nvContentPartPr>
                <p14:cNvPr id="246" name="Ink 245">
                  <a:extLst>
                    <a:ext uri="{FF2B5EF4-FFF2-40B4-BE49-F238E27FC236}">
                      <a16:creationId xmlns:a16="http://schemas.microsoft.com/office/drawing/2014/main" id="{ED0CD3A2-DCA7-4CA4-AB4F-F8E9673C5BAF}"/>
                    </a:ext>
                  </a:extLst>
                </p14:cNvPr>
                <p14:cNvContentPartPr/>
                <p14:nvPr/>
              </p14:nvContentPartPr>
              <p14:xfrm>
                <a:off x="6471214" y="5924682"/>
                <a:ext cx="15480" cy="28800"/>
              </p14:xfrm>
            </p:contentPart>
          </mc:Choice>
          <mc:Fallback xmlns="">
            <p:pic>
              <p:nvPicPr>
                <p:cNvPr id="246" name="Ink 245">
                  <a:extLst>
                    <a:ext uri="{FF2B5EF4-FFF2-40B4-BE49-F238E27FC236}">
                      <a16:creationId xmlns:a16="http://schemas.microsoft.com/office/drawing/2014/main" id="{ED0CD3A2-DCA7-4CA4-AB4F-F8E9673C5BAF}"/>
                    </a:ext>
                  </a:extLst>
                </p:cNvPr>
                <p:cNvPicPr/>
                <p:nvPr/>
              </p:nvPicPr>
              <p:blipFill>
                <a:blip r:embed="rId80"/>
                <a:stretch>
                  <a:fillRect/>
                </a:stretch>
              </p:blipFill>
              <p:spPr>
                <a:xfrm>
                  <a:off x="6435214" y="5889042"/>
                  <a:ext cx="87120" cy="1004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49" name="Group 248">
            <a:extLst>
              <a:ext uri="{FF2B5EF4-FFF2-40B4-BE49-F238E27FC236}">
                <a16:creationId xmlns:a16="http://schemas.microsoft.com/office/drawing/2014/main" id="{FB676926-0965-4876-9279-1784EC413AEF}"/>
              </a:ext>
            </a:extLst>
          </p:cNvPr>
          <p:cNvGrpSpPr/>
          <p:nvPr/>
        </p:nvGrpSpPr>
        <p:grpSpPr>
          <a:xfrm>
            <a:off x="7292734" y="5064282"/>
            <a:ext cx="219960" cy="218160"/>
            <a:chOff x="7292734" y="5064282"/>
            <a:chExt cx="219960" cy="2181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81">
              <p14:nvContentPartPr>
                <p14:cNvPr id="247" name="Ink 246">
                  <a:extLst>
                    <a:ext uri="{FF2B5EF4-FFF2-40B4-BE49-F238E27FC236}">
                      <a16:creationId xmlns:a16="http://schemas.microsoft.com/office/drawing/2014/main" id="{6E0F5533-BB43-4741-BFDA-7C103C330F52}"/>
                    </a:ext>
                  </a:extLst>
                </p14:cNvPr>
                <p14:cNvContentPartPr/>
                <p14:nvPr/>
              </p14:nvContentPartPr>
              <p14:xfrm>
                <a:off x="7315054" y="5064282"/>
                <a:ext cx="165240" cy="73080"/>
              </p14:xfrm>
            </p:contentPart>
          </mc:Choice>
          <mc:Fallback xmlns="">
            <p:pic>
              <p:nvPicPr>
                <p:cNvPr id="247" name="Ink 246">
                  <a:extLst>
                    <a:ext uri="{FF2B5EF4-FFF2-40B4-BE49-F238E27FC236}">
                      <a16:creationId xmlns:a16="http://schemas.microsoft.com/office/drawing/2014/main" id="{6E0F5533-BB43-4741-BFDA-7C103C330F52}"/>
                    </a:ext>
                  </a:extLst>
                </p:cNvPr>
                <p:cNvPicPr/>
                <p:nvPr/>
              </p:nvPicPr>
              <p:blipFill>
                <a:blip r:embed="rId82"/>
                <a:stretch>
                  <a:fillRect/>
                </a:stretch>
              </p:blipFill>
              <p:spPr>
                <a:xfrm>
                  <a:off x="7279054" y="5028642"/>
                  <a:ext cx="236880" cy="144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3">
              <p14:nvContentPartPr>
                <p14:cNvPr id="248" name="Ink 247">
                  <a:extLst>
                    <a:ext uri="{FF2B5EF4-FFF2-40B4-BE49-F238E27FC236}">
                      <a16:creationId xmlns:a16="http://schemas.microsoft.com/office/drawing/2014/main" id="{71E3737D-142A-4899-AA48-163D01E5AEAE}"/>
                    </a:ext>
                  </a:extLst>
                </p14:cNvPr>
                <p14:cNvContentPartPr/>
                <p14:nvPr/>
              </p14:nvContentPartPr>
              <p14:xfrm>
                <a:off x="7292734" y="5237082"/>
                <a:ext cx="219960" cy="45360"/>
              </p14:xfrm>
            </p:contentPart>
          </mc:Choice>
          <mc:Fallback xmlns="">
            <p:pic>
              <p:nvPicPr>
                <p:cNvPr id="248" name="Ink 247">
                  <a:extLst>
                    <a:ext uri="{FF2B5EF4-FFF2-40B4-BE49-F238E27FC236}">
                      <a16:creationId xmlns:a16="http://schemas.microsoft.com/office/drawing/2014/main" id="{71E3737D-142A-4899-AA48-163D01E5AEAE}"/>
                    </a:ext>
                  </a:extLst>
                </p:cNvPr>
                <p:cNvPicPr/>
                <p:nvPr/>
              </p:nvPicPr>
              <p:blipFill>
                <a:blip r:embed="rId84"/>
                <a:stretch>
                  <a:fillRect/>
                </a:stretch>
              </p:blipFill>
              <p:spPr>
                <a:xfrm>
                  <a:off x="7256734" y="5201442"/>
                  <a:ext cx="291600" cy="11700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85">
            <p14:nvContentPartPr>
              <p14:cNvPr id="252" name="Ink 251">
                <a:extLst>
                  <a:ext uri="{FF2B5EF4-FFF2-40B4-BE49-F238E27FC236}">
                    <a16:creationId xmlns:a16="http://schemas.microsoft.com/office/drawing/2014/main" id="{C6BF6854-8C5A-48BB-8817-88A292CAD39A}"/>
                  </a:ext>
                </a:extLst>
              </p14:cNvPr>
              <p14:cNvContentPartPr/>
              <p14:nvPr/>
            </p14:nvContentPartPr>
            <p14:xfrm>
              <a:off x="8051614" y="4710402"/>
              <a:ext cx="251280" cy="342000"/>
            </p14:xfrm>
          </p:contentPart>
        </mc:Choice>
        <mc:Fallback xmlns="">
          <p:pic>
            <p:nvPicPr>
              <p:cNvPr id="252" name="Ink 251">
                <a:extLst>
                  <a:ext uri="{FF2B5EF4-FFF2-40B4-BE49-F238E27FC236}">
                    <a16:creationId xmlns:a16="http://schemas.microsoft.com/office/drawing/2014/main" id="{C6BF6854-8C5A-48BB-8817-88A292CAD39A}"/>
                  </a:ext>
                </a:extLst>
              </p:cNvPr>
              <p:cNvPicPr/>
              <p:nvPr/>
            </p:nvPicPr>
            <p:blipFill>
              <a:blip r:embed="rId86"/>
              <a:stretch>
                <a:fillRect/>
              </a:stretch>
            </p:blipFill>
            <p:spPr>
              <a:xfrm>
                <a:off x="8015614" y="4674402"/>
                <a:ext cx="322920" cy="413640"/>
              </a:xfrm>
              <a:prstGeom prst="rect">
                <a:avLst/>
              </a:prstGeom>
            </p:spPr>
          </p:pic>
        </mc:Fallback>
      </mc:AlternateContent>
      <p:grpSp>
        <p:nvGrpSpPr>
          <p:cNvPr id="265" name="Group 264">
            <a:extLst>
              <a:ext uri="{FF2B5EF4-FFF2-40B4-BE49-F238E27FC236}">
                <a16:creationId xmlns:a16="http://schemas.microsoft.com/office/drawing/2014/main" id="{9DB3CF35-1F25-4207-BBE2-F0C7C5595B0E}"/>
              </a:ext>
            </a:extLst>
          </p:cNvPr>
          <p:cNvGrpSpPr/>
          <p:nvPr/>
        </p:nvGrpSpPr>
        <p:grpSpPr>
          <a:xfrm>
            <a:off x="8458774" y="4312962"/>
            <a:ext cx="1139400" cy="551160"/>
            <a:chOff x="8458774" y="4312962"/>
            <a:chExt cx="1139400" cy="5511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87">
              <p14:nvContentPartPr>
                <p14:cNvPr id="253" name="Ink 252">
                  <a:extLst>
                    <a:ext uri="{FF2B5EF4-FFF2-40B4-BE49-F238E27FC236}">
                      <a16:creationId xmlns:a16="http://schemas.microsoft.com/office/drawing/2014/main" id="{36FE26D7-D845-4052-B431-9537651C580F}"/>
                    </a:ext>
                  </a:extLst>
                </p14:cNvPr>
                <p14:cNvContentPartPr/>
                <p14:nvPr/>
              </p14:nvContentPartPr>
              <p14:xfrm>
                <a:off x="8458774" y="4544082"/>
                <a:ext cx="192960" cy="27720"/>
              </p14:xfrm>
            </p:contentPart>
          </mc:Choice>
          <mc:Fallback xmlns="">
            <p:pic>
              <p:nvPicPr>
                <p:cNvPr id="253" name="Ink 252">
                  <a:extLst>
                    <a:ext uri="{FF2B5EF4-FFF2-40B4-BE49-F238E27FC236}">
                      <a16:creationId xmlns:a16="http://schemas.microsoft.com/office/drawing/2014/main" id="{36FE26D7-D845-4052-B431-9537651C580F}"/>
                    </a:ext>
                  </a:extLst>
                </p:cNvPr>
                <p:cNvPicPr/>
                <p:nvPr/>
              </p:nvPicPr>
              <p:blipFill>
                <a:blip r:embed="rId88"/>
                <a:stretch>
                  <a:fillRect/>
                </a:stretch>
              </p:blipFill>
              <p:spPr>
                <a:xfrm>
                  <a:off x="8423134" y="4508082"/>
                  <a:ext cx="264600" cy="99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9">
              <p14:nvContentPartPr>
                <p14:cNvPr id="254" name="Ink 253">
                  <a:extLst>
                    <a:ext uri="{FF2B5EF4-FFF2-40B4-BE49-F238E27FC236}">
                      <a16:creationId xmlns:a16="http://schemas.microsoft.com/office/drawing/2014/main" id="{3C50F21D-D86E-45CF-A1A5-0E80CC222D46}"/>
                    </a:ext>
                  </a:extLst>
                </p14:cNvPr>
                <p14:cNvContentPartPr/>
                <p14:nvPr/>
              </p14:nvContentPartPr>
              <p14:xfrm>
                <a:off x="8805814" y="4344642"/>
                <a:ext cx="155160" cy="230040"/>
              </p14:xfrm>
            </p:contentPart>
          </mc:Choice>
          <mc:Fallback xmlns="">
            <p:pic>
              <p:nvPicPr>
                <p:cNvPr id="254" name="Ink 253">
                  <a:extLst>
                    <a:ext uri="{FF2B5EF4-FFF2-40B4-BE49-F238E27FC236}">
                      <a16:creationId xmlns:a16="http://schemas.microsoft.com/office/drawing/2014/main" id="{3C50F21D-D86E-45CF-A1A5-0E80CC222D46}"/>
                    </a:ext>
                  </a:extLst>
                </p:cNvPr>
                <p:cNvPicPr/>
                <p:nvPr/>
              </p:nvPicPr>
              <p:blipFill>
                <a:blip r:embed="rId90"/>
                <a:stretch>
                  <a:fillRect/>
                </a:stretch>
              </p:blipFill>
              <p:spPr>
                <a:xfrm>
                  <a:off x="8770174" y="4308642"/>
                  <a:ext cx="226800" cy="301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1">
              <p14:nvContentPartPr>
                <p14:cNvPr id="256" name="Ink 255">
                  <a:extLst>
                    <a:ext uri="{FF2B5EF4-FFF2-40B4-BE49-F238E27FC236}">
                      <a16:creationId xmlns:a16="http://schemas.microsoft.com/office/drawing/2014/main" id="{2FA5196C-7590-4FB9-B094-02DEF168F95D}"/>
                    </a:ext>
                  </a:extLst>
                </p14:cNvPr>
                <p14:cNvContentPartPr/>
                <p14:nvPr/>
              </p14:nvContentPartPr>
              <p14:xfrm>
                <a:off x="9243934" y="4522842"/>
                <a:ext cx="217080" cy="341280"/>
              </p14:xfrm>
            </p:contentPart>
          </mc:Choice>
          <mc:Fallback xmlns="">
            <p:pic>
              <p:nvPicPr>
                <p:cNvPr id="256" name="Ink 255">
                  <a:extLst>
                    <a:ext uri="{FF2B5EF4-FFF2-40B4-BE49-F238E27FC236}">
                      <a16:creationId xmlns:a16="http://schemas.microsoft.com/office/drawing/2014/main" id="{2FA5196C-7590-4FB9-B094-02DEF168F95D}"/>
                    </a:ext>
                  </a:extLst>
                </p:cNvPr>
                <p:cNvPicPr/>
                <p:nvPr/>
              </p:nvPicPr>
              <p:blipFill>
                <a:blip r:embed="rId92"/>
                <a:stretch>
                  <a:fillRect/>
                </a:stretch>
              </p:blipFill>
              <p:spPr>
                <a:xfrm>
                  <a:off x="9207934" y="4487202"/>
                  <a:ext cx="288720" cy="412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3">
              <p14:nvContentPartPr>
                <p14:cNvPr id="257" name="Ink 256">
                  <a:extLst>
                    <a:ext uri="{FF2B5EF4-FFF2-40B4-BE49-F238E27FC236}">
                      <a16:creationId xmlns:a16="http://schemas.microsoft.com/office/drawing/2014/main" id="{64862B0E-3304-4D55-AE0A-046DBF781389}"/>
                    </a:ext>
                  </a:extLst>
                </p14:cNvPr>
                <p14:cNvContentPartPr/>
                <p14:nvPr/>
              </p14:nvContentPartPr>
              <p14:xfrm>
                <a:off x="9475774" y="4312962"/>
                <a:ext cx="122400" cy="224640"/>
              </p14:xfrm>
            </p:contentPart>
          </mc:Choice>
          <mc:Fallback xmlns="">
            <p:pic>
              <p:nvPicPr>
                <p:cNvPr id="257" name="Ink 256">
                  <a:extLst>
                    <a:ext uri="{FF2B5EF4-FFF2-40B4-BE49-F238E27FC236}">
                      <a16:creationId xmlns:a16="http://schemas.microsoft.com/office/drawing/2014/main" id="{64862B0E-3304-4D55-AE0A-046DBF781389}"/>
                    </a:ext>
                  </a:extLst>
                </p:cNvPr>
                <p:cNvPicPr/>
                <p:nvPr/>
              </p:nvPicPr>
              <p:blipFill>
                <a:blip r:embed="rId94"/>
                <a:stretch>
                  <a:fillRect/>
                </a:stretch>
              </p:blipFill>
              <p:spPr>
                <a:xfrm>
                  <a:off x="9439774" y="4276962"/>
                  <a:ext cx="194040" cy="2962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64" name="Group 263">
            <a:extLst>
              <a:ext uri="{FF2B5EF4-FFF2-40B4-BE49-F238E27FC236}">
                <a16:creationId xmlns:a16="http://schemas.microsoft.com/office/drawing/2014/main" id="{10B1F178-0C1A-4A62-924F-D6F3E87EBA78}"/>
              </a:ext>
            </a:extLst>
          </p:cNvPr>
          <p:cNvGrpSpPr/>
          <p:nvPr/>
        </p:nvGrpSpPr>
        <p:grpSpPr>
          <a:xfrm>
            <a:off x="8001214" y="5009202"/>
            <a:ext cx="1809000" cy="685440"/>
            <a:chOff x="8001214" y="5009202"/>
            <a:chExt cx="1809000" cy="6854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95">
              <p14:nvContentPartPr>
                <p14:cNvPr id="258" name="Ink 257">
                  <a:extLst>
                    <a:ext uri="{FF2B5EF4-FFF2-40B4-BE49-F238E27FC236}">
                      <a16:creationId xmlns:a16="http://schemas.microsoft.com/office/drawing/2014/main" id="{80AB32B8-C9F2-4109-86F2-0F574C42F36F}"/>
                    </a:ext>
                  </a:extLst>
                </p14:cNvPr>
                <p14:cNvContentPartPr/>
                <p14:nvPr/>
              </p14:nvContentPartPr>
              <p14:xfrm>
                <a:off x="8001214" y="5009202"/>
                <a:ext cx="1809000" cy="408600"/>
              </p14:xfrm>
            </p:contentPart>
          </mc:Choice>
          <mc:Fallback xmlns="">
            <p:pic>
              <p:nvPicPr>
                <p:cNvPr id="258" name="Ink 257">
                  <a:extLst>
                    <a:ext uri="{FF2B5EF4-FFF2-40B4-BE49-F238E27FC236}">
                      <a16:creationId xmlns:a16="http://schemas.microsoft.com/office/drawing/2014/main" id="{80AB32B8-C9F2-4109-86F2-0F574C42F36F}"/>
                    </a:ext>
                  </a:extLst>
                </p:cNvPr>
                <p:cNvPicPr/>
                <p:nvPr/>
              </p:nvPicPr>
              <p:blipFill>
                <a:blip r:embed="rId96"/>
                <a:stretch>
                  <a:fillRect/>
                </a:stretch>
              </p:blipFill>
              <p:spPr>
                <a:xfrm>
                  <a:off x="7965214" y="4973202"/>
                  <a:ext cx="1880640" cy="480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7">
              <p14:nvContentPartPr>
                <p14:cNvPr id="259" name="Ink 258">
                  <a:extLst>
                    <a:ext uri="{FF2B5EF4-FFF2-40B4-BE49-F238E27FC236}">
                      <a16:creationId xmlns:a16="http://schemas.microsoft.com/office/drawing/2014/main" id="{32CA4AB2-EC99-4F5B-A08F-CB6C8B3E23AF}"/>
                    </a:ext>
                  </a:extLst>
                </p14:cNvPr>
                <p14:cNvContentPartPr/>
                <p14:nvPr/>
              </p14:nvContentPartPr>
              <p14:xfrm>
                <a:off x="8849734" y="5380002"/>
                <a:ext cx="213840" cy="314640"/>
              </p14:xfrm>
            </p:contentPart>
          </mc:Choice>
          <mc:Fallback xmlns="">
            <p:pic>
              <p:nvPicPr>
                <p:cNvPr id="259" name="Ink 258">
                  <a:extLst>
                    <a:ext uri="{FF2B5EF4-FFF2-40B4-BE49-F238E27FC236}">
                      <a16:creationId xmlns:a16="http://schemas.microsoft.com/office/drawing/2014/main" id="{32CA4AB2-EC99-4F5B-A08F-CB6C8B3E23AF}"/>
                    </a:ext>
                  </a:extLst>
                </p:cNvPr>
                <p:cNvPicPr/>
                <p:nvPr/>
              </p:nvPicPr>
              <p:blipFill>
                <a:blip r:embed="rId98"/>
                <a:stretch>
                  <a:fillRect/>
                </a:stretch>
              </p:blipFill>
              <p:spPr>
                <a:xfrm>
                  <a:off x="8814094" y="5344002"/>
                  <a:ext cx="285480" cy="386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9">
              <p14:nvContentPartPr>
                <p14:cNvPr id="260" name="Ink 259">
                  <a:extLst>
                    <a:ext uri="{FF2B5EF4-FFF2-40B4-BE49-F238E27FC236}">
                      <a16:creationId xmlns:a16="http://schemas.microsoft.com/office/drawing/2014/main" id="{0B0A144C-9CA8-4F6E-92F9-7FA9AE3E3332}"/>
                    </a:ext>
                  </a:extLst>
                </p14:cNvPr>
                <p14:cNvContentPartPr/>
                <p14:nvPr/>
              </p14:nvContentPartPr>
              <p14:xfrm>
                <a:off x="9268414" y="5351922"/>
                <a:ext cx="56160" cy="245160"/>
              </p14:xfrm>
            </p:contentPart>
          </mc:Choice>
          <mc:Fallback xmlns="">
            <p:pic>
              <p:nvPicPr>
                <p:cNvPr id="260" name="Ink 259">
                  <a:extLst>
                    <a:ext uri="{FF2B5EF4-FFF2-40B4-BE49-F238E27FC236}">
                      <a16:creationId xmlns:a16="http://schemas.microsoft.com/office/drawing/2014/main" id="{0B0A144C-9CA8-4F6E-92F9-7FA9AE3E3332}"/>
                    </a:ext>
                  </a:extLst>
                </p:cNvPr>
                <p:cNvPicPr/>
                <p:nvPr/>
              </p:nvPicPr>
              <p:blipFill>
                <a:blip r:embed="rId100"/>
                <a:stretch>
                  <a:fillRect/>
                </a:stretch>
              </p:blipFill>
              <p:spPr>
                <a:xfrm>
                  <a:off x="9232414" y="5316282"/>
                  <a:ext cx="127800" cy="316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1">
              <p14:nvContentPartPr>
                <p14:cNvPr id="261" name="Ink 260">
                  <a:extLst>
                    <a:ext uri="{FF2B5EF4-FFF2-40B4-BE49-F238E27FC236}">
                      <a16:creationId xmlns:a16="http://schemas.microsoft.com/office/drawing/2014/main" id="{2BCB8E4A-279D-4855-B31A-5C71B6F4A452}"/>
                    </a:ext>
                  </a:extLst>
                </p14:cNvPr>
                <p14:cNvContentPartPr/>
                <p14:nvPr/>
              </p14:nvContentPartPr>
              <p14:xfrm>
                <a:off x="9333574" y="5684202"/>
                <a:ext cx="5400" cy="3960"/>
              </p14:xfrm>
            </p:contentPart>
          </mc:Choice>
          <mc:Fallback xmlns="">
            <p:pic>
              <p:nvPicPr>
                <p:cNvPr id="261" name="Ink 260">
                  <a:extLst>
                    <a:ext uri="{FF2B5EF4-FFF2-40B4-BE49-F238E27FC236}">
                      <a16:creationId xmlns:a16="http://schemas.microsoft.com/office/drawing/2014/main" id="{2BCB8E4A-279D-4855-B31A-5C71B6F4A452}"/>
                    </a:ext>
                  </a:extLst>
                </p:cNvPr>
                <p:cNvPicPr/>
                <p:nvPr/>
              </p:nvPicPr>
              <p:blipFill>
                <a:blip r:embed="rId102"/>
                <a:stretch>
                  <a:fillRect/>
                </a:stretch>
              </p:blipFill>
              <p:spPr>
                <a:xfrm>
                  <a:off x="9297934" y="5648562"/>
                  <a:ext cx="77040" cy="75600"/>
                </a:xfrm>
                <a:prstGeom prst="rect">
                  <a:avLst/>
                </a:prstGeom>
              </p:spPr>
            </p:pic>
          </mc:Fallback>
        </mc:AlternateContent>
      </p:grp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Google Shape;242;p26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r>
              <a:rPr lang="en-US"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ormal Distribution</a:t>
            </a:r>
            <a:endParaRPr/>
          </a:p>
        </p:txBody>
      </p:sp>
      <p:pic>
        <p:nvPicPr>
          <p:cNvPr id="243" name="Google Shape;243;p2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146934" y="2008089"/>
            <a:ext cx="8007815" cy="394254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p27"/>
          <p:cNvSpPr txBox="1">
            <a:spLocks noGrp="1"/>
          </p:cNvSpPr>
          <p:nvPr>
            <p:ph type="title"/>
          </p:nvPr>
        </p:nvSpPr>
        <p:spPr>
          <a:xfrm>
            <a:off x="936674" y="0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r>
              <a:rPr lang="en-US"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ormal Distribution</a:t>
            </a:r>
            <a:endParaRPr/>
          </a:p>
        </p:txBody>
      </p:sp>
      <p:pic>
        <p:nvPicPr>
          <p:cNvPr id="249" name="Google Shape;249;p2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36674" y="1163369"/>
            <a:ext cx="10071257" cy="526556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" name="Google Shape;254;p28"/>
          <p:cNvSpPr txBox="1">
            <a:spLocks noGrp="1"/>
          </p:cNvSpPr>
          <p:nvPr>
            <p:ph type="title"/>
          </p:nvPr>
        </p:nvSpPr>
        <p:spPr>
          <a:xfrm>
            <a:off x="810065" y="0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r>
              <a:rPr lang="en-US"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ormal Distribution</a:t>
            </a:r>
            <a:endParaRPr/>
          </a:p>
        </p:txBody>
      </p:sp>
      <p:pic>
        <p:nvPicPr>
          <p:cNvPr id="255" name="Google Shape;255;p2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429043" y="1087894"/>
            <a:ext cx="9023252" cy="5770106"/>
          </a:xfrm>
          <a:prstGeom prst="rect">
            <a:avLst/>
          </a:prstGeom>
          <a:noFill/>
          <a:ln>
            <a:noFill/>
          </a:ln>
        </p:spPr>
      </p:pic>
      <p:sp>
        <p:nvSpPr>
          <p:cNvPr id="256" name="Google Shape;256;p28"/>
          <p:cNvSpPr/>
          <p:nvPr/>
        </p:nvSpPr>
        <p:spPr>
          <a:xfrm>
            <a:off x="9252284" y="1022684"/>
            <a:ext cx="1275348" cy="302879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" name="Google Shape;261;p29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r>
              <a:rPr lang="en-US"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perties of Normal Distribution</a:t>
            </a:r>
            <a:endParaRPr/>
          </a:p>
        </p:txBody>
      </p:sp>
      <p:pic>
        <p:nvPicPr>
          <p:cNvPr id="262" name="Google Shape;262;p2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1690688"/>
            <a:ext cx="12239948" cy="424587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7" name="Google Shape;267;p30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r>
              <a:rPr lang="en-US"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ndard Normal Distribution</a:t>
            </a:r>
            <a:endParaRPr/>
          </a:p>
        </p:txBody>
      </p:sp>
      <p:pic>
        <p:nvPicPr>
          <p:cNvPr id="268" name="Google Shape;268;p3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1710" y="1568425"/>
            <a:ext cx="8791826" cy="4930800"/>
          </a:xfrm>
          <a:prstGeom prst="rect">
            <a:avLst/>
          </a:prstGeom>
          <a:noFill/>
          <a:ln>
            <a:noFill/>
          </a:ln>
        </p:spPr>
      </p:pic>
      <p:sp>
        <p:nvSpPr>
          <p:cNvPr id="269" name="Google Shape;269;p30"/>
          <p:cNvSpPr/>
          <p:nvPr/>
        </p:nvSpPr>
        <p:spPr>
          <a:xfrm>
            <a:off x="8181474" y="1263316"/>
            <a:ext cx="1636294" cy="493295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41EDDECD-71DF-4BCB-82E9-6833F4539C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594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41EDDECD-71DF-4BCB-82E9-6833F4539C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93BC1A44-A812-45DA-B485-7716B3C2F9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65136"/>
            <a:ext cx="8938517" cy="276999"/>
          </a:xfrm>
        </p:spPr>
        <p:txBody>
          <a:bodyPr vert="horz">
            <a:noAutofit/>
          </a:bodyPr>
          <a:lstStyle/>
          <a:p>
            <a:r>
              <a:rPr lang="en-US" sz="3200" dirty="0"/>
              <a:t>Standard Normal Distribution – How do we calculate Z-Scores contd…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E05347D-3865-4CC7-AB22-B9817DBE80C1}"/>
              </a:ext>
            </a:extLst>
          </p:cNvPr>
          <p:cNvSpPr txBox="1"/>
          <p:nvPr/>
        </p:nvSpPr>
        <p:spPr>
          <a:xfrm flipH="1">
            <a:off x="175059" y="2009332"/>
            <a:ext cx="250371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yPal Sans Big Light"/>
                <a:ea typeface="+mn-ea"/>
                <a:cs typeface="+mn-cs"/>
              </a:rPr>
              <a:t>Mean – 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yPal Sans Big Light"/>
                <a:ea typeface="+mn-ea"/>
                <a:cs typeface="+mn-cs"/>
              </a:rPr>
              <a:t>Standard deviation - 1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8E75B4D-1FC2-4C3E-A9D6-D77B215A289A}"/>
              </a:ext>
            </a:extLst>
          </p:cNvPr>
          <p:cNvSpPr txBox="1"/>
          <p:nvPr/>
        </p:nvSpPr>
        <p:spPr>
          <a:xfrm flipH="1">
            <a:off x="471621" y="1332454"/>
            <a:ext cx="1088718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ayPal Sans Big Light"/>
                <a:ea typeface="+mn-ea"/>
                <a:cs typeface="+mn-cs"/>
              </a:rPr>
              <a:t>Any Normal distribution can be converted into Standard normal distribut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E92DC4-2128-455D-A195-DAD32AFD1CF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5059" y="1717685"/>
            <a:ext cx="6657256" cy="449817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030F871-EB91-45CD-B357-C485C5F54DD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35842" y="3533653"/>
            <a:ext cx="552449" cy="48101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15A2D5-DD0F-4E9C-921E-1185A5549D3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60307" y="1717686"/>
            <a:ext cx="4988767" cy="43029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28672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" name="Google Shape;274;p3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br>
              <a:rPr lang="en-US"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4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xample Problem </a:t>
            </a:r>
            <a:endParaRPr sz="44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5" name="Google Shape;275;p3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</a:pPr>
            <a:r>
              <a:rPr lang="en-US"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he mean weight of a morning breakfast cereal pack is 0.295 kg with a standard deviation of 0.025 kg. The random variable weight of the pack follows a normal distribution. </a:t>
            </a:r>
            <a:endParaRPr/>
          </a:p>
          <a:p>
            <a:pPr marL="228600" marR="0" lvl="0" indent="-508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</a:pPr>
            <a:endParaRPr sz="2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</a:pPr>
            <a:r>
              <a:rPr lang="en-US"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)What is the probability that the pack weighs less than 0.280 kg? </a:t>
            </a:r>
            <a:endParaRPr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</a:pPr>
            <a:r>
              <a:rPr lang="en-US"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)What is the probability that the pack weighs more than 0.350 kg? </a:t>
            </a:r>
            <a:endParaRPr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</a:pPr>
            <a:r>
              <a:rPr lang="en-US"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)What is the probability that the pack weighs between 0.260 kg to 0.340 kg? </a:t>
            </a:r>
            <a:endParaRPr/>
          </a:p>
          <a:p>
            <a:pPr marL="228600" marR="0" lvl="0" indent="-508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</a:pPr>
            <a:endParaRPr sz="2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42D65CC-36C0-43D7-A3A0-37187149587A}"/>
              </a:ext>
            </a:extLst>
          </p:cNvPr>
          <p:cNvGrpSpPr/>
          <p:nvPr/>
        </p:nvGrpSpPr>
        <p:grpSpPr>
          <a:xfrm>
            <a:off x="903454" y="5814162"/>
            <a:ext cx="291960" cy="306720"/>
            <a:chOff x="903454" y="5814162"/>
            <a:chExt cx="291960" cy="3067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3">
              <p14:nvContentPartPr>
                <p14:cNvPr id="5" name="Ink 4">
                  <a:extLst>
                    <a:ext uri="{FF2B5EF4-FFF2-40B4-BE49-F238E27FC236}">
                      <a16:creationId xmlns:a16="http://schemas.microsoft.com/office/drawing/2014/main" id="{8C4227E7-AE94-42B2-88E4-DB33B2D64BC5}"/>
                    </a:ext>
                  </a:extLst>
                </p14:cNvPr>
                <p14:cNvContentPartPr/>
                <p14:nvPr/>
              </p14:nvContentPartPr>
              <p14:xfrm>
                <a:off x="903454" y="5826042"/>
                <a:ext cx="131040" cy="217440"/>
              </p14:xfrm>
            </p:contentPart>
          </mc:Choice>
          <mc:Fallback xmlns="">
            <p:pic>
              <p:nvPicPr>
                <p:cNvPr id="5" name="Ink 4">
                  <a:extLst>
                    <a:ext uri="{FF2B5EF4-FFF2-40B4-BE49-F238E27FC236}">
                      <a16:creationId xmlns:a16="http://schemas.microsoft.com/office/drawing/2014/main" id="{8C4227E7-AE94-42B2-88E4-DB33B2D64BC5}"/>
                    </a:ext>
                  </a:extLst>
                </p:cNvPr>
                <p:cNvPicPr/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867814" y="5790042"/>
                  <a:ext cx="202680" cy="289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">
              <p14:nvContentPartPr>
                <p14:cNvPr id="6" name="Ink 5">
                  <a:extLst>
                    <a:ext uri="{FF2B5EF4-FFF2-40B4-BE49-F238E27FC236}">
                      <a16:creationId xmlns:a16="http://schemas.microsoft.com/office/drawing/2014/main" id="{AD4946EF-4280-49C3-B3C6-995AB64C3E31}"/>
                    </a:ext>
                  </a:extLst>
                </p14:cNvPr>
                <p14:cNvContentPartPr/>
                <p14:nvPr/>
              </p14:nvContentPartPr>
              <p14:xfrm>
                <a:off x="1126654" y="5814162"/>
                <a:ext cx="68760" cy="306720"/>
              </p14:xfrm>
            </p:contentPart>
          </mc:Choice>
          <mc:Fallback xmlns="">
            <p:pic>
              <p:nvPicPr>
                <p:cNvPr id="6" name="Ink 5">
                  <a:extLst>
                    <a:ext uri="{FF2B5EF4-FFF2-40B4-BE49-F238E27FC236}">
                      <a16:creationId xmlns:a16="http://schemas.microsoft.com/office/drawing/2014/main" id="{AD4946EF-4280-49C3-B3C6-995AB64C3E31}"/>
                    </a:ext>
                  </a:extLst>
                </p:cNvPr>
                <p:cNvPicPr/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1090654" y="5778522"/>
                  <a:ext cx="140400" cy="3783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44FD568C-5977-4CE8-83CB-1B5E67AAC3D5}"/>
              </a:ext>
            </a:extLst>
          </p:cNvPr>
          <p:cNvGrpSpPr/>
          <p:nvPr/>
        </p:nvGrpSpPr>
        <p:grpSpPr>
          <a:xfrm>
            <a:off x="1707694" y="5766642"/>
            <a:ext cx="588960" cy="304560"/>
            <a:chOff x="1707694" y="5766642"/>
            <a:chExt cx="588960" cy="3045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7">
              <p14:nvContentPartPr>
                <p14:cNvPr id="7" name="Ink 6">
                  <a:extLst>
                    <a:ext uri="{FF2B5EF4-FFF2-40B4-BE49-F238E27FC236}">
                      <a16:creationId xmlns:a16="http://schemas.microsoft.com/office/drawing/2014/main" id="{AB9E1250-231B-4FCF-A526-9B1FD6A56956}"/>
                    </a:ext>
                  </a:extLst>
                </p14:cNvPr>
                <p14:cNvContentPartPr/>
                <p14:nvPr/>
              </p14:nvContentPartPr>
              <p14:xfrm>
                <a:off x="1707694" y="5766642"/>
                <a:ext cx="260640" cy="304560"/>
              </p14:xfrm>
            </p:contentPart>
          </mc:Choice>
          <mc:Fallback xmlns="">
            <p:pic>
              <p:nvPicPr>
                <p:cNvPr id="7" name="Ink 6">
                  <a:extLst>
                    <a:ext uri="{FF2B5EF4-FFF2-40B4-BE49-F238E27FC236}">
                      <a16:creationId xmlns:a16="http://schemas.microsoft.com/office/drawing/2014/main" id="{AB9E1250-231B-4FCF-A526-9B1FD6A56956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1672054" y="5731002"/>
                  <a:ext cx="332280" cy="376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">
              <p14:nvContentPartPr>
                <p14:cNvPr id="8" name="Ink 7">
                  <a:extLst>
                    <a:ext uri="{FF2B5EF4-FFF2-40B4-BE49-F238E27FC236}">
                      <a16:creationId xmlns:a16="http://schemas.microsoft.com/office/drawing/2014/main" id="{9A6B4B65-8D58-452A-994A-3E7E9CB6F406}"/>
                    </a:ext>
                  </a:extLst>
                </p14:cNvPr>
                <p14:cNvContentPartPr/>
                <p14:nvPr/>
              </p14:nvContentPartPr>
              <p14:xfrm>
                <a:off x="2170294" y="5864202"/>
                <a:ext cx="91800" cy="10440"/>
              </p14:xfrm>
            </p:contentPart>
          </mc:Choice>
          <mc:Fallback xmlns="">
            <p:pic>
              <p:nvPicPr>
                <p:cNvPr id="8" name="Ink 7">
                  <a:extLst>
                    <a:ext uri="{FF2B5EF4-FFF2-40B4-BE49-F238E27FC236}">
                      <a16:creationId xmlns:a16="http://schemas.microsoft.com/office/drawing/2014/main" id="{9A6B4B65-8D58-452A-994A-3E7E9CB6F406}"/>
                    </a:ext>
                  </a:extLst>
                </p:cNvPr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2134654" y="5828562"/>
                  <a:ext cx="163440" cy="82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">
              <p14:nvContentPartPr>
                <p14:cNvPr id="9" name="Ink 8">
                  <a:extLst>
                    <a:ext uri="{FF2B5EF4-FFF2-40B4-BE49-F238E27FC236}">
                      <a16:creationId xmlns:a16="http://schemas.microsoft.com/office/drawing/2014/main" id="{10329F69-691D-47CA-946C-47840128C34C}"/>
                    </a:ext>
                  </a:extLst>
                </p14:cNvPr>
                <p14:cNvContentPartPr/>
                <p14:nvPr/>
              </p14:nvContentPartPr>
              <p14:xfrm>
                <a:off x="2171014" y="5966802"/>
                <a:ext cx="125640" cy="19080"/>
              </p14:xfrm>
            </p:contentPart>
          </mc:Choice>
          <mc:Fallback xmlns="">
            <p:pic>
              <p:nvPicPr>
                <p:cNvPr id="9" name="Ink 8">
                  <a:extLst>
                    <a:ext uri="{FF2B5EF4-FFF2-40B4-BE49-F238E27FC236}">
                      <a16:creationId xmlns:a16="http://schemas.microsoft.com/office/drawing/2014/main" id="{10329F69-691D-47CA-946C-47840128C34C}"/>
                    </a:ext>
                  </a:extLst>
                </p:cNvPr>
                <p:cNvPicPr/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2135374" y="5930802"/>
                  <a:ext cx="197280" cy="907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310" name="Group 309">
            <a:extLst>
              <a:ext uri="{FF2B5EF4-FFF2-40B4-BE49-F238E27FC236}">
                <a16:creationId xmlns:a16="http://schemas.microsoft.com/office/drawing/2014/main" id="{F0EDBE76-F921-402A-8AF2-0EAF30B1A3A0}"/>
              </a:ext>
            </a:extLst>
          </p:cNvPr>
          <p:cNvGrpSpPr/>
          <p:nvPr/>
        </p:nvGrpSpPr>
        <p:grpSpPr>
          <a:xfrm>
            <a:off x="11084614" y="3279042"/>
            <a:ext cx="3072240" cy="1248480"/>
            <a:chOff x="11084614" y="3279042"/>
            <a:chExt cx="3072240" cy="12484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3">
              <p14:nvContentPartPr>
                <p14:cNvPr id="268" name="Ink 267">
                  <a:extLst>
                    <a:ext uri="{FF2B5EF4-FFF2-40B4-BE49-F238E27FC236}">
                      <a16:creationId xmlns:a16="http://schemas.microsoft.com/office/drawing/2014/main" id="{644388DD-AEDE-47FA-8812-596B044959CD}"/>
                    </a:ext>
                  </a:extLst>
                </p14:cNvPr>
                <p14:cNvContentPartPr/>
                <p14:nvPr/>
              </p14:nvContentPartPr>
              <p14:xfrm>
                <a:off x="11333374" y="4422762"/>
                <a:ext cx="2630520" cy="64080"/>
              </p14:xfrm>
            </p:contentPart>
          </mc:Choice>
          <mc:Fallback xmlns="">
            <p:pic>
              <p:nvPicPr>
                <p:cNvPr id="268" name="Ink 267">
                  <a:extLst>
                    <a:ext uri="{FF2B5EF4-FFF2-40B4-BE49-F238E27FC236}">
                      <a16:creationId xmlns:a16="http://schemas.microsoft.com/office/drawing/2014/main" id="{644388DD-AEDE-47FA-8812-596B044959CD}"/>
                    </a:ext>
                  </a:extLst>
                </p:cNvPr>
                <p:cNvPicPr/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11297734" y="4386762"/>
                  <a:ext cx="2702160" cy="135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">
              <p14:nvContentPartPr>
                <p14:cNvPr id="269" name="Ink 268">
                  <a:extLst>
                    <a:ext uri="{FF2B5EF4-FFF2-40B4-BE49-F238E27FC236}">
                      <a16:creationId xmlns:a16="http://schemas.microsoft.com/office/drawing/2014/main" id="{FF010F56-872D-41AC-9C3C-24C57E605E26}"/>
                    </a:ext>
                  </a:extLst>
                </p14:cNvPr>
                <p14:cNvContentPartPr/>
                <p14:nvPr/>
              </p14:nvContentPartPr>
              <p14:xfrm>
                <a:off x="12476374" y="4353642"/>
                <a:ext cx="15120" cy="173880"/>
              </p14:xfrm>
            </p:contentPart>
          </mc:Choice>
          <mc:Fallback xmlns="">
            <p:pic>
              <p:nvPicPr>
                <p:cNvPr id="269" name="Ink 268">
                  <a:extLst>
                    <a:ext uri="{FF2B5EF4-FFF2-40B4-BE49-F238E27FC236}">
                      <a16:creationId xmlns:a16="http://schemas.microsoft.com/office/drawing/2014/main" id="{FF010F56-872D-41AC-9C3C-24C57E605E26}"/>
                    </a:ext>
                  </a:extLst>
                </p:cNvPr>
                <p:cNvPicPr/>
                <p:nvPr/>
              </p:nvPicPr>
              <p:blipFill>
                <a:blip r:embed="rId16"/>
                <a:stretch>
                  <a:fillRect/>
                </a:stretch>
              </p:blipFill>
              <p:spPr>
                <a:xfrm>
                  <a:off x="12440734" y="4317642"/>
                  <a:ext cx="86760" cy="245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">
              <p14:nvContentPartPr>
                <p14:cNvPr id="270" name="Ink 269">
                  <a:extLst>
                    <a:ext uri="{FF2B5EF4-FFF2-40B4-BE49-F238E27FC236}">
                      <a16:creationId xmlns:a16="http://schemas.microsoft.com/office/drawing/2014/main" id="{04E90E79-884F-43C9-B570-43136EE0F214}"/>
                    </a:ext>
                  </a:extLst>
                </p14:cNvPr>
                <p14:cNvContentPartPr/>
                <p14:nvPr/>
              </p14:nvContentPartPr>
              <p14:xfrm>
                <a:off x="11084614" y="3279042"/>
                <a:ext cx="3072240" cy="1068480"/>
              </p14:xfrm>
            </p:contentPart>
          </mc:Choice>
          <mc:Fallback xmlns="">
            <p:pic>
              <p:nvPicPr>
                <p:cNvPr id="270" name="Ink 269">
                  <a:extLst>
                    <a:ext uri="{FF2B5EF4-FFF2-40B4-BE49-F238E27FC236}">
                      <a16:creationId xmlns:a16="http://schemas.microsoft.com/office/drawing/2014/main" id="{04E90E79-884F-43C9-B570-43136EE0F214}"/>
                    </a:ext>
                  </a:extLst>
                </p:cNvPr>
                <p:cNvPicPr/>
                <p:nvPr/>
              </p:nvPicPr>
              <p:blipFill>
                <a:blip r:embed="rId18"/>
                <a:stretch>
                  <a:fillRect/>
                </a:stretch>
              </p:blipFill>
              <p:spPr>
                <a:xfrm>
                  <a:off x="11048974" y="3243042"/>
                  <a:ext cx="3143880" cy="1140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9">
              <p14:nvContentPartPr>
                <p14:cNvPr id="298" name="Ink 297">
                  <a:extLst>
                    <a:ext uri="{FF2B5EF4-FFF2-40B4-BE49-F238E27FC236}">
                      <a16:creationId xmlns:a16="http://schemas.microsoft.com/office/drawing/2014/main" id="{21709175-FF87-4841-ADF2-C29B405240A2}"/>
                    </a:ext>
                  </a:extLst>
                </p14:cNvPr>
                <p14:cNvContentPartPr/>
                <p14:nvPr/>
              </p14:nvContentPartPr>
              <p14:xfrm>
                <a:off x="12242488" y="4419162"/>
                <a:ext cx="30600" cy="104400"/>
              </p14:xfrm>
            </p:contentPart>
          </mc:Choice>
          <mc:Fallback xmlns="">
            <p:pic>
              <p:nvPicPr>
                <p:cNvPr id="298" name="Ink 297">
                  <a:extLst>
                    <a:ext uri="{FF2B5EF4-FFF2-40B4-BE49-F238E27FC236}">
                      <a16:creationId xmlns:a16="http://schemas.microsoft.com/office/drawing/2014/main" id="{21709175-FF87-4841-ADF2-C29B405240A2}"/>
                    </a:ext>
                  </a:extLst>
                </p:cNvPr>
                <p:cNvPicPr/>
                <p:nvPr/>
              </p:nvPicPr>
              <p:blipFill>
                <a:blip r:embed="rId20"/>
                <a:stretch>
                  <a:fillRect/>
                </a:stretch>
              </p:blipFill>
              <p:spPr>
                <a:xfrm>
                  <a:off x="12206848" y="4383522"/>
                  <a:ext cx="102240" cy="176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1">
              <p14:nvContentPartPr>
                <p14:cNvPr id="299" name="Ink 298">
                  <a:extLst>
                    <a:ext uri="{FF2B5EF4-FFF2-40B4-BE49-F238E27FC236}">
                      <a16:creationId xmlns:a16="http://schemas.microsoft.com/office/drawing/2014/main" id="{D60BCA36-46A4-4ACA-9258-12D543098E12}"/>
                    </a:ext>
                  </a:extLst>
                </p14:cNvPr>
                <p14:cNvContentPartPr/>
                <p14:nvPr/>
              </p14:nvContentPartPr>
              <p14:xfrm>
                <a:off x="12228808" y="3406482"/>
                <a:ext cx="47520" cy="1024920"/>
              </p14:xfrm>
            </p:contentPart>
          </mc:Choice>
          <mc:Fallback xmlns="">
            <p:pic>
              <p:nvPicPr>
                <p:cNvPr id="299" name="Ink 298">
                  <a:extLst>
                    <a:ext uri="{FF2B5EF4-FFF2-40B4-BE49-F238E27FC236}">
                      <a16:creationId xmlns:a16="http://schemas.microsoft.com/office/drawing/2014/main" id="{D60BCA36-46A4-4ACA-9258-12D543098E12}"/>
                    </a:ext>
                  </a:extLst>
                </p:cNvPr>
                <p:cNvPicPr/>
                <p:nvPr/>
              </p:nvPicPr>
              <p:blipFill>
                <a:blip r:embed="rId22"/>
                <a:stretch>
                  <a:fillRect/>
                </a:stretch>
              </p:blipFill>
              <p:spPr>
                <a:xfrm>
                  <a:off x="12193168" y="3370842"/>
                  <a:ext cx="119160" cy="1096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3">
              <p14:nvContentPartPr>
                <p14:cNvPr id="300" name="Ink 299">
                  <a:extLst>
                    <a:ext uri="{FF2B5EF4-FFF2-40B4-BE49-F238E27FC236}">
                      <a16:creationId xmlns:a16="http://schemas.microsoft.com/office/drawing/2014/main" id="{90E57785-7C69-4C9B-96E8-C63F2F0B7709}"/>
                    </a:ext>
                  </a:extLst>
                </p14:cNvPr>
                <p14:cNvContentPartPr/>
                <p14:nvPr/>
              </p14:nvContentPartPr>
              <p14:xfrm>
                <a:off x="11243848" y="4287042"/>
                <a:ext cx="92520" cy="150120"/>
              </p14:xfrm>
            </p:contentPart>
          </mc:Choice>
          <mc:Fallback xmlns="">
            <p:pic>
              <p:nvPicPr>
                <p:cNvPr id="300" name="Ink 299">
                  <a:extLst>
                    <a:ext uri="{FF2B5EF4-FFF2-40B4-BE49-F238E27FC236}">
                      <a16:creationId xmlns:a16="http://schemas.microsoft.com/office/drawing/2014/main" id="{90E57785-7C69-4C9B-96E8-C63F2F0B7709}"/>
                    </a:ext>
                  </a:extLst>
                </p:cNvPr>
                <p:cNvPicPr/>
                <p:nvPr/>
              </p:nvPicPr>
              <p:blipFill>
                <a:blip r:embed="rId24"/>
                <a:stretch>
                  <a:fillRect/>
                </a:stretch>
              </p:blipFill>
              <p:spPr>
                <a:xfrm>
                  <a:off x="11208208" y="4251042"/>
                  <a:ext cx="164160" cy="221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5">
              <p14:nvContentPartPr>
                <p14:cNvPr id="301" name="Ink 300">
                  <a:extLst>
                    <a:ext uri="{FF2B5EF4-FFF2-40B4-BE49-F238E27FC236}">
                      <a16:creationId xmlns:a16="http://schemas.microsoft.com/office/drawing/2014/main" id="{A1D0DCC5-04CC-4AD8-9AB6-A053A1D4AB1B}"/>
                    </a:ext>
                  </a:extLst>
                </p14:cNvPr>
                <p14:cNvContentPartPr/>
                <p14:nvPr/>
              </p14:nvContentPartPr>
              <p14:xfrm>
                <a:off x="11373448" y="4256802"/>
                <a:ext cx="113040" cy="141120"/>
              </p14:xfrm>
            </p:contentPart>
          </mc:Choice>
          <mc:Fallback xmlns="">
            <p:pic>
              <p:nvPicPr>
                <p:cNvPr id="301" name="Ink 300">
                  <a:extLst>
                    <a:ext uri="{FF2B5EF4-FFF2-40B4-BE49-F238E27FC236}">
                      <a16:creationId xmlns:a16="http://schemas.microsoft.com/office/drawing/2014/main" id="{A1D0DCC5-04CC-4AD8-9AB6-A053A1D4AB1B}"/>
                    </a:ext>
                  </a:extLst>
                </p:cNvPr>
                <p:cNvPicPr/>
                <p:nvPr/>
              </p:nvPicPr>
              <p:blipFill>
                <a:blip r:embed="rId26"/>
                <a:stretch>
                  <a:fillRect/>
                </a:stretch>
              </p:blipFill>
              <p:spPr>
                <a:xfrm>
                  <a:off x="11337808" y="4221162"/>
                  <a:ext cx="184680" cy="212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7">
              <p14:nvContentPartPr>
                <p14:cNvPr id="302" name="Ink 301">
                  <a:extLst>
                    <a:ext uri="{FF2B5EF4-FFF2-40B4-BE49-F238E27FC236}">
                      <a16:creationId xmlns:a16="http://schemas.microsoft.com/office/drawing/2014/main" id="{505DBBA0-7717-439E-96DA-3551BB7C6DC4}"/>
                    </a:ext>
                  </a:extLst>
                </p14:cNvPr>
                <p14:cNvContentPartPr/>
                <p14:nvPr/>
              </p14:nvContentPartPr>
              <p14:xfrm>
                <a:off x="11504128" y="4237002"/>
                <a:ext cx="95760" cy="177120"/>
              </p14:xfrm>
            </p:contentPart>
          </mc:Choice>
          <mc:Fallback xmlns="">
            <p:pic>
              <p:nvPicPr>
                <p:cNvPr id="302" name="Ink 301">
                  <a:extLst>
                    <a:ext uri="{FF2B5EF4-FFF2-40B4-BE49-F238E27FC236}">
                      <a16:creationId xmlns:a16="http://schemas.microsoft.com/office/drawing/2014/main" id="{505DBBA0-7717-439E-96DA-3551BB7C6DC4}"/>
                    </a:ext>
                  </a:extLst>
                </p:cNvPr>
                <p:cNvPicPr/>
                <p:nvPr/>
              </p:nvPicPr>
              <p:blipFill>
                <a:blip r:embed="rId28"/>
                <a:stretch>
                  <a:fillRect/>
                </a:stretch>
              </p:blipFill>
              <p:spPr>
                <a:xfrm>
                  <a:off x="11468128" y="4201002"/>
                  <a:ext cx="167400" cy="248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9">
              <p14:nvContentPartPr>
                <p14:cNvPr id="303" name="Ink 302">
                  <a:extLst>
                    <a:ext uri="{FF2B5EF4-FFF2-40B4-BE49-F238E27FC236}">
                      <a16:creationId xmlns:a16="http://schemas.microsoft.com/office/drawing/2014/main" id="{6C61E52A-3643-4727-B4A7-94836E053697}"/>
                    </a:ext>
                  </a:extLst>
                </p14:cNvPr>
                <p14:cNvContentPartPr/>
                <p14:nvPr/>
              </p14:nvContentPartPr>
              <p14:xfrm>
                <a:off x="11621488" y="4137642"/>
                <a:ext cx="208440" cy="273960"/>
              </p14:xfrm>
            </p:contentPart>
          </mc:Choice>
          <mc:Fallback xmlns="">
            <p:pic>
              <p:nvPicPr>
                <p:cNvPr id="303" name="Ink 302">
                  <a:extLst>
                    <a:ext uri="{FF2B5EF4-FFF2-40B4-BE49-F238E27FC236}">
                      <a16:creationId xmlns:a16="http://schemas.microsoft.com/office/drawing/2014/main" id="{6C61E52A-3643-4727-B4A7-94836E053697}"/>
                    </a:ext>
                  </a:extLst>
                </p:cNvPr>
                <p:cNvPicPr/>
                <p:nvPr/>
              </p:nvPicPr>
              <p:blipFill>
                <a:blip r:embed="rId30"/>
                <a:stretch>
                  <a:fillRect/>
                </a:stretch>
              </p:blipFill>
              <p:spPr>
                <a:xfrm>
                  <a:off x="11585488" y="4101642"/>
                  <a:ext cx="280080" cy="345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1">
              <p14:nvContentPartPr>
                <p14:cNvPr id="304" name="Ink 303">
                  <a:extLst>
                    <a:ext uri="{FF2B5EF4-FFF2-40B4-BE49-F238E27FC236}">
                      <a16:creationId xmlns:a16="http://schemas.microsoft.com/office/drawing/2014/main" id="{5409564D-8B61-4176-BFDF-5D3C716C8602}"/>
                    </a:ext>
                  </a:extLst>
                </p14:cNvPr>
                <p14:cNvContentPartPr/>
                <p14:nvPr/>
              </p14:nvContentPartPr>
              <p14:xfrm>
                <a:off x="11792848" y="4032162"/>
                <a:ext cx="108720" cy="333720"/>
              </p14:xfrm>
            </p:contentPart>
          </mc:Choice>
          <mc:Fallback xmlns="">
            <p:pic>
              <p:nvPicPr>
                <p:cNvPr id="304" name="Ink 303">
                  <a:extLst>
                    <a:ext uri="{FF2B5EF4-FFF2-40B4-BE49-F238E27FC236}">
                      <a16:creationId xmlns:a16="http://schemas.microsoft.com/office/drawing/2014/main" id="{5409564D-8B61-4176-BFDF-5D3C716C8602}"/>
                    </a:ext>
                  </a:extLst>
                </p:cNvPr>
                <p:cNvPicPr/>
                <p:nvPr/>
              </p:nvPicPr>
              <p:blipFill>
                <a:blip r:embed="rId32"/>
                <a:stretch>
                  <a:fillRect/>
                </a:stretch>
              </p:blipFill>
              <p:spPr>
                <a:xfrm>
                  <a:off x="11757208" y="3996162"/>
                  <a:ext cx="180360" cy="405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3">
              <p14:nvContentPartPr>
                <p14:cNvPr id="305" name="Ink 304">
                  <a:extLst>
                    <a:ext uri="{FF2B5EF4-FFF2-40B4-BE49-F238E27FC236}">
                      <a16:creationId xmlns:a16="http://schemas.microsoft.com/office/drawing/2014/main" id="{8CD9FCC8-589E-4545-A156-3A161F0D9BCD}"/>
                    </a:ext>
                  </a:extLst>
                </p14:cNvPr>
                <p14:cNvContentPartPr/>
                <p14:nvPr/>
              </p14:nvContentPartPr>
              <p14:xfrm>
                <a:off x="11866648" y="3888882"/>
                <a:ext cx="238680" cy="424440"/>
              </p14:xfrm>
            </p:contentPart>
          </mc:Choice>
          <mc:Fallback xmlns="">
            <p:pic>
              <p:nvPicPr>
                <p:cNvPr id="305" name="Ink 304">
                  <a:extLst>
                    <a:ext uri="{FF2B5EF4-FFF2-40B4-BE49-F238E27FC236}">
                      <a16:creationId xmlns:a16="http://schemas.microsoft.com/office/drawing/2014/main" id="{8CD9FCC8-589E-4545-A156-3A161F0D9BCD}"/>
                    </a:ext>
                  </a:extLst>
                </p:cNvPr>
                <p:cNvPicPr/>
                <p:nvPr/>
              </p:nvPicPr>
              <p:blipFill>
                <a:blip r:embed="rId34"/>
                <a:stretch>
                  <a:fillRect/>
                </a:stretch>
              </p:blipFill>
              <p:spPr>
                <a:xfrm>
                  <a:off x="11831008" y="3852882"/>
                  <a:ext cx="310320" cy="496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5">
              <p14:nvContentPartPr>
                <p14:cNvPr id="306" name="Ink 305">
                  <a:extLst>
                    <a:ext uri="{FF2B5EF4-FFF2-40B4-BE49-F238E27FC236}">
                      <a16:creationId xmlns:a16="http://schemas.microsoft.com/office/drawing/2014/main" id="{8FE0EA2F-4154-4442-B5D5-E18F27254E02}"/>
                    </a:ext>
                  </a:extLst>
                </p14:cNvPr>
                <p14:cNvContentPartPr/>
                <p14:nvPr/>
              </p14:nvContentPartPr>
              <p14:xfrm>
                <a:off x="12061048" y="3832722"/>
                <a:ext cx="71640" cy="326160"/>
              </p14:xfrm>
            </p:contentPart>
          </mc:Choice>
          <mc:Fallback xmlns="">
            <p:pic>
              <p:nvPicPr>
                <p:cNvPr id="306" name="Ink 305">
                  <a:extLst>
                    <a:ext uri="{FF2B5EF4-FFF2-40B4-BE49-F238E27FC236}">
                      <a16:creationId xmlns:a16="http://schemas.microsoft.com/office/drawing/2014/main" id="{8FE0EA2F-4154-4442-B5D5-E18F27254E02}"/>
                    </a:ext>
                  </a:extLst>
                </p:cNvPr>
                <p:cNvPicPr/>
                <p:nvPr/>
              </p:nvPicPr>
              <p:blipFill>
                <a:blip r:embed="rId36"/>
                <a:stretch>
                  <a:fillRect/>
                </a:stretch>
              </p:blipFill>
              <p:spPr>
                <a:xfrm>
                  <a:off x="12025048" y="3797082"/>
                  <a:ext cx="143280" cy="397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7">
              <p14:nvContentPartPr>
                <p14:cNvPr id="307" name="Ink 306">
                  <a:extLst>
                    <a:ext uri="{FF2B5EF4-FFF2-40B4-BE49-F238E27FC236}">
                      <a16:creationId xmlns:a16="http://schemas.microsoft.com/office/drawing/2014/main" id="{6F54175E-D275-4794-B806-46101838412F}"/>
                    </a:ext>
                  </a:extLst>
                </p14:cNvPr>
                <p14:cNvContentPartPr/>
                <p14:nvPr/>
              </p14:nvContentPartPr>
              <p14:xfrm>
                <a:off x="12048448" y="3614202"/>
                <a:ext cx="203760" cy="444960"/>
              </p14:xfrm>
            </p:contentPart>
          </mc:Choice>
          <mc:Fallback xmlns="">
            <p:pic>
              <p:nvPicPr>
                <p:cNvPr id="307" name="Ink 306">
                  <a:extLst>
                    <a:ext uri="{FF2B5EF4-FFF2-40B4-BE49-F238E27FC236}">
                      <a16:creationId xmlns:a16="http://schemas.microsoft.com/office/drawing/2014/main" id="{6F54175E-D275-4794-B806-46101838412F}"/>
                    </a:ext>
                  </a:extLst>
                </p:cNvPr>
                <p:cNvPicPr/>
                <p:nvPr/>
              </p:nvPicPr>
              <p:blipFill>
                <a:blip r:embed="rId38"/>
                <a:stretch>
                  <a:fillRect/>
                </a:stretch>
              </p:blipFill>
              <p:spPr>
                <a:xfrm>
                  <a:off x="12012808" y="3578202"/>
                  <a:ext cx="275400" cy="516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9">
              <p14:nvContentPartPr>
                <p14:cNvPr id="309" name="Ink 308">
                  <a:extLst>
                    <a:ext uri="{FF2B5EF4-FFF2-40B4-BE49-F238E27FC236}">
                      <a16:creationId xmlns:a16="http://schemas.microsoft.com/office/drawing/2014/main" id="{4E417D75-DFFA-48EF-BF8F-9F2F083F6312}"/>
                    </a:ext>
                  </a:extLst>
                </p14:cNvPr>
                <p14:cNvContentPartPr/>
                <p14:nvPr/>
              </p14:nvContentPartPr>
              <p14:xfrm>
                <a:off x="11984728" y="4239162"/>
                <a:ext cx="25200" cy="142200"/>
              </p14:xfrm>
            </p:contentPart>
          </mc:Choice>
          <mc:Fallback xmlns="">
            <p:pic>
              <p:nvPicPr>
                <p:cNvPr id="309" name="Ink 308">
                  <a:extLst>
                    <a:ext uri="{FF2B5EF4-FFF2-40B4-BE49-F238E27FC236}">
                      <a16:creationId xmlns:a16="http://schemas.microsoft.com/office/drawing/2014/main" id="{4E417D75-DFFA-48EF-BF8F-9F2F083F6312}"/>
                    </a:ext>
                  </a:extLst>
                </p:cNvPr>
                <p:cNvPicPr/>
                <p:nvPr/>
              </p:nvPicPr>
              <p:blipFill>
                <a:blip r:embed="rId40"/>
                <a:stretch>
                  <a:fillRect/>
                </a:stretch>
              </p:blipFill>
              <p:spPr>
                <a:xfrm>
                  <a:off x="11949088" y="4203162"/>
                  <a:ext cx="96840" cy="2138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317" name="Group 316">
            <a:extLst>
              <a:ext uri="{FF2B5EF4-FFF2-40B4-BE49-F238E27FC236}">
                <a16:creationId xmlns:a16="http://schemas.microsoft.com/office/drawing/2014/main" id="{86986D00-5349-4BF5-8579-5E7032AA8AB0}"/>
              </a:ext>
            </a:extLst>
          </p:cNvPr>
          <p:cNvGrpSpPr/>
          <p:nvPr/>
        </p:nvGrpSpPr>
        <p:grpSpPr>
          <a:xfrm>
            <a:off x="8077648" y="5698602"/>
            <a:ext cx="784800" cy="234360"/>
            <a:chOff x="8077648" y="5698602"/>
            <a:chExt cx="784800" cy="2343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41">
              <p14:nvContentPartPr>
                <p14:cNvPr id="313" name="Ink 312">
                  <a:extLst>
                    <a:ext uri="{FF2B5EF4-FFF2-40B4-BE49-F238E27FC236}">
                      <a16:creationId xmlns:a16="http://schemas.microsoft.com/office/drawing/2014/main" id="{93166604-277D-4D5D-AE89-4C9F8EC69D07}"/>
                    </a:ext>
                  </a:extLst>
                </p14:cNvPr>
                <p14:cNvContentPartPr/>
                <p14:nvPr/>
              </p14:nvContentPartPr>
              <p14:xfrm>
                <a:off x="8077648" y="5865282"/>
                <a:ext cx="196200" cy="11160"/>
              </p14:xfrm>
            </p:contentPart>
          </mc:Choice>
          <mc:Fallback xmlns="">
            <p:pic>
              <p:nvPicPr>
                <p:cNvPr id="313" name="Ink 312">
                  <a:extLst>
                    <a:ext uri="{FF2B5EF4-FFF2-40B4-BE49-F238E27FC236}">
                      <a16:creationId xmlns:a16="http://schemas.microsoft.com/office/drawing/2014/main" id="{93166604-277D-4D5D-AE89-4C9F8EC69D07}"/>
                    </a:ext>
                  </a:extLst>
                </p:cNvPr>
                <p:cNvPicPr/>
                <p:nvPr/>
              </p:nvPicPr>
              <p:blipFill>
                <a:blip r:embed="rId42"/>
                <a:stretch>
                  <a:fillRect/>
                </a:stretch>
              </p:blipFill>
              <p:spPr>
                <a:xfrm>
                  <a:off x="8042008" y="5829642"/>
                  <a:ext cx="267840" cy="82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3">
              <p14:nvContentPartPr>
                <p14:cNvPr id="314" name="Ink 313">
                  <a:extLst>
                    <a:ext uri="{FF2B5EF4-FFF2-40B4-BE49-F238E27FC236}">
                      <a16:creationId xmlns:a16="http://schemas.microsoft.com/office/drawing/2014/main" id="{85F47F65-E355-4CC8-AF37-365EF89B5156}"/>
                    </a:ext>
                  </a:extLst>
                </p14:cNvPr>
                <p14:cNvContentPartPr/>
                <p14:nvPr/>
              </p14:nvContentPartPr>
              <p14:xfrm>
                <a:off x="8396968" y="5765202"/>
                <a:ext cx="156240" cy="167760"/>
              </p14:xfrm>
            </p:contentPart>
          </mc:Choice>
          <mc:Fallback xmlns="">
            <p:pic>
              <p:nvPicPr>
                <p:cNvPr id="314" name="Ink 313">
                  <a:extLst>
                    <a:ext uri="{FF2B5EF4-FFF2-40B4-BE49-F238E27FC236}">
                      <a16:creationId xmlns:a16="http://schemas.microsoft.com/office/drawing/2014/main" id="{85F47F65-E355-4CC8-AF37-365EF89B5156}"/>
                    </a:ext>
                  </a:extLst>
                </p:cNvPr>
                <p:cNvPicPr/>
                <p:nvPr/>
              </p:nvPicPr>
              <p:blipFill>
                <a:blip r:embed="rId44"/>
                <a:stretch>
                  <a:fillRect/>
                </a:stretch>
              </p:blipFill>
              <p:spPr>
                <a:xfrm>
                  <a:off x="8361328" y="5729562"/>
                  <a:ext cx="227880" cy="239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5">
              <p14:nvContentPartPr>
                <p14:cNvPr id="315" name="Ink 314">
                  <a:extLst>
                    <a:ext uri="{FF2B5EF4-FFF2-40B4-BE49-F238E27FC236}">
                      <a16:creationId xmlns:a16="http://schemas.microsoft.com/office/drawing/2014/main" id="{8ACADB66-1810-47B2-B503-EC06C9E92EF7}"/>
                    </a:ext>
                  </a:extLst>
                </p14:cNvPr>
                <p14:cNvContentPartPr/>
                <p14:nvPr/>
              </p14:nvContentPartPr>
              <p14:xfrm>
                <a:off x="8630608" y="5796162"/>
                <a:ext cx="19080" cy="9360"/>
              </p14:xfrm>
            </p:contentPart>
          </mc:Choice>
          <mc:Fallback xmlns="">
            <p:pic>
              <p:nvPicPr>
                <p:cNvPr id="315" name="Ink 314">
                  <a:extLst>
                    <a:ext uri="{FF2B5EF4-FFF2-40B4-BE49-F238E27FC236}">
                      <a16:creationId xmlns:a16="http://schemas.microsoft.com/office/drawing/2014/main" id="{8ACADB66-1810-47B2-B503-EC06C9E92EF7}"/>
                    </a:ext>
                  </a:extLst>
                </p:cNvPr>
                <p:cNvPicPr/>
                <p:nvPr/>
              </p:nvPicPr>
              <p:blipFill>
                <a:blip r:embed="rId46"/>
                <a:stretch>
                  <a:fillRect/>
                </a:stretch>
              </p:blipFill>
              <p:spPr>
                <a:xfrm>
                  <a:off x="8594968" y="5760162"/>
                  <a:ext cx="90720" cy="81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7">
              <p14:nvContentPartPr>
                <p14:cNvPr id="316" name="Ink 315">
                  <a:extLst>
                    <a:ext uri="{FF2B5EF4-FFF2-40B4-BE49-F238E27FC236}">
                      <a16:creationId xmlns:a16="http://schemas.microsoft.com/office/drawing/2014/main" id="{3FA07B52-97DE-429B-AFFF-A70862A42E4F}"/>
                    </a:ext>
                  </a:extLst>
                </p14:cNvPr>
                <p14:cNvContentPartPr/>
                <p14:nvPr/>
              </p14:nvContentPartPr>
              <p14:xfrm>
                <a:off x="8775688" y="5698602"/>
                <a:ext cx="86760" cy="206280"/>
              </p14:xfrm>
            </p:contentPart>
          </mc:Choice>
          <mc:Fallback xmlns="">
            <p:pic>
              <p:nvPicPr>
                <p:cNvPr id="316" name="Ink 315">
                  <a:extLst>
                    <a:ext uri="{FF2B5EF4-FFF2-40B4-BE49-F238E27FC236}">
                      <a16:creationId xmlns:a16="http://schemas.microsoft.com/office/drawing/2014/main" id="{3FA07B52-97DE-429B-AFFF-A70862A42E4F}"/>
                    </a:ext>
                  </a:extLst>
                </p:cNvPr>
                <p:cNvPicPr/>
                <p:nvPr/>
              </p:nvPicPr>
              <p:blipFill>
                <a:blip r:embed="rId48"/>
                <a:stretch>
                  <a:fillRect/>
                </a:stretch>
              </p:blipFill>
              <p:spPr>
                <a:xfrm>
                  <a:off x="8740048" y="5662962"/>
                  <a:ext cx="158400" cy="2779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324" name="Group 323">
            <a:extLst>
              <a:ext uri="{FF2B5EF4-FFF2-40B4-BE49-F238E27FC236}">
                <a16:creationId xmlns:a16="http://schemas.microsoft.com/office/drawing/2014/main" id="{2661D055-F1AC-4BDB-BDA0-959FBD01B5BE}"/>
              </a:ext>
            </a:extLst>
          </p:cNvPr>
          <p:cNvGrpSpPr/>
          <p:nvPr/>
        </p:nvGrpSpPr>
        <p:grpSpPr>
          <a:xfrm>
            <a:off x="9203008" y="5546682"/>
            <a:ext cx="1428840" cy="335880"/>
            <a:chOff x="9203008" y="5546682"/>
            <a:chExt cx="1428840" cy="3358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49">
              <p14:nvContentPartPr>
                <p14:cNvPr id="318" name="Ink 317">
                  <a:extLst>
                    <a:ext uri="{FF2B5EF4-FFF2-40B4-BE49-F238E27FC236}">
                      <a16:creationId xmlns:a16="http://schemas.microsoft.com/office/drawing/2014/main" id="{1B8F81DF-838B-43EE-8171-FC4CE1F6B945}"/>
                    </a:ext>
                  </a:extLst>
                </p14:cNvPr>
                <p14:cNvContentPartPr/>
                <p14:nvPr/>
              </p14:nvContentPartPr>
              <p14:xfrm>
                <a:off x="9203008" y="5700042"/>
                <a:ext cx="233280" cy="57240"/>
              </p14:xfrm>
            </p:contentPart>
          </mc:Choice>
          <mc:Fallback xmlns="">
            <p:pic>
              <p:nvPicPr>
                <p:cNvPr id="318" name="Ink 317">
                  <a:extLst>
                    <a:ext uri="{FF2B5EF4-FFF2-40B4-BE49-F238E27FC236}">
                      <a16:creationId xmlns:a16="http://schemas.microsoft.com/office/drawing/2014/main" id="{1B8F81DF-838B-43EE-8171-FC4CE1F6B945}"/>
                    </a:ext>
                  </a:extLst>
                </p:cNvPr>
                <p:cNvPicPr/>
                <p:nvPr/>
              </p:nvPicPr>
              <p:blipFill>
                <a:blip r:embed="rId50"/>
                <a:stretch>
                  <a:fillRect/>
                </a:stretch>
              </p:blipFill>
              <p:spPr>
                <a:xfrm>
                  <a:off x="9167008" y="5664402"/>
                  <a:ext cx="304920" cy="128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1">
              <p14:nvContentPartPr>
                <p14:cNvPr id="319" name="Ink 318">
                  <a:extLst>
                    <a:ext uri="{FF2B5EF4-FFF2-40B4-BE49-F238E27FC236}">
                      <a16:creationId xmlns:a16="http://schemas.microsoft.com/office/drawing/2014/main" id="{0527A007-0717-440B-A5A1-1BEC8EA5299D}"/>
                    </a:ext>
                  </a:extLst>
                </p14:cNvPr>
                <p14:cNvContentPartPr/>
                <p14:nvPr/>
              </p14:nvContentPartPr>
              <p14:xfrm>
                <a:off x="9237928" y="5810202"/>
                <a:ext cx="223560" cy="29160"/>
              </p14:xfrm>
            </p:contentPart>
          </mc:Choice>
          <mc:Fallback xmlns="">
            <p:pic>
              <p:nvPicPr>
                <p:cNvPr id="319" name="Ink 318">
                  <a:extLst>
                    <a:ext uri="{FF2B5EF4-FFF2-40B4-BE49-F238E27FC236}">
                      <a16:creationId xmlns:a16="http://schemas.microsoft.com/office/drawing/2014/main" id="{0527A007-0717-440B-A5A1-1BEC8EA5299D}"/>
                    </a:ext>
                  </a:extLst>
                </p:cNvPr>
                <p:cNvPicPr/>
                <p:nvPr/>
              </p:nvPicPr>
              <p:blipFill>
                <a:blip r:embed="rId52"/>
                <a:stretch>
                  <a:fillRect/>
                </a:stretch>
              </p:blipFill>
              <p:spPr>
                <a:xfrm>
                  <a:off x="9202288" y="5774202"/>
                  <a:ext cx="295200" cy="100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3">
              <p14:nvContentPartPr>
                <p14:cNvPr id="320" name="Ink 319">
                  <a:extLst>
                    <a:ext uri="{FF2B5EF4-FFF2-40B4-BE49-F238E27FC236}">
                      <a16:creationId xmlns:a16="http://schemas.microsoft.com/office/drawing/2014/main" id="{82073C2D-D046-41B8-9980-A74E0FAF5688}"/>
                    </a:ext>
                  </a:extLst>
                </p14:cNvPr>
                <p14:cNvContentPartPr/>
                <p14:nvPr/>
              </p14:nvContentPartPr>
              <p14:xfrm>
                <a:off x="9693688" y="5594562"/>
                <a:ext cx="226440" cy="288000"/>
              </p14:xfrm>
            </p:contentPart>
          </mc:Choice>
          <mc:Fallback xmlns="">
            <p:pic>
              <p:nvPicPr>
                <p:cNvPr id="320" name="Ink 319">
                  <a:extLst>
                    <a:ext uri="{FF2B5EF4-FFF2-40B4-BE49-F238E27FC236}">
                      <a16:creationId xmlns:a16="http://schemas.microsoft.com/office/drawing/2014/main" id="{82073C2D-D046-41B8-9980-A74E0FAF5688}"/>
                    </a:ext>
                  </a:extLst>
                </p:cNvPr>
                <p:cNvPicPr/>
                <p:nvPr/>
              </p:nvPicPr>
              <p:blipFill>
                <a:blip r:embed="rId54"/>
                <a:stretch>
                  <a:fillRect/>
                </a:stretch>
              </p:blipFill>
              <p:spPr>
                <a:xfrm>
                  <a:off x="9658048" y="5558922"/>
                  <a:ext cx="298080" cy="359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5">
              <p14:nvContentPartPr>
                <p14:cNvPr id="321" name="Ink 320">
                  <a:extLst>
                    <a:ext uri="{FF2B5EF4-FFF2-40B4-BE49-F238E27FC236}">
                      <a16:creationId xmlns:a16="http://schemas.microsoft.com/office/drawing/2014/main" id="{677C7AC0-1DD3-45F4-AF51-E99341762064}"/>
                    </a:ext>
                  </a:extLst>
                </p14:cNvPr>
                <p14:cNvContentPartPr/>
                <p14:nvPr/>
              </p14:nvContentPartPr>
              <p14:xfrm>
                <a:off x="9999688" y="5546682"/>
                <a:ext cx="209880" cy="245520"/>
              </p14:xfrm>
            </p:contentPart>
          </mc:Choice>
          <mc:Fallback xmlns="">
            <p:pic>
              <p:nvPicPr>
                <p:cNvPr id="321" name="Ink 320">
                  <a:extLst>
                    <a:ext uri="{FF2B5EF4-FFF2-40B4-BE49-F238E27FC236}">
                      <a16:creationId xmlns:a16="http://schemas.microsoft.com/office/drawing/2014/main" id="{677C7AC0-1DD3-45F4-AF51-E99341762064}"/>
                    </a:ext>
                  </a:extLst>
                </p:cNvPr>
                <p:cNvPicPr/>
                <p:nvPr/>
              </p:nvPicPr>
              <p:blipFill>
                <a:blip r:embed="rId56"/>
                <a:stretch>
                  <a:fillRect/>
                </a:stretch>
              </p:blipFill>
              <p:spPr>
                <a:xfrm>
                  <a:off x="9964048" y="5510682"/>
                  <a:ext cx="281520" cy="317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7">
              <p14:nvContentPartPr>
                <p14:cNvPr id="322" name="Ink 321">
                  <a:extLst>
                    <a:ext uri="{FF2B5EF4-FFF2-40B4-BE49-F238E27FC236}">
                      <a16:creationId xmlns:a16="http://schemas.microsoft.com/office/drawing/2014/main" id="{BB5F2064-C999-45DD-92A9-47AD646618C2}"/>
                    </a:ext>
                  </a:extLst>
                </p14:cNvPr>
                <p14:cNvContentPartPr/>
                <p14:nvPr/>
              </p14:nvContentPartPr>
              <p14:xfrm>
                <a:off x="10004728" y="5548842"/>
                <a:ext cx="456840" cy="261720"/>
              </p14:xfrm>
            </p:contentPart>
          </mc:Choice>
          <mc:Fallback xmlns="">
            <p:pic>
              <p:nvPicPr>
                <p:cNvPr id="322" name="Ink 321">
                  <a:extLst>
                    <a:ext uri="{FF2B5EF4-FFF2-40B4-BE49-F238E27FC236}">
                      <a16:creationId xmlns:a16="http://schemas.microsoft.com/office/drawing/2014/main" id="{BB5F2064-C999-45DD-92A9-47AD646618C2}"/>
                    </a:ext>
                  </a:extLst>
                </p:cNvPr>
                <p:cNvPicPr/>
                <p:nvPr/>
              </p:nvPicPr>
              <p:blipFill>
                <a:blip r:embed="rId58"/>
                <a:stretch>
                  <a:fillRect/>
                </a:stretch>
              </p:blipFill>
              <p:spPr>
                <a:xfrm>
                  <a:off x="9968728" y="5513202"/>
                  <a:ext cx="528480" cy="333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9">
              <p14:nvContentPartPr>
                <p14:cNvPr id="323" name="Ink 322">
                  <a:extLst>
                    <a:ext uri="{FF2B5EF4-FFF2-40B4-BE49-F238E27FC236}">
                      <a16:creationId xmlns:a16="http://schemas.microsoft.com/office/drawing/2014/main" id="{057B3C3F-78E2-4EBA-8D33-7CAD9DFEAC1C}"/>
                    </a:ext>
                  </a:extLst>
                </p14:cNvPr>
                <p14:cNvContentPartPr/>
                <p14:nvPr/>
              </p14:nvContentPartPr>
              <p14:xfrm>
                <a:off x="10357888" y="5665482"/>
                <a:ext cx="273960" cy="91440"/>
              </p14:xfrm>
            </p:contentPart>
          </mc:Choice>
          <mc:Fallback xmlns="">
            <p:pic>
              <p:nvPicPr>
                <p:cNvPr id="323" name="Ink 322">
                  <a:extLst>
                    <a:ext uri="{FF2B5EF4-FFF2-40B4-BE49-F238E27FC236}">
                      <a16:creationId xmlns:a16="http://schemas.microsoft.com/office/drawing/2014/main" id="{057B3C3F-78E2-4EBA-8D33-7CAD9DFEAC1C}"/>
                    </a:ext>
                  </a:extLst>
                </p:cNvPr>
                <p:cNvPicPr/>
                <p:nvPr/>
              </p:nvPicPr>
              <p:blipFill>
                <a:blip r:embed="rId60"/>
                <a:stretch>
                  <a:fillRect/>
                </a:stretch>
              </p:blipFill>
              <p:spPr>
                <a:xfrm>
                  <a:off x="10321888" y="5629482"/>
                  <a:ext cx="345600" cy="1630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327" name="Group 326">
            <a:extLst>
              <a:ext uri="{FF2B5EF4-FFF2-40B4-BE49-F238E27FC236}">
                <a16:creationId xmlns:a16="http://schemas.microsoft.com/office/drawing/2014/main" id="{5352CFF7-A854-4398-9919-1AE36B026AA0}"/>
              </a:ext>
            </a:extLst>
          </p:cNvPr>
          <p:cNvGrpSpPr/>
          <p:nvPr/>
        </p:nvGrpSpPr>
        <p:grpSpPr>
          <a:xfrm>
            <a:off x="1029928" y="6601122"/>
            <a:ext cx="381960" cy="300600"/>
            <a:chOff x="1029928" y="6601122"/>
            <a:chExt cx="381960" cy="3006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1">
              <p14:nvContentPartPr>
                <p14:cNvPr id="325" name="Ink 324">
                  <a:extLst>
                    <a:ext uri="{FF2B5EF4-FFF2-40B4-BE49-F238E27FC236}">
                      <a16:creationId xmlns:a16="http://schemas.microsoft.com/office/drawing/2014/main" id="{EF5BB8B3-4BDF-45E2-AABF-AA273C297ECF}"/>
                    </a:ext>
                  </a:extLst>
                </p14:cNvPr>
                <p14:cNvContentPartPr/>
                <p14:nvPr/>
              </p14:nvContentPartPr>
              <p14:xfrm>
                <a:off x="1029928" y="6601122"/>
                <a:ext cx="221760" cy="300600"/>
              </p14:xfrm>
            </p:contentPart>
          </mc:Choice>
          <mc:Fallback xmlns="">
            <p:pic>
              <p:nvPicPr>
                <p:cNvPr id="325" name="Ink 324">
                  <a:extLst>
                    <a:ext uri="{FF2B5EF4-FFF2-40B4-BE49-F238E27FC236}">
                      <a16:creationId xmlns:a16="http://schemas.microsoft.com/office/drawing/2014/main" id="{EF5BB8B3-4BDF-45E2-AABF-AA273C297ECF}"/>
                    </a:ext>
                  </a:extLst>
                </p:cNvPr>
                <p:cNvPicPr/>
                <p:nvPr/>
              </p:nvPicPr>
              <p:blipFill>
                <a:blip r:embed="rId62"/>
                <a:stretch>
                  <a:fillRect/>
                </a:stretch>
              </p:blipFill>
              <p:spPr>
                <a:xfrm>
                  <a:off x="994288" y="6565482"/>
                  <a:ext cx="293400" cy="372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3">
              <p14:nvContentPartPr>
                <p14:cNvPr id="326" name="Ink 325">
                  <a:extLst>
                    <a:ext uri="{FF2B5EF4-FFF2-40B4-BE49-F238E27FC236}">
                      <a16:creationId xmlns:a16="http://schemas.microsoft.com/office/drawing/2014/main" id="{83F8198D-B8E4-47E8-87AB-17A18925E65F}"/>
                    </a:ext>
                  </a:extLst>
                </p14:cNvPr>
                <p14:cNvContentPartPr/>
                <p14:nvPr/>
              </p14:nvContentPartPr>
              <p14:xfrm>
                <a:off x="1264648" y="6629841"/>
                <a:ext cx="147240" cy="270360"/>
              </p14:xfrm>
            </p:contentPart>
          </mc:Choice>
          <mc:Fallback xmlns="">
            <p:pic>
              <p:nvPicPr>
                <p:cNvPr id="326" name="Ink 325">
                  <a:extLst>
                    <a:ext uri="{FF2B5EF4-FFF2-40B4-BE49-F238E27FC236}">
                      <a16:creationId xmlns:a16="http://schemas.microsoft.com/office/drawing/2014/main" id="{83F8198D-B8E4-47E8-87AB-17A18925E65F}"/>
                    </a:ext>
                  </a:extLst>
                </p:cNvPr>
                <p:cNvPicPr/>
                <p:nvPr/>
              </p:nvPicPr>
              <p:blipFill>
                <a:blip r:embed="rId64"/>
                <a:stretch>
                  <a:fillRect/>
                </a:stretch>
              </p:blipFill>
              <p:spPr>
                <a:xfrm>
                  <a:off x="1228648" y="6594201"/>
                  <a:ext cx="218880" cy="3420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331" name="Group 330">
            <a:extLst>
              <a:ext uri="{FF2B5EF4-FFF2-40B4-BE49-F238E27FC236}">
                <a16:creationId xmlns:a16="http://schemas.microsoft.com/office/drawing/2014/main" id="{75995F9E-DC78-431E-B288-8C1EA11C815F}"/>
              </a:ext>
            </a:extLst>
          </p:cNvPr>
          <p:cNvGrpSpPr/>
          <p:nvPr/>
        </p:nvGrpSpPr>
        <p:grpSpPr>
          <a:xfrm>
            <a:off x="1951888" y="6596361"/>
            <a:ext cx="680040" cy="335520"/>
            <a:chOff x="1951888" y="6596361"/>
            <a:chExt cx="680040" cy="3355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5">
              <p14:nvContentPartPr>
                <p14:cNvPr id="328" name="Ink 327">
                  <a:extLst>
                    <a:ext uri="{FF2B5EF4-FFF2-40B4-BE49-F238E27FC236}">
                      <a16:creationId xmlns:a16="http://schemas.microsoft.com/office/drawing/2014/main" id="{EE5C354D-9375-4D5D-8195-64F5675AEAC5}"/>
                    </a:ext>
                  </a:extLst>
                </p14:cNvPr>
                <p14:cNvContentPartPr/>
                <p14:nvPr/>
              </p14:nvContentPartPr>
              <p14:xfrm>
                <a:off x="1951888" y="6596361"/>
                <a:ext cx="254160" cy="335520"/>
              </p14:xfrm>
            </p:contentPart>
          </mc:Choice>
          <mc:Fallback xmlns="">
            <p:pic>
              <p:nvPicPr>
                <p:cNvPr id="328" name="Ink 327">
                  <a:extLst>
                    <a:ext uri="{FF2B5EF4-FFF2-40B4-BE49-F238E27FC236}">
                      <a16:creationId xmlns:a16="http://schemas.microsoft.com/office/drawing/2014/main" id="{EE5C354D-9375-4D5D-8195-64F5675AEAC5}"/>
                    </a:ext>
                  </a:extLst>
                </p:cNvPr>
                <p:cNvPicPr/>
                <p:nvPr/>
              </p:nvPicPr>
              <p:blipFill>
                <a:blip r:embed="rId66"/>
                <a:stretch>
                  <a:fillRect/>
                </a:stretch>
              </p:blipFill>
              <p:spPr>
                <a:xfrm>
                  <a:off x="1916248" y="6560361"/>
                  <a:ext cx="325800" cy="407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7">
              <p14:nvContentPartPr>
                <p14:cNvPr id="329" name="Ink 328">
                  <a:extLst>
                    <a:ext uri="{FF2B5EF4-FFF2-40B4-BE49-F238E27FC236}">
                      <a16:creationId xmlns:a16="http://schemas.microsoft.com/office/drawing/2014/main" id="{BE75A8F5-9A64-4164-B227-732A42489E85}"/>
                    </a:ext>
                  </a:extLst>
                </p14:cNvPr>
                <p14:cNvContentPartPr/>
                <p14:nvPr/>
              </p14:nvContentPartPr>
              <p14:xfrm>
                <a:off x="1972408" y="6747921"/>
                <a:ext cx="142200" cy="31680"/>
              </p14:xfrm>
            </p:contentPart>
          </mc:Choice>
          <mc:Fallback xmlns="">
            <p:pic>
              <p:nvPicPr>
                <p:cNvPr id="329" name="Ink 328">
                  <a:extLst>
                    <a:ext uri="{FF2B5EF4-FFF2-40B4-BE49-F238E27FC236}">
                      <a16:creationId xmlns:a16="http://schemas.microsoft.com/office/drawing/2014/main" id="{BE75A8F5-9A64-4164-B227-732A42489E85}"/>
                    </a:ext>
                  </a:extLst>
                </p:cNvPr>
                <p:cNvPicPr/>
                <p:nvPr/>
              </p:nvPicPr>
              <p:blipFill>
                <a:blip r:embed="rId68"/>
                <a:stretch>
                  <a:fillRect/>
                </a:stretch>
              </p:blipFill>
              <p:spPr>
                <a:xfrm>
                  <a:off x="1936768" y="6712281"/>
                  <a:ext cx="213840" cy="103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9">
              <p14:nvContentPartPr>
                <p14:cNvPr id="330" name="Ink 329">
                  <a:extLst>
                    <a:ext uri="{FF2B5EF4-FFF2-40B4-BE49-F238E27FC236}">
                      <a16:creationId xmlns:a16="http://schemas.microsoft.com/office/drawing/2014/main" id="{43FD574C-D9BF-45AB-AF89-D25CADD30A38}"/>
                    </a:ext>
                  </a:extLst>
                </p14:cNvPr>
                <p14:cNvContentPartPr/>
                <p14:nvPr/>
              </p14:nvContentPartPr>
              <p14:xfrm>
                <a:off x="2390008" y="6632721"/>
                <a:ext cx="241920" cy="160560"/>
              </p14:xfrm>
            </p:contentPart>
          </mc:Choice>
          <mc:Fallback xmlns="">
            <p:pic>
              <p:nvPicPr>
                <p:cNvPr id="330" name="Ink 329">
                  <a:extLst>
                    <a:ext uri="{FF2B5EF4-FFF2-40B4-BE49-F238E27FC236}">
                      <a16:creationId xmlns:a16="http://schemas.microsoft.com/office/drawing/2014/main" id="{43FD574C-D9BF-45AB-AF89-D25CADD30A38}"/>
                    </a:ext>
                  </a:extLst>
                </p:cNvPr>
                <p:cNvPicPr/>
                <p:nvPr/>
              </p:nvPicPr>
              <p:blipFill>
                <a:blip r:embed="rId70"/>
                <a:stretch>
                  <a:fillRect/>
                </a:stretch>
              </p:blipFill>
              <p:spPr>
                <a:xfrm>
                  <a:off x="2354008" y="6596721"/>
                  <a:ext cx="313560" cy="2322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345" name="Group 344">
            <a:extLst>
              <a:ext uri="{FF2B5EF4-FFF2-40B4-BE49-F238E27FC236}">
                <a16:creationId xmlns:a16="http://schemas.microsoft.com/office/drawing/2014/main" id="{0D96D777-0CBF-4464-B633-738D719BD1D8}"/>
              </a:ext>
            </a:extLst>
          </p:cNvPr>
          <p:cNvGrpSpPr/>
          <p:nvPr/>
        </p:nvGrpSpPr>
        <p:grpSpPr>
          <a:xfrm>
            <a:off x="2952214" y="5472162"/>
            <a:ext cx="4648680" cy="1384479"/>
            <a:chOff x="2952214" y="5472162"/>
            <a:chExt cx="4648680" cy="1384479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71">
              <p14:nvContentPartPr>
                <p14:cNvPr id="16" name="Ink 15">
                  <a:extLst>
                    <a:ext uri="{FF2B5EF4-FFF2-40B4-BE49-F238E27FC236}">
                      <a16:creationId xmlns:a16="http://schemas.microsoft.com/office/drawing/2014/main" id="{238802ED-D389-482B-A7ED-2DA57BEBC0F7}"/>
                    </a:ext>
                  </a:extLst>
                </p14:cNvPr>
                <p14:cNvContentPartPr/>
                <p14:nvPr/>
              </p14:nvContentPartPr>
              <p14:xfrm>
                <a:off x="3014854" y="5723082"/>
                <a:ext cx="128160" cy="218520"/>
              </p14:xfrm>
            </p:contentPart>
          </mc:Choice>
          <mc:Fallback xmlns="">
            <p:pic>
              <p:nvPicPr>
                <p:cNvPr id="16" name="Ink 15">
                  <a:extLst>
                    <a:ext uri="{FF2B5EF4-FFF2-40B4-BE49-F238E27FC236}">
                      <a16:creationId xmlns:a16="http://schemas.microsoft.com/office/drawing/2014/main" id="{238802ED-D389-482B-A7ED-2DA57BEBC0F7}"/>
                    </a:ext>
                  </a:extLst>
                </p:cNvPr>
                <p:cNvPicPr/>
                <p:nvPr/>
              </p:nvPicPr>
              <p:blipFill>
                <a:blip r:embed="rId72"/>
                <a:stretch>
                  <a:fillRect/>
                </a:stretch>
              </p:blipFill>
              <p:spPr>
                <a:xfrm>
                  <a:off x="2979214" y="5687082"/>
                  <a:ext cx="199800" cy="290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3">
              <p14:nvContentPartPr>
                <p14:cNvPr id="17" name="Ink 16">
                  <a:extLst>
                    <a:ext uri="{FF2B5EF4-FFF2-40B4-BE49-F238E27FC236}">
                      <a16:creationId xmlns:a16="http://schemas.microsoft.com/office/drawing/2014/main" id="{B9A1720E-A1E6-4882-8F2C-4B95DF24A61E}"/>
                    </a:ext>
                  </a:extLst>
                </p14:cNvPr>
                <p14:cNvContentPartPr/>
                <p14:nvPr/>
              </p14:nvContentPartPr>
              <p14:xfrm>
                <a:off x="2952214" y="5764842"/>
                <a:ext cx="218520" cy="160920"/>
              </p14:xfrm>
            </p:contentPart>
          </mc:Choice>
          <mc:Fallback xmlns="">
            <p:pic>
              <p:nvPicPr>
                <p:cNvPr id="17" name="Ink 16">
                  <a:extLst>
                    <a:ext uri="{FF2B5EF4-FFF2-40B4-BE49-F238E27FC236}">
                      <a16:creationId xmlns:a16="http://schemas.microsoft.com/office/drawing/2014/main" id="{B9A1720E-A1E6-4882-8F2C-4B95DF24A61E}"/>
                    </a:ext>
                  </a:extLst>
                </p:cNvPr>
                <p:cNvPicPr/>
                <p:nvPr/>
              </p:nvPicPr>
              <p:blipFill>
                <a:blip r:embed="rId74"/>
                <a:stretch>
                  <a:fillRect/>
                </a:stretch>
              </p:blipFill>
              <p:spPr>
                <a:xfrm>
                  <a:off x="2916574" y="5728842"/>
                  <a:ext cx="290160" cy="232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5">
              <p14:nvContentPartPr>
                <p14:cNvPr id="18" name="Ink 17">
                  <a:extLst>
                    <a:ext uri="{FF2B5EF4-FFF2-40B4-BE49-F238E27FC236}">
                      <a16:creationId xmlns:a16="http://schemas.microsoft.com/office/drawing/2014/main" id="{4BF21DEC-048D-485A-9F08-46013C30A1DD}"/>
                    </a:ext>
                  </a:extLst>
                </p14:cNvPr>
                <p14:cNvContentPartPr/>
                <p14:nvPr/>
              </p14:nvContentPartPr>
              <p14:xfrm>
                <a:off x="3242734" y="5823522"/>
                <a:ext cx="132120" cy="47160"/>
              </p14:xfrm>
            </p:contentPart>
          </mc:Choice>
          <mc:Fallback xmlns="">
            <p:pic>
              <p:nvPicPr>
                <p:cNvPr id="18" name="Ink 17">
                  <a:extLst>
                    <a:ext uri="{FF2B5EF4-FFF2-40B4-BE49-F238E27FC236}">
                      <a16:creationId xmlns:a16="http://schemas.microsoft.com/office/drawing/2014/main" id="{4BF21DEC-048D-485A-9F08-46013C30A1DD}"/>
                    </a:ext>
                  </a:extLst>
                </p:cNvPr>
                <p:cNvPicPr/>
                <p:nvPr/>
              </p:nvPicPr>
              <p:blipFill>
                <a:blip r:embed="rId76"/>
                <a:stretch>
                  <a:fillRect/>
                </a:stretch>
              </p:blipFill>
              <p:spPr>
                <a:xfrm>
                  <a:off x="3206734" y="5787522"/>
                  <a:ext cx="203760" cy="118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7">
              <p14:nvContentPartPr>
                <p14:cNvPr id="19" name="Ink 18">
                  <a:extLst>
                    <a:ext uri="{FF2B5EF4-FFF2-40B4-BE49-F238E27FC236}">
                      <a16:creationId xmlns:a16="http://schemas.microsoft.com/office/drawing/2014/main" id="{D6C18821-9181-4733-B0ED-889ABA87589B}"/>
                    </a:ext>
                  </a:extLst>
                </p14:cNvPr>
                <p14:cNvContentPartPr/>
                <p14:nvPr/>
              </p14:nvContentPartPr>
              <p14:xfrm>
                <a:off x="3496534" y="5667642"/>
                <a:ext cx="369720" cy="219960"/>
              </p14:xfrm>
            </p:contentPart>
          </mc:Choice>
          <mc:Fallback xmlns="">
            <p:pic>
              <p:nvPicPr>
                <p:cNvPr id="19" name="Ink 18">
                  <a:extLst>
                    <a:ext uri="{FF2B5EF4-FFF2-40B4-BE49-F238E27FC236}">
                      <a16:creationId xmlns:a16="http://schemas.microsoft.com/office/drawing/2014/main" id="{D6C18821-9181-4733-B0ED-889ABA87589B}"/>
                    </a:ext>
                  </a:extLst>
                </p:cNvPr>
                <p:cNvPicPr/>
                <p:nvPr/>
              </p:nvPicPr>
              <p:blipFill>
                <a:blip r:embed="rId78"/>
                <a:stretch>
                  <a:fillRect/>
                </a:stretch>
              </p:blipFill>
              <p:spPr>
                <a:xfrm>
                  <a:off x="3460894" y="5631642"/>
                  <a:ext cx="441360" cy="291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9">
              <p14:nvContentPartPr>
                <p14:cNvPr id="20" name="Ink 19">
                  <a:extLst>
                    <a:ext uri="{FF2B5EF4-FFF2-40B4-BE49-F238E27FC236}">
                      <a16:creationId xmlns:a16="http://schemas.microsoft.com/office/drawing/2014/main" id="{3DEB2551-02CC-4AC6-BDF7-4AA672FFD3C0}"/>
                    </a:ext>
                  </a:extLst>
                </p14:cNvPr>
                <p14:cNvContentPartPr/>
                <p14:nvPr/>
              </p14:nvContentPartPr>
              <p14:xfrm>
                <a:off x="3046894" y="5975082"/>
                <a:ext cx="1056960" cy="185040"/>
              </p14:xfrm>
            </p:contentPart>
          </mc:Choice>
          <mc:Fallback xmlns="">
            <p:pic>
              <p:nvPicPr>
                <p:cNvPr id="20" name="Ink 19">
                  <a:extLst>
                    <a:ext uri="{FF2B5EF4-FFF2-40B4-BE49-F238E27FC236}">
                      <a16:creationId xmlns:a16="http://schemas.microsoft.com/office/drawing/2014/main" id="{3DEB2551-02CC-4AC6-BDF7-4AA672FFD3C0}"/>
                    </a:ext>
                  </a:extLst>
                </p:cNvPr>
                <p:cNvPicPr/>
                <p:nvPr/>
              </p:nvPicPr>
              <p:blipFill>
                <a:blip r:embed="rId80"/>
                <a:stretch>
                  <a:fillRect/>
                </a:stretch>
              </p:blipFill>
              <p:spPr>
                <a:xfrm>
                  <a:off x="3011254" y="5939082"/>
                  <a:ext cx="1128600" cy="256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1">
              <p14:nvContentPartPr>
                <p14:cNvPr id="21" name="Ink 20">
                  <a:extLst>
                    <a:ext uri="{FF2B5EF4-FFF2-40B4-BE49-F238E27FC236}">
                      <a16:creationId xmlns:a16="http://schemas.microsoft.com/office/drawing/2014/main" id="{70C217F5-6E11-4DCB-9F9D-AA6CB5D8A817}"/>
                    </a:ext>
                  </a:extLst>
                </p14:cNvPr>
                <p14:cNvContentPartPr/>
                <p14:nvPr/>
              </p14:nvContentPartPr>
              <p14:xfrm>
                <a:off x="3353254" y="6251922"/>
                <a:ext cx="264240" cy="142920"/>
              </p14:xfrm>
            </p:contentPart>
          </mc:Choice>
          <mc:Fallback xmlns="">
            <p:pic>
              <p:nvPicPr>
                <p:cNvPr id="21" name="Ink 20">
                  <a:extLst>
                    <a:ext uri="{FF2B5EF4-FFF2-40B4-BE49-F238E27FC236}">
                      <a16:creationId xmlns:a16="http://schemas.microsoft.com/office/drawing/2014/main" id="{70C217F5-6E11-4DCB-9F9D-AA6CB5D8A817}"/>
                    </a:ext>
                  </a:extLst>
                </p:cNvPr>
                <p:cNvPicPr/>
                <p:nvPr/>
              </p:nvPicPr>
              <p:blipFill>
                <a:blip r:embed="rId82"/>
                <a:stretch>
                  <a:fillRect/>
                </a:stretch>
              </p:blipFill>
              <p:spPr>
                <a:xfrm>
                  <a:off x="3317614" y="6215922"/>
                  <a:ext cx="335880" cy="214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3">
              <p14:nvContentPartPr>
                <p14:cNvPr id="22" name="Ink 21">
                  <a:extLst>
                    <a:ext uri="{FF2B5EF4-FFF2-40B4-BE49-F238E27FC236}">
                      <a16:creationId xmlns:a16="http://schemas.microsoft.com/office/drawing/2014/main" id="{75850A17-B0AE-4476-992E-F98C29167B2F}"/>
                    </a:ext>
                  </a:extLst>
                </p14:cNvPr>
                <p14:cNvContentPartPr/>
                <p14:nvPr/>
              </p14:nvContentPartPr>
              <p14:xfrm>
                <a:off x="4317694" y="5763762"/>
                <a:ext cx="234000" cy="46800"/>
              </p14:xfrm>
            </p:contentPart>
          </mc:Choice>
          <mc:Fallback xmlns="">
            <p:pic>
              <p:nvPicPr>
                <p:cNvPr id="22" name="Ink 21">
                  <a:extLst>
                    <a:ext uri="{FF2B5EF4-FFF2-40B4-BE49-F238E27FC236}">
                      <a16:creationId xmlns:a16="http://schemas.microsoft.com/office/drawing/2014/main" id="{75850A17-B0AE-4476-992E-F98C29167B2F}"/>
                    </a:ext>
                  </a:extLst>
                </p:cNvPr>
                <p:cNvPicPr/>
                <p:nvPr/>
              </p:nvPicPr>
              <p:blipFill>
                <a:blip r:embed="rId84"/>
                <a:stretch>
                  <a:fillRect/>
                </a:stretch>
              </p:blipFill>
              <p:spPr>
                <a:xfrm>
                  <a:off x="4281694" y="5728122"/>
                  <a:ext cx="305640" cy="118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5">
              <p14:nvContentPartPr>
                <p14:cNvPr id="23" name="Ink 22">
                  <a:extLst>
                    <a:ext uri="{FF2B5EF4-FFF2-40B4-BE49-F238E27FC236}">
                      <a16:creationId xmlns:a16="http://schemas.microsoft.com/office/drawing/2014/main" id="{139FA090-67BC-4291-A627-6A877B04E77B}"/>
                    </a:ext>
                  </a:extLst>
                </p14:cNvPr>
                <p14:cNvContentPartPr/>
                <p14:nvPr/>
              </p14:nvContentPartPr>
              <p14:xfrm>
                <a:off x="4396534" y="5884362"/>
                <a:ext cx="177480" cy="21600"/>
              </p14:xfrm>
            </p:contentPart>
          </mc:Choice>
          <mc:Fallback xmlns="">
            <p:pic>
              <p:nvPicPr>
                <p:cNvPr id="23" name="Ink 22">
                  <a:extLst>
                    <a:ext uri="{FF2B5EF4-FFF2-40B4-BE49-F238E27FC236}">
                      <a16:creationId xmlns:a16="http://schemas.microsoft.com/office/drawing/2014/main" id="{139FA090-67BC-4291-A627-6A877B04E77B}"/>
                    </a:ext>
                  </a:extLst>
                </p:cNvPr>
                <p:cNvPicPr/>
                <p:nvPr/>
              </p:nvPicPr>
              <p:blipFill>
                <a:blip r:embed="rId86"/>
                <a:stretch>
                  <a:fillRect/>
                </a:stretch>
              </p:blipFill>
              <p:spPr>
                <a:xfrm>
                  <a:off x="4360894" y="5848362"/>
                  <a:ext cx="249120" cy="93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7">
              <p14:nvContentPartPr>
                <p14:cNvPr id="24" name="Ink 23">
                  <a:extLst>
                    <a:ext uri="{FF2B5EF4-FFF2-40B4-BE49-F238E27FC236}">
                      <a16:creationId xmlns:a16="http://schemas.microsoft.com/office/drawing/2014/main" id="{41851C92-97B5-4BB7-B58F-17AE67FEB4C0}"/>
                    </a:ext>
                  </a:extLst>
                </p14:cNvPr>
                <p14:cNvContentPartPr/>
                <p14:nvPr/>
              </p14:nvContentPartPr>
              <p14:xfrm>
                <a:off x="5042374" y="5668002"/>
                <a:ext cx="115560" cy="163440"/>
              </p14:xfrm>
            </p:contentPart>
          </mc:Choice>
          <mc:Fallback xmlns="">
            <p:pic>
              <p:nvPicPr>
                <p:cNvPr id="24" name="Ink 23">
                  <a:extLst>
                    <a:ext uri="{FF2B5EF4-FFF2-40B4-BE49-F238E27FC236}">
                      <a16:creationId xmlns:a16="http://schemas.microsoft.com/office/drawing/2014/main" id="{41851C92-97B5-4BB7-B58F-17AE67FEB4C0}"/>
                    </a:ext>
                  </a:extLst>
                </p:cNvPr>
                <p:cNvPicPr/>
                <p:nvPr/>
              </p:nvPicPr>
              <p:blipFill>
                <a:blip r:embed="rId88"/>
                <a:stretch>
                  <a:fillRect/>
                </a:stretch>
              </p:blipFill>
              <p:spPr>
                <a:xfrm>
                  <a:off x="5006734" y="5632362"/>
                  <a:ext cx="187200" cy="235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9">
              <p14:nvContentPartPr>
                <p14:cNvPr id="25" name="Ink 24">
                  <a:extLst>
                    <a:ext uri="{FF2B5EF4-FFF2-40B4-BE49-F238E27FC236}">
                      <a16:creationId xmlns:a16="http://schemas.microsoft.com/office/drawing/2014/main" id="{2BDB123B-8086-4B87-87F9-B489ACFE7248}"/>
                    </a:ext>
                  </a:extLst>
                </p14:cNvPr>
                <p14:cNvContentPartPr/>
                <p14:nvPr/>
              </p14:nvContentPartPr>
              <p14:xfrm>
                <a:off x="5228494" y="5710842"/>
                <a:ext cx="45720" cy="12600"/>
              </p14:xfrm>
            </p:contentPart>
          </mc:Choice>
          <mc:Fallback xmlns="">
            <p:pic>
              <p:nvPicPr>
                <p:cNvPr id="25" name="Ink 24">
                  <a:extLst>
                    <a:ext uri="{FF2B5EF4-FFF2-40B4-BE49-F238E27FC236}">
                      <a16:creationId xmlns:a16="http://schemas.microsoft.com/office/drawing/2014/main" id="{2BDB123B-8086-4B87-87F9-B489ACFE7248}"/>
                    </a:ext>
                  </a:extLst>
                </p:cNvPr>
                <p:cNvPicPr/>
                <p:nvPr/>
              </p:nvPicPr>
              <p:blipFill>
                <a:blip r:embed="rId90"/>
                <a:stretch>
                  <a:fillRect/>
                </a:stretch>
              </p:blipFill>
              <p:spPr>
                <a:xfrm>
                  <a:off x="5192494" y="5675202"/>
                  <a:ext cx="117360" cy="84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1">
              <p14:nvContentPartPr>
                <p14:cNvPr id="26" name="Ink 25">
                  <a:extLst>
                    <a:ext uri="{FF2B5EF4-FFF2-40B4-BE49-F238E27FC236}">
                      <a16:creationId xmlns:a16="http://schemas.microsoft.com/office/drawing/2014/main" id="{1742148D-E7D6-4558-B24F-DA0F848D890E}"/>
                    </a:ext>
                  </a:extLst>
                </p14:cNvPr>
                <p14:cNvContentPartPr/>
                <p14:nvPr/>
              </p14:nvContentPartPr>
              <p14:xfrm>
                <a:off x="5358814" y="5605362"/>
                <a:ext cx="162720" cy="173520"/>
              </p14:xfrm>
            </p:contentPart>
          </mc:Choice>
          <mc:Fallback xmlns="">
            <p:pic>
              <p:nvPicPr>
                <p:cNvPr id="26" name="Ink 25">
                  <a:extLst>
                    <a:ext uri="{FF2B5EF4-FFF2-40B4-BE49-F238E27FC236}">
                      <a16:creationId xmlns:a16="http://schemas.microsoft.com/office/drawing/2014/main" id="{1742148D-E7D6-4558-B24F-DA0F848D890E}"/>
                    </a:ext>
                  </a:extLst>
                </p:cNvPr>
                <p:cNvPicPr/>
                <p:nvPr/>
              </p:nvPicPr>
              <p:blipFill>
                <a:blip r:embed="rId92"/>
                <a:stretch>
                  <a:fillRect/>
                </a:stretch>
              </p:blipFill>
              <p:spPr>
                <a:xfrm>
                  <a:off x="5323174" y="5569362"/>
                  <a:ext cx="234360" cy="245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3">
              <p14:nvContentPartPr>
                <p14:cNvPr id="27" name="Ink 26">
                  <a:extLst>
                    <a:ext uri="{FF2B5EF4-FFF2-40B4-BE49-F238E27FC236}">
                      <a16:creationId xmlns:a16="http://schemas.microsoft.com/office/drawing/2014/main" id="{571B4A79-A06C-494E-A5DD-9800CF8A9D87}"/>
                    </a:ext>
                  </a:extLst>
                </p14:cNvPr>
                <p14:cNvContentPartPr/>
                <p14:nvPr/>
              </p14:nvContentPartPr>
              <p14:xfrm>
                <a:off x="5576254" y="5567202"/>
                <a:ext cx="143280" cy="227880"/>
              </p14:xfrm>
            </p:contentPart>
          </mc:Choice>
          <mc:Fallback xmlns="">
            <p:pic>
              <p:nvPicPr>
                <p:cNvPr id="27" name="Ink 26">
                  <a:extLst>
                    <a:ext uri="{FF2B5EF4-FFF2-40B4-BE49-F238E27FC236}">
                      <a16:creationId xmlns:a16="http://schemas.microsoft.com/office/drawing/2014/main" id="{571B4A79-A06C-494E-A5DD-9800CF8A9D87}"/>
                    </a:ext>
                  </a:extLst>
                </p:cNvPr>
                <p:cNvPicPr/>
                <p:nvPr/>
              </p:nvPicPr>
              <p:blipFill>
                <a:blip r:embed="rId94"/>
                <a:stretch>
                  <a:fillRect/>
                </a:stretch>
              </p:blipFill>
              <p:spPr>
                <a:xfrm>
                  <a:off x="5540254" y="5531562"/>
                  <a:ext cx="214920" cy="299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5">
              <p14:nvContentPartPr>
                <p14:cNvPr id="28" name="Ink 27">
                  <a:extLst>
                    <a:ext uri="{FF2B5EF4-FFF2-40B4-BE49-F238E27FC236}">
                      <a16:creationId xmlns:a16="http://schemas.microsoft.com/office/drawing/2014/main" id="{2F7BABBC-6F1C-4B30-86AF-BE9A84A25AE9}"/>
                    </a:ext>
                  </a:extLst>
                </p14:cNvPr>
                <p14:cNvContentPartPr/>
                <p14:nvPr/>
              </p14:nvContentPartPr>
              <p14:xfrm>
                <a:off x="5918974" y="5686722"/>
                <a:ext cx="103680" cy="6840"/>
              </p14:xfrm>
            </p:contentPart>
          </mc:Choice>
          <mc:Fallback xmlns="">
            <p:pic>
              <p:nvPicPr>
                <p:cNvPr id="28" name="Ink 27">
                  <a:extLst>
                    <a:ext uri="{FF2B5EF4-FFF2-40B4-BE49-F238E27FC236}">
                      <a16:creationId xmlns:a16="http://schemas.microsoft.com/office/drawing/2014/main" id="{2F7BABBC-6F1C-4B30-86AF-BE9A84A25AE9}"/>
                    </a:ext>
                  </a:extLst>
                </p:cNvPr>
                <p:cNvPicPr/>
                <p:nvPr/>
              </p:nvPicPr>
              <p:blipFill>
                <a:blip r:embed="rId96"/>
                <a:stretch>
                  <a:fillRect/>
                </a:stretch>
              </p:blipFill>
              <p:spPr>
                <a:xfrm>
                  <a:off x="5882974" y="5651082"/>
                  <a:ext cx="175320" cy="78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7">
              <p14:nvContentPartPr>
                <p14:cNvPr id="29" name="Ink 28">
                  <a:extLst>
                    <a:ext uri="{FF2B5EF4-FFF2-40B4-BE49-F238E27FC236}">
                      <a16:creationId xmlns:a16="http://schemas.microsoft.com/office/drawing/2014/main" id="{AE4A2713-95EF-40AF-AA0E-513CE2C393D9}"/>
                    </a:ext>
                  </a:extLst>
                </p14:cNvPr>
                <p14:cNvContentPartPr/>
                <p14:nvPr/>
              </p14:nvContentPartPr>
              <p14:xfrm>
                <a:off x="6161614" y="5543442"/>
                <a:ext cx="158760" cy="158760"/>
              </p14:xfrm>
            </p:contentPart>
          </mc:Choice>
          <mc:Fallback xmlns="">
            <p:pic>
              <p:nvPicPr>
                <p:cNvPr id="29" name="Ink 28">
                  <a:extLst>
                    <a:ext uri="{FF2B5EF4-FFF2-40B4-BE49-F238E27FC236}">
                      <a16:creationId xmlns:a16="http://schemas.microsoft.com/office/drawing/2014/main" id="{AE4A2713-95EF-40AF-AA0E-513CE2C393D9}"/>
                    </a:ext>
                  </a:extLst>
                </p:cNvPr>
                <p:cNvPicPr/>
                <p:nvPr/>
              </p:nvPicPr>
              <p:blipFill>
                <a:blip r:embed="rId98"/>
                <a:stretch>
                  <a:fillRect/>
                </a:stretch>
              </p:blipFill>
              <p:spPr>
                <a:xfrm>
                  <a:off x="6125974" y="5507442"/>
                  <a:ext cx="230400" cy="230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9">
              <p14:nvContentPartPr>
                <p14:cNvPr id="30" name="Ink 29">
                  <a:extLst>
                    <a:ext uri="{FF2B5EF4-FFF2-40B4-BE49-F238E27FC236}">
                      <a16:creationId xmlns:a16="http://schemas.microsoft.com/office/drawing/2014/main" id="{0AF2F6AA-84D4-4B01-9B22-8CA56633EE93}"/>
                    </a:ext>
                  </a:extLst>
                </p14:cNvPr>
                <p14:cNvContentPartPr/>
                <p14:nvPr/>
              </p14:nvContentPartPr>
              <p14:xfrm>
                <a:off x="6340534" y="5598162"/>
                <a:ext cx="62280" cy="9000"/>
              </p14:xfrm>
            </p:contentPart>
          </mc:Choice>
          <mc:Fallback xmlns="">
            <p:pic>
              <p:nvPicPr>
                <p:cNvPr id="30" name="Ink 29">
                  <a:extLst>
                    <a:ext uri="{FF2B5EF4-FFF2-40B4-BE49-F238E27FC236}">
                      <a16:creationId xmlns:a16="http://schemas.microsoft.com/office/drawing/2014/main" id="{0AF2F6AA-84D4-4B01-9B22-8CA56633EE93}"/>
                    </a:ext>
                  </a:extLst>
                </p:cNvPr>
                <p:cNvPicPr/>
                <p:nvPr/>
              </p:nvPicPr>
              <p:blipFill>
                <a:blip r:embed="rId100"/>
                <a:stretch>
                  <a:fillRect/>
                </a:stretch>
              </p:blipFill>
              <p:spPr>
                <a:xfrm>
                  <a:off x="6304894" y="5562162"/>
                  <a:ext cx="133920" cy="80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1">
              <p14:nvContentPartPr>
                <p14:cNvPr id="31" name="Ink 30">
                  <a:extLst>
                    <a:ext uri="{FF2B5EF4-FFF2-40B4-BE49-F238E27FC236}">
                      <a16:creationId xmlns:a16="http://schemas.microsoft.com/office/drawing/2014/main" id="{A27C806B-18ED-4318-856C-E96C00A82D51}"/>
                    </a:ext>
                  </a:extLst>
                </p14:cNvPr>
                <p14:cNvContentPartPr/>
                <p14:nvPr/>
              </p14:nvContentPartPr>
              <p14:xfrm>
                <a:off x="6477334" y="5472162"/>
                <a:ext cx="330120" cy="213120"/>
              </p14:xfrm>
            </p:contentPart>
          </mc:Choice>
          <mc:Fallback xmlns="">
            <p:pic>
              <p:nvPicPr>
                <p:cNvPr id="31" name="Ink 30">
                  <a:extLst>
                    <a:ext uri="{FF2B5EF4-FFF2-40B4-BE49-F238E27FC236}">
                      <a16:creationId xmlns:a16="http://schemas.microsoft.com/office/drawing/2014/main" id="{A27C806B-18ED-4318-856C-E96C00A82D51}"/>
                    </a:ext>
                  </a:extLst>
                </p:cNvPr>
                <p:cNvPicPr/>
                <p:nvPr/>
              </p:nvPicPr>
              <p:blipFill>
                <a:blip r:embed="rId102"/>
                <a:stretch>
                  <a:fillRect/>
                </a:stretch>
              </p:blipFill>
              <p:spPr>
                <a:xfrm>
                  <a:off x="6441334" y="5436522"/>
                  <a:ext cx="401760" cy="284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3">
              <p14:nvContentPartPr>
                <p14:cNvPr id="256" name="Ink 255">
                  <a:extLst>
                    <a:ext uri="{FF2B5EF4-FFF2-40B4-BE49-F238E27FC236}">
                      <a16:creationId xmlns:a16="http://schemas.microsoft.com/office/drawing/2014/main" id="{3F26FF7D-02C2-437F-B3FD-02FD686E3FD2}"/>
                    </a:ext>
                  </a:extLst>
                </p14:cNvPr>
                <p14:cNvContentPartPr/>
                <p14:nvPr/>
              </p14:nvContentPartPr>
              <p14:xfrm>
                <a:off x="6966574" y="5528682"/>
                <a:ext cx="131040" cy="164880"/>
              </p14:xfrm>
            </p:contentPart>
          </mc:Choice>
          <mc:Fallback xmlns="">
            <p:pic>
              <p:nvPicPr>
                <p:cNvPr id="256" name="Ink 255">
                  <a:extLst>
                    <a:ext uri="{FF2B5EF4-FFF2-40B4-BE49-F238E27FC236}">
                      <a16:creationId xmlns:a16="http://schemas.microsoft.com/office/drawing/2014/main" id="{3F26FF7D-02C2-437F-B3FD-02FD686E3FD2}"/>
                    </a:ext>
                  </a:extLst>
                </p:cNvPr>
                <p:cNvPicPr/>
                <p:nvPr/>
              </p:nvPicPr>
              <p:blipFill>
                <a:blip r:embed="rId104"/>
                <a:stretch>
                  <a:fillRect/>
                </a:stretch>
              </p:blipFill>
              <p:spPr>
                <a:xfrm>
                  <a:off x="6930574" y="5492682"/>
                  <a:ext cx="202680" cy="236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5">
              <p14:nvContentPartPr>
                <p14:cNvPr id="257" name="Ink 256">
                  <a:extLst>
                    <a:ext uri="{FF2B5EF4-FFF2-40B4-BE49-F238E27FC236}">
                      <a16:creationId xmlns:a16="http://schemas.microsoft.com/office/drawing/2014/main" id="{86F24277-97CC-46DE-A5FC-99605DD20B55}"/>
                    </a:ext>
                  </a:extLst>
                </p14:cNvPr>
                <p14:cNvContentPartPr/>
                <p14:nvPr/>
              </p14:nvContentPartPr>
              <p14:xfrm>
                <a:off x="7004734" y="5490162"/>
                <a:ext cx="143280" cy="33840"/>
              </p14:xfrm>
            </p:contentPart>
          </mc:Choice>
          <mc:Fallback xmlns="">
            <p:pic>
              <p:nvPicPr>
                <p:cNvPr id="257" name="Ink 256">
                  <a:extLst>
                    <a:ext uri="{FF2B5EF4-FFF2-40B4-BE49-F238E27FC236}">
                      <a16:creationId xmlns:a16="http://schemas.microsoft.com/office/drawing/2014/main" id="{86F24277-97CC-46DE-A5FC-99605DD20B55}"/>
                    </a:ext>
                  </a:extLst>
                </p:cNvPr>
                <p:cNvPicPr/>
                <p:nvPr/>
              </p:nvPicPr>
              <p:blipFill>
                <a:blip r:embed="rId106"/>
                <a:stretch>
                  <a:fillRect/>
                </a:stretch>
              </p:blipFill>
              <p:spPr>
                <a:xfrm>
                  <a:off x="6968734" y="5454162"/>
                  <a:ext cx="214920" cy="105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7">
              <p14:nvContentPartPr>
                <p14:cNvPr id="258" name="Ink 257">
                  <a:extLst>
                    <a:ext uri="{FF2B5EF4-FFF2-40B4-BE49-F238E27FC236}">
                      <a16:creationId xmlns:a16="http://schemas.microsoft.com/office/drawing/2014/main" id="{AC5D3C75-D492-4338-8E4E-DB7E5593829B}"/>
                    </a:ext>
                  </a:extLst>
                </p14:cNvPr>
                <p14:cNvContentPartPr/>
                <p14:nvPr/>
              </p14:nvContentPartPr>
              <p14:xfrm>
                <a:off x="5084134" y="5837922"/>
                <a:ext cx="1900080" cy="197280"/>
              </p14:xfrm>
            </p:contentPart>
          </mc:Choice>
          <mc:Fallback xmlns="">
            <p:pic>
              <p:nvPicPr>
                <p:cNvPr id="258" name="Ink 257">
                  <a:extLst>
                    <a:ext uri="{FF2B5EF4-FFF2-40B4-BE49-F238E27FC236}">
                      <a16:creationId xmlns:a16="http://schemas.microsoft.com/office/drawing/2014/main" id="{AC5D3C75-D492-4338-8E4E-DB7E5593829B}"/>
                    </a:ext>
                  </a:extLst>
                </p:cNvPr>
                <p:cNvPicPr/>
                <p:nvPr/>
              </p:nvPicPr>
              <p:blipFill>
                <a:blip r:embed="rId108"/>
                <a:stretch>
                  <a:fillRect/>
                </a:stretch>
              </p:blipFill>
              <p:spPr>
                <a:xfrm>
                  <a:off x="5048134" y="5802282"/>
                  <a:ext cx="1971720" cy="268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9">
              <p14:nvContentPartPr>
                <p14:cNvPr id="259" name="Ink 258">
                  <a:extLst>
                    <a:ext uri="{FF2B5EF4-FFF2-40B4-BE49-F238E27FC236}">
                      <a16:creationId xmlns:a16="http://schemas.microsoft.com/office/drawing/2014/main" id="{E6527163-D6D7-478F-9CA2-3C705333E799}"/>
                    </a:ext>
                  </a:extLst>
                </p14:cNvPr>
                <p14:cNvContentPartPr/>
                <p14:nvPr/>
              </p14:nvContentPartPr>
              <p14:xfrm>
                <a:off x="5908174" y="6168402"/>
                <a:ext cx="132840" cy="181080"/>
              </p14:xfrm>
            </p:contentPart>
          </mc:Choice>
          <mc:Fallback xmlns="">
            <p:pic>
              <p:nvPicPr>
                <p:cNvPr id="259" name="Ink 258">
                  <a:extLst>
                    <a:ext uri="{FF2B5EF4-FFF2-40B4-BE49-F238E27FC236}">
                      <a16:creationId xmlns:a16="http://schemas.microsoft.com/office/drawing/2014/main" id="{E6527163-D6D7-478F-9CA2-3C705333E799}"/>
                    </a:ext>
                  </a:extLst>
                </p:cNvPr>
                <p:cNvPicPr/>
                <p:nvPr/>
              </p:nvPicPr>
              <p:blipFill>
                <a:blip r:embed="rId110"/>
                <a:stretch>
                  <a:fillRect/>
                </a:stretch>
              </p:blipFill>
              <p:spPr>
                <a:xfrm>
                  <a:off x="5872174" y="6132762"/>
                  <a:ext cx="204480" cy="252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1">
              <p14:nvContentPartPr>
                <p14:cNvPr id="260" name="Ink 259">
                  <a:extLst>
                    <a:ext uri="{FF2B5EF4-FFF2-40B4-BE49-F238E27FC236}">
                      <a16:creationId xmlns:a16="http://schemas.microsoft.com/office/drawing/2014/main" id="{983E4BF0-1E37-4542-BB6A-C98D232738E7}"/>
                    </a:ext>
                  </a:extLst>
                </p14:cNvPr>
                <p14:cNvContentPartPr/>
                <p14:nvPr/>
              </p14:nvContentPartPr>
              <p14:xfrm>
                <a:off x="6074854" y="6231762"/>
                <a:ext cx="48240" cy="8640"/>
              </p14:xfrm>
            </p:contentPart>
          </mc:Choice>
          <mc:Fallback xmlns="">
            <p:pic>
              <p:nvPicPr>
                <p:cNvPr id="260" name="Ink 259">
                  <a:extLst>
                    <a:ext uri="{FF2B5EF4-FFF2-40B4-BE49-F238E27FC236}">
                      <a16:creationId xmlns:a16="http://schemas.microsoft.com/office/drawing/2014/main" id="{983E4BF0-1E37-4542-BB6A-C98D232738E7}"/>
                    </a:ext>
                  </a:extLst>
                </p:cNvPr>
                <p:cNvPicPr/>
                <p:nvPr/>
              </p:nvPicPr>
              <p:blipFill>
                <a:blip r:embed="rId112"/>
                <a:stretch>
                  <a:fillRect/>
                </a:stretch>
              </p:blipFill>
              <p:spPr>
                <a:xfrm>
                  <a:off x="6039214" y="6196122"/>
                  <a:ext cx="119880" cy="80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3">
              <p14:nvContentPartPr>
                <p14:cNvPr id="261" name="Ink 260">
                  <a:extLst>
                    <a:ext uri="{FF2B5EF4-FFF2-40B4-BE49-F238E27FC236}">
                      <a16:creationId xmlns:a16="http://schemas.microsoft.com/office/drawing/2014/main" id="{209EB2F7-4024-4B3C-8101-240CA382D496}"/>
                    </a:ext>
                  </a:extLst>
                </p14:cNvPr>
                <p14:cNvContentPartPr/>
                <p14:nvPr/>
              </p14:nvContentPartPr>
              <p14:xfrm>
                <a:off x="6258094" y="6170202"/>
                <a:ext cx="100440" cy="102600"/>
              </p14:xfrm>
            </p:contentPart>
          </mc:Choice>
          <mc:Fallback xmlns="">
            <p:pic>
              <p:nvPicPr>
                <p:cNvPr id="261" name="Ink 260">
                  <a:extLst>
                    <a:ext uri="{FF2B5EF4-FFF2-40B4-BE49-F238E27FC236}">
                      <a16:creationId xmlns:a16="http://schemas.microsoft.com/office/drawing/2014/main" id="{209EB2F7-4024-4B3C-8101-240CA382D496}"/>
                    </a:ext>
                  </a:extLst>
                </p:cNvPr>
                <p:cNvPicPr/>
                <p:nvPr/>
              </p:nvPicPr>
              <p:blipFill>
                <a:blip r:embed="rId114"/>
                <a:stretch>
                  <a:fillRect/>
                </a:stretch>
              </p:blipFill>
              <p:spPr>
                <a:xfrm>
                  <a:off x="6222454" y="6134202"/>
                  <a:ext cx="172080" cy="174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5">
              <p14:nvContentPartPr>
                <p14:cNvPr id="262" name="Ink 261">
                  <a:extLst>
                    <a:ext uri="{FF2B5EF4-FFF2-40B4-BE49-F238E27FC236}">
                      <a16:creationId xmlns:a16="http://schemas.microsoft.com/office/drawing/2014/main" id="{A568D0C5-2D60-4271-B4EF-098C5191DFE5}"/>
                    </a:ext>
                  </a:extLst>
                </p14:cNvPr>
                <p14:cNvContentPartPr/>
                <p14:nvPr/>
              </p14:nvContentPartPr>
              <p14:xfrm>
                <a:off x="6376174" y="6146442"/>
                <a:ext cx="223920" cy="134640"/>
              </p14:xfrm>
            </p:contentPart>
          </mc:Choice>
          <mc:Fallback xmlns="">
            <p:pic>
              <p:nvPicPr>
                <p:cNvPr id="262" name="Ink 261">
                  <a:extLst>
                    <a:ext uri="{FF2B5EF4-FFF2-40B4-BE49-F238E27FC236}">
                      <a16:creationId xmlns:a16="http://schemas.microsoft.com/office/drawing/2014/main" id="{A568D0C5-2D60-4271-B4EF-098C5191DFE5}"/>
                    </a:ext>
                  </a:extLst>
                </p:cNvPr>
                <p:cNvPicPr/>
                <p:nvPr/>
              </p:nvPicPr>
              <p:blipFill>
                <a:blip r:embed="rId116"/>
                <a:stretch>
                  <a:fillRect/>
                </a:stretch>
              </p:blipFill>
              <p:spPr>
                <a:xfrm>
                  <a:off x="6340534" y="6110802"/>
                  <a:ext cx="295560" cy="206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7">
              <p14:nvContentPartPr>
                <p14:cNvPr id="263" name="Ink 262">
                  <a:extLst>
                    <a:ext uri="{FF2B5EF4-FFF2-40B4-BE49-F238E27FC236}">
                      <a16:creationId xmlns:a16="http://schemas.microsoft.com/office/drawing/2014/main" id="{E1F2940B-69CD-4F29-A3CC-8B424F3C29A2}"/>
                    </a:ext>
                  </a:extLst>
                </p14:cNvPr>
                <p14:cNvContentPartPr/>
                <p14:nvPr/>
              </p14:nvContentPartPr>
              <p14:xfrm>
                <a:off x="6712414" y="6059682"/>
                <a:ext cx="211320" cy="216360"/>
              </p14:xfrm>
            </p:contentPart>
          </mc:Choice>
          <mc:Fallback xmlns="">
            <p:pic>
              <p:nvPicPr>
                <p:cNvPr id="263" name="Ink 262">
                  <a:extLst>
                    <a:ext uri="{FF2B5EF4-FFF2-40B4-BE49-F238E27FC236}">
                      <a16:creationId xmlns:a16="http://schemas.microsoft.com/office/drawing/2014/main" id="{E1F2940B-69CD-4F29-A3CC-8B424F3C29A2}"/>
                    </a:ext>
                  </a:extLst>
                </p:cNvPr>
                <p:cNvPicPr/>
                <p:nvPr/>
              </p:nvPicPr>
              <p:blipFill>
                <a:blip r:embed="rId118"/>
                <a:stretch>
                  <a:fillRect/>
                </a:stretch>
              </p:blipFill>
              <p:spPr>
                <a:xfrm>
                  <a:off x="6676774" y="6024042"/>
                  <a:ext cx="282960" cy="28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9">
              <p14:nvContentPartPr>
                <p14:cNvPr id="266" name="Ink 265">
                  <a:extLst>
                    <a:ext uri="{FF2B5EF4-FFF2-40B4-BE49-F238E27FC236}">
                      <a16:creationId xmlns:a16="http://schemas.microsoft.com/office/drawing/2014/main" id="{41A1BE0D-E509-484A-86BB-666D9D62735A}"/>
                    </a:ext>
                  </a:extLst>
                </p14:cNvPr>
                <p14:cNvContentPartPr/>
                <p14:nvPr/>
              </p14:nvContentPartPr>
              <p14:xfrm>
                <a:off x="7350334" y="5751522"/>
                <a:ext cx="163800" cy="5400"/>
              </p14:xfrm>
            </p:contentPart>
          </mc:Choice>
          <mc:Fallback xmlns="">
            <p:pic>
              <p:nvPicPr>
                <p:cNvPr id="266" name="Ink 265">
                  <a:extLst>
                    <a:ext uri="{FF2B5EF4-FFF2-40B4-BE49-F238E27FC236}">
                      <a16:creationId xmlns:a16="http://schemas.microsoft.com/office/drawing/2014/main" id="{41A1BE0D-E509-484A-86BB-666D9D62735A}"/>
                    </a:ext>
                  </a:extLst>
                </p:cNvPr>
                <p:cNvPicPr/>
                <p:nvPr/>
              </p:nvPicPr>
              <p:blipFill>
                <a:blip r:embed="rId120"/>
                <a:stretch>
                  <a:fillRect/>
                </a:stretch>
              </p:blipFill>
              <p:spPr>
                <a:xfrm>
                  <a:off x="7314334" y="5715522"/>
                  <a:ext cx="235440" cy="77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1">
              <p14:nvContentPartPr>
                <p14:cNvPr id="267" name="Ink 266">
                  <a:extLst>
                    <a:ext uri="{FF2B5EF4-FFF2-40B4-BE49-F238E27FC236}">
                      <a16:creationId xmlns:a16="http://schemas.microsoft.com/office/drawing/2014/main" id="{2CCF9D33-5B9A-4168-94D0-8AB3AB64C7FD}"/>
                    </a:ext>
                  </a:extLst>
                </p14:cNvPr>
                <p14:cNvContentPartPr/>
                <p14:nvPr/>
              </p14:nvContentPartPr>
              <p14:xfrm>
                <a:off x="7421614" y="5851242"/>
                <a:ext cx="179280" cy="29520"/>
              </p14:xfrm>
            </p:contentPart>
          </mc:Choice>
          <mc:Fallback xmlns="">
            <p:pic>
              <p:nvPicPr>
                <p:cNvPr id="267" name="Ink 266">
                  <a:extLst>
                    <a:ext uri="{FF2B5EF4-FFF2-40B4-BE49-F238E27FC236}">
                      <a16:creationId xmlns:a16="http://schemas.microsoft.com/office/drawing/2014/main" id="{2CCF9D33-5B9A-4168-94D0-8AB3AB64C7FD}"/>
                    </a:ext>
                  </a:extLst>
                </p:cNvPr>
                <p:cNvPicPr/>
                <p:nvPr/>
              </p:nvPicPr>
              <p:blipFill>
                <a:blip r:embed="rId122"/>
                <a:stretch>
                  <a:fillRect/>
                </a:stretch>
              </p:blipFill>
              <p:spPr>
                <a:xfrm>
                  <a:off x="7385614" y="5815602"/>
                  <a:ext cx="250920" cy="101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3">
              <p14:nvContentPartPr>
                <p14:cNvPr id="332" name="Ink 331">
                  <a:extLst>
                    <a:ext uri="{FF2B5EF4-FFF2-40B4-BE49-F238E27FC236}">
                      <a16:creationId xmlns:a16="http://schemas.microsoft.com/office/drawing/2014/main" id="{ECB7B2B7-BC87-4C8B-812B-E40A2BFE4B03}"/>
                    </a:ext>
                  </a:extLst>
                </p14:cNvPr>
                <p14:cNvContentPartPr/>
                <p14:nvPr/>
              </p14:nvContentPartPr>
              <p14:xfrm>
                <a:off x="3628768" y="6515361"/>
                <a:ext cx="114840" cy="168480"/>
              </p14:xfrm>
            </p:contentPart>
          </mc:Choice>
          <mc:Fallback xmlns="">
            <p:pic>
              <p:nvPicPr>
                <p:cNvPr id="332" name="Ink 331">
                  <a:extLst>
                    <a:ext uri="{FF2B5EF4-FFF2-40B4-BE49-F238E27FC236}">
                      <a16:creationId xmlns:a16="http://schemas.microsoft.com/office/drawing/2014/main" id="{ECB7B2B7-BC87-4C8B-812B-E40A2BFE4B03}"/>
                    </a:ext>
                  </a:extLst>
                </p:cNvPr>
                <p:cNvPicPr/>
                <p:nvPr/>
              </p:nvPicPr>
              <p:blipFill>
                <a:blip r:embed="rId124"/>
                <a:stretch>
                  <a:fillRect/>
                </a:stretch>
              </p:blipFill>
              <p:spPr>
                <a:xfrm>
                  <a:off x="3592768" y="6479361"/>
                  <a:ext cx="186480" cy="240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5">
              <p14:nvContentPartPr>
                <p14:cNvPr id="333" name="Ink 332">
                  <a:extLst>
                    <a:ext uri="{FF2B5EF4-FFF2-40B4-BE49-F238E27FC236}">
                      <a16:creationId xmlns:a16="http://schemas.microsoft.com/office/drawing/2014/main" id="{13774BF0-C361-4CC4-95B9-83BE75AD842D}"/>
                    </a:ext>
                  </a:extLst>
                </p14:cNvPr>
                <p14:cNvContentPartPr/>
                <p14:nvPr/>
              </p14:nvContentPartPr>
              <p14:xfrm>
                <a:off x="3883288" y="6548121"/>
                <a:ext cx="4680" cy="6480"/>
              </p14:xfrm>
            </p:contentPart>
          </mc:Choice>
          <mc:Fallback xmlns="">
            <p:pic>
              <p:nvPicPr>
                <p:cNvPr id="333" name="Ink 332">
                  <a:extLst>
                    <a:ext uri="{FF2B5EF4-FFF2-40B4-BE49-F238E27FC236}">
                      <a16:creationId xmlns:a16="http://schemas.microsoft.com/office/drawing/2014/main" id="{13774BF0-C361-4CC4-95B9-83BE75AD842D}"/>
                    </a:ext>
                  </a:extLst>
                </p:cNvPr>
                <p:cNvPicPr/>
                <p:nvPr/>
              </p:nvPicPr>
              <p:blipFill>
                <a:blip r:embed="rId126"/>
                <a:stretch>
                  <a:fillRect/>
                </a:stretch>
              </p:blipFill>
              <p:spPr>
                <a:xfrm>
                  <a:off x="3847648" y="6512121"/>
                  <a:ext cx="76320" cy="78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7">
              <p14:nvContentPartPr>
                <p14:cNvPr id="334" name="Ink 333">
                  <a:extLst>
                    <a:ext uri="{FF2B5EF4-FFF2-40B4-BE49-F238E27FC236}">
                      <a16:creationId xmlns:a16="http://schemas.microsoft.com/office/drawing/2014/main" id="{E885CF41-D89F-4F95-988B-D4D70AC837D6}"/>
                    </a:ext>
                  </a:extLst>
                </p14:cNvPr>
                <p14:cNvContentPartPr/>
                <p14:nvPr/>
              </p14:nvContentPartPr>
              <p14:xfrm>
                <a:off x="3898048" y="6436161"/>
                <a:ext cx="191520" cy="264240"/>
              </p14:xfrm>
            </p:contentPart>
          </mc:Choice>
          <mc:Fallback xmlns="">
            <p:pic>
              <p:nvPicPr>
                <p:cNvPr id="334" name="Ink 333">
                  <a:extLst>
                    <a:ext uri="{FF2B5EF4-FFF2-40B4-BE49-F238E27FC236}">
                      <a16:creationId xmlns:a16="http://schemas.microsoft.com/office/drawing/2014/main" id="{E885CF41-D89F-4F95-988B-D4D70AC837D6}"/>
                    </a:ext>
                  </a:extLst>
                </p:cNvPr>
                <p:cNvPicPr/>
                <p:nvPr/>
              </p:nvPicPr>
              <p:blipFill>
                <a:blip r:embed="rId128"/>
                <a:stretch>
                  <a:fillRect/>
                </a:stretch>
              </p:blipFill>
              <p:spPr>
                <a:xfrm>
                  <a:off x="3862048" y="6400521"/>
                  <a:ext cx="263160" cy="335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9">
              <p14:nvContentPartPr>
                <p14:cNvPr id="335" name="Ink 334">
                  <a:extLst>
                    <a:ext uri="{FF2B5EF4-FFF2-40B4-BE49-F238E27FC236}">
                      <a16:creationId xmlns:a16="http://schemas.microsoft.com/office/drawing/2014/main" id="{6A438A66-118A-42E5-ADBB-A7AFCEB092D4}"/>
                    </a:ext>
                  </a:extLst>
                </p14:cNvPr>
                <p14:cNvContentPartPr/>
                <p14:nvPr/>
              </p14:nvContentPartPr>
              <p14:xfrm>
                <a:off x="4115488" y="6425721"/>
                <a:ext cx="140040" cy="196920"/>
              </p14:xfrm>
            </p:contentPart>
          </mc:Choice>
          <mc:Fallback xmlns="">
            <p:pic>
              <p:nvPicPr>
                <p:cNvPr id="335" name="Ink 334">
                  <a:extLst>
                    <a:ext uri="{FF2B5EF4-FFF2-40B4-BE49-F238E27FC236}">
                      <a16:creationId xmlns:a16="http://schemas.microsoft.com/office/drawing/2014/main" id="{6A438A66-118A-42E5-ADBB-A7AFCEB092D4}"/>
                    </a:ext>
                  </a:extLst>
                </p:cNvPr>
                <p:cNvPicPr/>
                <p:nvPr/>
              </p:nvPicPr>
              <p:blipFill>
                <a:blip r:embed="rId130"/>
                <a:stretch>
                  <a:fillRect/>
                </a:stretch>
              </p:blipFill>
              <p:spPr>
                <a:xfrm>
                  <a:off x="4079848" y="6389721"/>
                  <a:ext cx="211680" cy="268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1">
              <p14:nvContentPartPr>
                <p14:cNvPr id="336" name="Ink 335">
                  <a:extLst>
                    <a:ext uri="{FF2B5EF4-FFF2-40B4-BE49-F238E27FC236}">
                      <a16:creationId xmlns:a16="http://schemas.microsoft.com/office/drawing/2014/main" id="{26EF2FD7-115A-4048-9636-5A6973C41457}"/>
                    </a:ext>
                  </a:extLst>
                </p14:cNvPr>
                <p14:cNvContentPartPr/>
                <p14:nvPr/>
              </p14:nvContentPartPr>
              <p14:xfrm>
                <a:off x="4146448" y="6398361"/>
                <a:ext cx="304560" cy="120960"/>
              </p14:xfrm>
            </p:contentPart>
          </mc:Choice>
          <mc:Fallback xmlns="">
            <p:pic>
              <p:nvPicPr>
                <p:cNvPr id="336" name="Ink 335">
                  <a:extLst>
                    <a:ext uri="{FF2B5EF4-FFF2-40B4-BE49-F238E27FC236}">
                      <a16:creationId xmlns:a16="http://schemas.microsoft.com/office/drawing/2014/main" id="{26EF2FD7-115A-4048-9636-5A6973C41457}"/>
                    </a:ext>
                  </a:extLst>
                </p:cNvPr>
                <p:cNvPicPr/>
                <p:nvPr/>
              </p:nvPicPr>
              <p:blipFill>
                <a:blip r:embed="rId132"/>
                <a:stretch>
                  <a:fillRect/>
                </a:stretch>
              </p:blipFill>
              <p:spPr>
                <a:xfrm>
                  <a:off x="4110808" y="6362721"/>
                  <a:ext cx="376200" cy="192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3">
              <p14:nvContentPartPr>
                <p14:cNvPr id="337" name="Ink 336">
                  <a:extLst>
                    <a:ext uri="{FF2B5EF4-FFF2-40B4-BE49-F238E27FC236}">
                      <a16:creationId xmlns:a16="http://schemas.microsoft.com/office/drawing/2014/main" id="{6AA16A4A-5C97-473E-9A10-FC836E161027}"/>
                    </a:ext>
                  </a:extLst>
                </p14:cNvPr>
                <p14:cNvContentPartPr/>
                <p14:nvPr/>
              </p14:nvContentPartPr>
              <p14:xfrm>
                <a:off x="4604008" y="6375321"/>
                <a:ext cx="101160" cy="170640"/>
              </p14:xfrm>
            </p:contentPart>
          </mc:Choice>
          <mc:Fallback xmlns="">
            <p:pic>
              <p:nvPicPr>
                <p:cNvPr id="337" name="Ink 336">
                  <a:extLst>
                    <a:ext uri="{FF2B5EF4-FFF2-40B4-BE49-F238E27FC236}">
                      <a16:creationId xmlns:a16="http://schemas.microsoft.com/office/drawing/2014/main" id="{6AA16A4A-5C97-473E-9A10-FC836E161027}"/>
                    </a:ext>
                  </a:extLst>
                </p:cNvPr>
                <p:cNvPicPr/>
                <p:nvPr/>
              </p:nvPicPr>
              <p:blipFill>
                <a:blip r:embed="rId134"/>
                <a:stretch>
                  <a:fillRect/>
                </a:stretch>
              </p:blipFill>
              <p:spPr>
                <a:xfrm>
                  <a:off x="4568368" y="6339321"/>
                  <a:ext cx="172800" cy="242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5">
              <p14:nvContentPartPr>
                <p14:cNvPr id="338" name="Ink 337">
                  <a:extLst>
                    <a:ext uri="{FF2B5EF4-FFF2-40B4-BE49-F238E27FC236}">
                      <a16:creationId xmlns:a16="http://schemas.microsoft.com/office/drawing/2014/main" id="{B45553E6-5F25-4188-82A2-54E687A1E37F}"/>
                    </a:ext>
                  </a:extLst>
                </p14:cNvPr>
                <p14:cNvContentPartPr/>
                <p14:nvPr/>
              </p14:nvContentPartPr>
              <p14:xfrm>
                <a:off x="4788688" y="6455241"/>
                <a:ext cx="38880" cy="2520"/>
              </p14:xfrm>
            </p:contentPart>
          </mc:Choice>
          <mc:Fallback xmlns="">
            <p:pic>
              <p:nvPicPr>
                <p:cNvPr id="338" name="Ink 337">
                  <a:extLst>
                    <a:ext uri="{FF2B5EF4-FFF2-40B4-BE49-F238E27FC236}">
                      <a16:creationId xmlns:a16="http://schemas.microsoft.com/office/drawing/2014/main" id="{B45553E6-5F25-4188-82A2-54E687A1E37F}"/>
                    </a:ext>
                  </a:extLst>
                </p:cNvPr>
                <p:cNvPicPr/>
                <p:nvPr/>
              </p:nvPicPr>
              <p:blipFill>
                <a:blip r:embed="rId136"/>
                <a:stretch>
                  <a:fillRect/>
                </a:stretch>
              </p:blipFill>
              <p:spPr>
                <a:xfrm>
                  <a:off x="4753048" y="6419601"/>
                  <a:ext cx="110520" cy="74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7">
              <p14:nvContentPartPr>
                <p14:cNvPr id="339" name="Ink 338">
                  <a:extLst>
                    <a:ext uri="{FF2B5EF4-FFF2-40B4-BE49-F238E27FC236}">
                      <a16:creationId xmlns:a16="http://schemas.microsoft.com/office/drawing/2014/main" id="{CDA2BD0E-7263-4CE5-AD77-75F7E2C2A459}"/>
                    </a:ext>
                  </a:extLst>
                </p14:cNvPr>
                <p14:cNvContentPartPr/>
                <p14:nvPr/>
              </p14:nvContentPartPr>
              <p14:xfrm>
                <a:off x="4864288" y="6309441"/>
                <a:ext cx="213840" cy="171000"/>
              </p14:xfrm>
            </p:contentPart>
          </mc:Choice>
          <mc:Fallback xmlns="">
            <p:pic>
              <p:nvPicPr>
                <p:cNvPr id="339" name="Ink 338">
                  <a:extLst>
                    <a:ext uri="{FF2B5EF4-FFF2-40B4-BE49-F238E27FC236}">
                      <a16:creationId xmlns:a16="http://schemas.microsoft.com/office/drawing/2014/main" id="{CDA2BD0E-7263-4CE5-AD77-75F7E2C2A459}"/>
                    </a:ext>
                  </a:extLst>
                </p:cNvPr>
                <p:cNvPicPr/>
                <p:nvPr/>
              </p:nvPicPr>
              <p:blipFill>
                <a:blip r:embed="rId138"/>
                <a:stretch>
                  <a:fillRect/>
                </a:stretch>
              </p:blipFill>
              <p:spPr>
                <a:xfrm>
                  <a:off x="4828288" y="6273801"/>
                  <a:ext cx="285480" cy="242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9">
              <p14:nvContentPartPr>
                <p14:cNvPr id="340" name="Ink 339">
                  <a:extLst>
                    <a:ext uri="{FF2B5EF4-FFF2-40B4-BE49-F238E27FC236}">
                      <a16:creationId xmlns:a16="http://schemas.microsoft.com/office/drawing/2014/main" id="{26C5C70A-9C67-42DD-B337-7A6B0BDA0009}"/>
                    </a:ext>
                  </a:extLst>
                </p14:cNvPr>
                <p14:cNvContentPartPr/>
                <p14:nvPr/>
              </p14:nvContentPartPr>
              <p14:xfrm>
                <a:off x="5029168" y="6256521"/>
                <a:ext cx="170280" cy="217440"/>
              </p14:xfrm>
            </p:contentPart>
          </mc:Choice>
          <mc:Fallback xmlns="">
            <p:pic>
              <p:nvPicPr>
                <p:cNvPr id="340" name="Ink 339">
                  <a:extLst>
                    <a:ext uri="{FF2B5EF4-FFF2-40B4-BE49-F238E27FC236}">
                      <a16:creationId xmlns:a16="http://schemas.microsoft.com/office/drawing/2014/main" id="{26C5C70A-9C67-42DD-B337-7A6B0BDA0009}"/>
                    </a:ext>
                  </a:extLst>
                </p:cNvPr>
                <p:cNvPicPr/>
                <p:nvPr/>
              </p:nvPicPr>
              <p:blipFill>
                <a:blip r:embed="rId140"/>
                <a:stretch>
                  <a:fillRect/>
                </a:stretch>
              </p:blipFill>
              <p:spPr>
                <a:xfrm>
                  <a:off x="4993168" y="6220521"/>
                  <a:ext cx="241920" cy="289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1">
              <p14:nvContentPartPr>
                <p14:cNvPr id="341" name="Ink 340">
                  <a:extLst>
                    <a:ext uri="{FF2B5EF4-FFF2-40B4-BE49-F238E27FC236}">
                      <a16:creationId xmlns:a16="http://schemas.microsoft.com/office/drawing/2014/main" id="{0502DA64-39C5-422D-8C13-AB2BA231346A}"/>
                    </a:ext>
                  </a:extLst>
                </p14:cNvPr>
                <p14:cNvContentPartPr/>
                <p14:nvPr/>
              </p14:nvContentPartPr>
              <p14:xfrm>
                <a:off x="5285848" y="6231321"/>
                <a:ext cx="174240" cy="164520"/>
              </p14:xfrm>
            </p:contentPart>
          </mc:Choice>
          <mc:Fallback xmlns="">
            <p:pic>
              <p:nvPicPr>
                <p:cNvPr id="341" name="Ink 340">
                  <a:extLst>
                    <a:ext uri="{FF2B5EF4-FFF2-40B4-BE49-F238E27FC236}">
                      <a16:creationId xmlns:a16="http://schemas.microsoft.com/office/drawing/2014/main" id="{0502DA64-39C5-422D-8C13-AB2BA231346A}"/>
                    </a:ext>
                  </a:extLst>
                </p:cNvPr>
                <p:cNvPicPr/>
                <p:nvPr/>
              </p:nvPicPr>
              <p:blipFill>
                <a:blip r:embed="rId142"/>
                <a:stretch>
                  <a:fillRect/>
                </a:stretch>
              </p:blipFill>
              <p:spPr>
                <a:xfrm>
                  <a:off x="5249848" y="6195681"/>
                  <a:ext cx="245880" cy="236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3">
              <p14:nvContentPartPr>
                <p14:cNvPr id="342" name="Ink 341">
                  <a:extLst>
                    <a:ext uri="{FF2B5EF4-FFF2-40B4-BE49-F238E27FC236}">
                      <a16:creationId xmlns:a16="http://schemas.microsoft.com/office/drawing/2014/main" id="{D6EA855E-C690-44D9-9700-A2616AED0C1E}"/>
                    </a:ext>
                  </a:extLst>
                </p14:cNvPr>
                <p14:cNvContentPartPr/>
                <p14:nvPr/>
              </p14:nvContentPartPr>
              <p14:xfrm>
                <a:off x="4579168" y="6619401"/>
                <a:ext cx="775440" cy="237240"/>
              </p14:xfrm>
            </p:contentPart>
          </mc:Choice>
          <mc:Fallback xmlns="">
            <p:pic>
              <p:nvPicPr>
                <p:cNvPr id="342" name="Ink 341">
                  <a:extLst>
                    <a:ext uri="{FF2B5EF4-FFF2-40B4-BE49-F238E27FC236}">
                      <a16:creationId xmlns:a16="http://schemas.microsoft.com/office/drawing/2014/main" id="{D6EA855E-C690-44D9-9700-A2616AED0C1E}"/>
                    </a:ext>
                  </a:extLst>
                </p:cNvPr>
                <p:cNvPicPr/>
                <p:nvPr/>
              </p:nvPicPr>
              <p:blipFill>
                <a:blip r:embed="rId144"/>
                <a:stretch>
                  <a:fillRect/>
                </a:stretch>
              </p:blipFill>
              <p:spPr>
                <a:xfrm>
                  <a:off x="4543168" y="6583761"/>
                  <a:ext cx="847080" cy="3088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352" name="Group 351">
            <a:extLst>
              <a:ext uri="{FF2B5EF4-FFF2-40B4-BE49-F238E27FC236}">
                <a16:creationId xmlns:a16="http://schemas.microsoft.com/office/drawing/2014/main" id="{7918593C-86C0-42B7-BE17-19D4FED1EA9D}"/>
              </a:ext>
            </a:extLst>
          </p:cNvPr>
          <p:cNvGrpSpPr/>
          <p:nvPr/>
        </p:nvGrpSpPr>
        <p:grpSpPr>
          <a:xfrm>
            <a:off x="4834408" y="6654378"/>
            <a:ext cx="1135440" cy="399960"/>
            <a:chOff x="4834408" y="6654378"/>
            <a:chExt cx="1135440" cy="3999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45">
              <p14:nvContentPartPr>
                <p14:cNvPr id="346" name="Ink 345">
                  <a:extLst>
                    <a:ext uri="{FF2B5EF4-FFF2-40B4-BE49-F238E27FC236}">
                      <a16:creationId xmlns:a16="http://schemas.microsoft.com/office/drawing/2014/main" id="{5BE447B2-67AE-4EC9-B713-14DFDDE537D0}"/>
                    </a:ext>
                  </a:extLst>
                </p14:cNvPr>
                <p14:cNvContentPartPr/>
                <p14:nvPr/>
              </p14:nvContentPartPr>
              <p14:xfrm>
                <a:off x="4834408" y="6976218"/>
                <a:ext cx="102240" cy="78120"/>
              </p14:xfrm>
            </p:contentPart>
          </mc:Choice>
          <mc:Fallback xmlns="">
            <p:pic>
              <p:nvPicPr>
                <p:cNvPr id="346" name="Ink 345">
                  <a:extLst>
                    <a:ext uri="{FF2B5EF4-FFF2-40B4-BE49-F238E27FC236}">
                      <a16:creationId xmlns:a16="http://schemas.microsoft.com/office/drawing/2014/main" id="{5BE447B2-67AE-4EC9-B713-14DFDDE537D0}"/>
                    </a:ext>
                  </a:extLst>
                </p:cNvPr>
                <p:cNvPicPr/>
                <p:nvPr/>
              </p:nvPicPr>
              <p:blipFill>
                <a:blip r:embed="rId146"/>
                <a:stretch>
                  <a:fillRect/>
                </a:stretch>
              </p:blipFill>
              <p:spPr>
                <a:xfrm>
                  <a:off x="4798408" y="6940578"/>
                  <a:ext cx="173880" cy="149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7">
              <p14:nvContentPartPr>
                <p14:cNvPr id="347" name="Ink 346">
                  <a:extLst>
                    <a:ext uri="{FF2B5EF4-FFF2-40B4-BE49-F238E27FC236}">
                      <a16:creationId xmlns:a16="http://schemas.microsoft.com/office/drawing/2014/main" id="{E33073EC-63CD-4DA2-AAEE-C69DC4C63847}"/>
                    </a:ext>
                  </a:extLst>
                </p14:cNvPr>
                <p14:cNvContentPartPr/>
                <p14:nvPr/>
              </p14:nvContentPartPr>
              <p14:xfrm>
                <a:off x="5005408" y="6952458"/>
                <a:ext cx="24840" cy="5760"/>
              </p14:xfrm>
            </p:contentPart>
          </mc:Choice>
          <mc:Fallback xmlns="">
            <p:pic>
              <p:nvPicPr>
                <p:cNvPr id="347" name="Ink 346">
                  <a:extLst>
                    <a:ext uri="{FF2B5EF4-FFF2-40B4-BE49-F238E27FC236}">
                      <a16:creationId xmlns:a16="http://schemas.microsoft.com/office/drawing/2014/main" id="{E33073EC-63CD-4DA2-AAEE-C69DC4C63847}"/>
                    </a:ext>
                  </a:extLst>
                </p:cNvPr>
                <p:cNvPicPr/>
                <p:nvPr/>
              </p:nvPicPr>
              <p:blipFill>
                <a:blip r:embed="rId148"/>
                <a:stretch>
                  <a:fillRect/>
                </a:stretch>
              </p:blipFill>
              <p:spPr>
                <a:xfrm>
                  <a:off x="4969768" y="6916818"/>
                  <a:ext cx="96480" cy="77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9">
              <p14:nvContentPartPr>
                <p14:cNvPr id="348" name="Ink 347">
                  <a:extLst>
                    <a:ext uri="{FF2B5EF4-FFF2-40B4-BE49-F238E27FC236}">
                      <a16:creationId xmlns:a16="http://schemas.microsoft.com/office/drawing/2014/main" id="{BD5D8806-929D-4831-88E2-3AA859108A9F}"/>
                    </a:ext>
                  </a:extLst>
                </p14:cNvPr>
                <p14:cNvContentPartPr/>
                <p14:nvPr/>
              </p14:nvContentPartPr>
              <p14:xfrm>
                <a:off x="5093608" y="6854898"/>
                <a:ext cx="82800" cy="106560"/>
              </p14:xfrm>
            </p:contentPart>
          </mc:Choice>
          <mc:Fallback xmlns="">
            <p:pic>
              <p:nvPicPr>
                <p:cNvPr id="348" name="Ink 347">
                  <a:extLst>
                    <a:ext uri="{FF2B5EF4-FFF2-40B4-BE49-F238E27FC236}">
                      <a16:creationId xmlns:a16="http://schemas.microsoft.com/office/drawing/2014/main" id="{BD5D8806-929D-4831-88E2-3AA859108A9F}"/>
                    </a:ext>
                  </a:extLst>
                </p:cNvPr>
                <p:cNvPicPr/>
                <p:nvPr/>
              </p:nvPicPr>
              <p:blipFill>
                <a:blip r:embed="rId150"/>
                <a:stretch>
                  <a:fillRect/>
                </a:stretch>
              </p:blipFill>
              <p:spPr>
                <a:xfrm>
                  <a:off x="5057968" y="6818898"/>
                  <a:ext cx="154440" cy="178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1">
              <p14:nvContentPartPr>
                <p14:cNvPr id="349" name="Ink 348">
                  <a:extLst>
                    <a:ext uri="{FF2B5EF4-FFF2-40B4-BE49-F238E27FC236}">
                      <a16:creationId xmlns:a16="http://schemas.microsoft.com/office/drawing/2014/main" id="{122D5FC2-14CA-43CF-BC5B-E5CD4369060A}"/>
                    </a:ext>
                  </a:extLst>
                </p14:cNvPr>
                <p14:cNvContentPartPr/>
                <p14:nvPr/>
              </p14:nvContentPartPr>
              <p14:xfrm>
                <a:off x="5172448" y="6832938"/>
                <a:ext cx="202320" cy="142560"/>
              </p14:xfrm>
            </p:contentPart>
          </mc:Choice>
          <mc:Fallback xmlns="">
            <p:pic>
              <p:nvPicPr>
                <p:cNvPr id="349" name="Ink 348">
                  <a:extLst>
                    <a:ext uri="{FF2B5EF4-FFF2-40B4-BE49-F238E27FC236}">
                      <a16:creationId xmlns:a16="http://schemas.microsoft.com/office/drawing/2014/main" id="{122D5FC2-14CA-43CF-BC5B-E5CD4369060A}"/>
                    </a:ext>
                  </a:extLst>
                </p:cNvPr>
                <p:cNvPicPr/>
                <p:nvPr/>
              </p:nvPicPr>
              <p:blipFill>
                <a:blip r:embed="rId152"/>
                <a:stretch>
                  <a:fillRect/>
                </a:stretch>
              </p:blipFill>
              <p:spPr>
                <a:xfrm>
                  <a:off x="5136448" y="6796938"/>
                  <a:ext cx="273960" cy="214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3">
              <p14:nvContentPartPr>
                <p14:cNvPr id="350" name="Ink 349">
                  <a:extLst>
                    <a:ext uri="{FF2B5EF4-FFF2-40B4-BE49-F238E27FC236}">
                      <a16:creationId xmlns:a16="http://schemas.microsoft.com/office/drawing/2014/main" id="{0BCDB895-36C0-4BB7-BB4B-847E985EA312}"/>
                    </a:ext>
                  </a:extLst>
                </p14:cNvPr>
                <p14:cNvContentPartPr/>
                <p14:nvPr/>
              </p14:nvContentPartPr>
              <p14:xfrm>
                <a:off x="5428048" y="6677058"/>
                <a:ext cx="165240" cy="223200"/>
              </p14:xfrm>
            </p:contentPart>
          </mc:Choice>
          <mc:Fallback xmlns="">
            <p:pic>
              <p:nvPicPr>
                <p:cNvPr id="350" name="Ink 349">
                  <a:extLst>
                    <a:ext uri="{FF2B5EF4-FFF2-40B4-BE49-F238E27FC236}">
                      <a16:creationId xmlns:a16="http://schemas.microsoft.com/office/drawing/2014/main" id="{0BCDB895-36C0-4BB7-BB4B-847E985EA312}"/>
                    </a:ext>
                  </a:extLst>
                </p:cNvPr>
                <p:cNvPicPr/>
                <p:nvPr/>
              </p:nvPicPr>
              <p:blipFill>
                <a:blip r:embed="rId154"/>
                <a:stretch>
                  <a:fillRect/>
                </a:stretch>
              </p:blipFill>
              <p:spPr>
                <a:xfrm>
                  <a:off x="5392048" y="6641058"/>
                  <a:ext cx="236880" cy="294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5">
              <p14:nvContentPartPr>
                <p14:cNvPr id="351" name="Ink 350">
                  <a:extLst>
                    <a:ext uri="{FF2B5EF4-FFF2-40B4-BE49-F238E27FC236}">
                      <a16:creationId xmlns:a16="http://schemas.microsoft.com/office/drawing/2014/main" id="{D5C64D8D-4399-44C5-B97D-8FE619A0536B}"/>
                    </a:ext>
                  </a:extLst>
                </p14:cNvPr>
                <p14:cNvContentPartPr/>
                <p14:nvPr/>
              </p14:nvContentPartPr>
              <p14:xfrm>
                <a:off x="5766448" y="6654378"/>
                <a:ext cx="203400" cy="121320"/>
              </p14:xfrm>
            </p:contentPart>
          </mc:Choice>
          <mc:Fallback xmlns="">
            <p:pic>
              <p:nvPicPr>
                <p:cNvPr id="351" name="Ink 350">
                  <a:extLst>
                    <a:ext uri="{FF2B5EF4-FFF2-40B4-BE49-F238E27FC236}">
                      <a16:creationId xmlns:a16="http://schemas.microsoft.com/office/drawing/2014/main" id="{D5C64D8D-4399-44C5-B97D-8FE619A0536B}"/>
                    </a:ext>
                  </a:extLst>
                </p:cNvPr>
                <p:cNvPicPr/>
                <p:nvPr/>
              </p:nvPicPr>
              <p:blipFill>
                <a:blip r:embed="rId156"/>
                <a:stretch>
                  <a:fillRect/>
                </a:stretch>
              </p:blipFill>
              <p:spPr>
                <a:xfrm>
                  <a:off x="5730808" y="6618378"/>
                  <a:ext cx="275040" cy="1929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357" name="Group 356">
            <a:extLst>
              <a:ext uri="{FF2B5EF4-FFF2-40B4-BE49-F238E27FC236}">
                <a16:creationId xmlns:a16="http://schemas.microsoft.com/office/drawing/2014/main" id="{0424EAFA-723E-4355-92A5-D31B11B3E33E}"/>
              </a:ext>
            </a:extLst>
          </p:cNvPr>
          <p:cNvGrpSpPr/>
          <p:nvPr/>
        </p:nvGrpSpPr>
        <p:grpSpPr>
          <a:xfrm>
            <a:off x="6317968" y="6496338"/>
            <a:ext cx="883440" cy="254160"/>
            <a:chOff x="6317968" y="6496338"/>
            <a:chExt cx="883440" cy="2541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57">
              <p14:nvContentPartPr>
                <p14:cNvPr id="353" name="Ink 352">
                  <a:extLst>
                    <a:ext uri="{FF2B5EF4-FFF2-40B4-BE49-F238E27FC236}">
                      <a16:creationId xmlns:a16="http://schemas.microsoft.com/office/drawing/2014/main" id="{C0B349D2-2FF0-48C2-BD5F-F531924EB641}"/>
                    </a:ext>
                  </a:extLst>
                </p14:cNvPr>
                <p14:cNvContentPartPr/>
                <p14:nvPr/>
              </p14:nvContentPartPr>
              <p14:xfrm>
                <a:off x="6317968" y="6608658"/>
                <a:ext cx="182520" cy="141840"/>
              </p14:xfrm>
            </p:contentPart>
          </mc:Choice>
          <mc:Fallback xmlns="">
            <p:pic>
              <p:nvPicPr>
                <p:cNvPr id="353" name="Ink 352">
                  <a:extLst>
                    <a:ext uri="{FF2B5EF4-FFF2-40B4-BE49-F238E27FC236}">
                      <a16:creationId xmlns:a16="http://schemas.microsoft.com/office/drawing/2014/main" id="{C0B349D2-2FF0-48C2-BD5F-F531924EB641}"/>
                    </a:ext>
                  </a:extLst>
                </p:cNvPr>
                <p:cNvPicPr/>
                <p:nvPr/>
              </p:nvPicPr>
              <p:blipFill>
                <a:blip r:embed="rId158"/>
                <a:stretch>
                  <a:fillRect/>
                </a:stretch>
              </p:blipFill>
              <p:spPr>
                <a:xfrm>
                  <a:off x="6281968" y="6573018"/>
                  <a:ext cx="254160" cy="213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9">
              <p14:nvContentPartPr>
                <p14:cNvPr id="354" name="Ink 353">
                  <a:extLst>
                    <a:ext uri="{FF2B5EF4-FFF2-40B4-BE49-F238E27FC236}">
                      <a16:creationId xmlns:a16="http://schemas.microsoft.com/office/drawing/2014/main" id="{EC647C42-4B47-4BAC-8212-859ACBBD7F07}"/>
                    </a:ext>
                  </a:extLst>
                </p14:cNvPr>
                <p14:cNvContentPartPr/>
                <p14:nvPr/>
              </p14:nvContentPartPr>
              <p14:xfrm>
                <a:off x="6584368" y="6687858"/>
                <a:ext cx="13320" cy="2880"/>
              </p14:xfrm>
            </p:contentPart>
          </mc:Choice>
          <mc:Fallback xmlns="">
            <p:pic>
              <p:nvPicPr>
                <p:cNvPr id="354" name="Ink 353">
                  <a:extLst>
                    <a:ext uri="{FF2B5EF4-FFF2-40B4-BE49-F238E27FC236}">
                      <a16:creationId xmlns:a16="http://schemas.microsoft.com/office/drawing/2014/main" id="{EC647C42-4B47-4BAC-8212-859ACBBD7F07}"/>
                    </a:ext>
                  </a:extLst>
                </p:cNvPr>
                <p:cNvPicPr/>
                <p:nvPr/>
              </p:nvPicPr>
              <p:blipFill>
                <a:blip r:embed="rId160"/>
                <a:stretch>
                  <a:fillRect/>
                </a:stretch>
              </p:blipFill>
              <p:spPr>
                <a:xfrm>
                  <a:off x="6548368" y="6652218"/>
                  <a:ext cx="84960" cy="74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1">
              <p14:nvContentPartPr>
                <p14:cNvPr id="355" name="Ink 354">
                  <a:extLst>
                    <a:ext uri="{FF2B5EF4-FFF2-40B4-BE49-F238E27FC236}">
                      <a16:creationId xmlns:a16="http://schemas.microsoft.com/office/drawing/2014/main" id="{3EEB7308-649E-4A6A-AA8D-519495217384}"/>
                    </a:ext>
                  </a:extLst>
                </p14:cNvPr>
                <p14:cNvContentPartPr/>
                <p14:nvPr/>
              </p14:nvContentPartPr>
              <p14:xfrm>
                <a:off x="6620728" y="6542778"/>
                <a:ext cx="190800" cy="159120"/>
              </p14:xfrm>
            </p:contentPart>
          </mc:Choice>
          <mc:Fallback xmlns="">
            <p:pic>
              <p:nvPicPr>
                <p:cNvPr id="355" name="Ink 354">
                  <a:extLst>
                    <a:ext uri="{FF2B5EF4-FFF2-40B4-BE49-F238E27FC236}">
                      <a16:creationId xmlns:a16="http://schemas.microsoft.com/office/drawing/2014/main" id="{3EEB7308-649E-4A6A-AA8D-519495217384}"/>
                    </a:ext>
                  </a:extLst>
                </p:cNvPr>
                <p:cNvPicPr/>
                <p:nvPr/>
              </p:nvPicPr>
              <p:blipFill>
                <a:blip r:embed="rId162"/>
                <a:stretch>
                  <a:fillRect/>
                </a:stretch>
              </p:blipFill>
              <p:spPr>
                <a:xfrm>
                  <a:off x="6585088" y="6507138"/>
                  <a:ext cx="262440" cy="230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3">
              <p14:nvContentPartPr>
                <p14:cNvPr id="356" name="Ink 355">
                  <a:extLst>
                    <a:ext uri="{FF2B5EF4-FFF2-40B4-BE49-F238E27FC236}">
                      <a16:creationId xmlns:a16="http://schemas.microsoft.com/office/drawing/2014/main" id="{4F8B0FE7-0A4D-4A3D-A6D5-C87A4CEFF255}"/>
                    </a:ext>
                  </a:extLst>
                </p14:cNvPr>
                <p14:cNvContentPartPr/>
                <p14:nvPr/>
              </p14:nvContentPartPr>
              <p14:xfrm>
                <a:off x="7071448" y="6496338"/>
                <a:ext cx="129960" cy="123480"/>
              </p14:xfrm>
            </p:contentPart>
          </mc:Choice>
          <mc:Fallback xmlns="">
            <p:pic>
              <p:nvPicPr>
                <p:cNvPr id="356" name="Ink 355">
                  <a:extLst>
                    <a:ext uri="{FF2B5EF4-FFF2-40B4-BE49-F238E27FC236}">
                      <a16:creationId xmlns:a16="http://schemas.microsoft.com/office/drawing/2014/main" id="{4F8B0FE7-0A4D-4A3D-A6D5-C87A4CEFF255}"/>
                    </a:ext>
                  </a:extLst>
                </p:cNvPr>
                <p:cNvPicPr/>
                <p:nvPr/>
              </p:nvPicPr>
              <p:blipFill>
                <a:blip r:embed="rId164"/>
                <a:stretch>
                  <a:fillRect/>
                </a:stretch>
              </p:blipFill>
              <p:spPr>
                <a:xfrm>
                  <a:off x="7035448" y="6460338"/>
                  <a:ext cx="201600" cy="1951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361" name="Group 360">
            <a:extLst>
              <a:ext uri="{FF2B5EF4-FFF2-40B4-BE49-F238E27FC236}">
                <a16:creationId xmlns:a16="http://schemas.microsoft.com/office/drawing/2014/main" id="{6977B498-92AC-4F20-A743-62C69CDDEBBC}"/>
              </a:ext>
            </a:extLst>
          </p:cNvPr>
          <p:cNvGrpSpPr/>
          <p:nvPr/>
        </p:nvGrpSpPr>
        <p:grpSpPr>
          <a:xfrm>
            <a:off x="7752208" y="6264858"/>
            <a:ext cx="468720" cy="313560"/>
            <a:chOff x="7752208" y="6264858"/>
            <a:chExt cx="468720" cy="3135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65">
              <p14:nvContentPartPr>
                <p14:cNvPr id="358" name="Ink 357">
                  <a:extLst>
                    <a:ext uri="{FF2B5EF4-FFF2-40B4-BE49-F238E27FC236}">
                      <a16:creationId xmlns:a16="http://schemas.microsoft.com/office/drawing/2014/main" id="{12CA750A-5655-4E63-964E-440E32EB7FAA}"/>
                    </a:ext>
                  </a:extLst>
                </p14:cNvPr>
                <p14:cNvContentPartPr/>
                <p14:nvPr/>
              </p14:nvContentPartPr>
              <p14:xfrm>
                <a:off x="7752208" y="6293658"/>
                <a:ext cx="73080" cy="284760"/>
              </p14:xfrm>
            </p:contentPart>
          </mc:Choice>
          <mc:Fallback xmlns="">
            <p:pic>
              <p:nvPicPr>
                <p:cNvPr id="358" name="Ink 357">
                  <a:extLst>
                    <a:ext uri="{FF2B5EF4-FFF2-40B4-BE49-F238E27FC236}">
                      <a16:creationId xmlns:a16="http://schemas.microsoft.com/office/drawing/2014/main" id="{12CA750A-5655-4E63-964E-440E32EB7FAA}"/>
                    </a:ext>
                  </a:extLst>
                </p:cNvPr>
                <p:cNvPicPr/>
                <p:nvPr/>
              </p:nvPicPr>
              <p:blipFill>
                <a:blip r:embed="rId166"/>
                <a:stretch>
                  <a:fillRect/>
                </a:stretch>
              </p:blipFill>
              <p:spPr>
                <a:xfrm>
                  <a:off x="7716568" y="6257658"/>
                  <a:ext cx="144720" cy="356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7">
              <p14:nvContentPartPr>
                <p14:cNvPr id="359" name="Ink 358">
                  <a:extLst>
                    <a:ext uri="{FF2B5EF4-FFF2-40B4-BE49-F238E27FC236}">
                      <a16:creationId xmlns:a16="http://schemas.microsoft.com/office/drawing/2014/main" id="{029DE2CF-3DFE-4169-A3BC-37139524664C}"/>
                    </a:ext>
                  </a:extLst>
                </p14:cNvPr>
                <p14:cNvContentPartPr/>
                <p14:nvPr/>
              </p14:nvContentPartPr>
              <p14:xfrm>
                <a:off x="8077648" y="6264858"/>
                <a:ext cx="57960" cy="265680"/>
              </p14:xfrm>
            </p:contentPart>
          </mc:Choice>
          <mc:Fallback xmlns="">
            <p:pic>
              <p:nvPicPr>
                <p:cNvPr id="359" name="Ink 358">
                  <a:extLst>
                    <a:ext uri="{FF2B5EF4-FFF2-40B4-BE49-F238E27FC236}">
                      <a16:creationId xmlns:a16="http://schemas.microsoft.com/office/drawing/2014/main" id="{029DE2CF-3DFE-4169-A3BC-37139524664C}"/>
                    </a:ext>
                  </a:extLst>
                </p:cNvPr>
                <p:cNvPicPr/>
                <p:nvPr/>
              </p:nvPicPr>
              <p:blipFill>
                <a:blip r:embed="rId168"/>
                <a:stretch>
                  <a:fillRect/>
                </a:stretch>
              </p:blipFill>
              <p:spPr>
                <a:xfrm>
                  <a:off x="8042008" y="6228858"/>
                  <a:ext cx="129600" cy="337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9">
              <p14:nvContentPartPr>
                <p14:cNvPr id="360" name="Ink 359">
                  <a:extLst>
                    <a:ext uri="{FF2B5EF4-FFF2-40B4-BE49-F238E27FC236}">
                      <a16:creationId xmlns:a16="http://schemas.microsoft.com/office/drawing/2014/main" id="{BB7158B9-D99C-4789-BAD4-539AC9A33FE5}"/>
                    </a:ext>
                  </a:extLst>
                </p14:cNvPr>
                <p14:cNvContentPartPr/>
                <p14:nvPr/>
              </p14:nvContentPartPr>
              <p14:xfrm>
                <a:off x="7981528" y="6411738"/>
                <a:ext cx="239400" cy="50760"/>
              </p14:xfrm>
            </p:contentPart>
          </mc:Choice>
          <mc:Fallback xmlns="">
            <p:pic>
              <p:nvPicPr>
                <p:cNvPr id="360" name="Ink 359">
                  <a:extLst>
                    <a:ext uri="{FF2B5EF4-FFF2-40B4-BE49-F238E27FC236}">
                      <a16:creationId xmlns:a16="http://schemas.microsoft.com/office/drawing/2014/main" id="{BB7158B9-D99C-4789-BAD4-539AC9A33FE5}"/>
                    </a:ext>
                  </a:extLst>
                </p:cNvPr>
                <p:cNvPicPr/>
                <p:nvPr/>
              </p:nvPicPr>
              <p:blipFill>
                <a:blip r:embed="rId170"/>
                <a:stretch>
                  <a:fillRect/>
                </a:stretch>
              </p:blipFill>
              <p:spPr>
                <a:xfrm>
                  <a:off x="7945528" y="6375738"/>
                  <a:ext cx="311040" cy="12240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171">
            <p14:nvContentPartPr>
              <p14:cNvPr id="362" name="Ink 361">
                <a:extLst>
                  <a:ext uri="{FF2B5EF4-FFF2-40B4-BE49-F238E27FC236}">
                    <a16:creationId xmlns:a16="http://schemas.microsoft.com/office/drawing/2014/main" id="{4AF0D77A-C0BF-48F7-B965-DA01B4904E4E}"/>
                  </a:ext>
                </a:extLst>
              </p14:cNvPr>
              <p14:cNvContentPartPr/>
              <p14:nvPr/>
            </p14:nvContentPartPr>
            <p14:xfrm>
              <a:off x="10959808" y="6563298"/>
              <a:ext cx="2665080" cy="65880"/>
            </p14:xfrm>
          </p:contentPart>
        </mc:Choice>
        <mc:Fallback xmlns="">
          <p:pic>
            <p:nvPicPr>
              <p:cNvPr id="362" name="Ink 361">
                <a:extLst>
                  <a:ext uri="{FF2B5EF4-FFF2-40B4-BE49-F238E27FC236}">
                    <a16:creationId xmlns:a16="http://schemas.microsoft.com/office/drawing/2014/main" id="{4AF0D77A-C0BF-48F7-B965-DA01B4904E4E}"/>
                  </a:ext>
                </a:extLst>
              </p:cNvPr>
              <p:cNvPicPr/>
              <p:nvPr/>
            </p:nvPicPr>
            <p:blipFill>
              <a:blip r:embed="rId172"/>
              <a:stretch>
                <a:fillRect/>
              </a:stretch>
            </p:blipFill>
            <p:spPr>
              <a:xfrm>
                <a:off x="10923808" y="6527658"/>
                <a:ext cx="2736720" cy="1375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73">
            <p14:nvContentPartPr>
              <p14:cNvPr id="366" name="Ink 365">
                <a:extLst>
                  <a:ext uri="{FF2B5EF4-FFF2-40B4-BE49-F238E27FC236}">
                    <a16:creationId xmlns:a16="http://schemas.microsoft.com/office/drawing/2014/main" id="{265E3B08-4996-4FF9-BBB0-CDB486ED6310}"/>
                  </a:ext>
                </a:extLst>
              </p14:cNvPr>
              <p14:cNvContentPartPr/>
              <p14:nvPr/>
            </p14:nvContentPartPr>
            <p14:xfrm>
              <a:off x="10794208" y="5305818"/>
              <a:ext cx="3443400" cy="1050480"/>
            </p14:xfrm>
          </p:contentPart>
        </mc:Choice>
        <mc:Fallback xmlns="">
          <p:pic>
            <p:nvPicPr>
              <p:cNvPr id="366" name="Ink 365">
                <a:extLst>
                  <a:ext uri="{FF2B5EF4-FFF2-40B4-BE49-F238E27FC236}">
                    <a16:creationId xmlns:a16="http://schemas.microsoft.com/office/drawing/2014/main" id="{265E3B08-4996-4FF9-BBB0-CDB486ED6310}"/>
                  </a:ext>
                </a:extLst>
              </p:cNvPr>
              <p:cNvPicPr/>
              <p:nvPr/>
            </p:nvPicPr>
            <p:blipFill>
              <a:blip r:embed="rId174"/>
              <a:stretch>
                <a:fillRect/>
              </a:stretch>
            </p:blipFill>
            <p:spPr>
              <a:xfrm>
                <a:off x="10758568" y="5270178"/>
                <a:ext cx="3515040" cy="1122120"/>
              </a:xfrm>
              <a:prstGeom prst="rect">
                <a:avLst/>
              </a:prstGeom>
            </p:spPr>
          </p:pic>
        </mc:Fallback>
      </mc:AlternateContent>
      <p:grpSp>
        <p:nvGrpSpPr>
          <p:cNvPr id="390" name="Group 389">
            <a:extLst>
              <a:ext uri="{FF2B5EF4-FFF2-40B4-BE49-F238E27FC236}">
                <a16:creationId xmlns:a16="http://schemas.microsoft.com/office/drawing/2014/main" id="{F0621CFE-DF20-4FEB-837D-2B5CA8B974EA}"/>
              </a:ext>
            </a:extLst>
          </p:cNvPr>
          <p:cNvGrpSpPr/>
          <p:nvPr/>
        </p:nvGrpSpPr>
        <p:grpSpPr>
          <a:xfrm>
            <a:off x="11924195" y="5340378"/>
            <a:ext cx="2344458" cy="1554840"/>
            <a:chOff x="11924195" y="5340378"/>
            <a:chExt cx="2344458" cy="15548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75">
              <p14:nvContentPartPr>
                <p14:cNvPr id="369" name="Ink 368">
                  <a:extLst>
                    <a:ext uri="{FF2B5EF4-FFF2-40B4-BE49-F238E27FC236}">
                      <a16:creationId xmlns:a16="http://schemas.microsoft.com/office/drawing/2014/main" id="{DEC9FC18-8EC3-4B7A-BCE2-E9D14481CA25}"/>
                    </a:ext>
                  </a:extLst>
                </p14:cNvPr>
                <p14:cNvContentPartPr/>
                <p14:nvPr/>
              </p14:nvContentPartPr>
              <p14:xfrm>
                <a:off x="13504733" y="6630618"/>
                <a:ext cx="763920" cy="38520"/>
              </p14:xfrm>
            </p:contentPart>
          </mc:Choice>
          <mc:Fallback xmlns="">
            <p:pic>
              <p:nvPicPr>
                <p:cNvPr id="369" name="Ink 368">
                  <a:extLst>
                    <a:ext uri="{FF2B5EF4-FFF2-40B4-BE49-F238E27FC236}">
                      <a16:creationId xmlns:a16="http://schemas.microsoft.com/office/drawing/2014/main" id="{DEC9FC18-8EC3-4B7A-BCE2-E9D14481CA25}"/>
                    </a:ext>
                  </a:extLst>
                </p:cNvPr>
                <p:cNvPicPr/>
                <p:nvPr/>
              </p:nvPicPr>
              <p:blipFill>
                <a:blip r:embed="rId176"/>
                <a:stretch>
                  <a:fillRect/>
                </a:stretch>
              </p:blipFill>
              <p:spPr>
                <a:xfrm>
                  <a:off x="13469093" y="6594978"/>
                  <a:ext cx="835560" cy="110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7">
              <p14:nvContentPartPr>
                <p14:cNvPr id="370" name="Ink 369">
                  <a:extLst>
                    <a:ext uri="{FF2B5EF4-FFF2-40B4-BE49-F238E27FC236}">
                      <a16:creationId xmlns:a16="http://schemas.microsoft.com/office/drawing/2014/main" id="{264BB8C9-38DE-4F57-8737-C52DA0BF0AC7}"/>
                    </a:ext>
                  </a:extLst>
                </p14:cNvPr>
                <p14:cNvContentPartPr/>
                <p14:nvPr/>
              </p14:nvContentPartPr>
              <p14:xfrm>
                <a:off x="12629435" y="5340378"/>
                <a:ext cx="63720" cy="1334160"/>
              </p14:xfrm>
            </p:contentPart>
          </mc:Choice>
          <mc:Fallback xmlns="">
            <p:pic>
              <p:nvPicPr>
                <p:cNvPr id="370" name="Ink 369">
                  <a:extLst>
                    <a:ext uri="{FF2B5EF4-FFF2-40B4-BE49-F238E27FC236}">
                      <a16:creationId xmlns:a16="http://schemas.microsoft.com/office/drawing/2014/main" id="{264BB8C9-38DE-4F57-8737-C52DA0BF0AC7}"/>
                    </a:ext>
                  </a:extLst>
                </p:cNvPr>
                <p:cNvPicPr/>
                <p:nvPr/>
              </p:nvPicPr>
              <p:blipFill>
                <a:blip r:embed="rId178"/>
                <a:stretch>
                  <a:fillRect/>
                </a:stretch>
              </p:blipFill>
              <p:spPr>
                <a:xfrm>
                  <a:off x="12593435" y="5304378"/>
                  <a:ext cx="135360" cy="1405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9">
              <p14:nvContentPartPr>
                <p14:cNvPr id="373" name="Ink 372">
                  <a:extLst>
                    <a:ext uri="{FF2B5EF4-FFF2-40B4-BE49-F238E27FC236}">
                      <a16:creationId xmlns:a16="http://schemas.microsoft.com/office/drawing/2014/main" id="{87B00D43-279A-4593-80B6-30548E7E9F8E}"/>
                    </a:ext>
                  </a:extLst>
                </p14:cNvPr>
                <p14:cNvContentPartPr/>
                <p14:nvPr/>
              </p14:nvContentPartPr>
              <p14:xfrm>
                <a:off x="12081875" y="5431818"/>
                <a:ext cx="56880" cy="1199160"/>
              </p14:xfrm>
            </p:contentPart>
          </mc:Choice>
          <mc:Fallback xmlns="">
            <p:pic>
              <p:nvPicPr>
                <p:cNvPr id="373" name="Ink 372">
                  <a:extLst>
                    <a:ext uri="{FF2B5EF4-FFF2-40B4-BE49-F238E27FC236}">
                      <a16:creationId xmlns:a16="http://schemas.microsoft.com/office/drawing/2014/main" id="{87B00D43-279A-4593-80B6-30548E7E9F8E}"/>
                    </a:ext>
                  </a:extLst>
                </p:cNvPr>
                <p:cNvPicPr/>
                <p:nvPr/>
              </p:nvPicPr>
              <p:blipFill>
                <a:blip r:embed="rId180"/>
                <a:stretch>
                  <a:fillRect/>
                </a:stretch>
              </p:blipFill>
              <p:spPr>
                <a:xfrm>
                  <a:off x="12046235" y="5395818"/>
                  <a:ext cx="128520" cy="1270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1">
              <p14:nvContentPartPr>
                <p14:cNvPr id="374" name="Ink 373">
                  <a:extLst>
                    <a:ext uri="{FF2B5EF4-FFF2-40B4-BE49-F238E27FC236}">
                      <a16:creationId xmlns:a16="http://schemas.microsoft.com/office/drawing/2014/main" id="{D6A24204-1DBC-4CED-BCF2-EAE06A00454D}"/>
                    </a:ext>
                  </a:extLst>
                </p14:cNvPr>
                <p14:cNvContentPartPr/>
                <p14:nvPr/>
              </p14:nvContentPartPr>
              <p14:xfrm>
                <a:off x="11924195" y="6721338"/>
                <a:ext cx="126360" cy="88560"/>
              </p14:xfrm>
            </p:contentPart>
          </mc:Choice>
          <mc:Fallback xmlns="">
            <p:pic>
              <p:nvPicPr>
                <p:cNvPr id="374" name="Ink 373">
                  <a:extLst>
                    <a:ext uri="{FF2B5EF4-FFF2-40B4-BE49-F238E27FC236}">
                      <a16:creationId xmlns:a16="http://schemas.microsoft.com/office/drawing/2014/main" id="{D6A24204-1DBC-4CED-BCF2-EAE06A00454D}"/>
                    </a:ext>
                  </a:extLst>
                </p:cNvPr>
                <p:cNvPicPr/>
                <p:nvPr/>
              </p:nvPicPr>
              <p:blipFill>
                <a:blip r:embed="rId182"/>
                <a:stretch>
                  <a:fillRect/>
                </a:stretch>
              </p:blipFill>
              <p:spPr>
                <a:xfrm>
                  <a:off x="11888195" y="6685338"/>
                  <a:ext cx="198000" cy="160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3">
              <p14:nvContentPartPr>
                <p14:cNvPr id="375" name="Ink 374">
                  <a:extLst>
                    <a:ext uri="{FF2B5EF4-FFF2-40B4-BE49-F238E27FC236}">
                      <a16:creationId xmlns:a16="http://schemas.microsoft.com/office/drawing/2014/main" id="{08485B9C-C3B2-4571-A362-F15F4CF6A34E}"/>
                    </a:ext>
                  </a:extLst>
                </p14:cNvPr>
                <p14:cNvContentPartPr/>
                <p14:nvPr/>
              </p14:nvContentPartPr>
              <p14:xfrm>
                <a:off x="12172595" y="6744018"/>
                <a:ext cx="16560" cy="14040"/>
              </p14:xfrm>
            </p:contentPart>
          </mc:Choice>
          <mc:Fallback xmlns="">
            <p:pic>
              <p:nvPicPr>
                <p:cNvPr id="375" name="Ink 374">
                  <a:extLst>
                    <a:ext uri="{FF2B5EF4-FFF2-40B4-BE49-F238E27FC236}">
                      <a16:creationId xmlns:a16="http://schemas.microsoft.com/office/drawing/2014/main" id="{08485B9C-C3B2-4571-A362-F15F4CF6A34E}"/>
                    </a:ext>
                  </a:extLst>
                </p:cNvPr>
                <p:cNvPicPr/>
                <p:nvPr/>
              </p:nvPicPr>
              <p:blipFill>
                <a:blip r:embed="rId184"/>
                <a:stretch>
                  <a:fillRect/>
                </a:stretch>
              </p:blipFill>
              <p:spPr>
                <a:xfrm>
                  <a:off x="12136955" y="6708378"/>
                  <a:ext cx="88200" cy="85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5">
              <p14:nvContentPartPr>
                <p14:cNvPr id="376" name="Ink 375">
                  <a:extLst>
                    <a:ext uri="{FF2B5EF4-FFF2-40B4-BE49-F238E27FC236}">
                      <a16:creationId xmlns:a16="http://schemas.microsoft.com/office/drawing/2014/main" id="{FF7DEE9E-1042-410A-8C6B-0115E5EF624D}"/>
                    </a:ext>
                  </a:extLst>
                </p14:cNvPr>
                <p14:cNvContentPartPr/>
                <p14:nvPr/>
              </p14:nvContentPartPr>
              <p14:xfrm>
                <a:off x="12210755" y="6724938"/>
                <a:ext cx="80280" cy="146880"/>
              </p14:xfrm>
            </p:contentPart>
          </mc:Choice>
          <mc:Fallback xmlns="">
            <p:pic>
              <p:nvPicPr>
                <p:cNvPr id="376" name="Ink 375">
                  <a:extLst>
                    <a:ext uri="{FF2B5EF4-FFF2-40B4-BE49-F238E27FC236}">
                      <a16:creationId xmlns:a16="http://schemas.microsoft.com/office/drawing/2014/main" id="{FF7DEE9E-1042-410A-8C6B-0115E5EF624D}"/>
                    </a:ext>
                  </a:extLst>
                </p:cNvPr>
                <p:cNvPicPr/>
                <p:nvPr/>
              </p:nvPicPr>
              <p:blipFill>
                <a:blip r:embed="rId186"/>
                <a:stretch>
                  <a:fillRect/>
                </a:stretch>
              </p:blipFill>
              <p:spPr>
                <a:xfrm>
                  <a:off x="12175115" y="6688938"/>
                  <a:ext cx="151920" cy="218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7">
              <p14:nvContentPartPr>
                <p14:cNvPr id="377" name="Ink 376">
                  <a:extLst>
                    <a:ext uri="{FF2B5EF4-FFF2-40B4-BE49-F238E27FC236}">
                      <a16:creationId xmlns:a16="http://schemas.microsoft.com/office/drawing/2014/main" id="{A2D2CD61-240E-4A02-BD83-0AC666BBE22C}"/>
                    </a:ext>
                  </a:extLst>
                </p14:cNvPr>
                <p14:cNvContentPartPr/>
                <p14:nvPr/>
              </p14:nvContentPartPr>
              <p14:xfrm>
                <a:off x="12329555" y="6735018"/>
                <a:ext cx="59760" cy="113040"/>
              </p14:xfrm>
            </p:contentPart>
          </mc:Choice>
          <mc:Fallback xmlns="">
            <p:pic>
              <p:nvPicPr>
                <p:cNvPr id="377" name="Ink 376">
                  <a:extLst>
                    <a:ext uri="{FF2B5EF4-FFF2-40B4-BE49-F238E27FC236}">
                      <a16:creationId xmlns:a16="http://schemas.microsoft.com/office/drawing/2014/main" id="{A2D2CD61-240E-4A02-BD83-0AC666BBE22C}"/>
                    </a:ext>
                  </a:extLst>
                </p:cNvPr>
                <p:cNvPicPr/>
                <p:nvPr/>
              </p:nvPicPr>
              <p:blipFill>
                <a:blip r:embed="rId188"/>
                <a:stretch>
                  <a:fillRect/>
                </a:stretch>
              </p:blipFill>
              <p:spPr>
                <a:xfrm>
                  <a:off x="12293555" y="6699018"/>
                  <a:ext cx="131400" cy="184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9">
              <p14:nvContentPartPr>
                <p14:cNvPr id="379" name="Ink 378">
                  <a:extLst>
                    <a:ext uri="{FF2B5EF4-FFF2-40B4-BE49-F238E27FC236}">
                      <a16:creationId xmlns:a16="http://schemas.microsoft.com/office/drawing/2014/main" id="{F23290CD-4D9D-4447-8967-2FA0756271E8}"/>
                    </a:ext>
                  </a:extLst>
                </p14:cNvPr>
                <p14:cNvContentPartPr/>
                <p14:nvPr/>
              </p14:nvContentPartPr>
              <p14:xfrm>
                <a:off x="13211195" y="5505618"/>
                <a:ext cx="49320" cy="1114560"/>
              </p14:xfrm>
            </p:contentPart>
          </mc:Choice>
          <mc:Fallback xmlns="">
            <p:pic>
              <p:nvPicPr>
                <p:cNvPr id="379" name="Ink 378">
                  <a:extLst>
                    <a:ext uri="{FF2B5EF4-FFF2-40B4-BE49-F238E27FC236}">
                      <a16:creationId xmlns:a16="http://schemas.microsoft.com/office/drawing/2014/main" id="{F23290CD-4D9D-4447-8967-2FA0756271E8}"/>
                    </a:ext>
                  </a:extLst>
                </p:cNvPr>
                <p:cNvPicPr/>
                <p:nvPr/>
              </p:nvPicPr>
              <p:blipFill>
                <a:blip r:embed="rId190"/>
                <a:stretch>
                  <a:fillRect/>
                </a:stretch>
              </p:blipFill>
              <p:spPr>
                <a:xfrm>
                  <a:off x="13175555" y="5469978"/>
                  <a:ext cx="120960" cy="1186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91">
              <p14:nvContentPartPr>
                <p14:cNvPr id="380" name="Ink 379">
                  <a:extLst>
                    <a:ext uri="{FF2B5EF4-FFF2-40B4-BE49-F238E27FC236}">
                      <a16:creationId xmlns:a16="http://schemas.microsoft.com/office/drawing/2014/main" id="{4A35FEBA-AB54-4B16-AE4F-AAA56F51DEFA}"/>
                    </a:ext>
                  </a:extLst>
                </p14:cNvPr>
                <p14:cNvContentPartPr/>
                <p14:nvPr/>
              </p14:nvContentPartPr>
              <p14:xfrm>
                <a:off x="13153595" y="6766698"/>
                <a:ext cx="83880" cy="78120"/>
              </p14:xfrm>
            </p:contentPart>
          </mc:Choice>
          <mc:Fallback xmlns="">
            <p:pic>
              <p:nvPicPr>
                <p:cNvPr id="380" name="Ink 379">
                  <a:extLst>
                    <a:ext uri="{FF2B5EF4-FFF2-40B4-BE49-F238E27FC236}">
                      <a16:creationId xmlns:a16="http://schemas.microsoft.com/office/drawing/2014/main" id="{4A35FEBA-AB54-4B16-AE4F-AAA56F51DEFA}"/>
                    </a:ext>
                  </a:extLst>
                </p:cNvPr>
                <p:cNvPicPr/>
                <p:nvPr/>
              </p:nvPicPr>
              <p:blipFill>
                <a:blip r:embed="rId192"/>
                <a:stretch>
                  <a:fillRect/>
                </a:stretch>
              </p:blipFill>
              <p:spPr>
                <a:xfrm>
                  <a:off x="13117955" y="6730698"/>
                  <a:ext cx="155520" cy="149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93">
              <p14:nvContentPartPr>
                <p14:cNvPr id="381" name="Ink 380">
                  <a:extLst>
                    <a:ext uri="{FF2B5EF4-FFF2-40B4-BE49-F238E27FC236}">
                      <a16:creationId xmlns:a16="http://schemas.microsoft.com/office/drawing/2014/main" id="{1AE7BAA5-79F3-4A95-B7C3-A62F6D2823ED}"/>
                    </a:ext>
                  </a:extLst>
                </p14:cNvPr>
                <p14:cNvContentPartPr/>
                <p14:nvPr/>
              </p14:nvContentPartPr>
              <p14:xfrm>
                <a:off x="13299755" y="6729618"/>
                <a:ext cx="25200" cy="30240"/>
              </p14:xfrm>
            </p:contentPart>
          </mc:Choice>
          <mc:Fallback xmlns="">
            <p:pic>
              <p:nvPicPr>
                <p:cNvPr id="381" name="Ink 380">
                  <a:extLst>
                    <a:ext uri="{FF2B5EF4-FFF2-40B4-BE49-F238E27FC236}">
                      <a16:creationId xmlns:a16="http://schemas.microsoft.com/office/drawing/2014/main" id="{1AE7BAA5-79F3-4A95-B7C3-A62F6D2823ED}"/>
                    </a:ext>
                  </a:extLst>
                </p:cNvPr>
                <p:cNvPicPr/>
                <p:nvPr/>
              </p:nvPicPr>
              <p:blipFill>
                <a:blip r:embed="rId194"/>
                <a:stretch>
                  <a:fillRect/>
                </a:stretch>
              </p:blipFill>
              <p:spPr>
                <a:xfrm>
                  <a:off x="13263755" y="6693978"/>
                  <a:ext cx="96840" cy="101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95">
              <p14:nvContentPartPr>
                <p14:cNvPr id="382" name="Ink 381">
                  <a:extLst>
                    <a:ext uri="{FF2B5EF4-FFF2-40B4-BE49-F238E27FC236}">
                      <a16:creationId xmlns:a16="http://schemas.microsoft.com/office/drawing/2014/main" id="{8E3865BD-4074-426B-BAC8-DCD89F9C5215}"/>
                    </a:ext>
                  </a:extLst>
                </p14:cNvPr>
                <p14:cNvContentPartPr/>
                <p14:nvPr/>
              </p14:nvContentPartPr>
              <p14:xfrm>
                <a:off x="13354115" y="6693258"/>
                <a:ext cx="111960" cy="201960"/>
              </p14:xfrm>
            </p:contentPart>
          </mc:Choice>
          <mc:Fallback xmlns="">
            <p:pic>
              <p:nvPicPr>
                <p:cNvPr id="382" name="Ink 381">
                  <a:extLst>
                    <a:ext uri="{FF2B5EF4-FFF2-40B4-BE49-F238E27FC236}">
                      <a16:creationId xmlns:a16="http://schemas.microsoft.com/office/drawing/2014/main" id="{8E3865BD-4074-426B-BAC8-DCD89F9C5215}"/>
                    </a:ext>
                  </a:extLst>
                </p:cNvPr>
                <p:cNvPicPr/>
                <p:nvPr/>
              </p:nvPicPr>
              <p:blipFill>
                <a:blip r:embed="rId196"/>
                <a:stretch>
                  <a:fillRect/>
                </a:stretch>
              </p:blipFill>
              <p:spPr>
                <a:xfrm>
                  <a:off x="13318115" y="6657258"/>
                  <a:ext cx="183600" cy="273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97">
              <p14:nvContentPartPr>
                <p14:cNvPr id="383" name="Ink 382">
                  <a:extLst>
                    <a:ext uri="{FF2B5EF4-FFF2-40B4-BE49-F238E27FC236}">
                      <a16:creationId xmlns:a16="http://schemas.microsoft.com/office/drawing/2014/main" id="{210D5F6F-9943-40DA-98C0-9FFBB6F2176D}"/>
                    </a:ext>
                  </a:extLst>
                </p14:cNvPr>
                <p14:cNvContentPartPr/>
                <p14:nvPr/>
              </p14:nvContentPartPr>
              <p14:xfrm>
                <a:off x="13504595" y="6722058"/>
                <a:ext cx="178920" cy="112680"/>
              </p14:xfrm>
            </p:contentPart>
          </mc:Choice>
          <mc:Fallback xmlns="">
            <p:pic>
              <p:nvPicPr>
                <p:cNvPr id="383" name="Ink 382">
                  <a:extLst>
                    <a:ext uri="{FF2B5EF4-FFF2-40B4-BE49-F238E27FC236}">
                      <a16:creationId xmlns:a16="http://schemas.microsoft.com/office/drawing/2014/main" id="{210D5F6F-9943-40DA-98C0-9FFBB6F2176D}"/>
                    </a:ext>
                  </a:extLst>
                </p:cNvPr>
                <p:cNvPicPr/>
                <p:nvPr/>
              </p:nvPicPr>
              <p:blipFill>
                <a:blip r:embed="rId198"/>
                <a:stretch>
                  <a:fillRect/>
                </a:stretch>
              </p:blipFill>
              <p:spPr>
                <a:xfrm>
                  <a:off x="13468955" y="6686418"/>
                  <a:ext cx="250560" cy="1843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393" name="Group 392">
            <a:extLst>
              <a:ext uri="{FF2B5EF4-FFF2-40B4-BE49-F238E27FC236}">
                <a16:creationId xmlns:a16="http://schemas.microsoft.com/office/drawing/2014/main" id="{AE8AF19A-FDD7-4A2A-8DE1-9F46340AF5F0}"/>
              </a:ext>
            </a:extLst>
          </p:cNvPr>
          <p:cNvGrpSpPr/>
          <p:nvPr/>
        </p:nvGrpSpPr>
        <p:grpSpPr>
          <a:xfrm>
            <a:off x="12349768" y="4783122"/>
            <a:ext cx="1570680" cy="427991"/>
            <a:chOff x="12349768" y="4783122"/>
            <a:chExt cx="1570680" cy="427991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99">
              <p14:nvContentPartPr>
                <p14:cNvPr id="288" name="Ink 287">
                  <a:extLst>
                    <a:ext uri="{FF2B5EF4-FFF2-40B4-BE49-F238E27FC236}">
                      <a16:creationId xmlns:a16="http://schemas.microsoft.com/office/drawing/2014/main" id="{9B78DE9C-B061-461D-B270-B17AA81565CE}"/>
                    </a:ext>
                  </a:extLst>
                </p14:cNvPr>
                <p14:cNvContentPartPr/>
                <p14:nvPr/>
              </p14:nvContentPartPr>
              <p14:xfrm>
                <a:off x="12349768" y="4791762"/>
                <a:ext cx="321120" cy="217440"/>
              </p14:xfrm>
            </p:contentPart>
          </mc:Choice>
          <mc:Fallback xmlns="">
            <p:pic>
              <p:nvPicPr>
                <p:cNvPr id="288" name="Ink 287">
                  <a:extLst>
                    <a:ext uri="{FF2B5EF4-FFF2-40B4-BE49-F238E27FC236}">
                      <a16:creationId xmlns:a16="http://schemas.microsoft.com/office/drawing/2014/main" id="{9B78DE9C-B061-461D-B270-B17AA81565CE}"/>
                    </a:ext>
                  </a:extLst>
                </p:cNvPr>
                <p:cNvPicPr/>
                <p:nvPr/>
              </p:nvPicPr>
              <p:blipFill>
                <a:blip r:embed="rId200"/>
                <a:stretch>
                  <a:fillRect/>
                </a:stretch>
              </p:blipFill>
              <p:spPr>
                <a:xfrm>
                  <a:off x="12314128" y="4756122"/>
                  <a:ext cx="392760" cy="289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1">
              <p14:nvContentPartPr>
                <p14:cNvPr id="289" name="Ink 288">
                  <a:extLst>
                    <a:ext uri="{FF2B5EF4-FFF2-40B4-BE49-F238E27FC236}">
                      <a16:creationId xmlns:a16="http://schemas.microsoft.com/office/drawing/2014/main" id="{813A3987-A5B7-4117-B32D-331344181C03}"/>
                    </a:ext>
                  </a:extLst>
                </p14:cNvPr>
                <p14:cNvContentPartPr/>
                <p14:nvPr/>
              </p14:nvContentPartPr>
              <p14:xfrm>
                <a:off x="12832888" y="4853322"/>
                <a:ext cx="114120" cy="13680"/>
              </p14:xfrm>
            </p:contentPart>
          </mc:Choice>
          <mc:Fallback xmlns="">
            <p:pic>
              <p:nvPicPr>
                <p:cNvPr id="289" name="Ink 288">
                  <a:extLst>
                    <a:ext uri="{FF2B5EF4-FFF2-40B4-BE49-F238E27FC236}">
                      <a16:creationId xmlns:a16="http://schemas.microsoft.com/office/drawing/2014/main" id="{813A3987-A5B7-4117-B32D-331344181C03}"/>
                    </a:ext>
                  </a:extLst>
                </p:cNvPr>
                <p:cNvPicPr/>
                <p:nvPr/>
              </p:nvPicPr>
              <p:blipFill>
                <a:blip r:embed="rId202"/>
                <a:stretch>
                  <a:fillRect/>
                </a:stretch>
              </p:blipFill>
              <p:spPr>
                <a:xfrm>
                  <a:off x="12796888" y="4817682"/>
                  <a:ext cx="185760" cy="85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3">
              <p14:nvContentPartPr>
                <p14:cNvPr id="290" name="Ink 289">
                  <a:extLst>
                    <a:ext uri="{FF2B5EF4-FFF2-40B4-BE49-F238E27FC236}">
                      <a16:creationId xmlns:a16="http://schemas.microsoft.com/office/drawing/2014/main" id="{16787D11-9BE8-4C5E-A0DB-A1B7AA75D393}"/>
                    </a:ext>
                  </a:extLst>
                </p14:cNvPr>
                <p14:cNvContentPartPr/>
                <p14:nvPr/>
              </p14:nvContentPartPr>
              <p14:xfrm>
                <a:off x="12845128" y="4918842"/>
                <a:ext cx="127800" cy="27720"/>
              </p14:xfrm>
            </p:contentPart>
          </mc:Choice>
          <mc:Fallback xmlns="">
            <p:pic>
              <p:nvPicPr>
                <p:cNvPr id="290" name="Ink 289">
                  <a:extLst>
                    <a:ext uri="{FF2B5EF4-FFF2-40B4-BE49-F238E27FC236}">
                      <a16:creationId xmlns:a16="http://schemas.microsoft.com/office/drawing/2014/main" id="{16787D11-9BE8-4C5E-A0DB-A1B7AA75D393}"/>
                    </a:ext>
                  </a:extLst>
                </p:cNvPr>
                <p:cNvPicPr/>
                <p:nvPr/>
              </p:nvPicPr>
              <p:blipFill>
                <a:blip r:embed="rId204"/>
                <a:stretch>
                  <a:fillRect/>
                </a:stretch>
              </p:blipFill>
              <p:spPr>
                <a:xfrm>
                  <a:off x="12809488" y="4883202"/>
                  <a:ext cx="199440" cy="99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5">
              <p14:nvContentPartPr>
                <p14:cNvPr id="291" name="Ink 290">
                  <a:extLst>
                    <a:ext uri="{FF2B5EF4-FFF2-40B4-BE49-F238E27FC236}">
                      <a16:creationId xmlns:a16="http://schemas.microsoft.com/office/drawing/2014/main" id="{8F144BC6-C4C5-4127-938F-F57679C32982}"/>
                    </a:ext>
                  </a:extLst>
                </p14:cNvPr>
                <p14:cNvContentPartPr/>
                <p14:nvPr/>
              </p14:nvContentPartPr>
              <p14:xfrm>
                <a:off x="13106128" y="4825242"/>
                <a:ext cx="169560" cy="125280"/>
              </p14:xfrm>
            </p:contentPart>
          </mc:Choice>
          <mc:Fallback xmlns="">
            <p:pic>
              <p:nvPicPr>
                <p:cNvPr id="291" name="Ink 290">
                  <a:extLst>
                    <a:ext uri="{FF2B5EF4-FFF2-40B4-BE49-F238E27FC236}">
                      <a16:creationId xmlns:a16="http://schemas.microsoft.com/office/drawing/2014/main" id="{8F144BC6-C4C5-4127-938F-F57679C32982}"/>
                    </a:ext>
                  </a:extLst>
                </p:cNvPr>
                <p:cNvPicPr/>
                <p:nvPr/>
              </p:nvPicPr>
              <p:blipFill>
                <a:blip r:embed="rId206"/>
                <a:stretch>
                  <a:fillRect/>
                </a:stretch>
              </p:blipFill>
              <p:spPr>
                <a:xfrm>
                  <a:off x="13070488" y="4789602"/>
                  <a:ext cx="241200" cy="196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7">
              <p14:nvContentPartPr>
                <p14:cNvPr id="292" name="Ink 291">
                  <a:extLst>
                    <a:ext uri="{FF2B5EF4-FFF2-40B4-BE49-F238E27FC236}">
                      <a16:creationId xmlns:a16="http://schemas.microsoft.com/office/drawing/2014/main" id="{ED617C27-B64D-473C-9FE0-FDFB95DBA128}"/>
                    </a:ext>
                  </a:extLst>
                </p14:cNvPr>
                <p14:cNvContentPartPr/>
                <p14:nvPr/>
              </p14:nvContentPartPr>
              <p14:xfrm>
                <a:off x="13368568" y="4813362"/>
                <a:ext cx="263520" cy="162720"/>
              </p14:xfrm>
            </p:contentPart>
          </mc:Choice>
          <mc:Fallback xmlns="">
            <p:pic>
              <p:nvPicPr>
                <p:cNvPr id="292" name="Ink 291">
                  <a:extLst>
                    <a:ext uri="{FF2B5EF4-FFF2-40B4-BE49-F238E27FC236}">
                      <a16:creationId xmlns:a16="http://schemas.microsoft.com/office/drawing/2014/main" id="{ED617C27-B64D-473C-9FE0-FDFB95DBA128}"/>
                    </a:ext>
                  </a:extLst>
                </p:cNvPr>
                <p:cNvPicPr/>
                <p:nvPr/>
              </p:nvPicPr>
              <p:blipFill>
                <a:blip r:embed="rId208"/>
                <a:stretch>
                  <a:fillRect/>
                </a:stretch>
              </p:blipFill>
              <p:spPr>
                <a:xfrm>
                  <a:off x="13332928" y="4777362"/>
                  <a:ext cx="335160" cy="234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9">
              <p14:nvContentPartPr>
                <p14:cNvPr id="293" name="Ink 292">
                  <a:extLst>
                    <a:ext uri="{FF2B5EF4-FFF2-40B4-BE49-F238E27FC236}">
                      <a16:creationId xmlns:a16="http://schemas.microsoft.com/office/drawing/2014/main" id="{E651D36C-3D16-47DB-A6AA-CE1E218A6597}"/>
                    </a:ext>
                  </a:extLst>
                </p14:cNvPr>
                <p14:cNvContentPartPr/>
                <p14:nvPr/>
              </p14:nvContentPartPr>
              <p14:xfrm>
                <a:off x="13759168" y="4853682"/>
                <a:ext cx="73080" cy="140400"/>
              </p14:xfrm>
            </p:contentPart>
          </mc:Choice>
          <mc:Fallback xmlns="">
            <p:pic>
              <p:nvPicPr>
                <p:cNvPr id="293" name="Ink 292">
                  <a:extLst>
                    <a:ext uri="{FF2B5EF4-FFF2-40B4-BE49-F238E27FC236}">
                      <a16:creationId xmlns:a16="http://schemas.microsoft.com/office/drawing/2014/main" id="{E651D36C-3D16-47DB-A6AA-CE1E218A6597}"/>
                    </a:ext>
                  </a:extLst>
                </p:cNvPr>
                <p:cNvPicPr/>
                <p:nvPr/>
              </p:nvPicPr>
              <p:blipFill>
                <a:blip r:embed="rId210"/>
                <a:stretch>
                  <a:fillRect/>
                </a:stretch>
              </p:blipFill>
              <p:spPr>
                <a:xfrm>
                  <a:off x="13723528" y="4817682"/>
                  <a:ext cx="144720" cy="212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11">
              <p14:nvContentPartPr>
                <p14:cNvPr id="294" name="Ink 293">
                  <a:extLst>
                    <a:ext uri="{FF2B5EF4-FFF2-40B4-BE49-F238E27FC236}">
                      <a16:creationId xmlns:a16="http://schemas.microsoft.com/office/drawing/2014/main" id="{AA4C1EE5-4D3B-4B99-8894-751467495A02}"/>
                    </a:ext>
                  </a:extLst>
                </p14:cNvPr>
                <p14:cNvContentPartPr/>
                <p14:nvPr/>
              </p14:nvContentPartPr>
              <p14:xfrm>
                <a:off x="13823608" y="4802922"/>
                <a:ext cx="96840" cy="15840"/>
              </p14:xfrm>
            </p:contentPart>
          </mc:Choice>
          <mc:Fallback xmlns="">
            <p:pic>
              <p:nvPicPr>
                <p:cNvPr id="294" name="Ink 293">
                  <a:extLst>
                    <a:ext uri="{FF2B5EF4-FFF2-40B4-BE49-F238E27FC236}">
                      <a16:creationId xmlns:a16="http://schemas.microsoft.com/office/drawing/2014/main" id="{AA4C1EE5-4D3B-4B99-8894-751467495A02}"/>
                    </a:ext>
                  </a:extLst>
                </p:cNvPr>
                <p:cNvPicPr/>
                <p:nvPr/>
              </p:nvPicPr>
              <p:blipFill>
                <a:blip r:embed="rId212"/>
                <a:stretch>
                  <a:fillRect/>
                </a:stretch>
              </p:blipFill>
              <p:spPr>
                <a:xfrm>
                  <a:off x="13787968" y="4767282"/>
                  <a:ext cx="168480" cy="87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13">
              <p14:nvContentPartPr>
                <p14:cNvPr id="296" name="Ink 295">
                  <a:extLst>
                    <a:ext uri="{FF2B5EF4-FFF2-40B4-BE49-F238E27FC236}">
                      <a16:creationId xmlns:a16="http://schemas.microsoft.com/office/drawing/2014/main" id="{A326DCB7-3F4D-4FD8-86D5-97980DE4B9B3}"/>
                    </a:ext>
                  </a:extLst>
                </p14:cNvPr>
                <p14:cNvContentPartPr/>
                <p14:nvPr/>
              </p14:nvContentPartPr>
              <p14:xfrm>
                <a:off x="13789408" y="4783122"/>
                <a:ext cx="84960" cy="7560"/>
              </p14:xfrm>
            </p:contentPart>
          </mc:Choice>
          <mc:Fallback xmlns="">
            <p:pic>
              <p:nvPicPr>
                <p:cNvPr id="296" name="Ink 295">
                  <a:extLst>
                    <a:ext uri="{FF2B5EF4-FFF2-40B4-BE49-F238E27FC236}">
                      <a16:creationId xmlns:a16="http://schemas.microsoft.com/office/drawing/2014/main" id="{A326DCB7-3F4D-4FD8-86D5-97980DE4B9B3}"/>
                    </a:ext>
                  </a:extLst>
                </p:cNvPr>
                <p:cNvPicPr/>
                <p:nvPr/>
              </p:nvPicPr>
              <p:blipFill>
                <a:blip r:embed="rId214"/>
                <a:stretch>
                  <a:fillRect/>
                </a:stretch>
              </p:blipFill>
              <p:spPr>
                <a:xfrm>
                  <a:off x="13753768" y="4747122"/>
                  <a:ext cx="156600" cy="79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15">
              <p14:nvContentPartPr>
                <p14:cNvPr id="391" name="Ink 390">
                  <a:extLst>
                    <a:ext uri="{FF2B5EF4-FFF2-40B4-BE49-F238E27FC236}">
                      <a16:creationId xmlns:a16="http://schemas.microsoft.com/office/drawing/2014/main" id="{5BB30B9F-5C1E-4EBA-AE24-05B3A2DF5A7F}"/>
                    </a:ext>
                  </a:extLst>
                </p14:cNvPr>
                <p14:cNvContentPartPr/>
                <p14:nvPr/>
              </p14:nvContentPartPr>
              <p14:xfrm>
                <a:off x="12604595" y="5027873"/>
                <a:ext cx="16200" cy="183240"/>
              </p14:xfrm>
            </p:contentPart>
          </mc:Choice>
          <mc:Fallback xmlns="">
            <p:pic>
              <p:nvPicPr>
                <p:cNvPr id="391" name="Ink 390">
                  <a:extLst>
                    <a:ext uri="{FF2B5EF4-FFF2-40B4-BE49-F238E27FC236}">
                      <a16:creationId xmlns:a16="http://schemas.microsoft.com/office/drawing/2014/main" id="{5BB30B9F-5C1E-4EBA-AE24-05B3A2DF5A7F}"/>
                    </a:ext>
                  </a:extLst>
                </p:cNvPr>
                <p:cNvPicPr/>
                <p:nvPr/>
              </p:nvPicPr>
              <p:blipFill>
                <a:blip r:embed="rId216"/>
                <a:stretch>
                  <a:fillRect/>
                </a:stretch>
              </p:blipFill>
              <p:spPr>
                <a:xfrm>
                  <a:off x="12568595" y="4992233"/>
                  <a:ext cx="87840" cy="254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17">
              <p14:nvContentPartPr>
                <p14:cNvPr id="392" name="Ink 391">
                  <a:extLst>
                    <a:ext uri="{FF2B5EF4-FFF2-40B4-BE49-F238E27FC236}">
                      <a16:creationId xmlns:a16="http://schemas.microsoft.com/office/drawing/2014/main" id="{93FF7242-17B2-42D9-892A-C52154A3F50A}"/>
                    </a:ext>
                  </a:extLst>
                </p14:cNvPr>
                <p14:cNvContentPartPr/>
                <p14:nvPr/>
              </p14:nvContentPartPr>
              <p14:xfrm>
                <a:off x="12531515" y="5130473"/>
                <a:ext cx="208800" cy="66240"/>
              </p14:xfrm>
            </p:contentPart>
          </mc:Choice>
          <mc:Fallback xmlns="">
            <p:pic>
              <p:nvPicPr>
                <p:cNvPr id="392" name="Ink 391">
                  <a:extLst>
                    <a:ext uri="{FF2B5EF4-FFF2-40B4-BE49-F238E27FC236}">
                      <a16:creationId xmlns:a16="http://schemas.microsoft.com/office/drawing/2014/main" id="{93FF7242-17B2-42D9-892A-C52154A3F50A}"/>
                    </a:ext>
                  </a:extLst>
                </p:cNvPr>
                <p:cNvPicPr/>
                <p:nvPr/>
              </p:nvPicPr>
              <p:blipFill>
                <a:blip r:embed="rId218"/>
                <a:stretch>
                  <a:fillRect/>
                </a:stretch>
              </p:blipFill>
              <p:spPr>
                <a:xfrm>
                  <a:off x="12495515" y="5094473"/>
                  <a:ext cx="280440" cy="1378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400" name="Group 399">
            <a:extLst>
              <a:ext uri="{FF2B5EF4-FFF2-40B4-BE49-F238E27FC236}">
                <a16:creationId xmlns:a16="http://schemas.microsoft.com/office/drawing/2014/main" id="{EB5EF966-044A-49F4-86E1-A75B16966DB2}"/>
              </a:ext>
            </a:extLst>
          </p:cNvPr>
          <p:cNvGrpSpPr/>
          <p:nvPr/>
        </p:nvGrpSpPr>
        <p:grpSpPr>
          <a:xfrm>
            <a:off x="12209315" y="5627273"/>
            <a:ext cx="855000" cy="829080"/>
            <a:chOff x="12209315" y="5627273"/>
            <a:chExt cx="855000" cy="8290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219">
              <p14:nvContentPartPr>
                <p14:cNvPr id="394" name="Ink 393">
                  <a:extLst>
                    <a:ext uri="{FF2B5EF4-FFF2-40B4-BE49-F238E27FC236}">
                      <a16:creationId xmlns:a16="http://schemas.microsoft.com/office/drawing/2014/main" id="{2C7C2F94-2BA3-4E36-A266-92BA87E7A975}"/>
                    </a:ext>
                  </a:extLst>
                </p14:cNvPr>
                <p14:cNvContentPartPr/>
                <p14:nvPr/>
              </p14:nvContentPartPr>
              <p14:xfrm>
                <a:off x="12236315" y="5627273"/>
                <a:ext cx="698760" cy="160560"/>
              </p14:xfrm>
            </p:contentPart>
          </mc:Choice>
          <mc:Fallback xmlns="">
            <p:pic>
              <p:nvPicPr>
                <p:cNvPr id="394" name="Ink 393">
                  <a:extLst>
                    <a:ext uri="{FF2B5EF4-FFF2-40B4-BE49-F238E27FC236}">
                      <a16:creationId xmlns:a16="http://schemas.microsoft.com/office/drawing/2014/main" id="{2C7C2F94-2BA3-4E36-A266-92BA87E7A975}"/>
                    </a:ext>
                  </a:extLst>
                </p:cNvPr>
                <p:cNvPicPr/>
                <p:nvPr/>
              </p:nvPicPr>
              <p:blipFill>
                <a:blip r:embed="rId220"/>
                <a:stretch>
                  <a:fillRect/>
                </a:stretch>
              </p:blipFill>
              <p:spPr>
                <a:xfrm>
                  <a:off x="12200315" y="5591273"/>
                  <a:ext cx="770400" cy="232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1">
              <p14:nvContentPartPr>
                <p14:cNvPr id="395" name="Ink 394">
                  <a:extLst>
                    <a:ext uri="{FF2B5EF4-FFF2-40B4-BE49-F238E27FC236}">
                      <a16:creationId xmlns:a16="http://schemas.microsoft.com/office/drawing/2014/main" id="{CC806619-2D62-41F5-A7A8-5E32448DC92B}"/>
                    </a:ext>
                  </a:extLst>
                </p14:cNvPr>
                <p14:cNvContentPartPr/>
                <p14:nvPr/>
              </p14:nvContentPartPr>
              <p14:xfrm>
                <a:off x="12209315" y="5840753"/>
                <a:ext cx="835920" cy="148320"/>
              </p14:xfrm>
            </p:contentPart>
          </mc:Choice>
          <mc:Fallback xmlns="">
            <p:pic>
              <p:nvPicPr>
                <p:cNvPr id="395" name="Ink 394">
                  <a:extLst>
                    <a:ext uri="{FF2B5EF4-FFF2-40B4-BE49-F238E27FC236}">
                      <a16:creationId xmlns:a16="http://schemas.microsoft.com/office/drawing/2014/main" id="{CC806619-2D62-41F5-A7A8-5E32448DC92B}"/>
                    </a:ext>
                  </a:extLst>
                </p:cNvPr>
                <p:cNvPicPr/>
                <p:nvPr/>
              </p:nvPicPr>
              <p:blipFill>
                <a:blip r:embed="rId222"/>
                <a:stretch>
                  <a:fillRect/>
                </a:stretch>
              </p:blipFill>
              <p:spPr>
                <a:xfrm>
                  <a:off x="12173315" y="5804753"/>
                  <a:ext cx="907560" cy="219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3">
              <p14:nvContentPartPr>
                <p14:cNvPr id="396" name="Ink 395">
                  <a:extLst>
                    <a:ext uri="{FF2B5EF4-FFF2-40B4-BE49-F238E27FC236}">
                      <a16:creationId xmlns:a16="http://schemas.microsoft.com/office/drawing/2014/main" id="{32F20EA9-B591-41B3-AD4A-F11F3A373476}"/>
                    </a:ext>
                  </a:extLst>
                </p14:cNvPr>
                <p14:cNvContentPartPr/>
                <p14:nvPr/>
              </p14:nvContentPartPr>
              <p14:xfrm>
                <a:off x="12325955" y="5978993"/>
                <a:ext cx="572760" cy="140760"/>
              </p14:xfrm>
            </p:contentPart>
          </mc:Choice>
          <mc:Fallback xmlns="">
            <p:pic>
              <p:nvPicPr>
                <p:cNvPr id="396" name="Ink 395">
                  <a:extLst>
                    <a:ext uri="{FF2B5EF4-FFF2-40B4-BE49-F238E27FC236}">
                      <a16:creationId xmlns:a16="http://schemas.microsoft.com/office/drawing/2014/main" id="{32F20EA9-B591-41B3-AD4A-F11F3A373476}"/>
                    </a:ext>
                  </a:extLst>
                </p:cNvPr>
                <p:cNvPicPr/>
                <p:nvPr/>
              </p:nvPicPr>
              <p:blipFill>
                <a:blip r:embed="rId224"/>
                <a:stretch>
                  <a:fillRect/>
                </a:stretch>
              </p:blipFill>
              <p:spPr>
                <a:xfrm>
                  <a:off x="12289955" y="5942993"/>
                  <a:ext cx="644400" cy="212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5">
              <p14:nvContentPartPr>
                <p14:cNvPr id="397" name="Ink 396">
                  <a:extLst>
                    <a:ext uri="{FF2B5EF4-FFF2-40B4-BE49-F238E27FC236}">
                      <a16:creationId xmlns:a16="http://schemas.microsoft.com/office/drawing/2014/main" id="{15F1EEAC-BB46-4945-9E9C-F650604FC3B7}"/>
                    </a:ext>
                  </a:extLst>
                </p14:cNvPr>
                <p14:cNvContentPartPr/>
                <p14:nvPr/>
              </p14:nvContentPartPr>
              <p14:xfrm>
                <a:off x="12236675" y="6082313"/>
                <a:ext cx="787320" cy="171720"/>
              </p14:xfrm>
            </p:contentPart>
          </mc:Choice>
          <mc:Fallback xmlns="">
            <p:pic>
              <p:nvPicPr>
                <p:cNvPr id="397" name="Ink 396">
                  <a:extLst>
                    <a:ext uri="{FF2B5EF4-FFF2-40B4-BE49-F238E27FC236}">
                      <a16:creationId xmlns:a16="http://schemas.microsoft.com/office/drawing/2014/main" id="{15F1EEAC-BB46-4945-9E9C-F650604FC3B7}"/>
                    </a:ext>
                  </a:extLst>
                </p:cNvPr>
                <p:cNvPicPr/>
                <p:nvPr/>
              </p:nvPicPr>
              <p:blipFill>
                <a:blip r:embed="rId226"/>
                <a:stretch>
                  <a:fillRect/>
                </a:stretch>
              </p:blipFill>
              <p:spPr>
                <a:xfrm>
                  <a:off x="12201035" y="6046313"/>
                  <a:ext cx="858960" cy="243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7">
              <p14:nvContentPartPr>
                <p14:cNvPr id="398" name="Ink 397">
                  <a:extLst>
                    <a:ext uri="{FF2B5EF4-FFF2-40B4-BE49-F238E27FC236}">
                      <a16:creationId xmlns:a16="http://schemas.microsoft.com/office/drawing/2014/main" id="{8F3E58A6-A14E-425F-BC68-30725A7003E8}"/>
                    </a:ext>
                  </a:extLst>
                </p14:cNvPr>
                <p14:cNvContentPartPr/>
                <p14:nvPr/>
              </p14:nvContentPartPr>
              <p14:xfrm>
                <a:off x="12342875" y="6197153"/>
                <a:ext cx="662760" cy="157680"/>
              </p14:xfrm>
            </p:contentPart>
          </mc:Choice>
          <mc:Fallback xmlns="">
            <p:pic>
              <p:nvPicPr>
                <p:cNvPr id="398" name="Ink 397">
                  <a:extLst>
                    <a:ext uri="{FF2B5EF4-FFF2-40B4-BE49-F238E27FC236}">
                      <a16:creationId xmlns:a16="http://schemas.microsoft.com/office/drawing/2014/main" id="{8F3E58A6-A14E-425F-BC68-30725A7003E8}"/>
                    </a:ext>
                  </a:extLst>
                </p:cNvPr>
                <p:cNvPicPr/>
                <p:nvPr/>
              </p:nvPicPr>
              <p:blipFill>
                <a:blip r:embed="rId228"/>
                <a:stretch>
                  <a:fillRect/>
                </a:stretch>
              </p:blipFill>
              <p:spPr>
                <a:xfrm>
                  <a:off x="12306875" y="6161153"/>
                  <a:ext cx="734400" cy="229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9">
              <p14:nvContentPartPr>
                <p14:cNvPr id="399" name="Ink 398">
                  <a:extLst>
                    <a:ext uri="{FF2B5EF4-FFF2-40B4-BE49-F238E27FC236}">
                      <a16:creationId xmlns:a16="http://schemas.microsoft.com/office/drawing/2014/main" id="{F4BCF360-AB77-4BF2-9F96-F380A1E2591C}"/>
                    </a:ext>
                  </a:extLst>
                </p14:cNvPr>
                <p14:cNvContentPartPr/>
                <p14:nvPr/>
              </p14:nvContentPartPr>
              <p14:xfrm>
                <a:off x="12342155" y="6332513"/>
                <a:ext cx="722160" cy="123840"/>
              </p14:xfrm>
            </p:contentPart>
          </mc:Choice>
          <mc:Fallback xmlns="">
            <p:pic>
              <p:nvPicPr>
                <p:cNvPr id="399" name="Ink 398">
                  <a:extLst>
                    <a:ext uri="{FF2B5EF4-FFF2-40B4-BE49-F238E27FC236}">
                      <a16:creationId xmlns:a16="http://schemas.microsoft.com/office/drawing/2014/main" id="{F4BCF360-AB77-4BF2-9F96-F380A1E2591C}"/>
                    </a:ext>
                  </a:extLst>
                </p:cNvPr>
                <p:cNvPicPr/>
                <p:nvPr/>
              </p:nvPicPr>
              <p:blipFill>
                <a:blip r:embed="rId230"/>
                <a:stretch>
                  <a:fillRect/>
                </a:stretch>
              </p:blipFill>
              <p:spPr>
                <a:xfrm>
                  <a:off x="12306155" y="6296873"/>
                  <a:ext cx="793800" cy="1954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416" name="Group 415">
            <a:extLst>
              <a:ext uri="{FF2B5EF4-FFF2-40B4-BE49-F238E27FC236}">
                <a16:creationId xmlns:a16="http://schemas.microsoft.com/office/drawing/2014/main" id="{57C3B5DC-FACC-4993-A0B1-D3C85297F213}"/>
              </a:ext>
            </a:extLst>
          </p:cNvPr>
          <p:cNvGrpSpPr/>
          <p:nvPr/>
        </p:nvGrpSpPr>
        <p:grpSpPr>
          <a:xfrm>
            <a:off x="10871915" y="5521433"/>
            <a:ext cx="2300400" cy="1077120"/>
            <a:chOff x="10871915" y="5521433"/>
            <a:chExt cx="2300400" cy="10771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231">
              <p14:nvContentPartPr>
                <p14:cNvPr id="401" name="Ink 400">
                  <a:extLst>
                    <a:ext uri="{FF2B5EF4-FFF2-40B4-BE49-F238E27FC236}">
                      <a16:creationId xmlns:a16="http://schemas.microsoft.com/office/drawing/2014/main" id="{E3C66CD8-E1EC-406C-86A1-E9E23892D89F}"/>
                    </a:ext>
                  </a:extLst>
                </p14:cNvPr>
                <p14:cNvContentPartPr/>
                <p14:nvPr/>
              </p14:nvContentPartPr>
              <p14:xfrm>
                <a:off x="10871915" y="6439433"/>
                <a:ext cx="37800" cy="124920"/>
              </p14:xfrm>
            </p:contentPart>
          </mc:Choice>
          <mc:Fallback xmlns="">
            <p:pic>
              <p:nvPicPr>
                <p:cNvPr id="401" name="Ink 400">
                  <a:extLst>
                    <a:ext uri="{FF2B5EF4-FFF2-40B4-BE49-F238E27FC236}">
                      <a16:creationId xmlns:a16="http://schemas.microsoft.com/office/drawing/2014/main" id="{E3C66CD8-E1EC-406C-86A1-E9E23892D89F}"/>
                    </a:ext>
                  </a:extLst>
                </p:cNvPr>
                <p:cNvPicPr/>
                <p:nvPr/>
              </p:nvPicPr>
              <p:blipFill>
                <a:blip r:embed="rId232"/>
                <a:stretch>
                  <a:fillRect/>
                </a:stretch>
              </p:blipFill>
              <p:spPr>
                <a:xfrm>
                  <a:off x="10836275" y="6403433"/>
                  <a:ext cx="109440" cy="196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33">
              <p14:nvContentPartPr>
                <p14:cNvPr id="402" name="Ink 401">
                  <a:extLst>
                    <a:ext uri="{FF2B5EF4-FFF2-40B4-BE49-F238E27FC236}">
                      <a16:creationId xmlns:a16="http://schemas.microsoft.com/office/drawing/2014/main" id="{5B02E3BB-3859-4C1F-96D3-311B1A051542}"/>
                    </a:ext>
                  </a:extLst>
                </p14:cNvPr>
                <p14:cNvContentPartPr/>
                <p14:nvPr/>
              </p14:nvContentPartPr>
              <p14:xfrm>
                <a:off x="10906835" y="6373193"/>
                <a:ext cx="353520" cy="225360"/>
              </p14:xfrm>
            </p:contentPart>
          </mc:Choice>
          <mc:Fallback xmlns="">
            <p:pic>
              <p:nvPicPr>
                <p:cNvPr id="402" name="Ink 401">
                  <a:extLst>
                    <a:ext uri="{FF2B5EF4-FFF2-40B4-BE49-F238E27FC236}">
                      <a16:creationId xmlns:a16="http://schemas.microsoft.com/office/drawing/2014/main" id="{5B02E3BB-3859-4C1F-96D3-311B1A051542}"/>
                    </a:ext>
                  </a:extLst>
                </p:cNvPr>
                <p:cNvPicPr/>
                <p:nvPr/>
              </p:nvPicPr>
              <p:blipFill>
                <a:blip r:embed="rId234"/>
                <a:stretch>
                  <a:fillRect/>
                </a:stretch>
              </p:blipFill>
              <p:spPr>
                <a:xfrm>
                  <a:off x="10871195" y="6337193"/>
                  <a:ext cx="425160" cy="297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35">
              <p14:nvContentPartPr>
                <p14:cNvPr id="403" name="Ink 402">
                  <a:extLst>
                    <a:ext uri="{FF2B5EF4-FFF2-40B4-BE49-F238E27FC236}">
                      <a16:creationId xmlns:a16="http://schemas.microsoft.com/office/drawing/2014/main" id="{3B71599D-6B0E-470C-BA58-AE4C6E44DD4C}"/>
                    </a:ext>
                  </a:extLst>
                </p14:cNvPr>
                <p14:cNvContentPartPr/>
                <p14:nvPr/>
              </p14:nvContentPartPr>
              <p14:xfrm>
                <a:off x="11279795" y="6235673"/>
                <a:ext cx="273960" cy="315360"/>
              </p14:xfrm>
            </p:contentPart>
          </mc:Choice>
          <mc:Fallback xmlns="">
            <p:pic>
              <p:nvPicPr>
                <p:cNvPr id="403" name="Ink 402">
                  <a:extLst>
                    <a:ext uri="{FF2B5EF4-FFF2-40B4-BE49-F238E27FC236}">
                      <a16:creationId xmlns:a16="http://schemas.microsoft.com/office/drawing/2014/main" id="{3B71599D-6B0E-470C-BA58-AE4C6E44DD4C}"/>
                    </a:ext>
                  </a:extLst>
                </p:cNvPr>
                <p:cNvPicPr/>
                <p:nvPr/>
              </p:nvPicPr>
              <p:blipFill>
                <a:blip r:embed="rId236"/>
                <a:stretch>
                  <a:fillRect/>
                </a:stretch>
              </p:blipFill>
              <p:spPr>
                <a:xfrm>
                  <a:off x="11243795" y="6200033"/>
                  <a:ext cx="345600" cy="387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37">
              <p14:nvContentPartPr>
                <p14:cNvPr id="404" name="Ink 403">
                  <a:extLst>
                    <a:ext uri="{FF2B5EF4-FFF2-40B4-BE49-F238E27FC236}">
                      <a16:creationId xmlns:a16="http://schemas.microsoft.com/office/drawing/2014/main" id="{4F78673D-8BD1-4731-B510-8A6A39597B74}"/>
                    </a:ext>
                  </a:extLst>
                </p14:cNvPr>
                <p14:cNvContentPartPr/>
                <p14:nvPr/>
              </p14:nvContentPartPr>
              <p14:xfrm>
                <a:off x="11470595" y="6118673"/>
                <a:ext cx="196200" cy="393120"/>
              </p14:xfrm>
            </p:contentPart>
          </mc:Choice>
          <mc:Fallback xmlns="">
            <p:pic>
              <p:nvPicPr>
                <p:cNvPr id="404" name="Ink 403">
                  <a:extLst>
                    <a:ext uri="{FF2B5EF4-FFF2-40B4-BE49-F238E27FC236}">
                      <a16:creationId xmlns:a16="http://schemas.microsoft.com/office/drawing/2014/main" id="{4F78673D-8BD1-4731-B510-8A6A39597B74}"/>
                    </a:ext>
                  </a:extLst>
                </p:cNvPr>
                <p:cNvPicPr/>
                <p:nvPr/>
              </p:nvPicPr>
              <p:blipFill>
                <a:blip r:embed="rId238"/>
                <a:stretch>
                  <a:fillRect/>
                </a:stretch>
              </p:blipFill>
              <p:spPr>
                <a:xfrm>
                  <a:off x="11434955" y="6082673"/>
                  <a:ext cx="267840" cy="464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39">
              <p14:nvContentPartPr>
                <p14:cNvPr id="405" name="Ink 404">
                  <a:extLst>
                    <a:ext uri="{FF2B5EF4-FFF2-40B4-BE49-F238E27FC236}">
                      <a16:creationId xmlns:a16="http://schemas.microsoft.com/office/drawing/2014/main" id="{66CD8584-562A-42A0-BD4E-0E0713A64F59}"/>
                    </a:ext>
                  </a:extLst>
                </p14:cNvPr>
                <p14:cNvContentPartPr/>
                <p14:nvPr/>
              </p14:nvContentPartPr>
              <p14:xfrm>
                <a:off x="11637635" y="5866313"/>
                <a:ext cx="235080" cy="593280"/>
              </p14:xfrm>
            </p:contentPart>
          </mc:Choice>
          <mc:Fallback xmlns="">
            <p:pic>
              <p:nvPicPr>
                <p:cNvPr id="405" name="Ink 404">
                  <a:extLst>
                    <a:ext uri="{FF2B5EF4-FFF2-40B4-BE49-F238E27FC236}">
                      <a16:creationId xmlns:a16="http://schemas.microsoft.com/office/drawing/2014/main" id="{66CD8584-562A-42A0-BD4E-0E0713A64F59}"/>
                    </a:ext>
                  </a:extLst>
                </p:cNvPr>
                <p:cNvPicPr/>
                <p:nvPr/>
              </p:nvPicPr>
              <p:blipFill>
                <a:blip r:embed="rId240"/>
                <a:stretch>
                  <a:fillRect/>
                </a:stretch>
              </p:blipFill>
              <p:spPr>
                <a:xfrm>
                  <a:off x="11601995" y="5830313"/>
                  <a:ext cx="306720" cy="664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41">
              <p14:nvContentPartPr>
                <p14:cNvPr id="406" name="Ink 405">
                  <a:extLst>
                    <a:ext uri="{FF2B5EF4-FFF2-40B4-BE49-F238E27FC236}">
                      <a16:creationId xmlns:a16="http://schemas.microsoft.com/office/drawing/2014/main" id="{E8B9E3C9-9767-4A45-8483-31784D4C5E6B}"/>
                    </a:ext>
                  </a:extLst>
                </p14:cNvPr>
                <p14:cNvContentPartPr/>
                <p14:nvPr/>
              </p14:nvContentPartPr>
              <p14:xfrm>
                <a:off x="11796755" y="5730593"/>
                <a:ext cx="127440" cy="555120"/>
              </p14:xfrm>
            </p:contentPart>
          </mc:Choice>
          <mc:Fallback xmlns="">
            <p:pic>
              <p:nvPicPr>
                <p:cNvPr id="406" name="Ink 405">
                  <a:extLst>
                    <a:ext uri="{FF2B5EF4-FFF2-40B4-BE49-F238E27FC236}">
                      <a16:creationId xmlns:a16="http://schemas.microsoft.com/office/drawing/2014/main" id="{E8B9E3C9-9767-4A45-8483-31784D4C5E6B}"/>
                    </a:ext>
                  </a:extLst>
                </p:cNvPr>
                <p:cNvPicPr/>
                <p:nvPr/>
              </p:nvPicPr>
              <p:blipFill>
                <a:blip r:embed="rId242"/>
                <a:stretch>
                  <a:fillRect/>
                </a:stretch>
              </p:blipFill>
              <p:spPr>
                <a:xfrm>
                  <a:off x="11761115" y="5694953"/>
                  <a:ext cx="199080" cy="626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43">
              <p14:nvContentPartPr>
                <p14:cNvPr id="407" name="Ink 406">
                  <a:extLst>
                    <a:ext uri="{FF2B5EF4-FFF2-40B4-BE49-F238E27FC236}">
                      <a16:creationId xmlns:a16="http://schemas.microsoft.com/office/drawing/2014/main" id="{6E016246-AB08-4AE6-A738-49D56654AB2C}"/>
                    </a:ext>
                  </a:extLst>
                </p14:cNvPr>
                <p14:cNvContentPartPr/>
                <p14:nvPr/>
              </p14:nvContentPartPr>
              <p14:xfrm>
                <a:off x="11908715" y="5647433"/>
                <a:ext cx="140040" cy="522360"/>
              </p14:xfrm>
            </p:contentPart>
          </mc:Choice>
          <mc:Fallback xmlns="">
            <p:pic>
              <p:nvPicPr>
                <p:cNvPr id="407" name="Ink 406">
                  <a:extLst>
                    <a:ext uri="{FF2B5EF4-FFF2-40B4-BE49-F238E27FC236}">
                      <a16:creationId xmlns:a16="http://schemas.microsoft.com/office/drawing/2014/main" id="{6E016246-AB08-4AE6-A738-49D56654AB2C}"/>
                    </a:ext>
                  </a:extLst>
                </p:cNvPr>
                <p:cNvPicPr/>
                <p:nvPr/>
              </p:nvPicPr>
              <p:blipFill>
                <a:blip r:embed="rId244"/>
                <a:stretch>
                  <a:fillRect/>
                </a:stretch>
              </p:blipFill>
              <p:spPr>
                <a:xfrm>
                  <a:off x="11872715" y="5611793"/>
                  <a:ext cx="211680" cy="594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45">
              <p14:nvContentPartPr>
                <p14:cNvPr id="409" name="Ink 408">
                  <a:extLst>
                    <a:ext uri="{FF2B5EF4-FFF2-40B4-BE49-F238E27FC236}">
                      <a16:creationId xmlns:a16="http://schemas.microsoft.com/office/drawing/2014/main" id="{7E2348E9-A21E-4967-A289-2FAFAAF2DFBC}"/>
                    </a:ext>
                  </a:extLst>
                </p14:cNvPr>
                <p14:cNvContentPartPr/>
                <p14:nvPr/>
              </p14:nvContentPartPr>
              <p14:xfrm>
                <a:off x="11859755" y="5521433"/>
                <a:ext cx="956520" cy="19440"/>
              </p14:xfrm>
            </p:contentPart>
          </mc:Choice>
          <mc:Fallback xmlns="">
            <p:pic>
              <p:nvPicPr>
                <p:cNvPr id="409" name="Ink 408">
                  <a:extLst>
                    <a:ext uri="{FF2B5EF4-FFF2-40B4-BE49-F238E27FC236}">
                      <a16:creationId xmlns:a16="http://schemas.microsoft.com/office/drawing/2014/main" id="{7E2348E9-A21E-4967-A289-2FAFAAF2DFBC}"/>
                    </a:ext>
                  </a:extLst>
                </p:cNvPr>
                <p:cNvPicPr/>
                <p:nvPr/>
              </p:nvPicPr>
              <p:blipFill>
                <a:blip r:embed="rId246"/>
                <a:stretch>
                  <a:fillRect/>
                </a:stretch>
              </p:blipFill>
              <p:spPr>
                <a:xfrm>
                  <a:off x="11824115" y="5485793"/>
                  <a:ext cx="1028160" cy="91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47">
              <p14:nvContentPartPr>
                <p14:cNvPr id="410" name="Ink 409">
                  <a:extLst>
                    <a:ext uri="{FF2B5EF4-FFF2-40B4-BE49-F238E27FC236}">
                      <a16:creationId xmlns:a16="http://schemas.microsoft.com/office/drawing/2014/main" id="{44C46129-D93C-4AEF-B826-A7C1805E70E4}"/>
                    </a:ext>
                  </a:extLst>
                </p14:cNvPr>
                <p14:cNvContentPartPr/>
                <p14:nvPr/>
              </p14:nvContentPartPr>
              <p14:xfrm>
                <a:off x="11824835" y="5616833"/>
                <a:ext cx="1347480" cy="137880"/>
              </p14:xfrm>
            </p:contentPart>
          </mc:Choice>
          <mc:Fallback xmlns="">
            <p:pic>
              <p:nvPicPr>
                <p:cNvPr id="410" name="Ink 409">
                  <a:extLst>
                    <a:ext uri="{FF2B5EF4-FFF2-40B4-BE49-F238E27FC236}">
                      <a16:creationId xmlns:a16="http://schemas.microsoft.com/office/drawing/2014/main" id="{44C46129-D93C-4AEF-B826-A7C1805E70E4}"/>
                    </a:ext>
                  </a:extLst>
                </p:cNvPr>
                <p:cNvPicPr/>
                <p:nvPr/>
              </p:nvPicPr>
              <p:blipFill>
                <a:blip r:embed="rId248"/>
                <a:stretch>
                  <a:fillRect/>
                </a:stretch>
              </p:blipFill>
              <p:spPr>
                <a:xfrm>
                  <a:off x="11789195" y="5581193"/>
                  <a:ext cx="1419120" cy="209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49">
              <p14:nvContentPartPr>
                <p14:cNvPr id="411" name="Ink 410">
                  <a:extLst>
                    <a:ext uri="{FF2B5EF4-FFF2-40B4-BE49-F238E27FC236}">
                      <a16:creationId xmlns:a16="http://schemas.microsoft.com/office/drawing/2014/main" id="{A63C8086-968E-44A9-88C9-4003C5A5D484}"/>
                    </a:ext>
                  </a:extLst>
                </p14:cNvPr>
                <p14:cNvContentPartPr/>
                <p14:nvPr/>
              </p14:nvContentPartPr>
              <p14:xfrm>
                <a:off x="11960555" y="5868473"/>
                <a:ext cx="946440" cy="70920"/>
              </p14:xfrm>
            </p:contentPart>
          </mc:Choice>
          <mc:Fallback xmlns="">
            <p:pic>
              <p:nvPicPr>
                <p:cNvPr id="411" name="Ink 410">
                  <a:extLst>
                    <a:ext uri="{FF2B5EF4-FFF2-40B4-BE49-F238E27FC236}">
                      <a16:creationId xmlns:a16="http://schemas.microsoft.com/office/drawing/2014/main" id="{A63C8086-968E-44A9-88C9-4003C5A5D484}"/>
                    </a:ext>
                  </a:extLst>
                </p:cNvPr>
                <p:cNvPicPr/>
                <p:nvPr/>
              </p:nvPicPr>
              <p:blipFill>
                <a:blip r:embed="rId250"/>
                <a:stretch>
                  <a:fillRect/>
                </a:stretch>
              </p:blipFill>
              <p:spPr>
                <a:xfrm>
                  <a:off x="11924915" y="5832833"/>
                  <a:ext cx="1018080" cy="142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51">
              <p14:nvContentPartPr>
                <p14:cNvPr id="412" name="Ink 411">
                  <a:extLst>
                    <a:ext uri="{FF2B5EF4-FFF2-40B4-BE49-F238E27FC236}">
                      <a16:creationId xmlns:a16="http://schemas.microsoft.com/office/drawing/2014/main" id="{11EB5B8E-25EC-46CD-AFA5-B6CE8B7F50C9}"/>
                    </a:ext>
                  </a:extLst>
                </p14:cNvPr>
                <p14:cNvContentPartPr/>
                <p14:nvPr/>
              </p14:nvContentPartPr>
              <p14:xfrm>
                <a:off x="11852915" y="6042353"/>
                <a:ext cx="874080" cy="129600"/>
              </p14:xfrm>
            </p:contentPart>
          </mc:Choice>
          <mc:Fallback xmlns="">
            <p:pic>
              <p:nvPicPr>
                <p:cNvPr id="412" name="Ink 411">
                  <a:extLst>
                    <a:ext uri="{FF2B5EF4-FFF2-40B4-BE49-F238E27FC236}">
                      <a16:creationId xmlns:a16="http://schemas.microsoft.com/office/drawing/2014/main" id="{11EB5B8E-25EC-46CD-AFA5-B6CE8B7F50C9}"/>
                    </a:ext>
                  </a:extLst>
                </p:cNvPr>
                <p:cNvPicPr/>
                <p:nvPr/>
              </p:nvPicPr>
              <p:blipFill>
                <a:blip r:embed="rId252"/>
                <a:stretch>
                  <a:fillRect/>
                </a:stretch>
              </p:blipFill>
              <p:spPr>
                <a:xfrm>
                  <a:off x="11816915" y="6006713"/>
                  <a:ext cx="945720" cy="201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53">
              <p14:nvContentPartPr>
                <p14:cNvPr id="413" name="Ink 412">
                  <a:extLst>
                    <a:ext uri="{FF2B5EF4-FFF2-40B4-BE49-F238E27FC236}">
                      <a16:creationId xmlns:a16="http://schemas.microsoft.com/office/drawing/2014/main" id="{91F6F1C6-4924-4C9C-A752-81FAA4A04CCF}"/>
                    </a:ext>
                  </a:extLst>
                </p14:cNvPr>
                <p14:cNvContentPartPr/>
                <p14:nvPr/>
              </p14:nvContentPartPr>
              <p14:xfrm>
                <a:off x="11771195" y="6187073"/>
                <a:ext cx="1189440" cy="233280"/>
              </p14:xfrm>
            </p:contentPart>
          </mc:Choice>
          <mc:Fallback xmlns="">
            <p:pic>
              <p:nvPicPr>
                <p:cNvPr id="413" name="Ink 412">
                  <a:extLst>
                    <a:ext uri="{FF2B5EF4-FFF2-40B4-BE49-F238E27FC236}">
                      <a16:creationId xmlns:a16="http://schemas.microsoft.com/office/drawing/2014/main" id="{91F6F1C6-4924-4C9C-A752-81FAA4A04CCF}"/>
                    </a:ext>
                  </a:extLst>
                </p:cNvPr>
                <p:cNvPicPr/>
                <p:nvPr/>
              </p:nvPicPr>
              <p:blipFill>
                <a:blip r:embed="rId254"/>
                <a:stretch>
                  <a:fillRect/>
                </a:stretch>
              </p:blipFill>
              <p:spPr>
                <a:xfrm>
                  <a:off x="11735195" y="6151073"/>
                  <a:ext cx="1261080" cy="304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55">
              <p14:nvContentPartPr>
                <p14:cNvPr id="414" name="Ink 413">
                  <a:extLst>
                    <a:ext uri="{FF2B5EF4-FFF2-40B4-BE49-F238E27FC236}">
                      <a16:creationId xmlns:a16="http://schemas.microsoft.com/office/drawing/2014/main" id="{6BB8A5D5-C16A-41FB-8BCD-83F6D3F5D402}"/>
                    </a:ext>
                  </a:extLst>
                </p14:cNvPr>
                <p14:cNvContentPartPr/>
                <p14:nvPr/>
              </p14:nvContentPartPr>
              <p14:xfrm>
                <a:off x="11942195" y="6345833"/>
                <a:ext cx="1077480" cy="170280"/>
              </p14:xfrm>
            </p:contentPart>
          </mc:Choice>
          <mc:Fallback xmlns="">
            <p:pic>
              <p:nvPicPr>
                <p:cNvPr id="414" name="Ink 413">
                  <a:extLst>
                    <a:ext uri="{FF2B5EF4-FFF2-40B4-BE49-F238E27FC236}">
                      <a16:creationId xmlns:a16="http://schemas.microsoft.com/office/drawing/2014/main" id="{6BB8A5D5-C16A-41FB-8BCD-83F6D3F5D402}"/>
                    </a:ext>
                  </a:extLst>
                </p:cNvPr>
                <p:cNvPicPr/>
                <p:nvPr/>
              </p:nvPicPr>
              <p:blipFill>
                <a:blip r:embed="rId256"/>
                <a:stretch>
                  <a:fillRect/>
                </a:stretch>
              </p:blipFill>
              <p:spPr>
                <a:xfrm>
                  <a:off x="11906195" y="6309833"/>
                  <a:ext cx="1149120" cy="241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57">
              <p14:nvContentPartPr>
                <p14:cNvPr id="415" name="Ink 414">
                  <a:extLst>
                    <a:ext uri="{FF2B5EF4-FFF2-40B4-BE49-F238E27FC236}">
                      <a16:creationId xmlns:a16="http://schemas.microsoft.com/office/drawing/2014/main" id="{2DB427D8-8461-4781-BC5E-2A1D99910B76}"/>
                    </a:ext>
                  </a:extLst>
                </p14:cNvPr>
                <p14:cNvContentPartPr/>
                <p14:nvPr/>
              </p14:nvContentPartPr>
              <p14:xfrm>
                <a:off x="12418475" y="6405233"/>
                <a:ext cx="662040" cy="83880"/>
              </p14:xfrm>
            </p:contentPart>
          </mc:Choice>
          <mc:Fallback xmlns="">
            <p:pic>
              <p:nvPicPr>
                <p:cNvPr id="415" name="Ink 414">
                  <a:extLst>
                    <a:ext uri="{FF2B5EF4-FFF2-40B4-BE49-F238E27FC236}">
                      <a16:creationId xmlns:a16="http://schemas.microsoft.com/office/drawing/2014/main" id="{2DB427D8-8461-4781-BC5E-2A1D99910B76}"/>
                    </a:ext>
                  </a:extLst>
                </p:cNvPr>
                <p:cNvPicPr/>
                <p:nvPr/>
              </p:nvPicPr>
              <p:blipFill>
                <a:blip r:embed="rId258"/>
                <a:stretch>
                  <a:fillRect/>
                </a:stretch>
              </p:blipFill>
              <p:spPr>
                <a:xfrm>
                  <a:off x="12382835" y="6369233"/>
                  <a:ext cx="733680" cy="155520"/>
                </a:xfrm>
                <a:prstGeom prst="rect">
                  <a:avLst/>
                </a:prstGeom>
              </p:spPr>
            </p:pic>
          </mc:Fallback>
        </mc:AlternateContent>
      </p:grp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" name="Google Shape;280;p3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endParaRPr/>
          </a:p>
        </p:txBody>
      </p:sp>
      <p:sp>
        <p:nvSpPr>
          <p:cNvPr id="281" name="Google Shape;281;p3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6000"/>
              <a:t>Let’s summarize what we have learnt….</a:t>
            </a:r>
            <a:endParaRPr sz="600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4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r>
              <a:rPr lang="en-US"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bability – Meaning &amp; Concepts</a:t>
            </a:r>
            <a:endParaRPr/>
          </a:p>
        </p:txBody>
      </p:sp>
      <p:sp>
        <p:nvSpPr>
          <p:cNvPr id="103" name="Google Shape;103;p4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286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</a:pPr>
            <a:r>
              <a:rPr lang="en-US" sz="2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bability </a:t>
            </a:r>
            <a:r>
              <a:rPr lang="en-US"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fers to chance or likelihood of a particular event-taking place. </a:t>
            </a:r>
            <a:endParaRPr/>
          </a:p>
          <a:p>
            <a:pPr marL="228600" marR="0" lvl="0" indent="-508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</a:pPr>
            <a:endParaRPr sz="2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286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</a:pPr>
            <a:r>
              <a:rPr lang="en-US"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n </a:t>
            </a:r>
            <a:r>
              <a:rPr lang="en-US" sz="2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vent </a:t>
            </a:r>
            <a:r>
              <a:rPr lang="en-US"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s an outcome of an experiment. </a:t>
            </a:r>
            <a:endParaRPr/>
          </a:p>
          <a:p>
            <a:pPr marL="228600" marR="0" lvl="0" indent="-508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</a:pPr>
            <a:endParaRPr sz="2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286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</a:pPr>
            <a:r>
              <a:rPr lang="en-US"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n </a:t>
            </a:r>
            <a:r>
              <a:rPr lang="en-US" sz="2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xperiment </a:t>
            </a:r>
            <a:r>
              <a:rPr lang="en-US"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s a process that is performed to understand and observe possible outcomes. </a:t>
            </a:r>
            <a:endParaRPr/>
          </a:p>
          <a:p>
            <a:pPr marL="228600" marR="0" lvl="0" indent="-508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</a:pPr>
            <a:endParaRPr sz="2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286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</a:pPr>
            <a:r>
              <a:rPr lang="en-US"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 of all outcomes of an experiment is called the </a:t>
            </a:r>
            <a:r>
              <a:rPr lang="en-US" sz="2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ample space. </a:t>
            </a:r>
            <a:endParaRPr sz="2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28600" marR="0" lvl="0" indent="-508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</a:pPr>
            <a:endParaRPr sz="2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61BCDED-2288-024D-D8D8-973658CCEE61}"/>
              </a:ext>
            </a:extLst>
          </p:cNvPr>
          <p:cNvGrpSpPr/>
          <p:nvPr/>
        </p:nvGrpSpPr>
        <p:grpSpPr>
          <a:xfrm>
            <a:off x="8828021" y="5138132"/>
            <a:ext cx="2763720" cy="599400"/>
            <a:chOff x="8828021" y="5138132"/>
            <a:chExt cx="2763720" cy="5994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3">
              <p14:nvContentPartPr>
                <p14:cNvPr id="2" name="Ink 1">
                  <a:extLst>
                    <a:ext uri="{FF2B5EF4-FFF2-40B4-BE49-F238E27FC236}">
                      <a16:creationId xmlns:a16="http://schemas.microsoft.com/office/drawing/2014/main" id="{DA33D38C-AE17-D73A-C5AB-B0090C298AFE}"/>
                    </a:ext>
                  </a:extLst>
                </p14:cNvPr>
                <p14:cNvContentPartPr/>
                <p14:nvPr/>
              </p14:nvContentPartPr>
              <p14:xfrm>
                <a:off x="8828021" y="5138132"/>
                <a:ext cx="227520" cy="476640"/>
              </p14:xfrm>
            </p:contentPart>
          </mc:Choice>
          <mc:Fallback>
            <p:pic>
              <p:nvPicPr>
                <p:cNvPr id="2" name="Ink 1">
                  <a:extLst>
                    <a:ext uri="{FF2B5EF4-FFF2-40B4-BE49-F238E27FC236}">
                      <a16:creationId xmlns:a16="http://schemas.microsoft.com/office/drawing/2014/main" id="{DA33D38C-AE17-D73A-C5AB-B0090C298AFE}"/>
                    </a:ext>
                  </a:extLst>
                </p:cNvPr>
                <p:cNvPicPr/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8797421" y="5107172"/>
                  <a:ext cx="289080" cy="538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">
              <p14:nvContentPartPr>
                <p14:cNvPr id="3" name="Ink 2">
                  <a:extLst>
                    <a:ext uri="{FF2B5EF4-FFF2-40B4-BE49-F238E27FC236}">
                      <a16:creationId xmlns:a16="http://schemas.microsoft.com/office/drawing/2014/main" id="{72CC0818-4E29-FE70-1EFA-66E747DC619D}"/>
                    </a:ext>
                  </a:extLst>
                </p14:cNvPr>
                <p14:cNvContentPartPr/>
                <p14:nvPr/>
              </p14:nvContentPartPr>
              <p14:xfrm>
                <a:off x="9194141" y="5209412"/>
                <a:ext cx="9720" cy="283320"/>
              </p14:xfrm>
            </p:contentPart>
          </mc:Choice>
          <mc:Fallback>
            <p:pic>
              <p:nvPicPr>
                <p:cNvPr id="3" name="Ink 2">
                  <a:extLst>
                    <a:ext uri="{FF2B5EF4-FFF2-40B4-BE49-F238E27FC236}">
                      <a16:creationId xmlns:a16="http://schemas.microsoft.com/office/drawing/2014/main" id="{72CC0818-4E29-FE70-1EFA-66E747DC619D}"/>
                    </a:ext>
                  </a:extLst>
                </p:cNvPr>
                <p:cNvPicPr/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9163541" y="5178812"/>
                  <a:ext cx="70920" cy="344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">
              <p14:nvContentPartPr>
                <p14:cNvPr id="4" name="Ink 3">
                  <a:extLst>
                    <a:ext uri="{FF2B5EF4-FFF2-40B4-BE49-F238E27FC236}">
                      <a16:creationId xmlns:a16="http://schemas.microsoft.com/office/drawing/2014/main" id="{382E578C-3607-092A-D509-A7479C215D0D}"/>
                    </a:ext>
                  </a:extLst>
                </p14:cNvPr>
                <p14:cNvContentPartPr/>
                <p14:nvPr/>
              </p14:nvContentPartPr>
              <p14:xfrm>
                <a:off x="9193421" y="5306252"/>
                <a:ext cx="146160" cy="193680"/>
              </p14:xfrm>
            </p:contentPart>
          </mc:Choice>
          <mc:Fallback>
            <p:pic>
              <p:nvPicPr>
                <p:cNvPr id="4" name="Ink 3">
                  <a:extLst>
                    <a:ext uri="{FF2B5EF4-FFF2-40B4-BE49-F238E27FC236}">
                      <a16:creationId xmlns:a16="http://schemas.microsoft.com/office/drawing/2014/main" id="{382E578C-3607-092A-D509-A7479C215D0D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9162821" y="5275652"/>
                  <a:ext cx="207360" cy="254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">
              <p14:nvContentPartPr>
                <p14:cNvPr id="5" name="Ink 4">
                  <a:extLst>
                    <a:ext uri="{FF2B5EF4-FFF2-40B4-BE49-F238E27FC236}">
                      <a16:creationId xmlns:a16="http://schemas.microsoft.com/office/drawing/2014/main" id="{3E04AA4B-F453-009E-16AA-ECFF7421EEC6}"/>
                    </a:ext>
                  </a:extLst>
                </p14:cNvPr>
                <p14:cNvContentPartPr/>
                <p14:nvPr/>
              </p14:nvContentPartPr>
              <p14:xfrm>
                <a:off x="9459101" y="5435492"/>
                <a:ext cx="20160" cy="120240"/>
              </p14:xfrm>
            </p:contentPart>
          </mc:Choice>
          <mc:Fallback>
            <p:pic>
              <p:nvPicPr>
                <p:cNvPr id="5" name="Ink 4">
                  <a:extLst>
                    <a:ext uri="{FF2B5EF4-FFF2-40B4-BE49-F238E27FC236}">
                      <a16:creationId xmlns:a16="http://schemas.microsoft.com/office/drawing/2014/main" id="{3E04AA4B-F453-009E-16AA-ECFF7421EEC6}"/>
                    </a:ext>
                  </a:extLst>
                </p:cNvPr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9428501" y="5404892"/>
                  <a:ext cx="81720" cy="181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">
              <p14:nvContentPartPr>
                <p14:cNvPr id="6" name="Ink 5">
                  <a:extLst>
                    <a:ext uri="{FF2B5EF4-FFF2-40B4-BE49-F238E27FC236}">
                      <a16:creationId xmlns:a16="http://schemas.microsoft.com/office/drawing/2014/main" id="{64418793-F421-8F5A-A91F-6D872B3CEDEA}"/>
                    </a:ext>
                  </a:extLst>
                </p14:cNvPr>
                <p14:cNvContentPartPr/>
                <p14:nvPr/>
              </p14:nvContentPartPr>
              <p14:xfrm>
                <a:off x="9692021" y="5284652"/>
                <a:ext cx="45720" cy="247680"/>
              </p14:xfrm>
            </p:contentPart>
          </mc:Choice>
          <mc:Fallback>
            <p:pic>
              <p:nvPicPr>
                <p:cNvPr id="6" name="Ink 5">
                  <a:extLst>
                    <a:ext uri="{FF2B5EF4-FFF2-40B4-BE49-F238E27FC236}">
                      <a16:creationId xmlns:a16="http://schemas.microsoft.com/office/drawing/2014/main" id="{64418793-F421-8F5A-A91F-6D872B3CEDEA}"/>
                    </a:ext>
                  </a:extLst>
                </p:cNvPr>
                <p:cNvPicPr/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9661061" y="5254052"/>
                  <a:ext cx="106920" cy="309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3">
              <p14:nvContentPartPr>
                <p14:cNvPr id="7" name="Ink 6">
                  <a:extLst>
                    <a:ext uri="{FF2B5EF4-FFF2-40B4-BE49-F238E27FC236}">
                      <a16:creationId xmlns:a16="http://schemas.microsoft.com/office/drawing/2014/main" id="{3B7503D5-0DBC-FF31-4715-3F80E057EB1E}"/>
                    </a:ext>
                  </a:extLst>
                </p14:cNvPr>
                <p14:cNvContentPartPr/>
                <p14:nvPr/>
              </p14:nvContentPartPr>
              <p14:xfrm>
                <a:off x="9577901" y="5274572"/>
                <a:ext cx="247320" cy="40680"/>
              </p14:xfrm>
            </p:contentPart>
          </mc:Choice>
          <mc:Fallback>
            <p:pic>
              <p:nvPicPr>
                <p:cNvPr id="7" name="Ink 6">
                  <a:extLst>
                    <a:ext uri="{FF2B5EF4-FFF2-40B4-BE49-F238E27FC236}">
                      <a16:creationId xmlns:a16="http://schemas.microsoft.com/office/drawing/2014/main" id="{3B7503D5-0DBC-FF31-4715-3F80E057EB1E}"/>
                    </a:ext>
                  </a:extLst>
                </p:cNvPr>
                <p:cNvPicPr/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9547301" y="5243972"/>
                  <a:ext cx="308880" cy="101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">
              <p14:nvContentPartPr>
                <p14:cNvPr id="8" name="Ink 7">
                  <a:extLst>
                    <a:ext uri="{FF2B5EF4-FFF2-40B4-BE49-F238E27FC236}">
                      <a16:creationId xmlns:a16="http://schemas.microsoft.com/office/drawing/2014/main" id="{6323E978-2698-2670-E984-F6D30DC7BB61}"/>
                    </a:ext>
                  </a:extLst>
                </p14:cNvPr>
                <p14:cNvContentPartPr/>
                <p14:nvPr/>
              </p14:nvContentPartPr>
              <p14:xfrm>
                <a:off x="9967061" y="5145332"/>
                <a:ext cx="147960" cy="592200"/>
              </p14:xfrm>
            </p:contentPart>
          </mc:Choice>
          <mc:Fallback>
            <p:pic>
              <p:nvPicPr>
                <p:cNvPr id="8" name="Ink 7">
                  <a:extLst>
                    <a:ext uri="{FF2B5EF4-FFF2-40B4-BE49-F238E27FC236}">
                      <a16:creationId xmlns:a16="http://schemas.microsoft.com/office/drawing/2014/main" id="{6323E978-2698-2670-E984-F6D30DC7BB61}"/>
                    </a:ext>
                  </a:extLst>
                </p:cNvPr>
                <p:cNvPicPr/>
                <p:nvPr/>
              </p:nvPicPr>
              <p:blipFill>
                <a:blip r:embed="rId16"/>
                <a:stretch>
                  <a:fillRect/>
                </a:stretch>
              </p:blipFill>
              <p:spPr>
                <a:xfrm>
                  <a:off x="9936461" y="5114732"/>
                  <a:ext cx="209160" cy="653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7">
              <p14:nvContentPartPr>
                <p14:cNvPr id="9" name="Ink 8">
                  <a:extLst>
                    <a:ext uri="{FF2B5EF4-FFF2-40B4-BE49-F238E27FC236}">
                      <a16:creationId xmlns:a16="http://schemas.microsoft.com/office/drawing/2014/main" id="{85E13F17-08D8-7390-4865-29B74CC0860E}"/>
                    </a:ext>
                  </a:extLst>
                </p14:cNvPr>
                <p14:cNvContentPartPr/>
                <p14:nvPr/>
              </p14:nvContentPartPr>
              <p14:xfrm>
                <a:off x="10250381" y="5397692"/>
                <a:ext cx="114120" cy="20160"/>
              </p14:xfrm>
            </p:contentPart>
          </mc:Choice>
          <mc:Fallback>
            <p:pic>
              <p:nvPicPr>
                <p:cNvPr id="9" name="Ink 8">
                  <a:extLst>
                    <a:ext uri="{FF2B5EF4-FFF2-40B4-BE49-F238E27FC236}">
                      <a16:creationId xmlns:a16="http://schemas.microsoft.com/office/drawing/2014/main" id="{85E13F17-08D8-7390-4865-29B74CC0860E}"/>
                    </a:ext>
                  </a:extLst>
                </p:cNvPr>
                <p:cNvPicPr/>
                <p:nvPr/>
              </p:nvPicPr>
              <p:blipFill>
                <a:blip r:embed="rId18"/>
                <a:stretch>
                  <a:fillRect/>
                </a:stretch>
              </p:blipFill>
              <p:spPr>
                <a:xfrm>
                  <a:off x="10219781" y="5367092"/>
                  <a:ext cx="175320" cy="81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9">
              <p14:nvContentPartPr>
                <p14:cNvPr id="10" name="Ink 9">
                  <a:extLst>
                    <a:ext uri="{FF2B5EF4-FFF2-40B4-BE49-F238E27FC236}">
                      <a16:creationId xmlns:a16="http://schemas.microsoft.com/office/drawing/2014/main" id="{47C3E14B-4B5F-D2AD-8CBC-61AA6717A242}"/>
                    </a:ext>
                  </a:extLst>
                </p14:cNvPr>
                <p14:cNvContentPartPr/>
                <p14:nvPr/>
              </p14:nvContentPartPr>
              <p14:xfrm>
                <a:off x="10521821" y="5258372"/>
                <a:ext cx="115920" cy="261720"/>
              </p14:xfrm>
            </p:contentPart>
          </mc:Choice>
          <mc:Fallback>
            <p:pic>
              <p:nvPicPr>
                <p:cNvPr id="10" name="Ink 9">
                  <a:extLst>
                    <a:ext uri="{FF2B5EF4-FFF2-40B4-BE49-F238E27FC236}">
                      <a16:creationId xmlns:a16="http://schemas.microsoft.com/office/drawing/2014/main" id="{47C3E14B-4B5F-D2AD-8CBC-61AA6717A242}"/>
                    </a:ext>
                  </a:extLst>
                </p:cNvPr>
                <p:cNvPicPr/>
                <p:nvPr/>
              </p:nvPicPr>
              <p:blipFill>
                <a:blip r:embed="rId20"/>
                <a:stretch>
                  <a:fillRect/>
                </a:stretch>
              </p:blipFill>
              <p:spPr>
                <a:xfrm>
                  <a:off x="10491221" y="5227412"/>
                  <a:ext cx="177480" cy="322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1">
              <p14:nvContentPartPr>
                <p14:cNvPr id="11" name="Ink 10">
                  <a:extLst>
                    <a:ext uri="{FF2B5EF4-FFF2-40B4-BE49-F238E27FC236}">
                      <a16:creationId xmlns:a16="http://schemas.microsoft.com/office/drawing/2014/main" id="{86D54A3A-BC96-FF1E-2516-28E8E475F5ED}"/>
                    </a:ext>
                  </a:extLst>
                </p14:cNvPr>
                <p14:cNvContentPartPr/>
                <p14:nvPr/>
              </p14:nvContentPartPr>
              <p14:xfrm>
                <a:off x="10685621" y="5356292"/>
                <a:ext cx="152640" cy="135360"/>
              </p14:xfrm>
            </p:contentPart>
          </mc:Choice>
          <mc:Fallback>
            <p:pic>
              <p:nvPicPr>
                <p:cNvPr id="11" name="Ink 10">
                  <a:extLst>
                    <a:ext uri="{FF2B5EF4-FFF2-40B4-BE49-F238E27FC236}">
                      <a16:creationId xmlns:a16="http://schemas.microsoft.com/office/drawing/2014/main" id="{86D54A3A-BC96-FF1E-2516-28E8E475F5ED}"/>
                    </a:ext>
                  </a:extLst>
                </p:cNvPr>
                <p:cNvPicPr/>
                <p:nvPr/>
              </p:nvPicPr>
              <p:blipFill>
                <a:blip r:embed="rId22"/>
                <a:stretch>
                  <a:fillRect/>
                </a:stretch>
              </p:blipFill>
              <p:spPr>
                <a:xfrm>
                  <a:off x="10655021" y="5325692"/>
                  <a:ext cx="214200" cy="196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3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D939B2FF-B5AD-8045-7B26-ECA75D42A1E2}"/>
                    </a:ext>
                  </a:extLst>
                </p14:cNvPr>
                <p14:cNvContentPartPr/>
                <p14:nvPr/>
              </p14:nvContentPartPr>
              <p14:xfrm>
                <a:off x="10892981" y="5313092"/>
                <a:ext cx="394920" cy="307800"/>
              </p14:xfrm>
            </p:contentPart>
          </mc:Choice>
          <mc:Fallback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D939B2FF-B5AD-8045-7B26-ECA75D42A1E2}"/>
                    </a:ext>
                  </a:extLst>
                </p:cNvPr>
                <p:cNvPicPr/>
                <p:nvPr/>
              </p:nvPicPr>
              <p:blipFill>
                <a:blip r:embed="rId24"/>
                <a:stretch>
                  <a:fillRect/>
                </a:stretch>
              </p:blipFill>
              <p:spPr>
                <a:xfrm>
                  <a:off x="10862381" y="5282492"/>
                  <a:ext cx="456480" cy="369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5">
              <p14:nvContentPartPr>
                <p14:cNvPr id="13" name="Ink 12">
                  <a:extLst>
                    <a:ext uri="{FF2B5EF4-FFF2-40B4-BE49-F238E27FC236}">
                      <a16:creationId xmlns:a16="http://schemas.microsoft.com/office/drawing/2014/main" id="{059529A6-3415-77F1-CB6F-DA56C09923DB}"/>
                    </a:ext>
                  </a:extLst>
                </p14:cNvPr>
                <p14:cNvContentPartPr/>
                <p14:nvPr/>
              </p14:nvContentPartPr>
              <p14:xfrm>
                <a:off x="11317421" y="5170892"/>
                <a:ext cx="79560" cy="265320"/>
              </p14:xfrm>
            </p:contentPart>
          </mc:Choice>
          <mc:Fallback>
            <p:pic>
              <p:nvPicPr>
                <p:cNvPr id="13" name="Ink 12">
                  <a:extLst>
                    <a:ext uri="{FF2B5EF4-FFF2-40B4-BE49-F238E27FC236}">
                      <a16:creationId xmlns:a16="http://schemas.microsoft.com/office/drawing/2014/main" id="{059529A6-3415-77F1-CB6F-DA56C09923DB}"/>
                    </a:ext>
                  </a:extLst>
                </p:cNvPr>
                <p:cNvPicPr/>
                <p:nvPr/>
              </p:nvPicPr>
              <p:blipFill>
                <a:blip r:embed="rId26"/>
                <a:stretch>
                  <a:fillRect/>
                </a:stretch>
              </p:blipFill>
              <p:spPr>
                <a:xfrm>
                  <a:off x="11286821" y="5139932"/>
                  <a:ext cx="140760" cy="326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7">
              <p14:nvContentPartPr>
                <p14:cNvPr id="14" name="Ink 13">
                  <a:extLst>
                    <a:ext uri="{FF2B5EF4-FFF2-40B4-BE49-F238E27FC236}">
                      <a16:creationId xmlns:a16="http://schemas.microsoft.com/office/drawing/2014/main" id="{3D4AEA77-59B9-52F6-1C2E-511F51EA51F2}"/>
                    </a:ext>
                  </a:extLst>
                </p14:cNvPr>
                <p14:cNvContentPartPr/>
                <p14:nvPr/>
              </p14:nvContentPartPr>
              <p14:xfrm>
                <a:off x="11448821" y="5268092"/>
                <a:ext cx="142920" cy="148320"/>
              </p14:xfrm>
            </p:contentPart>
          </mc:Choice>
          <mc:Fallback>
            <p:pic>
              <p:nvPicPr>
                <p:cNvPr id="14" name="Ink 13">
                  <a:extLst>
                    <a:ext uri="{FF2B5EF4-FFF2-40B4-BE49-F238E27FC236}">
                      <a16:creationId xmlns:a16="http://schemas.microsoft.com/office/drawing/2014/main" id="{3D4AEA77-59B9-52F6-1C2E-511F51EA51F2}"/>
                    </a:ext>
                  </a:extLst>
                </p:cNvPr>
                <p:cNvPicPr/>
                <p:nvPr/>
              </p:nvPicPr>
              <p:blipFill>
                <a:blip r:embed="rId28"/>
                <a:stretch>
                  <a:fillRect/>
                </a:stretch>
              </p:blipFill>
              <p:spPr>
                <a:xfrm>
                  <a:off x="11418221" y="5237132"/>
                  <a:ext cx="204120" cy="2098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ACF6BD7-7384-3F8D-4B1A-23941C5DDBE4}"/>
              </a:ext>
            </a:extLst>
          </p:cNvPr>
          <p:cNvGrpSpPr/>
          <p:nvPr/>
        </p:nvGrpSpPr>
        <p:grpSpPr>
          <a:xfrm>
            <a:off x="10813781" y="4683812"/>
            <a:ext cx="838080" cy="281520"/>
            <a:chOff x="10813781" y="4683812"/>
            <a:chExt cx="838080" cy="2815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9">
              <p14:nvContentPartPr>
                <p14:cNvPr id="16" name="Ink 15">
                  <a:extLst>
                    <a:ext uri="{FF2B5EF4-FFF2-40B4-BE49-F238E27FC236}">
                      <a16:creationId xmlns:a16="http://schemas.microsoft.com/office/drawing/2014/main" id="{93FF649D-8A9E-0354-9F4C-51E207498E4F}"/>
                    </a:ext>
                  </a:extLst>
                </p14:cNvPr>
                <p14:cNvContentPartPr/>
                <p14:nvPr/>
              </p14:nvContentPartPr>
              <p14:xfrm>
                <a:off x="10813781" y="4687412"/>
                <a:ext cx="148320" cy="277920"/>
              </p14:xfrm>
            </p:contentPart>
          </mc:Choice>
          <mc:Fallback>
            <p:pic>
              <p:nvPicPr>
                <p:cNvPr id="16" name="Ink 15">
                  <a:extLst>
                    <a:ext uri="{FF2B5EF4-FFF2-40B4-BE49-F238E27FC236}">
                      <a16:creationId xmlns:a16="http://schemas.microsoft.com/office/drawing/2014/main" id="{93FF649D-8A9E-0354-9F4C-51E207498E4F}"/>
                    </a:ext>
                  </a:extLst>
                </p:cNvPr>
                <p:cNvPicPr/>
                <p:nvPr/>
              </p:nvPicPr>
              <p:blipFill>
                <a:blip r:embed="rId30"/>
                <a:stretch>
                  <a:fillRect/>
                </a:stretch>
              </p:blipFill>
              <p:spPr>
                <a:xfrm>
                  <a:off x="10798301" y="4672292"/>
                  <a:ext cx="178920" cy="308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1">
              <p14:nvContentPartPr>
                <p14:cNvPr id="17" name="Ink 16">
                  <a:extLst>
                    <a:ext uri="{FF2B5EF4-FFF2-40B4-BE49-F238E27FC236}">
                      <a16:creationId xmlns:a16="http://schemas.microsoft.com/office/drawing/2014/main" id="{CE481810-D531-C1A2-023C-03A5C6BF1C23}"/>
                    </a:ext>
                  </a:extLst>
                </p14:cNvPr>
                <p14:cNvContentPartPr/>
                <p14:nvPr/>
              </p14:nvContentPartPr>
              <p14:xfrm>
                <a:off x="11042741" y="4683812"/>
                <a:ext cx="157320" cy="280080"/>
              </p14:xfrm>
            </p:contentPart>
          </mc:Choice>
          <mc:Fallback>
            <p:pic>
              <p:nvPicPr>
                <p:cNvPr id="17" name="Ink 16">
                  <a:extLst>
                    <a:ext uri="{FF2B5EF4-FFF2-40B4-BE49-F238E27FC236}">
                      <a16:creationId xmlns:a16="http://schemas.microsoft.com/office/drawing/2014/main" id="{CE481810-D531-C1A2-023C-03A5C6BF1C23}"/>
                    </a:ext>
                  </a:extLst>
                </p:cNvPr>
                <p:cNvPicPr/>
                <p:nvPr/>
              </p:nvPicPr>
              <p:blipFill>
                <a:blip r:embed="rId32"/>
                <a:stretch>
                  <a:fillRect/>
                </a:stretch>
              </p:blipFill>
              <p:spPr>
                <a:xfrm>
                  <a:off x="11027621" y="4668332"/>
                  <a:ext cx="187920" cy="310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3">
              <p14:nvContentPartPr>
                <p14:cNvPr id="18" name="Ink 17">
                  <a:extLst>
                    <a:ext uri="{FF2B5EF4-FFF2-40B4-BE49-F238E27FC236}">
                      <a16:creationId xmlns:a16="http://schemas.microsoft.com/office/drawing/2014/main" id="{A5D04B2D-5497-B0C3-71D8-C521669BFD30}"/>
                    </a:ext>
                  </a:extLst>
                </p14:cNvPr>
                <p14:cNvContentPartPr/>
                <p14:nvPr/>
              </p14:nvContentPartPr>
              <p14:xfrm>
                <a:off x="11227421" y="4794332"/>
                <a:ext cx="186120" cy="109800"/>
              </p14:xfrm>
            </p:contentPart>
          </mc:Choice>
          <mc:Fallback>
            <p:pic>
              <p:nvPicPr>
                <p:cNvPr id="18" name="Ink 17">
                  <a:extLst>
                    <a:ext uri="{FF2B5EF4-FFF2-40B4-BE49-F238E27FC236}">
                      <a16:creationId xmlns:a16="http://schemas.microsoft.com/office/drawing/2014/main" id="{A5D04B2D-5497-B0C3-71D8-C521669BFD30}"/>
                    </a:ext>
                  </a:extLst>
                </p:cNvPr>
                <p:cNvPicPr/>
                <p:nvPr/>
              </p:nvPicPr>
              <p:blipFill>
                <a:blip r:embed="rId34"/>
                <a:stretch>
                  <a:fillRect/>
                </a:stretch>
              </p:blipFill>
              <p:spPr>
                <a:xfrm>
                  <a:off x="11212301" y="4779212"/>
                  <a:ext cx="216720" cy="140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5">
              <p14:nvContentPartPr>
                <p14:cNvPr id="19" name="Ink 18">
                  <a:extLst>
                    <a:ext uri="{FF2B5EF4-FFF2-40B4-BE49-F238E27FC236}">
                      <a16:creationId xmlns:a16="http://schemas.microsoft.com/office/drawing/2014/main" id="{31D1C26F-4FFA-DEB6-7B06-210001C69A24}"/>
                    </a:ext>
                  </a:extLst>
                </p14:cNvPr>
                <p14:cNvContentPartPr/>
                <p14:nvPr/>
              </p14:nvContentPartPr>
              <p14:xfrm>
                <a:off x="11429021" y="4793252"/>
                <a:ext cx="222840" cy="147960"/>
              </p14:xfrm>
            </p:contentPart>
          </mc:Choice>
          <mc:Fallback>
            <p:pic>
              <p:nvPicPr>
                <p:cNvPr id="19" name="Ink 18">
                  <a:extLst>
                    <a:ext uri="{FF2B5EF4-FFF2-40B4-BE49-F238E27FC236}">
                      <a16:creationId xmlns:a16="http://schemas.microsoft.com/office/drawing/2014/main" id="{31D1C26F-4FFA-DEB6-7B06-210001C69A24}"/>
                    </a:ext>
                  </a:extLst>
                </p:cNvPr>
                <p:cNvPicPr/>
                <p:nvPr/>
              </p:nvPicPr>
              <p:blipFill>
                <a:blip r:embed="rId36"/>
                <a:stretch>
                  <a:fillRect/>
                </a:stretch>
              </p:blipFill>
              <p:spPr>
                <a:xfrm>
                  <a:off x="11413541" y="4778132"/>
                  <a:ext cx="253440" cy="17856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37">
            <p14:nvContentPartPr>
              <p14:cNvPr id="21" name="Ink 20">
                <a:extLst>
                  <a:ext uri="{FF2B5EF4-FFF2-40B4-BE49-F238E27FC236}">
                    <a16:creationId xmlns:a16="http://schemas.microsoft.com/office/drawing/2014/main" id="{2C941D0F-3327-9541-C947-E209A53AC66E}"/>
                  </a:ext>
                </a:extLst>
              </p14:cNvPr>
              <p14:cNvContentPartPr/>
              <p14:nvPr/>
            </p14:nvContentPartPr>
            <p14:xfrm>
              <a:off x="4238021" y="3756092"/>
              <a:ext cx="360" cy="360"/>
            </p14:xfrm>
          </p:contentPart>
        </mc:Choice>
        <mc:Fallback>
          <p:pic>
            <p:nvPicPr>
              <p:cNvPr id="21" name="Ink 20">
                <a:extLst>
                  <a:ext uri="{FF2B5EF4-FFF2-40B4-BE49-F238E27FC236}">
                    <a16:creationId xmlns:a16="http://schemas.microsoft.com/office/drawing/2014/main" id="{2C941D0F-3327-9541-C947-E209A53AC66E}"/>
                  </a:ext>
                </a:extLst>
              </p:cNvPr>
              <p:cNvPicPr/>
              <p:nvPr/>
            </p:nvPicPr>
            <p:blipFill>
              <a:blip r:embed="rId38"/>
              <a:stretch>
                <a:fillRect/>
              </a:stretch>
            </p:blipFill>
            <p:spPr>
              <a:xfrm>
                <a:off x="4229021" y="3747452"/>
                <a:ext cx="18000" cy="18000"/>
              </a:xfrm>
              <a:prstGeom prst="rect">
                <a:avLst/>
              </a:prstGeom>
            </p:spPr>
          </p:pic>
        </mc:Fallback>
      </mc:AlternateContent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" name="Google Shape;286;p33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r>
              <a:rPr lang="en-US"/>
              <a:t>Case Study</a:t>
            </a:r>
            <a:endParaRPr/>
          </a:p>
        </p:txBody>
      </p:sp>
      <p:sp>
        <p:nvSpPr>
          <p:cNvPr id="287" name="Google Shape;287;p33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22860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</a:pPr>
            <a:r>
              <a:rPr lang="en-US"/>
              <a:t>Examples on Joint Probability and Conditional Probability</a:t>
            </a:r>
            <a:endParaRPr/>
          </a:p>
          <a:p>
            <a:pPr marL="2286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</a:pPr>
            <a:r>
              <a:rPr lang="en-US"/>
              <a:t>Binomial Distribution</a:t>
            </a:r>
            <a:endParaRPr/>
          </a:p>
          <a:p>
            <a:pPr marL="2286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</a:pPr>
            <a:r>
              <a:rPr lang="en-US"/>
              <a:t>Poisson Distribution</a:t>
            </a:r>
            <a:endParaRPr/>
          </a:p>
          <a:p>
            <a:pPr marL="2286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</a:pPr>
            <a:r>
              <a:rPr lang="en-US"/>
              <a:t>Computing Binomial probabilities for service at a Fast-Food Restaurant</a:t>
            </a:r>
            <a:endParaRPr/>
          </a:p>
          <a:p>
            <a:pPr marL="2286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</a:pPr>
            <a:r>
              <a:rPr lang="en-US"/>
              <a:t>Case study on Business Statistics Course based on Poisson and Normal Distribution</a:t>
            </a:r>
            <a:endParaRPr/>
          </a:p>
          <a:p>
            <a:pPr marL="228600" lvl="0" indent="-508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</a:pPr>
            <a:endParaRPr/>
          </a:p>
          <a:p>
            <a:pPr marL="228600" lvl="0" indent="-508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</a:pPr>
            <a:endParaRPr/>
          </a:p>
          <a:p>
            <a:pPr marL="228600" lvl="0" indent="-508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</a:pPr>
            <a:endParaRPr/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2" name="Google Shape;292;p34" descr="https://lh4.googleusercontent.com/gHNxyGBncdk6CbQogfEcX9M7bWziqt4NxjarC5tjJDkUS89b6lajYgw77pm6wR1G805ZgzHUUAh552ov1IVTi22KZexJrqbnBS_8j6uireZImorurkTpQ2s4LRnlMnklomVQucw"/>
          <p:cNvPicPr preferRelativeResize="0">
            <a:picLocks noGrp="1"/>
          </p:cNvPicPr>
          <p:nvPr>
            <p:ph type="body" idx="1"/>
          </p:nvPr>
        </p:nvPicPr>
        <p:blipFill rotWithShape="1">
          <a:blip r:embed="rId3">
            <a:alphaModFix/>
          </a:blip>
          <a:srcRect/>
          <a:stretch/>
        </p:blipFill>
        <p:spPr>
          <a:xfrm>
            <a:off x="3022873" y="1390419"/>
            <a:ext cx="4220168" cy="2143125"/>
          </a:xfrm>
          <a:prstGeom prst="rect">
            <a:avLst/>
          </a:prstGeom>
          <a:noFill/>
          <a:ln>
            <a:noFill/>
          </a:ln>
        </p:spPr>
      </p:pic>
      <p:pic>
        <p:nvPicPr>
          <p:cNvPr id="293" name="Google Shape;293;p34" descr="https://lh4.googleusercontent.com/9pLJqGBa0-pC_6Rd7-qR6_eghs5O3RZVALGjGXx5YgbtF4ok1zl4jOnpRmW7qsSQVW_2Z6587n23J_EDpNqHRdY9KTRhuayo7WuPJHP1TvE7NKA3vOh-OybA0aUmEySUfZv9DRc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528666" y="4461163"/>
            <a:ext cx="1428750" cy="1428750"/>
          </a:xfrm>
          <a:prstGeom prst="rect">
            <a:avLst/>
          </a:prstGeom>
          <a:noFill/>
          <a:ln>
            <a:noFill/>
          </a:ln>
        </p:spPr>
      </p:pic>
      <p:sp>
        <p:nvSpPr>
          <p:cNvPr id="294" name="Google Shape;294;p34"/>
          <p:cNvSpPr/>
          <p:nvPr/>
        </p:nvSpPr>
        <p:spPr>
          <a:xfrm>
            <a:off x="2244436" y="4677063"/>
            <a:ext cx="4142509" cy="13542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400"/>
              <a:buFont typeface="Arial"/>
              <a:buNone/>
            </a:pPr>
            <a:r>
              <a:rPr lang="en-US" sz="5400" b="1" i="0" u="none" strike="noStrike" cap="none">
                <a:solidFill>
                  <a:srgbClr val="4F81BD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Questions?</a:t>
            </a:r>
            <a:endParaRPr sz="5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br>
              <a:rPr lang="en-US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</a:b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5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r>
              <a:rPr lang="en-US"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finition of Probability</a:t>
            </a:r>
            <a:endParaRPr/>
          </a:p>
        </p:txBody>
      </p:sp>
      <p:pic>
        <p:nvPicPr>
          <p:cNvPr id="109" name="Google Shape;109;p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893917" y="1607994"/>
            <a:ext cx="8910711" cy="50242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6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r>
              <a:rPr lang="en-US"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utually Exclusive Events</a:t>
            </a:r>
            <a:endParaRPr/>
          </a:p>
        </p:txBody>
      </p:sp>
      <p:pic>
        <p:nvPicPr>
          <p:cNvPr id="115" name="Google Shape;115;p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573281" y="1350498"/>
            <a:ext cx="8614299" cy="5507502"/>
          </a:xfrm>
          <a:prstGeom prst="rect">
            <a:avLst/>
          </a:prstGeom>
          <a:noFill/>
          <a:ln>
            <a:noFill/>
          </a:ln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4">
            <p14:nvContentPartPr>
              <p14:cNvPr id="2" name="Ink 1">
                <a:extLst>
                  <a:ext uri="{FF2B5EF4-FFF2-40B4-BE49-F238E27FC236}">
                    <a16:creationId xmlns:a16="http://schemas.microsoft.com/office/drawing/2014/main" id="{BFBC7A25-7491-C32E-071E-BAC384C4EA32}"/>
                  </a:ext>
                </a:extLst>
              </p14:cNvPr>
              <p14:cNvContentPartPr/>
              <p14:nvPr/>
            </p14:nvContentPartPr>
            <p14:xfrm>
              <a:off x="7601861" y="2723612"/>
              <a:ext cx="360" cy="360"/>
            </p14:xfrm>
          </p:contentPart>
        </mc:Choice>
        <mc:Fallback>
          <p:pic>
            <p:nvPicPr>
              <p:cNvPr id="2" name="Ink 1">
                <a:extLst>
                  <a:ext uri="{FF2B5EF4-FFF2-40B4-BE49-F238E27FC236}">
                    <a16:creationId xmlns:a16="http://schemas.microsoft.com/office/drawing/2014/main" id="{BFBC7A25-7491-C32E-071E-BAC384C4EA32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7592861" y="2714972"/>
                <a:ext cx="18000" cy="1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6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DB518E4F-B874-F41E-D2F2-F68CB8446CD0}"/>
                  </a:ext>
                </a:extLst>
              </p14:cNvPr>
              <p14:cNvContentPartPr/>
              <p14:nvPr/>
            </p14:nvContentPartPr>
            <p14:xfrm>
              <a:off x="8684021" y="3361892"/>
              <a:ext cx="131400" cy="49680"/>
            </p14:xfrm>
          </p:contentPart>
        </mc:Choice>
        <mc:Fallback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DB518E4F-B874-F41E-D2F2-F68CB8446CD0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668901" y="3346412"/>
                <a:ext cx="162000" cy="799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8">
            <p14:nvContentPartPr>
              <p14:cNvPr id="5" name="Ink 4">
                <a:extLst>
                  <a:ext uri="{FF2B5EF4-FFF2-40B4-BE49-F238E27FC236}">
                    <a16:creationId xmlns:a16="http://schemas.microsoft.com/office/drawing/2014/main" id="{0C492830-BF85-4658-1649-5B3C141F31A1}"/>
                  </a:ext>
                </a:extLst>
              </p14:cNvPr>
              <p14:cNvContentPartPr/>
              <p14:nvPr/>
            </p14:nvContentPartPr>
            <p14:xfrm>
              <a:off x="6651821" y="3961292"/>
              <a:ext cx="236160" cy="152280"/>
            </p14:xfrm>
          </p:contentPart>
        </mc:Choice>
        <mc:Fallback>
          <p:pic>
            <p:nvPicPr>
              <p:cNvPr id="5" name="Ink 4">
                <a:extLst>
                  <a:ext uri="{FF2B5EF4-FFF2-40B4-BE49-F238E27FC236}">
                    <a16:creationId xmlns:a16="http://schemas.microsoft.com/office/drawing/2014/main" id="{0C492830-BF85-4658-1649-5B3C141F31A1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636701" y="3946172"/>
                <a:ext cx="266760" cy="182880"/>
              </a:xfrm>
              <a:prstGeom prst="rect">
                <a:avLst/>
              </a:prstGeom>
            </p:spPr>
          </p:pic>
        </mc:Fallback>
      </mc:AlternateContent>
      <p:grpSp>
        <p:nvGrpSpPr>
          <p:cNvPr id="7" name="Group 6">
            <a:extLst>
              <a:ext uri="{FF2B5EF4-FFF2-40B4-BE49-F238E27FC236}">
                <a16:creationId xmlns:a16="http://schemas.microsoft.com/office/drawing/2014/main" id="{AB6E3AA2-F1C6-59CE-E389-4B3DDC74A673}"/>
              </a:ext>
            </a:extLst>
          </p:cNvPr>
          <p:cNvGrpSpPr/>
          <p:nvPr/>
        </p:nvGrpSpPr>
        <p:grpSpPr>
          <a:xfrm>
            <a:off x="4435301" y="3952292"/>
            <a:ext cx="1574280" cy="1247040"/>
            <a:chOff x="4435301" y="3952292"/>
            <a:chExt cx="1574280" cy="12470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0">
              <p14:nvContentPartPr>
                <p14:cNvPr id="4" name="Ink 3">
                  <a:extLst>
                    <a:ext uri="{FF2B5EF4-FFF2-40B4-BE49-F238E27FC236}">
                      <a16:creationId xmlns:a16="http://schemas.microsoft.com/office/drawing/2014/main" id="{77E287A2-8898-C627-2C18-7A5F5807325F}"/>
                    </a:ext>
                  </a:extLst>
                </p14:cNvPr>
                <p14:cNvContentPartPr/>
                <p14:nvPr/>
              </p14:nvContentPartPr>
              <p14:xfrm>
                <a:off x="4435301" y="4254332"/>
                <a:ext cx="502200" cy="309960"/>
              </p14:xfrm>
            </p:contentPart>
          </mc:Choice>
          <mc:Fallback>
            <p:pic>
              <p:nvPicPr>
                <p:cNvPr id="4" name="Ink 3">
                  <a:extLst>
                    <a:ext uri="{FF2B5EF4-FFF2-40B4-BE49-F238E27FC236}">
                      <a16:creationId xmlns:a16="http://schemas.microsoft.com/office/drawing/2014/main" id="{77E287A2-8898-C627-2C18-7A5F5807325F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4419821" y="4239212"/>
                  <a:ext cx="532800" cy="340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">
              <p14:nvContentPartPr>
                <p14:cNvPr id="6" name="Ink 5">
                  <a:extLst>
                    <a:ext uri="{FF2B5EF4-FFF2-40B4-BE49-F238E27FC236}">
                      <a16:creationId xmlns:a16="http://schemas.microsoft.com/office/drawing/2014/main" id="{5124DF45-E2AF-E674-F864-B101D1304575}"/>
                    </a:ext>
                  </a:extLst>
                </p14:cNvPr>
                <p14:cNvContentPartPr/>
                <p14:nvPr/>
              </p14:nvContentPartPr>
              <p14:xfrm>
                <a:off x="4897541" y="3952292"/>
                <a:ext cx="1112040" cy="1247040"/>
              </p14:xfrm>
            </p:contentPart>
          </mc:Choice>
          <mc:Fallback>
            <p:pic>
              <p:nvPicPr>
                <p:cNvPr id="6" name="Ink 5">
                  <a:extLst>
                    <a:ext uri="{FF2B5EF4-FFF2-40B4-BE49-F238E27FC236}">
                      <a16:creationId xmlns:a16="http://schemas.microsoft.com/office/drawing/2014/main" id="{5124DF45-E2AF-E674-F864-B101D1304575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4882061" y="3937172"/>
                  <a:ext cx="1142640" cy="1277280"/>
                </a:xfrm>
                <a:prstGeom prst="rect">
                  <a:avLst/>
                </a:prstGeom>
              </p:spPr>
            </p:pic>
          </mc:Fallback>
        </mc:AlternateContent>
      </p:grp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p7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r>
              <a:rPr lang="en-US"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dependent Events</a:t>
            </a:r>
            <a:endParaRPr/>
          </a:p>
        </p:txBody>
      </p:sp>
      <p:sp>
        <p:nvSpPr>
          <p:cNvPr id="121" name="Google Shape;121;p7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286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</a:pPr>
            <a:r>
              <a:rPr lang="en-US"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wo events A and B are said to be independent if the occurrence of A is in no way influenced by the occurrence of B. Likewise occurrence of B is in no way influenced by the occurrence of A. </a:t>
            </a:r>
            <a:endParaRPr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8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r>
              <a:rPr lang="en-US"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ules for Computing Probability</a:t>
            </a:r>
            <a:endParaRPr/>
          </a:p>
        </p:txBody>
      </p:sp>
      <p:pic>
        <p:nvPicPr>
          <p:cNvPr id="127" name="Google Shape;127;p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38200" y="1790773"/>
            <a:ext cx="11003124" cy="4131725"/>
          </a:xfrm>
          <a:prstGeom prst="rect">
            <a:avLst/>
          </a:prstGeom>
          <a:noFill/>
          <a:ln>
            <a:noFill/>
          </a:ln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4">
            <p14:nvContentPartPr>
              <p14:cNvPr id="29" name="Ink 28">
                <a:extLst>
                  <a:ext uri="{FF2B5EF4-FFF2-40B4-BE49-F238E27FC236}">
                    <a16:creationId xmlns:a16="http://schemas.microsoft.com/office/drawing/2014/main" id="{E14E19C7-92FA-7E94-1A3A-3E37A7CE5CBB}"/>
                  </a:ext>
                </a:extLst>
              </p14:cNvPr>
              <p14:cNvContentPartPr/>
              <p14:nvPr/>
            </p14:nvContentPartPr>
            <p14:xfrm>
              <a:off x="8344901" y="2371532"/>
              <a:ext cx="158040" cy="177480"/>
            </p14:xfrm>
          </p:contentPart>
        </mc:Choice>
        <mc:Fallback>
          <p:pic>
            <p:nvPicPr>
              <p:cNvPr id="29" name="Ink 28">
                <a:extLst>
                  <a:ext uri="{FF2B5EF4-FFF2-40B4-BE49-F238E27FC236}">
                    <a16:creationId xmlns:a16="http://schemas.microsoft.com/office/drawing/2014/main" id="{E14E19C7-92FA-7E94-1A3A-3E37A7CE5CBB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329781" y="2356412"/>
                <a:ext cx="188640" cy="208080"/>
              </a:xfrm>
              <a:prstGeom prst="rect">
                <a:avLst/>
              </a:prstGeom>
            </p:spPr>
          </p:pic>
        </mc:Fallback>
      </mc:AlternateContent>
      <p:grpSp>
        <p:nvGrpSpPr>
          <p:cNvPr id="33" name="Group 32">
            <a:extLst>
              <a:ext uri="{FF2B5EF4-FFF2-40B4-BE49-F238E27FC236}">
                <a16:creationId xmlns:a16="http://schemas.microsoft.com/office/drawing/2014/main" id="{2B2FFADE-774D-B5B6-7F7C-F7296561C212}"/>
              </a:ext>
            </a:extLst>
          </p:cNvPr>
          <p:cNvGrpSpPr/>
          <p:nvPr/>
        </p:nvGrpSpPr>
        <p:grpSpPr>
          <a:xfrm>
            <a:off x="6113261" y="2382692"/>
            <a:ext cx="3143160" cy="912960"/>
            <a:chOff x="6113261" y="2382692"/>
            <a:chExt cx="3143160" cy="9129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6">
              <p14:nvContentPartPr>
                <p14:cNvPr id="2" name="Ink 1">
                  <a:extLst>
                    <a:ext uri="{FF2B5EF4-FFF2-40B4-BE49-F238E27FC236}">
                      <a16:creationId xmlns:a16="http://schemas.microsoft.com/office/drawing/2014/main" id="{0509A942-EF7F-21E8-8C3C-F4EAA4A6E8F0}"/>
                    </a:ext>
                  </a:extLst>
                </p14:cNvPr>
                <p14:cNvContentPartPr/>
                <p14:nvPr/>
              </p14:nvContentPartPr>
              <p14:xfrm>
                <a:off x="6113261" y="2843132"/>
                <a:ext cx="199440" cy="18000"/>
              </p14:xfrm>
            </p:contentPart>
          </mc:Choice>
          <mc:Fallback>
            <p:pic>
              <p:nvPicPr>
                <p:cNvPr id="2" name="Ink 1">
                  <a:extLst>
                    <a:ext uri="{FF2B5EF4-FFF2-40B4-BE49-F238E27FC236}">
                      <a16:creationId xmlns:a16="http://schemas.microsoft.com/office/drawing/2014/main" id="{0509A942-EF7F-21E8-8C3C-F4EAA4A6E8F0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6097781" y="2827652"/>
                  <a:ext cx="230040" cy="48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">
              <p14:nvContentPartPr>
                <p14:cNvPr id="3" name="Ink 2">
                  <a:extLst>
                    <a:ext uri="{FF2B5EF4-FFF2-40B4-BE49-F238E27FC236}">
                      <a16:creationId xmlns:a16="http://schemas.microsoft.com/office/drawing/2014/main" id="{67EFEA32-6BFE-2AD0-EC7E-7C02BD0EDF4F}"/>
                    </a:ext>
                  </a:extLst>
                </p14:cNvPr>
                <p14:cNvContentPartPr/>
                <p14:nvPr/>
              </p14:nvContentPartPr>
              <p14:xfrm>
                <a:off x="6465341" y="2707772"/>
                <a:ext cx="164880" cy="306000"/>
              </p14:xfrm>
            </p:contentPart>
          </mc:Choice>
          <mc:Fallback>
            <p:pic>
              <p:nvPicPr>
                <p:cNvPr id="3" name="Ink 2">
                  <a:extLst>
                    <a:ext uri="{FF2B5EF4-FFF2-40B4-BE49-F238E27FC236}">
                      <a16:creationId xmlns:a16="http://schemas.microsoft.com/office/drawing/2014/main" id="{67EFEA32-6BFE-2AD0-EC7E-7C02BD0EDF4F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6449861" y="2692292"/>
                  <a:ext cx="195480" cy="336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">
              <p14:nvContentPartPr>
                <p14:cNvPr id="4" name="Ink 3">
                  <a:extLst>
                    <a:ext uri="{FF2B5EF4-FFF2-40B4-BE49-F238E27FC236}">
                      <a16:creationId xmlns:a16="http://schemas.microsoft.com/office/drawing/2014/main" id="{061DCE74-2694-7FAF-8070-F4B39A0FFCE1}"/>
                    </a:ext>
                  </a:extLst>
                </p14:cNvPr>
                <p14:cNvContentPartPr/>
                <p14:nvPr/>
              </p14:nvContentPartPr>
              <p14:xfrm>
                <a:off x="6745781" y="2744492"/>
                <a:ext cx="65160" cy="253080"/>
              </p14:xfrm>
            </p:contentPart>
          </mc:Choice>
          <mc:Fallback>
            <p:pic>
              <p:nvPicPr>
                <p:cNvPr id="4" name="Ink 3">
                  <a:extLst>
                    <a:ext uri="{FF2B5EF4-FFF2-40B4-BE49-F238E27FC236}">
                      <a16:creationId xmlns:a16="http://schemas.microsoft.com/office/drawing/2014/main" id="{061DCE74-2694-7FAF-8070-F4B39A0FFCE1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6730301" y="2729372"/>
                  <a:ext cx="95760" cy="283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">
              <p14:nvContentPartPr>
                <p14:cNvPr id="5" name="Ink 4">
                  <a:extLst>
                    <a:ext uri="{FF2B5EF4-FFF2-40B4-BE49-F238E27FC236}">
                      <a16:creationId xmlns:a16="http://schemas.microsoft.com/office/drawing/2014/main" id="{23330147-8E67-BD9A-04F4-22C298ABDF2C}"/>
                    </a:ext>
                  </a:extLst>
                </p14:cNvPr>
                <p14:cNvContentPartPr/>
                <p14:nvPr/>
              </p14:nvContentPartPr>
              <p14:xfrm>
                <a:off x="6899501" y="2716052"/>
                <a:ext cx="158400" cy="281520"/>
              </p14:xfrm>
            </p:contentPart>
          </mc:Choice>
          <mc:Fallback>
            <p:pic>
              <p:nvPicPr>
                <p:cNvPr id="5" name="Ink 4">
                  <a:extLst>
                    <a:ext uri="{FF2B5EF4-FFF2-40B4-BE49-F238E27FC236}">
                      <a16:creationId xmlns:a16="http://schemas.microsoft.com/office/drawing/2014/main" id="{23330147-8E67-BD9A-04F4-22C298ABDF2C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6884381" y="2700572"/>
                  <a:ext cx="189000" cy="312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">
              <p14:nvContentPartPr>
                <p14:cNvPr id="6" name="Ink 5">
                  <a:extLst>
                    <a:ext uri="{FF2B5EF4-FFF2-40B4-BE49-F238E27FC236}">
                      <a16:creationId xmlns:a16="http://schemas.microsoft.com/office/drawing/2014/main" id="{73D8BC69-C6A9-7F2C-1B07-B96D098AE8D4}"/>
                    </a:ext>
                  </a:extLst>
                </p14:cNvPr>
                <p14:cNvContentPartPr/>
                <p14:nvPr/>
              </p14:nvContentPartPr>
              <p14:xfrm>
                <a:off x="6988421" y="2879852"/>
                <a:ext cx="72720" cy="38520"/>
              </p14:xfrm>
            </p:contentPart>
          </mc:Choice>
          <mc:Fallback>
            <p:pic>
              <p:nvPicPr>
                <p:cNvPr id="6" name="Ink 5">
                  <a:extLst>
                    <a:ext uri="{FF2B5EF4-FFF2-40B4-BE49-F238E27FC236}">
                      <a16:creationId xmlns:a16="http://schemas.microsoft.com/office/drawing/2014/main" id="{73D8BC69-C6A9-7F2C-1B07-B96D098AE8D4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6973301" y="2864732"/>
                  <a:ext cx="103320" cy="69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">
              <p14:nvContentPartPr>
                <p14:cNvPr id="7" name="Ink 6">
                  <a:extLst>
                    <a:ext uri="{FF2B5EF4-FFF2-40B4-BE49-F238E27FC236}">
                      <a16:creationId xmlns:a16="http://schemas.microsoft.com/office/drawing/2014/main" id="{3EC23CBC-7C3C-CFF8-8678-73F24C0032AC}"/>
                    </a:ext>
                  </a:extLst>
                </p14:cNvPr>
                <p14:cNvContentPartPr/>
                <p14:nvPr/>
              </p14:nvContentPartPr>
              <p14:xfrm>
                <a:off x="7154741" y="2748452"/>
                <a:ext cx="152280" cy="237600"/>
              </p14:xfrm>
            </p:contentPart>
          </mc:Choice>
          <mc:Fallback>
            <p:pic>
              <p:nvPicPr>
                <p:cNvPr id="7" name="Ink 6">
                  <a:extLst>
                    <a:ext uri="{FF2B5EF4-FFF2-40B4-BE49-F238E27FC236}">
                      <a16:creationId xmlns:a16="http://schemas.microsoft.com/office/drawing/2014/main" id="{3EC23CBC-7C3C-CFF8-8678-73F24C0032AC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7139621" y="2733332"/>
                  <a:ext cx="182880" cy="268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8">
              <p14:nvContentPartPr>
                <p14:cNvPr id="8" name="Ink 7">
                  <a:extLst>
                    <a:ext uri="{FF2B5EF4-FFF2-40B4-BE49-F238E27FC236}">
                      <a16:creationId xmlns:a16="http://schemas.microsoft.com/office/drawing/2014/main" id="{F0582A6C-56D9-EF15-E94E-3C85D88D9E8B}"/>
                    </a:ext>
                  </a:extLst>
                </p14:cNvPr>
                <p14:cNvContentPartPr/>
                <p14:nvPr/>
              </p14:nvContentPartPr>
              <p14:xfrm>
                <a:off x="7459661" y="2728292"/>
                <a:ext cx="146880" cy="249840"/>
              </p14:xfrm>
            </p:contentPart>
          </mc:Choice>
          <mc:Fallback>
            <p:pic>
              <p:nvPicPr>
                <p:cNvPr id="8" name="Ink 7">
                  <a:extLst>
                    <a:ext uri="{FF2B5EF4-FFF2-40B4-BE49-F238E27FC236}">
                      <a16:creationId xmlns:a16="http://schemas.microsoft.com/office/drawing/2014/main" id="{F0582A6C-56D9-EF15-E94E-3C85D88D9E8B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7444541" y="2712812"/>
                  <a:ext cx="177480" cy="280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0">
              <p14:nvContentPartPr>
                <p14:cNvPr id="9" name="Ink 8">
                  <a:extLst>
                    <a:ext uri="{FF2B5EF4-FFF2-40B4-BE49-F238E27FC236}">
                      <a16:creationId xmlns:a16="http://schemas.microsoft.com/office/drawing/2014/main" id="{1A6921B1-5812-999B-6AB2-3682E3B966D2}"/>
                    </a:ext>
                  </a:extLst>
                </p14:cNvPr>
                <p14:cNvContentPartPr/>
                <p14:nvPr/>
              </p14:nvContentPartPr>
              <p14:xfrm>
                <a:off x="7688981" y="2749892"/>
                <a:ext cx="80640" cy="254520"/>
              </p14:xfrm>
            </p:contentPart>
          </mc:Choice>
          <mc:Fallback>
            <p:pic>
              <p:nvPicPr>
                <p:cNvPr id="9" name="Ink 8">
                  <a:extLst>
                    <a:ext uri="{FF2B5EF4-FFF2-40B4-BE49-F238E27FC236}">
                      <a16:creationId xmlns:a16="http://schemas.microsoft.com/office/drawing/2014/main" id="{1A6921B1-5812-999B-6AB2-3682E3B966D2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7673861" y="2734772"/>
                  <a:ext cx="111240" cy="285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2">
              <p14:nvContentPartPr>
                <p14:cNvPr id="10" name="Ink 9">
                  <a:extLst>
                    <a:ext uri="{FF2B5EF4-FFF2-40B4-BE49-F238E27FC236}">
                      <a16:creationId xmlns:a16="http://schemas.microsoft.com/office/drawing/2014/main" id="{1CF5FD25-A60D-CA22-E070-5C9C6478D96F}"/>
                    </a:ext>
                  </a:extLst>
                </p14:cNvPr>
                <p14:cNvContentPartPr/>
                <p14:nvPr/>
              </p14:nvContentPartPr>
              <p14:xfrm>
                <a:off x="8014061" y="2874092"/>
                <a:ext cx="243720" cy="14040"/>
              </p14:xfrm>
            </p:contentPart>
          </mc:Choice>
          <mc:Fallback>
            <p:pic>
              <p:nvPicPr>
                <p:cNvPr id="10" name="Ink 9">
                  <a:extLst>
                    <a:ext uri="{FF2B5EF4-FFF2-40B4-BE49-F238E27FC236}">
                      <a16:creationId xmlns:a16="http://schemas.microsoft.com/office/drawing/2014/main" id="{1CF5FD25-A60D-CA22-E070-5C9C6478D96F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7998941" y="2858972"/>
                  <a:ext cx="274320" cy="44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4">
              <p14:nvContentPartPr>
                <p14:cNvPr id="11" name="Ink 10">
                  <a:extLst>
                    <a:ext uri="{FF2B5EF4-FFF2-40B4-BE49-F238E27FC236}">
                      <a16:creationId xmlns:a16="http://schemas.microsoft.com/office/drawing/2014/main" id="{80B59E12-ECFD-8021-95F2-50218777FF2C}"/>
                    </a:ext>
                  </a:extLst>
                </p14:cNvPr>
                <p14:cNvContentPartPr/>
                <p14:nvPr/>
              </p14:nvContentPartPr>
              <p14:xfrm>
                <a:off x="8325461" y="2754932"/>
                <a:ext cx="117000" cy="186480"/>
              </p14:xfrm>
            </p:contentPart>
          </mc:Choice>
          <mc:Fallback>
            <p:pic>
              <p:nvPicPr>
                <p:cNvPr id="11" name="Ink 10">
                  <a:extLst>
                    <a:ext uri="{FF2B5EF4-FFF2-40B4-BE49-F238E27FC236}">
                      <a16:creationId xmlns:a16="http://schemas.microsoft.com/office/drawing/2014/main" id="{80B59E12-ECFD-8021-95F2-50218777FF2C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8310341" y="2739812"/>
                  <a:ext cx="147600" cy="217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6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3928B71A-F8D4-A1D7-5439-5E8A87F1E53E}"/>
                    </a:ext>
                  </a:extLst>
                </p14:cNvPr>
                <p14:cNvContentPartPr/>
                <p14:nvPr/>
              </p14:nvContentPartPr>
              <p14:xfrm>
                <a:off x="8483861" y="2819372"/>
                <a:ext cx="75240" cy="137160"/>
              </p14:xfrm>
            </p:contentPart>
          </mc:Choice>
          <mc:Fallback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3928B71A-F8D4-A1D7-5439-5E8A87F1E53E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8468381" y="2804252"/>
                  <a:ext cx="105480" cy="167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8">
              <p14:nvContentPartPr>
                <p14:cNvPr id="13" name="Ink 12">
                  <a:extLst>
                    <a:ext uri="{FF2B5EF4-FFF2-40B4-BE49-F238E27FC236}">
                      <a16:creationId xmlns:a16="http://schemas.microsoft.com/office/drawing/2014/main" id="{C41DA51C-A128-281F-B380-F495AC3C1B1B}"/>
                    </a:ext>
                  </a:extLst>
                </p14:cNvPr>
                <p14:cNvContentPartPr/>
                <p14:nvPr/>
              </p14:nvContentPartPr>
              <p14:xfrm>
                <a:off x="8555861" y="2765732"/>
                <a:ext cx="287280" cy="174960"/>
              </p14:xfrm>
            </p:contentPart>
          </mc:Choice>
          <mc:Fallback>
            <p:pic>
              <p:nvPicPr>
                <p:cNvPr id="13" name="Ink 12">
                  <a:extLst>
                    <a:ext uri="{FF2B5EF4-FFF2-40B4-BE49-F238E27FC236}">
                      <a16:creationId xmlns:a16="http://schemas.microsoft.com/office/drawing/2014/main" id="{C41DA51C-A128-281F-B380-F495AC3C1B1B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8540741" y="2750252"/>
                  <a:ext cx="317880" cy="205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0">
              <p14:nvContentPartPr>
                <p14:cNvPr id="14" name="Ink 13">
                  <a:extLst>
                    <a:ext uri="{FF2B5EF4-FFF2-40B4-BE49-F238E27FC236}">
                      <a16:creationId xmlns:a16="http://schemas.microsoft.com/office/drawing/2014/main" id="{32B4D2A3-5BD8-2C75-9515-09F717C2E2C4}"/>
                    </a:ext>
                  </a:extLst>
                </p14:cNvPr>
                <p14:cNvContentPartPr/>
                <p14:nvPr/>
              </p14:nvContentPartPr>
              <p14:xfrm>
                <a:off x="8875541" y="2793452"/>
                <a:ext cx="39960" cy="196200"/>
              </p14:xfrm>
            </p:contentPart>
          </mc:Choice>
          <mc:Fallback>
            <p:pic>
              <p:nvPicPr>
                <p:cNvPr id="14" name="Ink 13">
                  <a:extLst>
                    <a:ext uri="{FF2B5EF4-FFF2-40B4-BE49-F238E27FC236}">
                      <a16:creationId xmlns:a16="http://schemas.microsoft.com/office/drawing/2014/main" id="{32B4D2A3-5BD8-2C75-9515-09F717C2E2C4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8860421" y="2777972"/>
                  <a:ext cx="70560" cy="226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2">
              <p14:nvContentPartPr>
                <p14:cNvPr id="17" name="Ink 16">
                  <a:extLst>
                    <a:ext uri="{FF2B5EF4-FFF2-40B4-BE49-F238E27FC236}">
                      <a16:creationId xmlns:a16="http://schemas.microsoft.com/office/drawing/2014/main" id="{339F5B5B-1D7E-8E39-0D01-C75ACDA4257B}"/>
                    </a:ext>
                  </a:extLst>
                </p14:cNvPr>
                <p14:cNvContentPartPr/>
                <p14:nvPr/>
              </p14:nvContentPartPr>
              <p14:xfrm>
                <a:off x="9037181" y="2821172"/>
                <a:ext cx="26640" cy="158400"/>
              </p14:xfrm>
            </p:contentPart>
          </mc:Choice>
          <mc:Fallback>
            <p:pic>
              <p:nvPicPr>
                <p:cNvPr id="17" name="Ink 16">
                  <a:extLst>
                    <a:ext uri="{FF2B5EF4-FFF2-40B4-BE49-F238E27FC236}">
                      <a16:creationId xmlns:a16="http://schemas.microsoft.com/office/drawing/2014/main" id="{339F5B5B-1D7E-8E39-0D01-C75ACDA4257B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9022061" y="2806052"/>
                  <a:ext cx="57240" cy="189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4">
              <p14:nvContentPartPr>
                <p14:cNvPr id="18" name="Ink 17">
                  <a:extLst>
                    <a:ext uri="{FF2B5EF4-FFF2-40B4-BE49-F238E27FC236}">
                      <a16:creationId xmlns:a16="http://schemas.microsoft.com/office/drawing/2014/main" id="{8B6B1706-2B90-B218-F08B-623B74C1421B}"/>
                    </a:ext>
                  </a:extLst>
                </p14:cNvPr>
                <p14:cNvContentPartPr/>
                <p14:nvPr/>
              </p14:nvContentPartPr>
              <p14:xfrm>
                <a:off x="8970581" y="2892812"/>
                <a:ext cx="218880" cy="43560"/>
              </p14:xfrm>
            </p:contentPart>
          </mc:Choice>
          <mc:Fallback>
            <p:pic>
              <p:nvPicPr>
                <p:cNvPr id="18" name="Ink 17">
                  <a:extLst>
                    <a:ext uri="{FF2B5EF4-FFF2-40B4-BE49-F238E27FC236}">
                      <a16:creationId xmlns:a16="http://schemas.microsoft.com/office/drawing/2014/main" id="{8B6B1706-2B90-B218-F08B-623B74C1421B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8955461" y="2877332"/>
                  <a:ext cx="249120" cy="74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6">
              <p14:nvContentPartPr>
                <p14:cNvPr id="19" name="Ink 18">
                  <a:extLst>
                    <a:ext uri="{FF2B5EF4-FFF2-40B4-BE49-F238E27FC236}">
                      <a16:creationId xmlns:a16="http://schemas.microsoft.com/office/drawing/2014/main" id="{6041A911-2084-5690-FD72-D81CF5B4D853}"/>
                    </a:ext>
                  </a:extLst>
                </p14:cNvPr>
                <p14:cNvContentPartPr/>
                <p14:nvPr/>
              </p14:nvContentPartPr>
              <p14:xfrm>
                <a:off x="9252461" y="2924492"/>
                <a:ext cx="3960" cy="3240"/>
              </p14:xfrm>
            </p:contentPart>
          </mc:Choice>
          <mc:Fallback>
            <p:pic>
              <p:nvPicPr>
                <p:cNvPr id="19" name="Ink 18">
                  <a:extLst>
                    <a:ext uri="{FF2B5EF4-FFF2-40B4-BE49-F238E27FC236}">
                      <a16:creationId xmlns:a16="http://schemas.microsoft.com/office/drawing/2014/main" id="{6041A911-2084-5690-FD72-D81CF5B4D853}"/>
                    </a:ext>
                  </a:extLst>
                </p:cNvPr>
                <p:cNvPicPr/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9236981" y="2909372"/>
                  <a:ext cx="34200" cy="33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8">
              <p14:nvContentPartPr>
                <p14:cNvPr id="20" name="Ink 19">
                  <a:extLst>
                    <a:ext uri="{FF2B5EF4-FFF2-40B4-BE49-F238E27FC236}">
                      <a16:creationId xmlns:a16="http://schemas.microsoft.com/office/drawing/2014/main" id="{FB3049BB-B4DD-DCC8-BE49-C1CCDB192643}"/>
                    </a:ext>
                  </a:extLst>
                </p14:cNvPr>
                <p14:cNvContentPartPr/>
                <p14:nvPr/>
              </p14:nvContentPartPr>
              <p14:xfrm>
                <a:off x="9158501" y="3085052"/>
                <a:ext cx="87120" cy="2880"/>
              </p14:xfrm>
            </p:contentPart>
          </mc:Choice>
          <mc:Fallback>
            <p:pic>
              <p:nvPicPr>
                <p:cNvPr id="20" name="Ink 19">
                  <a:extLst>
                    <a:ext uri="{FF2B5EF4-FFF2-40B4-BE49-F238E27FC236}">
                      <a16:creationId xmlns:a16="http://schemas.microsoft.com/office/drawing/2014/main" id="{FB3049BB-B4DD-DCC8-BE49-C1CCDB192643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9143021" y="3069572"/>
                  <a:ext cx="117720" cy="33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0">
              <p14:nvContentPartPr>
                <p14:cNvPr id="22" name="Ink 21">
                  <a:extLst>
                    <a:ext uri="{FF2B5EF4-FFF2-40B4-BE49-F238E27FC236}">
                      <a16:creationId xmlns:a16="http://schemas.microsoft.com/office/drawing/2014/main" id="{63425FB2-3437-D0CA-1C8F-83757BF798F1}"/>
                    </a:ext>
                  </a:extLst>
                </p14:cNvPr>
                <p14:cNvContentPartPr/>
                <p14:nvPr/>
              </p14:nvContentPartPr>
              <p14:xfrm>
                <a:off x="7691501" y="2448932"/>
                <a:ext cx="159840" cy="88560"/>
              </p14:xfrm>
            </p:contentPart>
          </mc:Choice>
          <mc:Fallback>
            <p:pic>
              <p:nvPicPr>
                <p:cNvPr id="22" name="Ink 21">
                  <a:extLst>
                    <a:ext uri="{FF2B5EF4-FFF2-40B4-BE49-F238E27FC236}">
                      <a16:creationId xmlns:a16="http://schemas.microsoft.com/office/drawing/2014/main" id="{63425FB2-3437-D0CA-1C8F-83757BF798F1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7676381" y="2433452"/>
                  <a:ext cx="190440" cy="119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2">
              <p14:nvContentPartPr>
                <p14:cNvPr id="23" name="Ink 22">
                  <a:extLst>
                    <a:ext uri="{FF2B5EF4-FFF2-40B4-BE49-F238E27FC236}">
                      <a16:creationId xmlns:a16="http://schemas.microsoft.com/office/drawing/2014/main" id="{45BE7DAA-1748-0104-07C2-6382622C235E}"/>
                    </a:ext>
                  </a:extLst>
                </p14:cNvPr>
                <p14:cNvContentPartPr/>
                <p14:nvPr/>
              </p14:nvContentPartPr>
              <p14:xfrm>
                <a:off x="7624541" y="2494652"/>
                <a:ext cx="440280" cy="81000"/>
              </p14:xfrm>
            </p:contentPart>
          </mc:Choice>
          <mc:Fallback>
            <p:pic>
              <p:nvPicPr>
                <p:cNvPr id="23" name="Ink 22">
                  <a:extLst>
                    <a:ext uri="{FF2B5EF4-FFF2-40B4-BE49-F238E27FC236}">
                      <a16:creationId xmlns:a16="http://schemas.microsoft.com/office/drawing/2014/main" id="{45BE7DAA-1748-0104-07C2-6382622C235E}"/>
                    </a:ext>
                  </a:extLst>
                </p:cNvPr>
                <p:cNvPicPr/>
                <p:nvPr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7609061" y="2479532"/>
                  <a:ext cx="470880" cy="111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4">
              <p14:nvContentPartPr>
                <p14:cNvPr id="24" name="Ink 23">
                  <a:extLst>
                    <a:ext uri="{FF2B5EF4-FFF2-40B4-BE49-F238E27FC236}">
                      <a16:creationId xmlns:a16="http://schemas.microsoft.com/office/drawing/2014/main" id="{E6C1D457-B7C5-A417-FFFB-A6346A25A990}"/>
                    </a:ext>
                  </a:extLst>
                </p14:cNvPr>
                <p14:cNvContentPartPr/>
                <p14:nvPr/>
              </p14:nvContentPartPr>
              <p14:xfrm>
                <a:off x="7773581" y="2569892"/>
                <a:ext cx="356040" cy="74520"/>
              </p14:xfrm>
            </p:contentPart>
          </mc:Choice>
          <mc:Fallback>
            <p:pic>
              <p:nvPicPr>
                <p:cNvPr id="24" name="Ink 23">
                  <a:extLst>
                    <a:ext uri="{FF2B5EF4-FFF2-40B4-BE49-F238E27FC236}">
                      <a16:creationId xmlns:a16="http://schemas.microsoft.com/office/drawing/2014/main" id="{E6C1D457-B7C5-A417-FFFB-A6346A25A990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7758461" y="2554772"/>
                  <a:ext cx="386640" cy="104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6">
              <p14:nvContentPartPr>
                <p14:cNvPr id="25" name="Ink 24">
                  <a:extLst>
                    <a:ext uri="{FF2B5EF4-FFF2-40B4-BE49-F238E27FC236}">
                      <a16:creationId xmlns:a16="http://schemas.microsoft.com/office/drawing/2014/main" id="{15724A7D-2ABC-856E-47A6-E54929F96F6D}"/>
                    </a:ext>
                  </a:extLst>
                </p14:cNvPr>
                <p14:cNvContentPartPr/>
                <p14:nvPr/>
              </p14:nvContentPartPr>
              <p14:xfrm>
                <a:off x="8021981" y="2397812"/>
                <a:ext cx="114840" cy="195840"/>
              </p14:xfrm>
            </p:contentPart>
          </mc:Choice>
          <mc:Fallback>
            <p:pic>
              <p:nvPicPr>
                <p:cNvPr id="25" name="Ink 24">
                  <a:extLst>
                    <a:ext uri="{FF2B5EF4-FFF2-40B4-BE49-F238E27FC236}">
                      <a16:creationId xmlns:a16="http://schemas.microsoft.com/office/drawing/2014/main" id="{15724A7D-2ABC-856E-47A6-E54929F96F6D}"/>
                    </a:ext>
                  </a:extLst>
                </p:cNvPr>
                <p:cNvPicPr/>
                <p:nvPr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8006501" y="2382692"/>
                  <a:ext cx="145080" cy="226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8">
              <p14:nvContentPartPr>
                <p14:cNvPr id="27" name="Ink 26">
                  <a:extLst>
                    <a:ext uri="{FF2B5EF4-FFF2-40B4-BE49-F238E27FC236}">
                      <a16:creationId xmlns:a16="http://schemas.microsoft.com/office/drawing/2014/main" id="{53EA8B6F-2852-43D1-B1A3-FA74C69CDF84}"/>
                    </a:ext>
                  </a:extLst>
                </p14:cNvPr>
                <p14:cNvContentPartPr/>
                <p14:nvPr/>
              </p14:nvContentPartPr>
              <p14:xfrm>
                <a:off x="8031701" y="2411852"/>
                <a:ext cx="120240" cy="305640"/>
              </p14:xfrm>
            </p:contentPart>
          </mc:Choice>
          <mc:Fallback>
            <p:pic>
              <p:nvPicPr>
                <p:cNvPr id="27" name="Ink 26">
                  <a:extLst>
                    <a:ext uri="{FF2B5EF4-FFF2-40B4-BE49-F238E27FC236}">
                      <a16:creationId xmlns:a16="http://schemas.microsoft.com/office/drawing/2014/main" id="{53EA8B6F-2852-43D1-B1A3-FA74C69CDF84}"/>
                    </a:ext>
                  </a:extLst>
                </p:cNvPr>
                <p:cNvPicPr/>
                <p:nvPr/>
              </p:nvPicPr>
              <p:blipFill>
                <a:blip r:embed="rId49"/>
                <a:stretch>
                  <a:fillRect/>
                </a:stretch>
              </p:blipFill>
              <p:spPr>
                <a:xfrm>
                  <a:off x="8016581" y="2396372"/>
                  <a:ext cx="150840" cy="336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0">
              <p14:nvContentPartPr>
                <p14:cNvPr id="30" name="Ink 29">
                  <a:extLst>
                    <a:ext uri="{FF2B5EF4-FFF2-40B4-BE49-F238E27FC236}">
                      <a16:creationId xmlns:a16="http://schemas.microsoft.com/office/drawing/2014/main" id="{8DE37060-DF0C-F8F5-AA7C-6AFD6805E525}"/>
                    </a:ext>
                  </a:extLst>
                </p14:cNvPr>
                <p14:cNvContentPartPr/>
                <p14:nvPr/>
              </p14:nvContentPartPr>
              <p14:xfrm>
                <a:off x="6126581" y="2456492"/>
                <a:ext cx="1723680" cy="839160"/>
              </p14:xfrm>
            </p:contentPart>
          </mc:Choice>
          <mc:Fallback>
            <p:pic>
              <p:nvPicPr>
                <p:cNvPr id="30" name="Ink 29">
                  <a:extLst>
                    <a:ext uri="{FF2B5EF4-FFF2-40B4-BE49-F238E27FC236}">
                      <a16:creationId xmlns:a16="http://schemas.microsoft.com/office/drawing/2014/main" id="{8DE37060-DF0C-F8F5-AA7C-6AFD6805E525}"/>
                    </a:ext>
                  </a:extLst>
                </p:cNvPr>
                <p:cNvPicPr/>
                <p:nvPr/>
              </p:nvPicPr>
              <p:blipFill>
                <a:blip r:embed="rId51"/>
                <a:stretch>
                  <a:fillRect/>
                </a:stretch>
              </p:blipFill>
              <p:spPr>
                <a:xfrm>
                  <a:off x="6111101" y="2441372"/>
                  <a:ext cx="1754280" cy="869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2">
              <p14:nvContentPartPr>
                <p14:cNvPr id="31" name="Ink 30">
                  <a:extLst>
                    <a:ext uri="{FF2B5EF4-FFF2-40B4-BE49-F238E27FC236}">
                      <a16:creationId xmlns:a16="http://schemas.microsoft.com/office/drawing/2014/main" id="{D885F0B6-C6D4-769D-4C5C-DB4D12A7A2BD}"/>
                    </a:ext>
                  </a:extLst>
                </p14:cNvPr>
                <p14:cNvContentPartPr/>
                <p14:nvPr/>
              </p14:nvContentPartPr>
              <p14:xfrm>
                <a:off x="6797621" y="2382692"/>
                <a:ext cx="414360" cy="540360"/>
              </p14:xfrm>
            </p:contentPart>
          </mc:Choice>
          <mc:Fallback>
            <p:pic>
              <p:nvPicPr>
                <p:cNvPr id="31" name="Ink 30">
                  <a:extLst>
                    <a:ext uri="{FF2B5EF4-FFF2-40B4-BE49-F238E27FC236}">
                      <a16:creationId xmlns:a16="http://schemas.microsoft.com/office/drawing/2014/main" id="{D885F0B6-C6D4-769D-4C5C-DB4D12A7A2BD}"/>
                    </a:ext>
                  </a:extLst>
                </p:cNvPr>
                <p:cNvPicPr/>
                <p:nvPr/>
              </p:nvPicPr>
              <p:blipFill>
                <a:blip r:embed="rId53"/>
                <a:stretch>
                  <a:fillRect/>
                </a:stretch>
              </p:blipFill>
              <p:spPr>
                <a:xfrm>
                  <a:off x="6782501" y="2367572"/>
                  <a:ext cx="444600" cy="570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4">
              <p14:nvContentPartPr>
                <p14:cNvPr id="32" name="Ink 31">
                  <a:extLst>
                    <a:ext uri="{FF2B5EF4-FFF2-40B4-BE49-F238E27FC236}">
                      <a16:creationId xmlns:a16="http://schemas.microsoft.com/office/drawing/2014/main" id="{0B014C53-AFBA-84D7-0867-4EC021C065EE}"/>
                    </a:ext>
                  </a:extLst>
                </p14:cNvPr>
                <p14:cNvContentPartPr/>
                <p14:nvPr/>
              </p14:nvContentPartPr>
              <p14:xfrm>
                <a:off x="6838301" y="2500772"/>
                <a:ext cx="364320" cy="774000"/>
              </p14:xfrm>
            </p:contentPart>
          </mc:Choice>
          <mc:Fallback>
            <p:pic>
              <p:nvPicPr>
                <p:cNvPr id="32" name="Ink 31">
                  <a:extLst>
                    <a:ext uri="{FF2B5EF4-FFF2-40B4-BE49-F238E27FC236}">
                      <a16:creationId xmlns:a16="http://schemas.microsoft.com/office/drawing/2014/main" id="{0B014C53-AFBA-84D7-0867-4EC021C065EE}"/>
                    </a:ext>
                  </a:extLst>
                </p:cNvPr>
                <p:cNvPicPr/>
                <p:nvPr/>
              </p:nvPicPr>
              <p:blipFill>
                <a:blip r:embed="rId55"/>
                <a:stretch>
                  <a:fillRect/>
                </a:stretch>
              </p:blipFill>
              <p:spPr>
                <a:xfrm>
                  <a:off x="6822821" y="2485652"/>
                  <a:ext cx="394560" cy="804600"/>
                </a:xfrm>
                <a:prstGeom prst="rect">
                  <a:avLst/>
                </a:prstGeom>
              </p:spPr>
            </p:pic>
          </mc:Fallback>
        </mc:AlternateContent>
      </p:grp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p9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r>
              <a:rPr lang="en-US"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ules for Computing Probability</a:t>
            </a:r>
            <a:endParaRPr/>
          </a:p>
        </p:txBody>
      </p:sp>
      <p:pic>
        <p:nvPicPr>
          <p:cNvPr id="133" name="Google Shape;133;p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38200" y="1493299"/>
            <a:ext cx="10515600" cy="5279144"/>
          </a:xfrm>
          <a:prstGeom prst="rect">
            <a:avLst/>
          </a:prstGeom>
          <a:noFill/>
          <a:ln>
            <a:noFill/>
          </a:ln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4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2AACCB81-3E7A-0EA1-F0EF-356B314DABDC}"/>
                  </a:ext>
                </a:extLst>
              </p14:cNvPr>
              <p14:cNvContentPartPr/>
              <p14:nvPr/>
            </p14:nvContentPartPr>
            <p14:xfrm>
              <a:off x="6826061" y="2002892"/>
              <a:ext cx="2833560" cy="108000"/>
            </p14:xfrm>
          </p:contentPart>
        </mc:Choice>
        <mc:Fallback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2AACCB81-3E7A-0EA1-F0EF-356B314DABDC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810581" y="1987772"/>
                <a:ext cx="2863800" cy="138600"/>
              </a:xfrm>
              <a:prstGeom prst="rect">
                <a:avLst/>
              </a:prstGeom>
            </p:spPr>
          </p:pic>
        </mc:Fallback>
      </mc:AlternateContent>
      <p:grpSp>
        <p:nvGrpSpPr>
          <p:cNvPr id="28" name="Group 27">
            <a:extLst>
              <a:ext uri="{FF2B5EF4-FFF2-40B4-BE49-F238E27FC236}">
                <a16:creationId xmlns:a16="http://schemas.microsoft.com/office/drawing/2014/main" id="{55FE43A0-B186-6E42-78AD-5DF524AE3970}"/>
              </a:ext>
            </a:extLst>
          </p:cNvPr>
          <p:cNvGrpSpPr/>
          <p:nvPr/>
        </p:nvGrpSpPr>
        <p:grpSpPr>
          <a:xfrm>
            <a:off x="10177661" y="1006772"/>
            <a:ext cx="1148400" cy="1532520"/>
            <a:chOff x="10177661" y="1006772"/>
            <a:chExt cx="1148400" cy="15325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6">
              <p14:nvContentPartPr>
                <p14:cNvPr id="8" name="Ink 7">
                  <a:extLst>
                    <a:ext uri="{FF2B5EF4-FFF2-40B4-BE49-F238E27FC236}">
                      <a16:creationId xmlns:a16="http://schemas.microsoft.com/office/drawing/2014/main" id="{B89E4EEA-0592-8435-91EF-C3646F02D4D0}"/>
                    </a:ext>
                  </a:extLst>
                </p14:cNvPr>
                <p14:cNvContentPartPr/>
                <p14:nvPr/>
              </p14:nvContentPartPr>
              <p14:xfrm>
                <a:off x="10177661" y="1072292"/>
                <a:ext cx="575280" cy="734760"/>
              </p14:xfrm>
            </p:contentPart>
          </mc:Choice>
          <mc:Fallback>
            <p:pic>
              <p:nvPicPr>
                <p:cNvPr id="8" name="Ink 7">
                  <a:extLst>
                    <a:ext uri="{FF2B5EF4-FFF2-40B4-BE49-F238E27FC236}">
                      <a16:creationId xmlns:a16="http://schemas.microsoft.com/office/drawing/2014/main" id="{B89E4EEA-0592-8435-91EF-C3646F02D4D0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10162541" y="1057172"/>
                  <a:ext cx="605880" cy="765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">
              <p14:nvContentPartPr>
                <p14:cNvPr id="9" name="Ink 8">
                  <a:extLst>
                    <a:ext uri="{FF2B5EF4-FFF2-40B4-BE49-F238E27FC236}">
                      <a16:creationId xmlns:a16="http://schemas.microsoft.com/office/drawing/2014/main" id="{F30AEA7D-2A1E-63F2-6AE6-D783E7B87381}"/>
                    </a:ext>
                  </a:extLst>
                </p14:cNvPr>
                <p14:cNvContentPartPr/>
                <p14:nvPr/>
              </p14:nvContentPartPr>
              <p14:xfrm>
                <a:off x="10493741" y="1006772"/>
                <a:ext cx="735480" cy="843480"/>
              </p14:xfrm>
            </p:contentPart>
          </mc:Choice>
          <mc:Fallback>
            <p:pic>
              <p:nvPicPr>
                <p:cNvPr id="9" name="Ink 8">
                  <a:extLst>
                    <a:ext uri="{FF2B5EF4-FFF2-40B4-BE49-F238E27FC236}">
                      <a16:creationId xmlns:a16="http://schemas.microsoft.com/office/drawing/2014/main" id="{F30AEA7D-2A1E-63F2-6AE6-D783E7B87381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10478621" y="991292"/>
                  <a:ext cx="766080" cy="873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">
              <p14:nvContentPartPr>
                <p14:cNvPr id="11" name="Ink 10">
                  <a:extLst>
                    <a:ext uri="{FF2B5EF4-FFF2-40B4-BE49-F238E27FC236}">
                      <a16:creationId xmlns:a16="http://schemas.microsoft.com/office/drawing/2014/main" id="{0ED995E6-0807-3C74-74B5-24DA549FE1DF}"/>
                    </a:ext>
                  </a:extLst>
                </p14:cNvPr>
                <p14:cNvContentPartPr/>
                <p14:nvPr/>
              </p14:nvContentPartPr>
              <p14:xfrm>
                <a:off x="10257221" y="1408532"/>
                <a:ext cx="81360" cy="156240"/>
              </p14:xfrm>
            </p:contentPart>
          </mc:Choice>
          <mc:Fallback>
            <p:pic>
              <p:nvPicPr>
                <p:cNvPr id="11" name="Ink 10">
                  <a:extLst>
                    <a:ext uri="{FF2B5EF4-FFF2-40B4-BE49-F238E27FC236}">
                      <a16:creationId xmlns:a16="http://schemas.microsoft.com/office/drawing/2014/main" id="{0ED995E6-0807-3C74-74B5-24DA549FE1DF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10242101" y="1393412"/>
                  <a:ext cx="111960" cy="186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1DA29898-41B3-DCEF-98BB-20BE972780EF}"/>
                    </a:ext>
                  </a:extLst>
                </p14:cNvPr>
                <p14:cNvContentPartPr/>
                <p14:nvPr/>
              </p14:nvContentPartPr>
              <p14:xfrm>
                <a:off x="10258661" y="1482692"/>
                <a:ext cx="86400" cy="57240"/>
              </p14:xfrm>
            </p:contentPart>
          </mc:Choice>
          <mc:Fallback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1DA29898-41B3-DCEF-98BB-20BE972780EF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10243181" y="1467572"/>
                  <a:ext cx="117000" cy="87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">
              <p14:nvContentPartPr>
                <p14:cNvPr id="13" name="Ink 12">
                  <a:extLst>
                    <a:ext uri="{FF2B5EF4-FFF2-40B4-BE49-F238E27FC236}">
                      <a16:creationId xmlns:a16="http://schemas.microsoft.com/office/drawing/2014/main" id="{3F30AA74-4E7E-31EF-8664-A4ECABB109BF}"/>
                    </a:ext>
                  </a:extLst>
                </p14:cNvPr>
                <p14:cNvContentPartPr/>
                <p14:nvPr/>
              </p14:nvContentPartPr>
              <p14:xfrm>
                <a:off x="10891541" y="1336532"/>
                <a:ext cx="11520" cy="179280"/>
              </p14:xfrm>
            </p:contentPart>
          </mc:Choice>
          <mc:Fallback>
            <p:pic>
              <p:nvPicPr>
                <p:cNvPr id="13" name="Ink 12">
                  <a:extLst>
                    <a:ext uri="{FF2B5EF4-FFF2-40B4-BE49-F238E27FC236}">
                      <a16:creationId xmlns:a16="http://schemas.microsoft.com/office/drawing/2014/main" id="{3F30AA74-4E7E-31EF-8664-A4ECABB109BF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10876421" y="1321412"/>
                  <a:ext cx="41760" cy="209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">
              <p14:nvContentPartPr>
                <p14:cNvPr id="14" name="Ink 13">
                  <a:extLst>
                    <a:ext uri="{FF2B5EF4-FFF2-40B4-BE49-F238E27FC236}">
                      <a16:creationId xmlns:a16="http://schemas.microsoft.com/office/drawing/2014/main" id="{3A0D1265-0E8F-C970-4CF4-D39E739709B5}"/>
                    </a:ext>
                  </a:extLst>
                </p14:cNvPr>
                <p14:cNvContentPartPr/>
                <p14:nvPr/>
              </p14:nvContentPartPr>
              <p14:xfrm>
                <a:off x="10889381" y="1314932"/>
                <a:ext cx="115920" cy="194040"/>
              </p14:xfrm>
            </p:contentPart>
          </mc:Choice>
          <mc:Fallback>
            <p:pic>
              <p:nvPicPr>
                <p:cNvPr id="14" name="Ink 13">
                  <a:extLst>
                    <a:ext uri="{FF2B5EF4-FFF2-40B4-BE49-F238E27FC236}">
                      <a16:creationId xmlns:a16="http://schemas.microsoft.com/office/drawing/2014/main" id="{3A0D1265-0E8F-C970-4CF4-D39E739709B5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10874261" y="1299452"/>
                  <a:ext cx="146160" cy="224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8">
              <p14:nvContentPartPr>
                <p14:cNvPr id="16" name="Ink 15">
                  <a:extLst>
                    <a:ext uri="{FF2B5EF4-FFF2-40B4-BE49-F238E27FC236}">
                      <a16:creationId xmlns:a16="http://schemas.microsoft.com/office/drawing/2014/main" id="{9BCA1F9A-D4FB-6767-93AE-9C6BACDE8A64}"/>
                    </a:ext>
                  </a:extLst>
                </p14:cNvPr>
                <p14:cNvContentPartPr/>
                <p14:nvPr/>
              </p14:nvContentPartPr>
              <p14:xfrm>
                <a:off x="10546661" y="1263092"/>
                <a:ext cx="118440" cy="16200"/>
              </p14:xfrm>
            </p:contentPart>
          </mc:Choice>
          <mc:Fallback>
            <p:pic>
              <p:nvPicPr>
                <p:cNvPr id="16" name="Ink 15">
                  <a:extLst>
                    <a:ext uri="{FF2B5EF4-FFF2-40B4-BE49-F238E27FC236}">
                      <a16:creationId xmlns:a16="http://schemas.microsoft.com/office/drawing/2014/main" id="{9BCA1F9A-D4FB-6767-93AE-9C6BACDE8A64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10531181" y="1247612"/>
                  <a:ext cx="148680" cy="46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0">
              <p14:nvContentPartPr>
                <p14:cNvPr id="17" name="Ink 16">
                  <a:extLst>
                    <a:ext uri="{FF2B5EF4-FFF2-40B4-BE49-F238E27FC236}">
                      <a16:creationId xmlns:a16="http://schemas.microsoft.com/office/drawing/2014/main" id="{01F87F58-9C81-CBDF-752D-F83C479D2761}"/>
                    </a:ext>
                  </a:extLst>
                </p14:cNvPr>
                <p14:cNvContentPartPr/>
                <p14:nvPr/>
              </p14:nvContentPartPr>
              <p14:xfrm>
                <a:off x="10516421" y="1364612"/>
                <a:ext cx="241920" cy="43920"/>
              </p14:xfrm>
            </p:contentPart>
          </mc:Choice>
          <mc:Fallback>
            <p:pic>
              <p:nvPicPr>
                <p:cNvPr id="17" name="Ink 16">
                  <a:extLst>
                    <a:ext uri="{FF2B5EF4-FFF2-40B4-BE49-F238E27FC236}">
                      <a16:creationId xmlns:a16="http://schemas.microsoft.com/office/drawing/2014/main" id="{01F87F58-9C81-CBDF-752D-F83C479D2761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10500941" y="1349492"/>
                  <a:ext cx="272520" cy="74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2">
              <p14:nvContentPartPr>
                <p14:cNvPr id="18" name="Ink 17">
                  <a:extLst>
                    <a:ext uri="{FF2B5EF4-FFF2-40B4-BE49-F238E27FC236}">
                      <a16:creationId xmlns:a16="http://schemas.microsoft.com/office/drawing/2014/main" id="{62D6D8DC-74F6-A9F6-5390-FAEEC5B8E730}"/>
                    </a:ext>
                  </a:extLst>
                </p14:cNvPr>
                <p14:cNvContentPartPr/>
                <p14:nvPr/>
              </p14:nvContentPartPr>
              <p14:xfrm>
                <a:off x="10508861" y="1485932"/>
                <a:ext cx="243720" cy="37800"/>
              </p14:xfrm>
            </p:contentPart>
          </mc:Choice>
          <mc:Fallback>
            <p:pic>
              <p:nvPicPr>
                <p:cNvPr id="18" name="Ink 17">
                  <a:extLst>
                    <a:ext uri="{FF2B5EF4-FFF2-40B4-BE49-F238E27FC236}">
                      <a16:creationId xmlns:a16="http://schemas.microsoft.com/office/drawing/2014/main" id="{62D6D8DC-74F6-A9F6-5390-FAEEC5B8E730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10493741" y="1470452"/>
                  <a:ext cx="274320" cy="68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4">
              <p14:nvContentPartPr>
                <p14:cNvPr id="19" name="Ink 18">
                  <a:extLst>
                    <a:ext uri="{FF2B5EF4-FFF2-40B4-BE49-F238E27FC236}">
                      <a16:creationId xmlns:a16="http://schemas.microsoft.com/office/drawing/2014/main" id="{973152DA-19E6-59BA-895C-B58962440658}"/>
                    </a:ext>
                  </a:extLst>
                </p14:cNvPr>
                <p14:cNvContentPartPr/>
                <p14:nvPr/>
              </p14:nvContentPartPr>
              <p14:xfrm>
                <a:off x="10505621" y="1586372"/>
                <a:ext cx="252360" cy="40320"/>
              </p14:xfrm>
            </p:contentPart>
          </mc:Choice>
          <mc:Fallback>
            <p:pic>
              <p:nvPicPr>
                <p:cNvPr id="19" name="Ink 18">
                  <a:extLst>
                    <a:ext uri="{FF2B5EF4-FFF2-40B4-BE49-F238E27FC236}">
                      <a16:creationId xmlns:a16="http://schemas.microsoft.com/office/drawing/2014/main" id="{973152DA-19E6-59BA-895C-B58962440658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10490141" y="1571252"/>
                  <a:ext cx="282960" cy="70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6">
              <p14:nvContentPartPr>
                <p14:cNvPr id="20" name="Ink 19">
                  <a:extLst>
                    <a:ext uri="{FF2B5EF4-FFF2-40B4-BE49-F238E27FC236}">
                      <a16:creationId xmlns:a16="http://schemas.microsoft.com/office/drawing/2014/main" id="{0D122DAD-494D-016C-6873-F76082BF6A7B}"/>
                    </a:ext>
                  </a:extLst>
                </p14:cNvPr>
                <p14:cNvContentPartPr/>
                <p14:nvPr/>
              </p14:nvContentPartPr>
              <p14:xfrm>
                <a:off x="10634141" y="1734692"/>
                <a:ext cx="6840" cy="329040"/>
              </p14:xfrm>
            </p:contentPart>
          </mc:Choice>
          <mc:Fallback>
            <p:pic>
              <p:nvPicPr>
                <p:cNvPr id="20" name="Ink 19">
                  <a:extLst>
                    <a:ext uri="{FF2B5EF4-FFF2-40B4-BE49-F238E27FC236}">
                      <a16:creationId xmlns:a16="http://schemas.microsoft.com/office/drawing/2014/main" id="{0D122DAD-494D-016C-6873-F76082BF6A7B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10618661" y="1719212"/>
                  <a:ext cx="37440" cy="359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8">
              <p14:nvContentPartPr>
                <p14:cNvPr id="21" name="Ink 20">
                  <a:extLst>
                    <a:ext uri="{FF2B5EF4-FFF2-40B4-BE49-F238E27FC236}">
                      <a16:creationId xmlns:a16="http://schemas.microsoft.com/office/drawing/2014/main" id="{D3835E1D-7334-A2FB-07B3-EC40BB21916B}"/>
                    </a:ext>
                  </a:extLst>
                </p14:cNvPr>
                <p14:cNvContentPartPr/>
                <p14:nvPr/>
              </p14:nvContentPartPr>
              <p14:xfrm>
                <a:off x="10566101" y="1988132"/>
                <a:ext cx="169200" cy="119160"/>
              </p14:xfrm>
            </p:contentPart>
          </mc:Choice>
          <mc:Fallback>
            <p:pic>
              <p:nvPicPr>
                <p:cNvPr id="21" name="Ink 20">
                  <a:extLst>
                    <a:ext uri="{FF2B5EF4-FFF2-40B4-BE49-F238E27FC236}">
                      <a16:creationId xmlns:a16="http://schemas.microsoft.com/office/drawing/2014/main" id="{D3835E1D-7334-A2FB-07B3-EC40BB21916B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10550981" y="1972652"/>
                  <a:ext cx="199440" cy="149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0">
              <p14:nvContentPartPr>
                <p14:cNvPr id="22" name="Ink 21">
                  <a:extLst>
                    <a:ext uri="{FF2B5EF4-FFF2-40B4-BE49-F238E27FC236}">
                      <a16:creationId xmlns:a16="http://schemas.microsoft.com/office/drawing/2014/main" id="{299415F9-878B-D9E4-D05A-532D8C3FF688}"/>
                    </a:ext>
                  </a:extLst>
                </p14:cNvPr>
                <p14:cNvContentPartPr/>
                <p14:nvPr/>
              </p14:nvContentPartPr>
              <p14:xfrm>
                <a:off x="10567541" y="2261012"/>
                <a:ext cx="182880" cy="191160"/>
              </p14:xfrm>
            </p:contentPart>
          </mc:Choice>
          <mc:Fallback>
            <p:pic>
              <p:nvPicPr>
                <p:cNvPr id="22" name="Ink 21">
                  <a:extLst>
                    <a:ext uri="{FF2B5EF4-FFF2-40B4-BE49-F238E27FC236}">
                      <a16:creationId xmlns:a16="http://schemas.microsoft.com/office/drawing/2014/main" id="{299415F9-878B-D9E4-D05A-532D8C3FF688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10552421" y="2245892"/>
                  <a:ext cx="213480" cy="221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2">
              <p14:nvContentPartPr>
                <p14:cNvPr id="23" name="Ink 22">
                  <a:extLst>
                    <a:ext uri="{FF2B5EF4-FFF2-40B4-BE49-F238E27FC236}">
                      <a16:creationId xmlns:a16="http://schemas.microsoft.com/office/drawing/2014/main" id="{9FA934C8-018D-540E-9EA4-8B15BD285088}"/>
                    </a:ext>
                  </a:extLst>
                </p14:cNvPr>
                <p14:cNvContentPartPr/>
                <p14:nvPr/>
              </p14:nvContentPartPr>
              <p14:xfrm>
                <a:off x="10611461" y="2282252"/>
                <a:ext cx="316800" cy="119880"/>
              </p14:xfrm>
            </p:contentPart>
          </mc:Choice>
          <mc:Fallback>
            <p:pic>
              <p:nvPicPr>
                <p:cNvPr id="23" name="Ink 22">
                  <a:extLst>
                    <a:ext uri="{FF2B5EF4-FFF2-40B4-BE49-F238E27FC236}">
                      <a16:creationId xmlns:a16="http://schemas.microsoft.com/office/drawing/2014/main" id="{9FA934C8-018D-540E-9EA4-8B15BD285088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10595981" y="2266772"/>
                  <a:ext cx="347040" cy="150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4">
              <p14:nvContentPartPr>
                <p14:cNvPr id="24" name="Ink 23">
                  <a:extLst>
                    <a:ext uri="{FF2B5EF4-FFF2-40B4-BE49-F238E27FC236}">
                      <a16:creationId xmlns:a16="http://schemas.microsoft.com/office/drawing/2014/main" id="{3DEE98A0-8331-C918-AA83-0B9D71332C87}"/>
                    </a:ext>
                  </a:extLst>
                </p14:cNvPr>
                <p14:cNvContentPartPr/>
                <p14:nvPr/>
              </p14:nvContentPartPr>
              <p14:xfrm>
                <a:off x="10983341" y="2164532"/>
                <a:ext cx="111960" cy="161280"/>
              </p14:xfrm>
            </p:contentPart>
          </mc:Choice>
          <mc:Fallback>
            <p:pic>
              <p:nvPicPr>
                <p:cNvPr id="24" name="Ink 23">
                  <a:extLst>
                    <a:ext uri="{FF2B5EF4-FFF2-40B4-BE49-F238E27FC236}">
                      <a16:creationId xmlns:a16="http://schemas.microsoft.com/office/drawing/2014/main" id="{3DEE98A0-8331-C918-AA83-0B9D71332C87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10968221" y="2149052"/>
                  <a:ext cx="142560" cy="191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6">
              <p14:nvContentPartPr>
                <p14:cNvPr id="25" name="Ink 24">
                  <a:extLst>
                    <a:ext uri="{FF2B5EF4-FFF2-40B4-BE49-F238E27FC236}">
                      <a16:creationId xmlns:a16="http://schemas.microsoft.com/office/drawing/2014/main" id="{B033FB8F-B68C-5309-60EF-AF02D77EC80F}"/>
                    </a:ext>
                  </a:extLst>
                </p14:cNvPr>
                <p14:cNvContentPartPr/>
                <p14:nvPr/>
              </p14:nvContentPartPr>
              <p14:xfrm>
                <a:off x="10426421" y="2224652"/>
                <a:ext cx="51480" cy="314640"/>
              </p14:xfrm>
            </p:contentPart>
          </mc:Choice>
          <mc:Fallback>
            <p:pic>
              <p:nvPicPr>
                <p:cNvPr id="25" name="Ink 24">
                  <a:extLst>
                    <a:ext uri="{FF2B5EF4-FFF2-40B4-BE49-F238E27FC236}">
                      <a16:creationId xmlns:a16="http://schemas.microsoft.com/office/drawing/2014/main" id="{B033FB8F-B68C-5309-60EF-AF02D77EC80F}"/>
                    </a:ext>
                  </a:extLst>
                </p:cNvPr>
                <p:cNvPicPr/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10411301" y="2209172"/>
                  <a:ext cx="82080" cy="344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8">
              <p14:nvContentPartPr>
                <p14:cNvPr id="26" name="Ink 25">
                  <a:extLst>
                    <a:ext uri="{FF2B5EF4-FFF2-40B4-BE49-F238E27FC236}">
                      <a16:creationId xmlns:a16="http://schemas.microsoft.com/office/drawing/2014/main" id="{CF7A87AF-6A2C-2B1E-A8AC-D764842635D0}"/>
                    </a:ext>
                  </a:extLst>
                </p14:cNvPr>
                <p14:cNvContentPartPr/>
                <p14:nvPr/>
              </p14:nvContentPartPr>
              <p14:xfrm>
                <a:off x="10419581" y="2093972"/>
                <a:ext cx="906480" cy="375120"/>
              </p14:xfrm>
            </p:contentPart>
          </mc:Choice>
          <mc:Fallback>
            <p:pic>
              <p:nvPicPr>
                <p:cNvPr id="26" name="Ink 25">
                  <a:extLst>
                    <a:ext uri="{FF2B5EF4-FFF2-40B4-BE49-F238E27FC236}">
                      <a16:creationId xmlns:a16="http://schemas.microsoft.com/office/drawing/2014/main" id="{CF7A87AF-6A2C-2B1E-A8AC-D764842635D0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10404461" y="2078492"/>
                  <a:ext cx="937080" cy="405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0">
              <p14:nvContentPartPr>
                <p14:cNvPr id="27" name="Ink 26">
                  <a:extLst>
                    <a:ext uri="{FF2B5EF4-FFF2-40B4-BE49-F238E27FC236}">
                      <a16:creationId xmlns:a16="http://schemas.microsoft.com/office/drawing/2014/main" id="{3D9CF547-6DC7-5AEF-83DE-ED81727BAB9C}"/>
                    </a:ext>
                  </a:extLst>
                </p14:cNvPr>
                <p14:cNvContentPartPr/>
                <p14:nvPr/>
              </p14:nvContentPartPr>
              <p14:xfrm>
                <a:off x="10649261" y="2435252"/>
                <a:ext cx="602640" cy="83160"/>
              </p14:xfrm>
            </p:contentPart>
          </mc:Choice>
          <mc:Fallback>
            <p:pic>
              <p:nvPicPr>
                <p:cNvPr id="27" name="Ink 26">
                  <a:extLst>
                    <a:ext uri="{FF2B5EF4-FFF2-40B4-BE49-F238E27FC236}">
                      <a16:creationId xmlns:a16="http://schemas.microsoft.com/office/drawing/2014/main" id="{3D9CF547-6DC7-5AEF-83DE-ED81727BAB9C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10634141" y="2420132"/>
                  <a:ext cx="633240" cy="1137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47037778-2FDB-F124-3ACA-D0F485CABFCD}"/>
              </a:ext>
            </a:extLst>
          </p:cNvPr>
          <p:cNvGrpSpPr/>
          <p:nvPr/>
        </p:nvGrpSpPr>
        <p:grpSpPr>
          <a:xfrm>
            <a:off x="10173701" y="1184972"/>
            <a:ext cx="610560" cy="604080"/>
            <a:chOff x="10173701" y="1184972"/>
            <a:chExt cx="610560" cy="60408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42">
              <p14:nvContentPartPr>
                <p14:cNvPr id="29" name="Ink 28">
                  <a:extLst>
                    <a:ext uri="{FF2B5EF4-FFF2-40B4-BE49-F238E27FC236}">
                      <a16:creationId xmlns:a16="http://schemas.microsoft.com/office/drawing/2014/main" id="{B7A19E9F-4345-12AE-3A04-754E125CDB64}"/>
                    </a:ext>
                  </a:extLst>
                </p14:cNvPr>
                <p14:cNvContentPartPr/>
                <p14:nvPr/>
              </p14:nvContentPartPr>
              <p14:xfrm>
                <a:off x="10265501" y="1184972"/>
                <a:ext cx="225720" cy="65520"/>
              </p14:xfrm>
            </p:contentPart>
          </mc:Choice>
          <mc:Fallback>
            <p:pic>
              <p:nvPicPr>
                <p:cNvPr id="29" name="Ink 28">
                  <a:extLst>
                    <a:ext uri="{FF2B5EF4-FFF2-40B4-BE49-F238E27FC236}">
                      <a16:creationId xmlns:a16="http://schemas.microsoft.com/office/drawing/2014/main" id="{B7A19E9F-4345-12AE-3A04-754E125CDB64}"/>
                    </a:ext>
                  </a:extLst>
                </p:cNvPr>
                <p:cNvPicPr/>
                <p:nvPr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10250021" y="1169852"/>
                  <a:ext cx="256320" cy="96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4">
              <p14:nvContentPartPr>
                <p14:cNvPr id="30" name="Ink 29">
                  <a:extLst>
                    <a:ext uri="{FF2B5EF4-FFF2-40B4-BE49-F238E27FC236}">
                      <a16:creationId xmlns:a16="http://schemas.microsoft.com/office/drawing/2014/main" id="{EF1C61D5-1CD6-631E-5CCD-97B16ADC733C}"/>
                    </a:ext>
                  </a:extLst>
                </p14:cNvPr>
                <p14:cNvContentPartPr/>
                <p14:nvPr/>
              </p14:nvContentPartPr>
              <p14:xfrm>
                <a:off x="10173701" y="1202612"/>
                <a:ext cx="509760" cy="104400"/>
              </p14:xfrm>
            </p:contentPart>
          </mc:Choice>
          <mc:Fallback>
            <p:pic>
              <p:nvPicPr>
                <p:cNvPr id="30" name="Ink 29">
                  <a:extLst>
                    <a:ext uri="{FF2B5EF4-FFF2-40B4-BE49-F238E27FC236}">
                      <a16:creationId xmlns:a16="http://schemas.microsoft.com/office/drawing/2014/main" id="{EF1C61D5-1CD6-631E-5CCD-97B16ADC733C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10158581" y="1187492"/>
                  <a:ext cx="540360" cy="135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6">
              <p14:nvContentPartPr>
                <p14:cNvPr id="31" name="Ink 30">
                  <a:extLst>
                    <a:ext uri="{FF2B5EF4-FFF2-40B4-BE49-F238E27FC236}">
                      <a16:creationId xmlns:a16="http://schemas.microsoft.com/office/drawing/2014/main" id="{8C5987C2-7F64-12FA-85CB-7506C7C11EDE}"/>
                    </a:ext>
                  </a:extLst>
                </p14:cNvPr>
                <p14:cNvContentPartPr/>
                <p14:nvPr/>
              </p14:nvContentPartPr>
              <p14:xfrm>
                <a:off x="10248941" y="1318172"/>
                <a:ext cx="492840" cy="73440"/>
              </p14:xfrm>
            </p:contentPart>
          </mc:Choice>
          <mc:Fallback>
            <p:pic>
              <p:nvPicPr>
                <p:cNvPr id="31" name="Ink 30">
                  <a:extLst>
                    <a:ext uri="{FF2B5EF4-FFF2-40B4-BE49-F238E27FC236}">
                      <a16:creationId xmlns:a16="http://schemas.microsoft.com/office/drawing/2014/main" id="{8C5987C2-7F64-12FA-85CB-7506C7C11EDE}"/>
                    </a:ext>
                  </a:extLst>
                </p:cNvPr>
                <p:cNvPicPr/>
                <p:nvPr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10233821" y="1303052"/>
                  <a:ext cx="523440" cy="103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8">
              <p14:nvContentPartPr>
                <p14:cNvPr id="32" name="Ink 31">
                  <a:extLst>
                    <a:ext uri="{FF2B5EF4-FFF2-40B4-BE49-F238E27FC236}">
                      <a16:creationId xmlns:a16="http://schemas.microsoft.com/office/drawing/2014/main" id="{EEA01FFF-4396-C16F-04CE-0DD443375DE8}"/>
                    </a:ext>
                  </a:extLst>
                </p14:cNvPr>
                <p14:cNvContentPartPr/>
                <p14:nvPr/>
              </p14:nvContentPartPr>
              <p14:xfrm>
                <a:off x="10212941" y="1481252"/>
                <a:ext cx="571320" cy="67680"/>
              </p14:xfrm>
            </p:contentPart>
          </mc:Choice>
          <mc:Fallback>
            <p:pic>
              <p:nvPicPr>
                <p:cNvPr id="32" name="Ink 31">
                  <a:extLst>
                    <a:ext uri="{FF2B5EF4-FFF2-40B4-BE49-F238E27FC236}">
                      <a16:creationId xmlns:a16="http://schemas.microsoft.com/office/drawing/2014/main" id="{EEA01FFF-4396-C16F-04CE-0DD443375DE8}"/>
                    </a:ext>
                  </a:extLst>
                </p:cNvPr>
                <p:cNvPicPr/>
                <p:nvPr/>
              </p:nvPicPr>
              <p:blipFill>
                <a:blip r:embed="rId49"/>
                <a:stretch>
                  <a:fillRect/>
                </a:stretch>
              </p:blipFill>
              <p:spPr>
                <a:xfrm>
                  <a:off x="10197461" y="1466132"/>
                  <a:ext cx="601920" cy="98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0">
              <p14:nvContentPartPr>
                <p14:cNvPr id="33" name="Ink 32">
                  <a:extLst>
                    <a:ext uri="{FF2B5EF4-FFF2-40B4-BE49-F238E27FC236}">
                      <a16:creationId xmlns:a16="http://schemas.microsoft.com/office/drawing/2014/main" id="{3E7DD4E3-B6C1-1947-49CB-5E5D8BA446F4}"/>
                    </a:ext>
                  </a:extLst>
                </p14:cNvPr>
                <p14:cNvContentPartPr/>
                <p14:nvPr/>
              </p14:nvContentPartPr>
              <p14:xfrm>
                <a:off x="10312301" y="1624532"/>
                <a:ext cx="436320" cy="103320"/>
              </p14:xfrm>
            </p:contentPart>
          </mc:Choice>
          <mc:Fallback>
            <p:pic>
              <p:nvPicPr>
                <p:cNvPr id="33" name="Ink 32">
                  <a:extLst>
                    <a:ext uri="{FF2B5EF4-FFF2-40B4-BE49-F238E27FC236}">
                      <a16:creationId xmlns:a16="http://schemas.microsoft.com/office/drawing/2014/main" id="{3E7DD4E3-B6C1-1947-49CB-5E5D8BA446F4}"/>
                    </a:ext>
                  </a:extLst>
                </p:cNvPr>
                <p:cNvPicPr/>
                <p:nvPr/>
              </p:nvPicPr>
              <p:blipFill>
                <a:blip r:embed="rId51"/>
                <a:stretch>
                  <a:fillRect/>
                </a:stretch>
              </p:blipFill>
              <p:spPr>
                <a:xfrm>
                  <a:off x="10296821" y="1609412"/>
                  <a:ext cx="466920" cy="133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2">
              <p14:nvContentPartPr>
                <p14:cNvPr id="34" name="Ink 33">
                  <a:extLst>
                    <a:ext uri="{FF2B5EF4-FFF2-40B4-BE49-F238E27FC236}">
                      <a16:creationId xmlns:a16="http://schemas.microsoft.com/office/drawing/2014/main" id="{31F38BE7-A41C-0FEE-7E00-4C3EA80E20EE}"/>
                    </a:ext>
                  </a:extLst>
                </p14:cNvPr>
                <p14:cNvContentPartPr/>
                <p14:nvPr/>
              </p14:nvContentPartPr>
              <p14:xfrm>
                <a:off x="10410581" y="1755572"/>
                <a:ext cx="131040" cy="33480"/>
              </p14:xfrm>
            </p:contentPart>
          </mc:Choice>
          <mc:Fallback>
            <p:pic>
              <p:nvPicPr>
                <p:cNvPr id="34" name="Ink 33">
                  <a:extLst>
                    <a:ext uri="{FF2B5EF4-FFF2-40B4-BE49-F238E27FC236}">
                      <a16:creationId xmlns:a16="http://schemas.microsoft.com/office/drawing/2014/main" id="{31F38BE7-A41C-0FEE-7E00-4C3EA80E20EE}"/>
                    </a:ext>
                  </a:extLst>
                </p:cNvPr>
                <p:cNvPicPr/>
                <p:nvPr/>
              </p:nvPicPr>
              <p:blipFill>
                <a:blip r:embed="rId53"/>
                <a:stretch>
                  <a:fillRect/>
                </a:stretch>
              </p:blipFill>
              <p:spPr>
                <a:xfrm>
                  <a:off x="10395101" y="1740452"/>
                  <a:ext cx="161640" cy="6408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54">
            <p14:nvContentPartPr>
              <p14:cNvPr id="47" name="Ink 46">
                <a:extLst>
                  <a:ext uri="{FF2B5EF4-FFF2-40B4-BE49-F238E27FC236}">
                    <a16:creationId xmlns:a16="http://schemas.microsoft.com/office/drawing/2014/main" id="{D8531EBA-BD76-D031-A54C-C290E6A1F779}"/>
                  </a:ext>
                </a:extLst>
              </p14:cNvPr>
              <p14:cNvContentPartPr/>
              <p14:nvPr/>
            </p14:nvContentPartPr>
            <p14:xfrm>
              <a:off x="4357541" y="2127452"/>
              <a:ext cx="228960" cy="130320"/>
            </p14:xfrm>
          </p:contentPart>
        </mc:Choice>
        <mc:Fallback>
          <p:pic>
            <p:nvPicPr>
              <p:cNvPr id="47" name="Ink 46">
                <a:extLst>
                  <a:ext uri="{FF2B5EF4-FFF2-40B4-BE49-F238E27FC236}">
                    <a16:creationId xmlns:a16="http://schemas.microsoft.com/office/drawing/2014/main" id="{D8531EBA-BD76-D031-A54C-C290E6A1F779}"/>
                  </a:ext>
                </a:extLst>
              </p:cNvPr>
              <p:cNvPicPr/>
              <p:nvPr/>
            </p:nvPicPr>
            <p:blipFill>
              <a:blip r:embed="rId55"/>
              <a:stretch>
                <a:fillRect/>
              </a:stretch>
            </p:blipFill>
            <p:spPr>
              <a:xfrm>
                <a:off x="4342061" y="2112332"/>
                <a:ext cx="259200" cy="1609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56">
            <p14:nvContentPartPr>
              <p14:cNvPr id="48" name="Ink 47">
                <a:extLst>
                  <a:ext uri="{FF2B5EF4-FFF2-40B4-BE49-F238E27FC236}">
                    <a16:creationId xmlns:a16="http://schemas.microsoft.com/office/drawing/2014/main" id="{5993BD04-3DAC-64E9-24B1-470163E14043}"/>
                  </a:ext>
                </a:extLst>
              </p14:cNvPr>
              <p14:cNvContentPartPr/>
              <p14:nvPr/>
            </p14:nvContentPartPr>
            <p14:xfrm>
              <a:off x="4965941" y="2133212"/>
              <a:ext cx="304560" cy="113760"/>
            </p14:xfrm>
          </p:contentPart>
        </mc:Choice>
        <mc:Fallback>
          <p:pic>
            <p:nvPicPr>
              <p:cNvPr id="48" name="Ink 47">
                <a:extLst>
                  <a:ext uri="{FF2B5EF4-FFF2-40B4-BE49-F238E27FC236}">
                    <a16:creationId xmlns:a16="http://schemas.microsoft.com/office/drawing/2014/main" id="{5993BD04-3DAC-64E9-24B1-470163E14043}"/>
                  </a:ext>
                </a:extLst>
              </p:cNvPr>
              <p:cNvPicPr/>
              <p:nvPr/>
            </p:nvPicPr>
            <p:blipFill>
              <a:blip r:embed="rId57"/>
              <a:stretch>
                <a:fillRect/>
              </a:stretch>
            </p:blipFill>
            <p:spPr>
              <a:xfrm>
                <a:off x="4950461" y="2117732"/>
                <a:ext cx="334800" cy="144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58">
            <p14:nvContentPartPr>
              <p14:cNvPr id="49" name="Ink 48">
                <a:extLst>
                  <a:ext uri="{FF2B5EF4-FFF2-40B4-BE49-F238E27FC236}">
                    <a16:creationId xmlns:a16="http://schemas.microsoft.com/office/drawing/2014/main" id="{8652E0A6-071F-9E56-F550-02BBA9BABC95}"/>
                  </a:ext>
                </a:extLst>
              </p14:cNvPr>
              <p14:cNvContentPartPr/>
              <p14:nvPr/>
            </p14:nvContentPartPr>
            <p14:xfrm>
              <a:off x="10423541" y="1101092"/>
              <a:ext cx="326520" cy="678240"/>
            </p14:xfrm>
          </p:contentPart>
        </mc:Choice>
        <mc:Fallback>
          <p:pic>
            <p:nvPicPr>
              <p:cNvPr id="49" name="Ink 48">
                <a:extLst>
                  <a:ext uri="{FF2B5EF4-FFF2-40B4-BE49-F238E27FC236}">
                    <a16:creationId xmlns:a16="http://schemas.microsoft.com/office/drawing/2014/main" id="{8652E0A6-071F-9E56-F550-02BBA9BABC95}"/>
                  </a:ext>
                </a:extLst>
              </p:cNvPr>
              <p:cNvPicPr/>
              <p:nvPr/>
            </p:nvPicPr>
            <p:blipFill>
              <a:blip r:embed="rId59"/>
              <a:stretch>
                <a:fillRect/>
              </a:stretch>
            </p:blipFill>
            <p:spPr>
              <a:xfrm>
                <a:off x="10408061" y="1085972"/>
                <a:ext cx="356760" cy="7088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60">
            <p14:nvContentPartPr>
              <p14:cNvPr id="51" name="Ink 50">
                <a:extLst>
                  <a:ext uri="{FF2B5EF4-FFF2-40B4-BE49-F238E27FC236}">
                    <a16:creationId xmlns:a16="http://schemas.microsoft.com/office/drawing/2014/main" id="{78E96AAF-EC51-71E8-C3E7-D4166590F773}"/>
                  </a:ext>
                </a:extLst>
              </p14:cNvPr>
              <p14:cNvContentPartPr/>
              <p14:nvPr/>
            </p14:nvContentPartPr>
            <p14:xfrm>
              <a:off x="10599941" y="2603372"/>
              <a:ext cx="78840" cy="30600"/>
            </p14:xfrm>
          </p:contentPart>
        </mc:Choice>
        <mc:Fallback>
          <p:pic>
            <p:nvPicPr>
              <p:cNvPr id="51" name="Ink 50">
                <a:extLst>
                  <a:ext uri="{FF2B5EF4-FFF2-40B4-BE49-F238E27FC236}">
                    <a16:creationId xmlns:a16="http://schemas.microsoft.com/office/drawing/2014/main" id="{78E96AAF-EC51-71E8-C3E7-D4166590F773}"/>
                  </a:ext>
                </a:extLst>
              </p:cNvPr>
              <p:cNvPicPr/>
              <p:nvPr/>
            </p:nvPicPr>
            <p:blipFill>
              <a:blip r:embed="rId61"/>
              <a:stretch>
                <a:fillRect/>
              </a:stretch>
            </p:blipFill>
            <p:spPr>
              <a:xfrm>
                <a:off x="10584461" y="2587892"/>
                <a:ext cx="109080" cy="61200"/>
              </a:xfrm>
              <a:prstGeom prst="rect">
                <a:avLst/>
              </a:prstGeom>
            </p:spPr>
          </p:pic>
        </mc:Fallback>
      </mc:AlternateContent>
      <p:grpSp>
        <p:nvGrpSpPr>
          <p:cNvPr id="55" name="Group 54">
            <a:extLst>
              <a:ext uri="{FF2B5EF4-FFF2-40B4-BE49-F238E27FC236}">
                <a16:creationId xmlns:a16="http://schemas.microsoft.com/office/drawing/2014/main" id="{74D9ED10-A5A2-C16D-AC80-782F57B01204}"/>
              </a:ext>
            </a:extLst>
          </p:cNvPr>
          <p:cNvGrpSpPr/>
          <p:nvPr/>
        </p:nvGrpSpPr>
        <p:grpSpPr>
          <a:xfrm>
            <a:off x="10169741" y="972212"/>
            <a:ext cx="1120320" cy="946800"/>
            <a:chOff x="10169741" y="972212"/>
            <a:chExt cx="1120320" cy="9468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62">
              <p14:nvContentPartPr>
                <p14:cNvPr id="36" name="Ink 35">
                  <a:extLst>
                    <a:ext uri="{FF2B5EF4-FFF2-40B4-BE49-F238E27FC236}">
                      <a16:creationId xmlns:a16="http://schemas.microsoft.com/office/drawing/2014/main" id="{2DEA2280-3005-5CB9-DF35-1D7925AE18CE}"/>
                    </a:ext>
                  </a:extLst>
                </p14:cNvPr>
                <p14:cNvContentPartPr/>
                <p14:nvPr/>
              </p14:nvContentPartPr>
              <p14:xfrm>
                <a:off x="10610021" y="1129172"/>
                <a:ext cx="340560" cy="17280"/>
              </p14:xfrm>
            </p:contentPart>
          </mc:Choice>
          <mc:Fallback>
            <p:pic>
              <p:nvPicPr>
                <p:cNvPr id="36" name="Ink 35">
                  <a:extLst>
                    <a:ext uri="{FF2B5EF4-FFF2-40B4-BE49-F238E27FC236}">
                      <a16:creationId xmlns:a16="http://schemas.microsoft.com/office/drawing/2014/main" id="{2DEA2280-3005-5CB9-DF35-1D7925AE18CE}"/>
                    </a:ext>
                  </a:extLst>
                </p:cNvPr>
                <p:cNvPicPr/>
                <p:nvPr/>
              </p:nvPicPr>
              <p:blipFill>
                <a:blip r:embed="rId63"/>
                <a:stretch>
                  <a:fillRect/>
                </a:stretch>
              </p:blipFill>
              <p:spPr>
                <a:xfrm>
                  <a:off x="10594901" y="1113692"/>
                  <a:ext cx="371160" cy="47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4">
              <p14:nvContentPartPr>
                <p14:cNvPr id="37" name="Ink 36">
                  <a:extLst>
                    <a:ext uri="{FF2B5EF4-FFF2-40B4-BE49-F238E27FC236}">
                      <a16:creationId xmlns:a16="http://schemas.microsoft.com/office/drawing/2014/main" id="{0D27FC10-E81E-A0C7-09D7-15BC15CF32BD}"/>
                    </a:ext>
                  </a:extLst>
                </p14:cNvPr>
                <p14:cNvContentPartPr/>
                <p14:nvPr/>
              </p14:nvContentPartPr>
              <p14:xfrm>
                <a:off x="10688501" y="1193612"/>
                <a:ext cx="406440" cy="47520"/>
              </p14:xfrm>
            </p:contentPart>
          </mc:Choice>
          <mc:Fallback>
            <p:pic>
              <p:nvPicPr>
                <p:cNvPr id="37" name="Ink 36">
                  <a:extLst>
                    <a:ext uri="{FF2B5EF4-FFF2-40B4-BE49-F238E27FC236}">
                      <a16:creationId xmlns:a16="http://schemas.microsoft.com/office/drawing/2014/main" id="{0D27FC10-E81E-A0C7-09D7-15BC15CF32BD}"/>
                    </a:ext>
                  </a:extLst>
                </p:cNvPr>
                <p:cNvPicPr/>
                <p:nvPr/>
              </p:nvPicPr>
              <p:blipFill>
                <a:blip r:embed="rId65"/>
                <a:stretch>
                  <a:fillRect/>
                </a:stretch>
              </p:blipFill>
              <p:spPr>
                <a:xfrm>
                  <a:off x="10673381" y="1178492"/>
                  <a:ext cx="437040" cy="77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6">
              <p14:nvContentPartPr>
                <p14:cNvPr id="39" name="Ink 38">
                  <a:extLst>
                    <a:ext uri="{FF2B5EF4-FFF2-40B4-BE49-F238E27FC236}">
                      <a16:creationId xmlns:a16="http://schemas.microsoft.com/office/drawing/2014/main" id="{BF0D940F-97B2-A4A1-6968-A03B1D1D5762}"/>
                    </a:ext>
                  </a:extLst>
                </p14:cNvPr>
                <p14:cNvContentPartPr/>
                <p14:nvPr/>
              </p14:nvContentPartPr>
              <p14:xfrm>
                <a:off x="10511381" y="1231772"/>
                <a:ext cx="765000" cy="86400"/>
              </p14:xfrm>
            </p:contentPart>
          </mc:Choice>
          <mc:Fallback>
            <p:pic>
              <p:nvPicPr>
                <p:cNvPr id="39" name="Ink 38">
                  <a:extLst>
                    <a:ext uri="{FF2B5EF4-FFF2-40B4-BE49-F238E27FC236}">
                      <a16:creationId xmlns:a16="http://schemas.microsoft.com/office/drawing/2014/main" id="{BF0D940F-97B2-A4A1-6968-A03B1D1D5762}"/>
                    </a:ext>
                  </a:extLst>
                </p:cNvPr>
                <p:cNvPicPr/>
                <p:nvPr/>
              </p:nvPicPr>
              <p:blipFill>
                <a:blip r:embed="rId67"/>
                <a:stretch>
                  <a:fillRect/>
                </a:stretch>
              </p:blipFill>
              <p:spPr>
                <a:xfrm>
                  <a:off x="10495901" y="1216652"/>
                  <a:ext cx="795600" cy="116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8">
              <p14:nvContentPartPr>
                <p14:cNvPr id="41" name="Ink 40">
                  <a:extLst>
                    <a:ext uri="{FF2B5EF4-FFF2-40B4-BE49-F238E27FC236}">
                      <a16:creationId xmlns:a16="http://schemas.microsoft.com/office/drawing/2014/main" id="{3304D658-0428-2ADC-240E-211950833BB3}"/>
                    </a:ext>
                  </a:extLst>
                </p14:cNvPr>
                <p14:cNvContentPartPr/>
                <p14:nvPr/>
              </p14:nvContentPartPr>
              <p14:xfrm>
                <a:off x="10528661" y="1362092"/>
                <a:ext cx="664920" cy="80280"/>
              </p14:xfrm>
            </p:contentPart>
          </mc:Choice>
          <mc:Fallback>
            <p:pic>
              <p:nvPicPr>
                <p:cNvPr id="41" name="Ink 40">
                  <a:extLst>
                    <a:ext uri="{FF2B5EF4-FFF2-40B4-BE49-F238E27FC236}">
                      <a16:creationId xmlns:a16="http://schemas.microsoft.com/office/drawing/2014/main" id="{3304D658-0428-2ADC-240E-211950833BB3}"/>
                    </a:ext>
                  </a:extLst>
                </p:cNvPr>
                <p:cNvPicPr/>
                <p:nvPr/>
              </p:nvPicPr>
              <p:blipFill>
                <a:blip r:embed="rId69"/>
                <a:stretch>
                  <a:fillRect/>
                </a:stretch>
              </p:blipFill>
              <p:spPr>
                <a:xfrm>
                  <a:off x="10513541" y="1346972"/>
                  <a:ext cx="695520" cy="110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0">
              <p14:nvContentPartPr>
                <p14:cNvPr id="42" name="Ink 41">
                  <a:extLst>
                    <a:ext uri="{FF2B5EF4-FFF2-40B4-BE49-F238E27FC236}">
                      <a16:creationId xmlns:a16="http://schemas.microsoft.com/office/drawing/2014/main" id="{6E8B1FA6-4020-EDD7-2549-F2FF1D3A8A3E}"/>
                    </a:ext>
                  </a:extLst>
                </p14:cNvPr>
                <p14:cNvContentPartPr/>
                <p14:nvPr/>
              </p14:nvContentPartPr>
              <p14:xfrm>
                <a:off x="10543061" y="1472972"/>
                <a:ext cx="747000" cy="65880"/>
              </p14:xfrm>
            </p:contentPart>
          </mc:Choice>
          <mc:Fallback>
            <p:pic>
              <p:nvPicPr>
                <p:cNvPr id="42" name="Ink 41">
                  <a:extLst>
                    <a:ext uri="{FF2B5EF4-FFF2-40B4-BE49-F238E27FC236}">
                      <a16:creationId xmlns:a16="http://schemas.microsoft.com/office/drawing/2014/main" id="{6E8B1FA6-4020-EDD7-2549-F2FF1D3A8A3E}"/>
                    </a:ext>
                  </a:extLst>
                </p:cNvPr>
                <p:cNvPicPr/>
                <p:nvPr/>
              </p:nvPicPr>
              <p:blipFill>
                <a:blip r:embed="rId71"/>
                <a:stretch>
                  <a:fillRect/>
                </a:stretch>
              </p:blipFill>
              <p:spPr>
                <a:xfrm>
                  <a:off x="10527581" y="1457852"/>
                  <a:ext cx="777240" cy="96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2">
              <p14:nvContentPartPr>
                <p14:cNvPr id="43" name="Ink 42">
                  <a:extLst>
                    <a:ext uri="{FF2B5EF4-FFF2-40B4-BE49-F238E27FC236}">
                      <a16:creationId xmlns:a16="http://schemas.microsoft.com/office/drawing/2014/main" id="{55B16355-38E1-FAAF-F4A7-D37BC0DC8C1E}"/>
                    </a:ext>
                  </a:extLst>
                </p14:cNvPr>
                <p14:cNvContentPartPr/>
                <p14:nvPr/>
              </p14:nvContentPartPr>
              <p14:xfrm>
                <a:off x="10588061" y="1577012"/>
                <a:ext cx="648000" cy="61200"/>
              </p14:xfrm>
            </p:contentPart>
          </mc:Choice>
          <mc:Fallback>
            <p:pic>
              <p:nvPicPr>
                <p:cNvPr id="43" name="Ink 42">
                  <a:extLst>
                    <a:ext uri="{FF2B5EF4-FFF2-40B4-BE49-F238E27FC236}">
                      <a16:creationId xmlns:a16="http://schemas.microsoft.com/office/drawing/2014/main" id="{55B16355-38E1-FAAF-F4A7-D37BC0DC8C1E}"/>
                    </a:ext>
                  </a:extLst>
                </p:cNvPr>
                <p:cNvPicPr/>
                <p:nvPr/>
              </p:nvPicPr>
              <p:blipFill>
                <a:blip r:embed="rId73"/>
                <a:stretch>
                  <a:fillRect/>
                </a:stretch>
              </p:blipFill>
              <p:spPr>
                <a:xfrm>
                  <a:off x="10572941" y="1561892"/>
                  <a:ext cx="678600" cy="91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4">
              <p14:nvContentPartPr>
                <p14:cNvPr id="44" name="Ink 43">
                  <a:extLst>
                    <a:ext uri="{FF2B5EF4-FFF2-40B4-BE49-F238E27FC236}">
                      <a16:creationId xmlns:a16="http://schemas.microsoft.com/office/drawing/2014/main" id="{8C31EB10-FF99-6633-3609-084BEF42C194}"/>
                    </a:ext>
                  </a:extLst>
                </p14:cNvPr>
                <p14:cNvContentPartPr/>
                <p14:nvPr/>
              </p14:nvContentPartPr>
              <p14:xfrm>
                <a:off x="10623701" y="1670252"/>
                <a:ext cx="635040" cy="36360"/>
              </p14:xfrm>
            </p:contentPart>
          </mc:Choice>
          <mc:Fallback>
            <p:pic>
              <p:nvPicPr>
                <p:cNvPr id="44" name="Ink 43">
                  <a:extLst>
                    <a:ext uri="{FF2B5EF4-FFF2-40B4-BE49-F238E27FC236}">
                      <a16:creationId xmlns:a16="http://schemas.microsoft.com/office/drawing/2014/main" id="{8C31EB10-FF99-6633-3609-084BEF42C194}"/>
                    </a:ext>
                  </a:extLst>
                </p:cNvPr>
                <p:cNvPicPr/>
                <p:nvPr/>
              </p:nvPicPr>
              <p:blipFill>
                <a:blip r:embed="rId75"/>
                <a:stretch>
                  <a:fillRect/>
                </a:stretch>
              </p:blipFill>
              <p:spPr>
                <a:xfrm>
                  <a:off x="10608581" y="1655132"/>
                  <a:ext cx="665280" cy="66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6">
              <p14:nvContentPartPr>
                <p14:cNvPr id="45" name="Ink 44">
                  <a:extLst>
                    <a:ext uri="{FF2B5EF4-FFF2-40B4-BE49-F238E27FC236}">
                      <a16:creationId xmlns:a16="http://schemas.microsoft.com/office/drawing/2014/main" id="{6EA399DE-3AFB-F155-5B32-FB318A14206E}"/>
                    </a:ext>
                  </a:extLst>
                </p14:cNvPr>
                <p14:cNvContentPartPr/>
                <p14:nvPr/>
              </p14:nvContentPartPr>
              <p14:xfrm>
                <a:off x="10702181" y="1762052"/>
                <a:ext cx="375480" cy="36360"/>
              </p14:xfrm>
            </p:contentPart>
          </mc:Choice>
          <mc:Fallback>
            <p:pic>
              <p:nvPicPr>
                <p:cNvPr id="45" name="Ink 44">
                  <a:extLst>
                    <a:ext uri="{FF2B5EF4-FFF2-40B4-BE49-F238E27FC236}">
                      <a16:creationId xmlns:a16="http://schemas.microsoft.com/office/drawing/2014/main" id="{6EA399DE-3AFB-F155-5B32-FB318A14206E}"/>
                    </a:ext>
                  </a:extLst>
                </p:cNvPr>
                <p:cNvPicPr/>
                <p:nvPr/>
              </p:nvPicPr>
              <p:blipFill>
                <a:blip r:embed="rId77"/>
                <a:stretch>
                  <a:fillRect/>
                </a:stretch>
              </p:blipFill>
              <p:spPr>
                <a:xfrm>
                  <a:off x="10687061" y="1746932"/>
                  <a:ext cx="405720" cy="66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8">
              <p14:nvContentPartPr>
                <p14:cNvPr id="52" name="Ink 51">
                  <a:extLst>
                    <a:ext uri="{FF2B5EF4-FFF2-40B4-BE49-F238E27FC236}">
                      <a16:creationId xmlns:a16="http://schemas.microsoft.com/office/drawing/2014/main" id="{C1643FB2-6D58-F3C1-6313-04F18652164C}"/>
                    </a:ext>
                  </a:extLst>
                </p14:cNvPr>
                <p14:cNvContentPartPr/>
                <p14:nvPr/>
              </p14:nvContentPartPr>
              <p14:xfrm>
                <a:off x="10169741" y="1058252"/>
                <a:ext cx="591120" cy="750600"/>
              </p14:xfrm>
            </p:contentPart>
          </mc:Choice>
          <mc:Fallback>
            <p:pic>
              <p:nvPicPr>
                <p:cNvPr id="52" name="Ink 51">
                  <a:extLst>
                    <a:ext uri="{FF2B5EF4-FFF2-40B4-BE49-F238E27FC236}">
                      <a16:creationId xmlns:a16="http://schemas.microsoft.com/office/drawing/2014/main" id="{C1643FB2-6D58-F3C1-6313-04F18652164C}"/>
                    </a:ext>
                  </a:extLst>
                </p:cNvPr>
                <p:cNvPicPr/>
                <p:nvPr/>
              </p:nvPicPr>
              <p:blipFill>
                <a:blip r:embed="rId79"/>
                <a:stretch>
                  <a:fillRect/>
                </a:stretch>
              </p:blipFill>
              <p:spPr>
                <a:xfrm>
                  <a:off x="10154621" y="1043132"/>
                  <a:ext cx="621720" cy="780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0">
              <p14:nvContentPartPr>
                <p14:cNvPr id="54" name="Ink 53">
                  <a:extLst>
                    <a:ext uri="{FF2B5EF4-FFF2-40B4-BE49-F238E27FC236}">
                      <a16:creationId xmlns:a16="http://schemas.microsoft.com/office/drawing/2014/main" id="{55E72CFB-FB3C-796F-0FA0-F4DC84ADBDF2}"/>
                    </a:ext>
                  </a:extLst>
                </p14:cNvPr>
                <p14:cNvContentPartPr/>
                <p14:nvPr/>
              </p14:nvContentPartPr>
              <p14:xfrm>
                <a:off x="10475381" y="972212"/>
                <a:ext cx="715320" cy="946800"/>
              </p14:xfrm>
            </p:contentPart>
          </mc:Choice>
          <mc:Fallback>
            <p:pic>
              <p:nvPicPr>
                <p:cNvPr id="54" name="Ink 53">
                  <a:extLst>
                    <a:ext uri="{FF2B5EF4-FFF2-40B4-BE49-F238E27FC236}">
                      <a16:creationId xmlns:a16="http://schemas.microsoft.com/office/drawing/2014/main" id="{55E72CFB-FB3C-796F-0FA0-F4DC84ADBDF2}"/>
                    </a:ext>
                  </a:extLst>
                </p:cNvPr>
                <p:cNvPicPr/>
                <p:nvPr/>
              </p:nvPicPr>
              <p:blipFill>
                <a:blip r:embed="rId81"/>
                <a:stretch>
                  <a:fillRect/>
                </a:stretch>
              </p:blipFill>
              <p:spPr>
                <a:xfrm>
                  <a:off x="10459901" y="956732"/>
                  <a:ext cx="745920" cy="97740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82">
            <p14:nvContentPartPr>
              <p14:cNvPr id="56" name="Ink 55">
                <a:extLst>
                  <a:ext uri="{FF2B5EF4-FFF2-40B4-BE49-F238E27FC236}">
                    <a16:creationId xmlns:a16="http://schemas.microsoft.com/office/drawing/2014/main" id="{366324E4-141D-A173-D2BF-C283002318D8}"/>
                  </a:ext>
                </a:extLst>
              </p14:cNvPr>
              <p14:cNvContentPartPr/>
              <p14:nvPr/>
            </p14:nvContentPartPr>
            <p14:xfrm>
              <a:off x="10580141" y="2635052"/>
              <a:ext cx="229320" cy="87480"/>
            </p14:xfrm>
          </p:contentPart>
        </mc:Choice>
        <mc:Fallback>
          <p:pic>
            <p:nvPicPr>
              <p:cNvPr id="56" name="Ink 55">
                <a:extLst>
                  <a:ext uri="{FF2B5EF4-FFF2-40B4-BE49-F238E27FC236}">
                    <a16:creationId xmlns:a16="http://schemas.microsoft.com/office/drawing/2014/main" id="{366324E4-141D-A173-D2BF-C283002318D8}"/>
                  </a:ext>
                </a:extLst>
              </p:cNvPr>
              <p:cNvPicPr/>
              <p:nvPr/>
            </p:nvPicPr>
            <p:blipFill>
              <a:blip r:embed="rId83"/>
              <a:stretch>
                <a:fillRect/>
              </a:stretch>
            </p:blipFill>
            <p:spPr>
              <a:xfrm>
                <a:off x="10565021" y="2619572"/>
                <a:ext cx="259920" cy="118080"/>
              </a:xfrm>
              <a:prstGeom prst="rect">
                <a:avLst/>
              </a:prstGeom>
            </p:spPr>
          </p:pic>
        </mc:Fallback>
      </mc:AlternateContent>
      <p:grpSp>
        <p:nvGrpSpPr>
          <p:cNvPr id="58" name="Group 57">
            <a:extLst>
              <a:ext uri="{FF2B5EF4-FFF2-40B4-BE49-F238E27FC236}">
                <a16:creationId xmlns:a16="http://schemas.microsoft.com/office/drawing/2014/main" id="{77E4AFD1-C732-EB8B-F40A-0D3C0A9B601D}"/>
              </a:ext>
            </a:extLst>
          </p:cNvPr>
          <p:cNvGrpSpPr/>
          <p:nvPr/>
        </p:nvGrpSpPr>
        <p:grpSpPr>
          <a:xfrm>
            <a:off x="4643381" y="2466572"/>
            <a:ext cx="3969000" cy="479880"/>
            <a:chOff x="4643381" y="2466572"/>
            <a:chExt cx="3969000" cy="47988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84">
              <p14:nvContentPartPr>
                <p14:cNvPr id="2" name="Ink 1">
                  <a:extLst>
                    <a:ext uri="{FF2B5EF4-FFF2-40B4-BE49-F238E27FC236}">
                      <a16:creationId xmlns:a16="http://schemas.microsoft.com/office/drawing/2014/main" id="{CA8E31A8-67A3-F2B1-F3C3-263D709EFAAB}"/>
                    </a:ext>
                  </a:extLst>
                </p14:cNvPr>
                <p14:cNvContentPartPr/>
                <p14:nvPr/>
              </p14:nvContentPartPr>
              <p14:xfrm>
                <a:off x="8143661" y="2572052"/>
                <a:ext cx="152280" cy="12960"/>
              </p14:xfrm>
            </p:contentPart>
          </mc:Choice>
          <mc:Fallback>
            <p:pic>
              <p:nvPicPr>
                <p:cNvPr id="2" name="Ink 1">
                  <a:extLst>
                    <a:ext uri="{FF2B5EF4-FFF2-40B4-BE49-F238E27FC236}">
                      <a16:creationId xmlns:a16="http://schemas.microsoft.com/office/drawing/2014/main" id="{CA8E31A8-67A3-F2B1-F3C3-263D709EFAAB}"/>
                    </a:ext>
                  </a:extLst>
                </p:cNvPr>
                <p:cNvPicPr/>
                <p:nvPr/>
              </p:nvPicPr>
              <p:blipFill>
                <a:blip r:embed="rId85"/>
                <a:stretch>
                  <a:fillRect/>
                </a:stretch>
              </p:blipFill>
              <p:spPr>
                <a:xfrm>
                  <a:off x="8128541" y="2556932"/>
                  <a:ext cx="182880" cy="43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6">
              <p14:nvContentPartPr>
                <p14:cNvPr id="4" name="Ink 3">
                  <a:extLst>
                    <a:ext uri="{FF2B5EF4-FFF2-40B4-BE49-F238E27FC236}">
                      <a16:creationId xmlns:a16="http://schemas.microsoft.com/office/drawing/2014/main" id="{3CD4C8CF-020A-07C7-AC7E-634040ED4CF0}"/>
                    </a:ext>
                  </a:extLst>
                </p14:cNvPr>
                <p14:cNvContentPartPr/>
                <p14:nvPr/>
              </p14:nvContentPartPr>
              <p14:xfrm>
                <a:off x="8204141" y="2647292"/>
                <a:ext cx="173520" cy="17640"/>
              </p14:xfrm>
            </p:contentPart>
          </mc:Choice>
          <mc:Fallback>
            <p:pic>
              <p:nvPicPr>
                <p:cNvPr id="4" name="Ink 3">
                  <a:extLst>
                    <a:ext uri="{FF2B5EF4-FFF2-40B4-BE49-F238E27FC236}">
                      <a16:creationId xmlns:a16="http://schemas.microsoft.com/office/drawing/2014/main" id="{3CD4C8CF-020A-07C7-AC7E-634040ED4CF0}"/>
                    </a:ext>
                  </a:extLst>
                </p:cNvPr>
                <p:cNvPicPr/>
                <p:nvPr/>
              </p:nvPicPr>
              <p:blipFill>
                <a:blip r:embed="rId87"/>
                <a:stretch>
                  <a:fillRect/>
                </a:stretch>
              </p:blipFill>
              <p:spPr>
                <a:xfrm>
                  <a:off x="8189021" y="2632172"/>
                  <a:ext cx="204120" cy="47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8">
              <p14:nvContentPartPr>
                <p14:cNvPr id="5" name="Ink 4">
                  <a:extLst>
                    <a:ext uri="{FF2B5EF4-FFF2-40B4-BE49-F238E27FC236}">
                      <a16:creationId xmlns:a16="http://schemas.microsoft.com/office/drawing/2014/main" id="{9062A1A8-8FFE-5492-FD4F-146AA26FBC7B}"/>
                    </a:ext>
                  </a:extLst>
                </p14:cNvPr>
                <p14:cNvContentPartPr/>
                <p14:nvPr/>
              </p14:nvContentPartPr>
              <p14:xfrm>
                <a:off x="8237981" y="2466572"/>
                <a:ext cx="115200" cy="411480"/>
              </p14:xfrm>
            </p:contentPart>
          </mc:Choice>
          <mc:Fallback>
            <p:pic>
              <p:nvPicPr>
                <p:cNvPr id="5" name="Ink 4">
                  <a:extLst>
                    <a:ext uri="{FF2B5EF4-FFF2-40B4-BE49-F238E27FC236}">
                      <a16:creationId xmlns:a16="http://schemas.microsoft.com/office/drawing/2014/main" id="{9062A1A8-8FFE-5492-FD4F-146AA26FBC7B}"/>
                    </a:ext>
                  </a:extLst>
                </p:cNvPr>
                <p:cNvPicPr/>
                <p:nvPr/>
              </p:nvPicPr>
              <p:blipFill>
                <a:blip r:embed="rId89"/>
                <a:stretch>
                  <a:fillRect/>
                </a:stretch>
              </p:blipFill>
              <p:spPr>
                <a:xfrm>
                  <a:off x="8222861" y="2451452"/>
                  <a:ext cx="145440" cy="441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0">
              <p14:nvContentPartPr>
                <p14:cNvPr id="6" name="Ink 5">
                  <a:extLst>
                    <a:ext uri="{FF2B5EF4-FFF2-40B4-BE49-F238E27FC236}">
                      <a16:creationId xmlns:a16="http://schemas.microsoft.com/office/drawing/2014/main" id="{9FA1BED2-62F2-1EE1-2756-3D3454922C21}"/>
                    </a:ext>
                  </a:extLst>
                </p14:cNvPr>
                <p14:cNvContentPartPr/>
                <p14:nvPr/>
              </p14:nvContentPartPr>
              <p14:xfrm>
                <a:off x="8489981" y="2543252"/>
                <a:ext cx="122400" cy="168840"/>
              </p14:xfrm>
            </p:contentPart>
          </mc:Choice>
          <mc:Fallback>
            <p:pic>
              <p:nvPicPr>
                <p:cNvPr id="6" name="Ink 5">
                  <a:extLst>
                    <a:ext uri="{FF2B5EF4-FFF2-40B4-BE49-F238E27FC236}">
                      <a16:creationId xmlns:a16="http://schemas.microsoft.com/office/drawing/2014/main" id="{9FA1BED2-62F2-1EE1-2756-3D3454922C21}"/>
                    </a:ext>
                  </a:extLst>
                </p:cNvPr>
                <p:cNvPicPr/>
                <p:nvPr/>
              </p:nvPicPr>
              <p:blipFill>
                <a:blip r:embed="rId91"/>
                <a:stretch>
                  <a:fillRect/>
                </a:stretch>
              </p:blipFill>
              <p:spPr>
                <a:xfrm>
                  <a:off x="8474861" y="2528132"/>
                  <a:ext cx="152640" cy="199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2">
              <p14:nvContentPartPr>
                <p14:cNvPr id="57" name="Ink 56">
                  <a:extLst>
                    <a:ext uri="{FF2B5EF4-FFF2-40B4-BE49-F238E27FC236}">
                      <a16:creationId xmlns:a16="http://schemas.microsoft.com/office/drawing/2014/main" id="{D684F0C6-29C5-27A4-1B7B-E7576286A51D}"/>
                    </a:ext>
                  </a:extLst>
                </p14:cNvPr>
                <p14:cNvContentPartPr/>
                <p14:nvPr/>
              </p14:nvContentPartPr>
              <p14:xfrm>
                <a:off x="4643381" y="2761772"/>
                <a:ext cx="3724560" cy="184680"/>
              </p14:xfrm>
            </p:contentPart>
          </mc:Choice>
          <mc:Fallback>
            <p:pic>
              <p:nvPicPr>
                <p:cNvPr id="57" name="Ink 56">
                  <a:extLst>
                    <a:ext uri="{FF2B5EF4-FFF2-40B4-BE49-F238E27FC236}">
                      <a16:creationId xmlns:a16="http://schemas.microsoft.com/office/drawing/2014/main" id="{D684F0C6-29C5-27A4-1B7B-E7576286A51D}"/>
                    </a:ext>
                  </a:extLst>
                </p:cNvPr>
                <p:cNvPicPr/>
                <p:nvPr/>
              </p:nvPicPr>
              <p:blipFill>
                <a:blip r:embed="rId93"/>
                <a:stretch>
                  <a:fillRect/>
                </a:stretch>
              </p:blipFill>
              <p:spPr>
                <a:xfrm>
                  <a:off x="4634741" y="2753132"/>
                  <a:ext cx="3742200" cy="202320"/>
                </a:xfrm>
                <a:prstGeom prst="rect">
                  <a:avLst/>
                </a:prstGeom>
              </p:spPr>
            </p:pic>
          </mc:Fallback>
        </mc:AlternateContent>
      </p:grp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87</TotalTime>
  <Words>1139</Words>
  <Application>Microsoft Macintosh PowerPoint</Application>
  <PresentationFormat>Widescreen</PresentationFormat>
  <Paragraphs>113</Paragraphs>
  <Slides>41</Slides>
  <Notes>3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1</vt:i4>
      </vt:variant>
    </vt:vector>
  </HeadingPairs>
  <TitlesOfParts>
    <vt:vector size="47" baseType="lpstr">
      <vt:lpstr>Arial</vt:lpstr>
      <vt:lpstr>Calibri</vt:lpstr>
      <vt:lpstr>PayPal Sans Big Light</vt:lpstr>
      <vt:lpstr>Times New Roman</vt:lpstr>
      <vt:lpstr>Office Theme</vt:lpstr>
      <vt:lpstr>think-cell Slide</vt:lpstr>
      <vt:lpstr>Statistical Learning -  Probability and Distributions- Week 2  </vt:lpstr>
      <vt:lpstr>Topics covered in Week 2</vt:lpstr>
      <vt:lpstr>Session Agenda</vt:lpstr>
      <vt:lpstr>Probability – Meaning &amp; Concepts</vt:lpstr>
      <vt:lpstr>Definition of Probability</vt:lpstr>
      <vt:lpstr>Mutually Exclusive Events</vt:lpstr>
      <vt:lpstr>Independent Events</vt:lpstr>
      <vt:lpstr>Rules for Computing Probability</vt:lpstr>
      <vt:lpstr>Rules for Computing Probability</vt:lpstr>
      <vt:lpstr>Multiplication Rule</vt:lpstr>
      <vt:lpstr>Multiplication Rule</vt:lpstr>
      <vt:lpstr>Multiplication Rule</vt:lpstr>
      <vt:lpstr>PowerPoint Presentation</vt:lpstr>
      <vt:lpstr>Multiplication Rule</vt:lpstr>
      <vt:lpstr>Marginal Probability</vt:lpstr>
      <vt:lpstr>Marginal Probability - Example</vt:lpstr>
      <vt:lpstr>PowerPoint Presentation</vt:lpstr>
      <vt:lpstr>PowerPoint Presentation</vt:lpstr>
      <vt:lpstr>Solution</vt:lpstr>
      <vt:lpstr>Bayes’ Theorem</vt:lpstr>
      <vt:lpstr>PowerPoint Presentation</vt:lpstr>
      <vt:lpstr>PowerPoint Presentation</vt:lpstr>
      <vt:lpstr>Bayes’ Theorem Example</vt:lpstr>
      <vt:lpstr>What is a Probability Distribution</vt:lpstr>
      <vt:lpstr>Binomial Distribution</vt:lpstr>
      <vt:lpstr> Conditions for Applying Binomial Distribution (Bernoulli Process) </vt:lpstr>
      <vt:lpstr> Example for Binomial Distribution </vt:lpstr>
      <vt:lpstr> Mean and Standard Deviation of the Binomial Distribution </vt:lpstr>
      <vt:lpstr>Poisson Distribution </vt:lpstr>
      <vt:lpstr> Poisson Probability Function </vt:lpstr>
      <vt:lpstr> Example – Poisson Distribution</vt:lpstr>
      <vt:lpstr>Normal Distribution</vt:lpstr>
      <vt:lpstr>Normal Distribution</vt:lpstr>
      <vt:lpstr>Normal Distribution</vt:lpstr>
      <vt:lpstr>Properties of Normal Distribution</vt:lpstr>
      <vt:lpstr>Standard Normal Distribution</vt:lpstr>
      <vt:lpstr>Standard Normal Distribution – How do we calculate Z-Scores contd…</vt:lpstr>
      <vt:lpstr> Example Problem </vt:lpstr>
      <vt:lpstr>PowerPoint Presentation</vt:lpstr>
      <vt:lpstr>Case Study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istical Learning -  Probability and Distributions- Week 2  </dc:title>
  <dc:creator>Bhavya Shetty</dc:creator>
  <cp:lastModifiedBy>Aniket Chhabra</cp:lastModifiedBy>
  <cp:revision>1</cp:revision>
  <dcterms:created xsi:type="dcterms:W3CDTF">2019-06-27T05:42:05Z</dcterms:created>
  <dcterms:modified xsi:type="dcterms:W3CDTF">2022-06-19T05:01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1033-11.2.0.8641</vt:lpwstr>
  </property>
</Properties>
</file>